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jpg" ContentType="image/jpeg"/>
  <Default Extension="mp4" ContentType="video/mp4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22"/>
  </p:notesMasterIdLst>
  <p:handoutMasterIdLst>
    <p:handoutMasterId r:id="rId23"/>
  </p:handoutMasterIdLst>
  <p:sldIdLst>
    <p:sldId id="287" r:id="rId2"/>
    <p:sldId id="256" r:id="rId3"/>
    <p:sldId id="269" r:id="rId4"/>
    <p:sldId id="258" r:id="rId5"/>
    <p:sldId id="270" r:id="rId6"/>
    <p:sldId id="272" r:id="rId7"/>
    <p:sldId id="271" r:id="rId8"/>
    <p:sldId id="273" r:id="rId9"/>
    <p:sldId id="274" r:id="rId10"/>
    <p:sldId id="275" r:id="rId11"/>
    <p:sldId id="280" r:id="rId12"/>
    <p:sldId id="281" r:id="rId13"/>
    <p:sldId id="283" r:id="rId14"/>
    <p:sldId id="284" r:id="rId15"/>
    <p:sldId id="276" r:id="rId16"/>
    <p:sldId id="285" r:id="rId17"/>
    <p:sldId id="286" r:id="rId18"/>
    <p:sldId id="277" r:id="rId19"/>
    <p:sldId id="278" r:id="rId20"/>
    <p:sldId id="279" r:id="rId21"/>
  </p:sldIdLst>
  <p:sldSz cx="12192000" cy="6858000"/>
  <p:notesSz cx="6858000" cy="9144000"/>
  <p:custDataLst>
    <p:tags r:id="rId24"/>
  </p:custDataLst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Hu Tianyi" initials="HT" lastIdx="3" clrIdx="0">
    <p:extLst>
      <p:ext uri="{19B8F6BF-5375-455C-9EA6-DF929625EA0E}">
        <p15:presenceInfo xmlns:p15="http://schemas.microsoft.com/office/powerpoint/2012/main" userId="715dfee7add0241d" providerId="Windows Liv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60A8"/>
    <a:srgbClr val="873AC0"/>
    <a:srgbClr val="F3A415"/>
    <a:srgbClr val="F2CF4E"/>
    <a:srgbClr val="F6B84B"/>
    <a:srgbClr val="EF8277"/>
    <a:srgbClr val="21AADC"/>
    <a:srgbClr val="F3D04F"/>
    <a:srgbClr val="F1E697"/>
    <a:srgbClr val="EDB15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444DAD01-57F2-473B-B73B-8ABECED9F461}" v="173" dt="2019-12-03T00:28:34.336"/>
    <p1510:client id="{5C7DAC98-6D84-4344-AE62-D8BB877B92B1}" v="95" dt="2019-12-02T22:10:14.206"/>
    <p1510:client id="{5D71782A-BF57-4284-B8D0-0CB39501B4DA}" v="6" dt="2019-12-02T22:11:44.054"/>
    <p1510:client id="{5D9AD181-B3E9-47BD-B460-311A9D063BFC}" v="952" dt="2019-12-02T21:50:26.841"/>
    <p1510:client id="{7B6ADF20-C6DC-486F-B0C5-7EF495096446}" v="58" dt="2019-12-02T21:47:24.593"/>
    <p1510:client id="{7DE23F0D-A0E5-468E-8A2A-78A33D4FF74C}" v="197" dt="2019-12-02T21:39:41.991"/>
    <p1510:client id="{B2E50056-66B3-4F9F-B766-56C3B5DD723E}" v="24" dt="2019-12-03T03:17:25.005"/>
    <p1510:client id="{C0FED2E8-7E90-4432-814A-F89680F949CC}" v="54" dt="2019-12-03T03:31:55.718"/>
    <p1510:client id="{E1AD0A0B-FF26-4405-81D3-CFD1C38EFE98}" v="1" dt="2019-12-02T23:43:31.639"/>
    <p1510:client id="{FB0E71FD-FF9D-4C85-BD1A-88A7EC421102}" v="2703" dt="2019-12-03T03:55:37.318"/>
  </p1510:revLst>
</p1510:revInfo>
</file>

<file path=ppt/tableStyles.xml><?xml version="1.0" encoding="utf-8"?>
<a:tblStyleLst xmlns:a="http://schemas.openxmlformats.org/drawingml/2006/main" def="{5C22544A-7EE6-4342-B048-85BDC9FD1C3A}">
  <a:tblStyle styleId="{775DCB02-9BB8-47FD-8907-85C794F793BA}" styleName="Themed Style 1 - Accent 4">
    <a:tblBg>
      <a:fillRef idx="2">
        <a:schemeClr val="accent4"/>
      </a:fillRef>
      <a:effectRef idx="1">
        <a:schemeClr val="accent4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Ref idx="1">
              <a:schemeClr val="accent4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  <a:fill>
          <a:solidFill>
            <a:schemeClr val="accent4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4"/>
            </a:lnRef>
          </a:left>
          <a:right>
            <a:lnRef idx="2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2">
              <a:schemeClr val="accent4"/>
            </a:lnRef>
          </a:top>
          <a:bottom>
            <a:lnRef idx="2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firstRow>
  </a:tblStyle>
  <a:tblStyle styleId="{284E427A-3D55-4303-BF80-6455036E1DE7}" styleName="Themed Style 1 - Accent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9CF1AB2-1976-4502-BF36-3FF5EA218861}" styleName="Medium Style 4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  <a:tblStyle styleId="{18603FDC-E32A-4AB5-989C-0864C3EAD2B8}" styleName="Themed Style 2 - Accent 2">
    <a:tblBg>
      <a:fillRef idx="3">
        <a:schemeClr val="accent2"/>
      </a:fillRef>
      <a:effectRef idx="3">
        <a:schemeClr val="accent2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2">
                <a:tint val="50000"/>
              </a:schemeClr>
            </a:lnRef>
          </a:left>
          <a:right>
            <a:lnRef idx="1">
              <a:schemeClr val="accent2">
                <a:tint val="50000"/>
              </a:schemeClr>
            </a:lnRef>
          </a:right>
          <a:top>
            <a:lnRef idx="1">
              <a:schemeClr val="accent2">
                <a:tint val="50000"/>
              </a:schemeClr>
            </a:lnRef>
          </a:top>
          <a:bottom>
            <a:lnRef idx="1">
              <a:schemeClr val="accent2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638B1855-1B75-4FBE-930C-398BA8C253C6}" styleName="Themed Style 2 - Accent 6">
    <a:tblBg>
      <a:fillRef idx="3">
        <a:schemeClr val="accent6"/>
      </a:fillRef>
      <a:effectRef idx="3">
        <a:schemeClr val="accent6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6">
                <a:tint val="50000"/>
              </a:schemeClr>
            </a:lnRef>
          </a:left>
          <a:right>
            <a:lnRef idx="1">
              <a:schemeClr val="accent6">
                <a:tint val="50000"/>
              </a:schemeClr>
            </a:lnRef>
          </a:right>
          <a:top>
            <a:lnRef idx="1">
              <a:schemeClr val="accent6">
                <a:tint val="50000"/>
              </a:schemeClr>
            </a:lnRef>
          </a:top>
          <a:bottom>
            <a:lnRef idx="1">
              <a:schemeClr val="accent6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7E9639D4-E3E2-4D34-9284-5A2195B3D0D7}" styleName="Light Styl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10"/>
    <p:restoredTop sz="94624"/>
  </p:normalViewPr>
  <p:slideViewPr>
    <p:cSldViewPr snapToGrid="0">
      <p:cViewPr varScale="1">
        <p:scale>
          <a:sx n="106" d="100"/>
          <a:sy n="106" d="100"/>
        </p:scale>
        <p:origin x="792" y="18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presProps" Target="presProps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commentAuthors" Target="commentAuthor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ags" Target="tags/tag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handoutMaster" Target="handoutMasters/handoutMaster1.xml"/><Relationship Id="rId28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microsoft.com/office/2015/10/relationships/revisionInfo" Target="revisionInfo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notesMaster" Target="notesMasters/notesMaster1.xml"/><Relationship Id="rId27" Type="http://schemas.openxmlformats.org/officeDocument/2006/relationships/viewProps" Target="viewProps.xml"/><Relationship Id="rId30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Guest User" providerId="Windows Live" clId="Web-{5C7DAC98-6D84-4344-AE62-D8BB877B92B1}"/>
    <pc:docChg chg="addSld modSld sldOrd">
      <pc:chgData name="Guest User" userId="" providerId="Windows Live" clId="Web-{5C7DAC98-6D84-4344-AE62-D8BB877B92B1}" dt="2019-12-02T22:10:14.206" v="90"/>
      <pc:docMkLst>
        <pc:docMk/>
      </pc:docMkLst>
      <pc:sldChg chg="addSp modSp new ord">
        <pc:chgData name="Guest User" userId="" providerId="Windows Live" clId="Web-{5C7DAC98-6D84-4344-AE62-D8BB877B92B1}" dt="2019-12-02T22:10:14.206" v="90"/>
        <pc:sldMkLst>
          <pc:docMk/>
          <pc:sldMk cId="922554635" sldId="284"/>
        </pc:sldMkLst>
        <pc:spChg chg="mod">
          <ac:chgData name="Guest User" userId="" providerId="Windows Live" clId="Web-{5C7DAC98-6D84-4344-AE62-D8BB877B92B1}" dt="2019-12-02T22:07:26.158" v="59" actId="20577"/>
          <ac:spMkLst>
            <pc:docMk/>
            <pc:sldMk cId="922554635" sldId="284"/>
            <ac:spMk id="2" creationId="{343120E0-547A-4BA4-BB9A-06AA461D583C}"/>
          </ac:spMkLst>
        </pc:spChg>
        <pc:picChg chg="add mod">
          <ac:chgData name="Guest User" userId="" providerId="Windows Live" clId="Web-{5C7DAC98-6D84-4344-AE62-D8BB877B92B1}" dt="2019-12-02T22:07:58.643" v="65" actId="1076"/>
          <ac:picMkLst>
            <pc:docMk/>
            <pc:sldMk cId="922554635" sldId="284"/>
            <ac:picMk id="5" creationId="{BCEB4BE1-1A67-463B-A5E6-3960FC056B98}"/>
          </ac:picMkLst>
        </pc:picChg>
        <pc:picChg chg="add mod">
          <ac:chgData name="Guest User" userId="" providerId="Windows Live" clId="Web-{5C7DAC98-6D84-4344-AE62-D8BB877B92B1}" dt="2019-12-02T22:09:46.003" v="89" actId="1076"/>
          <ac:picMkLst>
            <pc:docMk/>
            <pc:sldMk cId="922554635" sldId="284"/>
            <ac:picMk id="7" creationId="{49E0D896-ED74-4F20-A423-75BC28EE13FA}"/>
          </ac:picMkLst>
        </pc:picChg>
        <pc:picChg chg="add mod">
          <ac:chgData name="Guest User" userId="" providerId="Windows Live" clId="Web-{5C7DAC98-6D84-4344-AE62-D8BB877B92B1}" dt="2019-12-02T22:09:31.581" v="87" actId="14100"/>
          <ac:picMkLst>
            <pc:docMk/>
            <pc:sldMk cId="922554635" sldId="284"/>
            <ac:picMk id="9" creationId="{0E56ECB6-7523-427B-A38E-1F82F45CAEBE}"/>
          </ac:picMkLst>
        </pc:picChg>
      </pc:sldChg>
    </pc:docChg>
  </pc:docChgLst>
  <pc:docChgLst>
    <pc:chgData name="汀 丁" userId="6a9c40d05b27b5d9" providerId="Windows Live" clId="Web-{E1AD0A0B-FF26-4405-81D3-CFD1C38EFE98}"/>
    <pc:docChg chg="modSld">
      <pc:chgData name="汀 丁" userId="6a9c40d05b27b5d9" providerId="Windows Live" clId="Web-{E1AD0A0B-FF26-4405-81D3-CFD1C38EFE98}" dt="2019-12-02T23:43:31.639" v="0" actId="1076"/>
      <pc:docMkLst>
        <pc:docMk/>
      </pc:docMkLst>
      <pc:sldChg chg="modSp">
        <pc:chgData name="汀 丁" userId="6a9c40d05b27b5d9" providerId="Windows Live" clId="Web-{E1AD0A0B-FF26-4405-81D3-CFD1C38EFE98}" dt="2019-12-02T23:43:31.639" v="0" actId="1076"/>
        <pc:sldMkLst>
          <pc:docMk/>
          <pc:sldMk cId="166603539" sldId="283"/>
        </pc:sldMkLst>
        <pc:picChg chg="mod">
          <ac:chgData name="汀 丁" userId="6a9c40d05b27b5d9" providerId="Windows Live" clId="Web-{E1AD0A0B-FF26-4405-81D3-CFD1C38EFE98}" dt="2019-12-02T23:43:31.639" v="0" actId="1076"/>
          <ac:picMkLst>
            <pc:docMk/>
            <pc:sldMk cId="166603539" sldId="283"/>
            <ac:picMk id="7" creationId="{902DB0E4-957D-4ABA-B3E8-5E52FB58876C}"/>
          </ac:picMkLst>
        </pc:picChg>
      </pc:sldChg>
    </pc:docChg>
  </pc:docChgLst>
  <pc:docChgLst>
    <pc:chgData name="Guest User" providerId="Windows Live" clId="Web-{C0FED2E8-7E90-4432-814A-F89680F949CC}"/>
    <pc:docChg chg="modSld">
      <pc:chgData name="Guest User" userId="" providerId="Windows Live" clId="Web-{C0FED2E8-7E90-4432-814A-F89680F949CC}" dt="2019-12-03T03:31:55.718" v="53" actId="20577"/>
      <pc:docMkLst>
        <pc:docMk/>
      </pc:docMkLst>
      <pc:sldChg chg="modSp">
        <pc:chgData name="Guest User" userId="" providerId="Windows Live" clId="Web-{C0FED2E8-7E90-4432-814A-F89680F949CC}" dt="2019-12-03T03:24:36.012" v="52" actId="20577"/>
        <pc:sldMkLst>
          <pc:docMk/>
          <pc:sldMk cId="1234933174" sldId="271"/>
        </pc:sldMkLst>
        <pc:spChg chg="mod">
          <ac:chgData name="Guest User" userId="" providerId="Windows Live" clId="Web-{C0FED2E8-7E90-4432-814A-F89680F949CC}" dt="2019-12-03T03:24:36.012" v="52" actId="20577"/>
          <ac:spMkLst>
            <pc:docMk/>
            <pc:sldMk cId="1234933174" sldId="271"/>
            <ac:spMk id="5" creationId="{67EB59BB-3166-4129-8E56-312E65B40B2B}"/>
          </ac:spMkLst>
        </pc:spChg>
      </pc:sldChg>
    </pc:docChg>
  </pc:docChgLst>
  <pc:docChgLst>
    <pc:chgData name="Hu Tianyi" userId="715dfee7add0241d" providerId="LiveId" clId="{FB0E71FD-FF9D-4C85-BD1A-88A7EC421102}"/>
    <pc:docChg chg="undo custSel addSld delSld modSld modMainMaster">
      <pc:chgData name="Hu Tianyi" userId="715dfee7add0241d" providerId="LiveId" clId="{FB0E71FD-FF9D-4C85-BD1A-88A7EC421102}" dt="2019-12-03T03:55:37.318" v="3395" actId="404"/>
      <pc:docMkLst>
        <pc:docMk/>
      </pc:docMkLst>
      <pc:sldChg chg="addSp delSp modSp delAnim modAnim">
        <pc:chgData name="Hu Tianyi" userId="715dfee7add0241d" providerId="LiveId" clId="{FB0E71FD-FF9D-4C85-BD1A-88A7EC421102}" dt="2019-12-03T03:55:37.318" v="3395" actId="404"/>
        <pc:sldMkLst>
          <pc:docMk/>
          <pc:sldMk cId="2271741893" sldId="256"/>
        </pc:sldMkLst>
        <pc:spChg chg="mod">
          <ac:chgData name="Hu Tianyi" userId="715dfee7add0241d" providerId="LiveId" clId="{FB0E71FD-FF9D-4C85-BD1A-88A7EC421102}" dt="2019-12-03T03:55:37.318" v="3395" actId="404"/>
          <ac:spMkLst>
            <pc:docMk/>
            <pc:sldMk cId="2271741893" sldId="256"/>
            <ac:spMk id="4" creationId="{00000000-0000-0000-0000-000000000000}"/>
          </ac:spMkLst>
        </pc:spChg>
        <pc:picChg chg="add del mod">
          <ac:chgData name="Hu Tianyi" userId="715dfee7add0241d" providerId="LiveId" clId="{FB0E71FD-FF9D-4C85-BD1A-88A7EC421102}" dt="2019-12-03T00:02:27.376" v="1838" actId="478"/>
          <ac:picMkLst>
            <pc:docMk/>
            <pc:sldMk cId="2271741893" sldId="256"/>
            <ac:picMk id="7" creationId="{4C3811E7-41C6-4E29-98B4-5DC49E3B89CD}"/>
          </ac:picMkLst>
        </pc:picChg>
        <pc:picChg chg="add del mod">
          <ac:chgData name="Hu Tianyi" userId="715dfee7add0241d" providerId="LiveId" clId="{FB0E71FD-FF9D-4C85-BD1A-88A7EC421102}" dt="2019-12-02T21:24:09.414" v="1235"/>
          <ac:picMkLst>
            <pc:docMk/>
            <pc:sldMk cId="2271741893" sldId="256"/>
            <ac:picMk id="10" creationId="{9D5870B3-3198-48AA-ADD0-D7D9DDC9B9C8}"/>
          </ac:picMkLst>
        </pc:picChg>
      </pc:sldChg>
      <pc:sldChg chg="modSp">
        <pc:chgData name="Hu Tianyi" userId="715dfee7add0241d" providerId="LiveId" clId="{FB0E71FD-FF9D-4C85-BD1A-88A7EC421102}" dt="2019-12-03T00:36:58.962" v="2522" actId="20577"/>
        <pc:sldMkLst>
          <pc:docMk/>
          <pc:sldMk cId="2371597387" sldId="258"/>
        </pc:sldMkLst>
        <pc:spChg chg="mod">
          <ac:chgData name="Hu Tianyi" userId="715dfee7add0241d" providerId="LiveId" clId="{FB0E71FD-FF9D-4C85-BD1A-88A7EC421102}" dt="2019-12-03T00:36:58.962" v="2522" actId="20577"/>
          <ac:spMkLst>
            <pc:docMk/>
            <pc:sldMk cId="2371597387" sldId="258"/>
            <ac:spMk id="6" creationId="{00000000-0000-0000-0000-000000000000}"/>
          </ac:spMkLst>
        </pc:spChg>
      </pc:sldChg>
      <pc:sldChg chg="del setBg">
        <pc:chgData name="Hu Tianyi" userId="715dfee7add0241d" providerId="LiveId" clId="{FB0E71FD-FF9D-4C85-BD1A-88A7EC421102}" dt="2019-12-02T20:26:08.512" v="598" actId="2696"/>
        <pc:sldMkLst>
          <pc:docMk/>
          <pc:sldMk cId="1259043032" sldId="261"/>
        </pc:sldMkLst>
      </pc:sldChg>
      <pc:sldChg chg="add del setBg">
        <pc:chgData name="Hu Tianyi" userId="715dfee7add0241d" providerId="LiveId" clId="{FB0E71FD-FF9D-4C85-BD1A-88A7EC421102}" dt="2019-12-02T20:26:27.755" v="602" actId="2696"/>
        <pc:sldMkLst>
          <pc:docMk/>
          <pc:sldMk cId="231109553" sldId="266"/>
        </pc:sldMkLst>
      </pc:sldChg>
      <pc:sldChg chg="addSp delSp modSp">
        <pc:chgData name="Hu Tianyi" userId="715dfee7add0241d" providerId="LiveId" clId="{FB0E71FD-FF9D-4C85-BD1A-88A7EC421102}" dt="2019-12-03T00:37:55.273" v="2544" actId="207"/>
        <pc:sldMkLst>
          <pc:docMk/>
          <pc:sldMk cId="911933172" sldId="269"/>
        </pc:sldMkLst>
        <pc:spChg chg="mod">
          <ac:chgData name="Hu Tianyi" userId="715dfee7add0241d" providerId="LiveId" clId="{FB0E71FD-FF9D-4C85-BD1A-88A7EC421102}" dt="2019-12-03T00:37:53.595" v="2543" actId="207"/>
          <ac:spMkLst>
            <pc:docMk/>
            <pc:sldMk cId="911933172" sldId="269"/>
            <ac:spMk id="23" creationId="{E4E3EAFC-D4D9-4B62-A60F-220C199D46C7}"/>
          </ac:spMkLst>
        </pc:spChg>
        <pc:spChg chg="mod">
          <ac:chgData name="Hu Tianyi" userId="715dfee7add0241d" providerId="LiveId" clId="{FB0E71FD-FF9D-4C85-BD1A-88A7EC421102}" dt="2019-12-02T19:15:46.795" v="57" actId="20577"/>
          <ac:spMkLst>
            <pc:docMk/>
            <pc:sldMk cId="911933172" sldId="269"/>
            <ac:spMk id="24" creationId="{F8E07573-A8E5-42F7-B445-E2E8E3B47ABD}"/>
          </ac:spMkLst>
        </pc:spChg>
        <pc:spChg chg="mod">
          <ac:chgData name="Hu Tianyi" userId="715dfee7add0241d" providerId="LiveId" clId="{FB0E71FD-FF9D-4C85-BD1A-88A7EC421102}" dt="2019-12-03T00:37:50.808" v="2542" actId="207"/>
          <ac:spMkLst>
            <pc:docMk/>
            <pc:sldMk cId="911933172" sldId="269"/>
            <ac:spMk id="25" creationId="{E4E3EAFC-D4D9-4B62-A60F-220C199D46C7}"/>
          </ac:spMkLst>
        </pc:spChg>
        <pc:spChg chg="mod">
          <ac:chgData name="Hu Tianyi" userId="715dfee7add0241d" providerId="LiveId" clId="{FB0E71FD-FF9D-4C85-BD1A-88A7EC421102}" dt="2019-12-02T19:19:38.135" v="219" actId="20577"/>
          <ac:spMkLst>
            <pc:docMk/>
            <pc:sldMk cId="911933172" sldId="269"/>
            <ac:spMk id="26" creationId="{F8E07573-A8E5-42F7-B445-E2E8E3B47ABD}"/>
          </ac:spMkLst>
        </pc:spChg>
        <pc:spChg chg="mod">
          <ac:chgData name="Hu Tianyi" userId="715dfee7add0241d" providerId="LiveId" clId="{FB0E71FD-FF9D-4C85-BD1A-88A7EC421102}" dt="2019-12-03T00:37:48.266" v="2541" actId="207"/>
          <ac:spMkLst>
            <pc:docMk/>
            <pc:sldMk cId="911933172" sldId="269"/>
            <ac:spMk id="27" creationId="{E4E3EAFC-D4D9-4B62-A60F-220C199D46C7}"/>
          </ac:spMkLst>
        </pc:spChg>
        <pc:spChg chg="mod">
          <ac:chgData name="Hu Tianyi" userId="715dfee7add0241d" providerId="LiveId" clId="{FB0E71FD-FF9D-4C85-BD1A-88A7EC421102}" dt="2019-12-02T19:16:14.226" v="82" actId="20577"/>
          <ac:spMkLst>
            <pc:docMk/>
            <pc:sldMk cId="911933172" sldId="269"/>
            <ac:spMk id="28" creationId="{F8E07573-A8E5-42F7-B445-E2E8E3B47ABD}"/>
          </ac:spMkLst>
        </pc:spChg>
        <pc:spChg chg="mod">
          <ac:chgData name="Hu Tianyi" userId="715dfee7add0241d" providerId="LiveId" clId="{FB0E71FD-FF9D-4C85-BD1A-88A7EC421102}" dt="2019-12-03T00:37:28.443" v="2536" actId="207"/>
          <ac:spMkLst>
            <pc:docMk/>
            <pc:sldMk cId="911933172" sldId="269"/>
            <ac:spMk id="29" creationId="{E4E3EAFC-D4D9-4B62-A60F-220C199D46C7}"/>
          </ac:spMkLst>
        </pc:spChg>
        <pc:spChg chg="mod">
          <ac:chgData name="Hu Tianyi" userId="715dfee7add0241d" providerId="LiveId" clId="{FB0E71FD-FF9D-4C85-BD1A-88A7EC421102}" dt="2019-12-03T00:37:55.273" v="2544" actId="207"/>
          <ac:spMkLst>
            <pc:docMk/>
            <pc:sldMk cId="911933172" sldId="269"/>
            <ac:spMk id="31" creationId="{6C8FC0BF-5F04-4921-8CCE-9D2367BEAB18}"/>
          </ac:spMkLst>
        </pc:spChg>
        <pc:spChg chg="mod">
          <ac:chgData name="Hu Tianyi" userId="715dfee7add0241d" providerId="LiveId" clId="{FB0E71FD-FF9D-4C85-BD1A-88A7EC421102}" dt="2019-12-02T19:15:52.444" v="70" actId="20577"/>
          <ac:spMkLst>
            <pc:docMk/>
            <pc:sldMk cId="911933172" sldId="269"/>
            <ac:spMk id="32" creationId="{E3EEE14B-45D3-4197-B65C-5E18AFA063A6}"/>
          </ac:spMkLst>
        </pc:spChg>
        <pc:picChg chg="add del mod">
          <ac:chgData name="Hu Tianyi" userId="715dfee7add0241d" providerId="LiveId" clId="{FB0E71FD-FF9D-4C85-BD1A-88A7EC421102}" dt="2019-12-02T21:25:38.450" v="1247" actId="478"/>
          <ac:picMkLst>
            <pc:docMk/>
            <pc:sldMk cId="911933172" sldId="269"/>
            <ac:picMk id="5122" creationId="{8714928C-CAC5-420F-B905-7A52BB31A830}"/>
          </ac:picMkLst>
        </pc:picChg>
      </pc:sldChg>
      <pc:sldChg chg="addSp delSp modSp addCm delCm">
        <pc:chgData name="Hu Tianyi" userId="715dfee7add0241d" providerId="LiveId" clId="{FB0E71FD-FF9D-4C85-BD1A-88A7EC421102}" dt="2019-12-03T00:37:05.126" v="2535" actId="20577"/>
        <pc:sldMkLst>
          <pc:docMk/>
          <pc:sldMk cId="2225755232" sldId="270"/>
        </pc:sldMkLst>
        <pc:spChg chg="mod">
          <ac:chgData name="Hu Tianyi" userId="715dfee7add0241d" providerId="LiveId" clId="{FB0E71FD-FF9D-4C85-BD1A-88A7EC421102}" dt="2019-12-02T19:47:38.050" v="362" actId="20577"/>
          <ac:spMkLst>
            <pc:docMk/>
            <pc:sldMk cId="2225755232" sldId="270"/>
            <ac:spMk id="2" creationId="{00000000-0000-0000-0000-000000000000}"/>
          </ac:spMkLst>
        </pc:spChg>
        <pc:spChg chg="add mod">
          <ac:chgData name="Hu Tianyi" userId="715dfee7add0241d" providerId="LiveId" clId="{FB0E71FD-FF9D-4C85-BD1A-88A7EC421102}" dt="2019-12-02T21:31:08.599" v="1323" actId="403"/>
          <ac:spMkLst>
            <pc:docMk/>
            <pc:sldMk cId="2225755232" sldId="270"/>
            <ac:spMk id="9" creationId="{0C7B3860-1003-4B17-8C08-2133D2B0902E}"/>
          </ac:spMkLst>
        </pc:spChg>
        <pc:spChg chg="add mod">
          <ac:chgData name="Hu Tianyi" userId="715dfee7add0241d" providerId="LiveId" clId="{FB0E71FD-FF9D-4C85-BD1A-88A7EC421102}" dt="2019-12-03T00:37:05.126" v="2535" actId="20577"/>
          <ac:spMkLst>
            <pc:docMk/>
            <pc:sldMk cId="2225755232" sldId="270"/>
            <ac:spMk id="10" creationId="{CFF1A2A7-94C2-4536-8C89-78A8D216A47F}"/>
          </ac:spMkLst>
        </pc:spChg>
        <pc:picChg chg="del">
          <ac:chgData name="Hu Tianyi" userId="715dfee7add0241d" providerId="LiveId" clId="{FB0E71FD-FF9D-4C85-BD1A-88A7EC421102}" dt="2019-12-02T19:16:39.583" v="83"/>
          <ac:picMkLst>
            <pc:docMk/>
            <pc:sldMk cId="2225755232" sldId="270"/>
            <ac:picMk id="6" creationId="{AC74F632-BD81-4948-82DC-5255B0B24472}"/>
          </ac:picMkLst>
        </pc:picChg>
        <pc:picChg chg="add del mod">
          <ac:chgData name="Hu Tianyi" userId="715dfee7add0241d" providerId="LiveId" clId="{FB0E71FD-FF9D-4C85-BD1A-88A7EC421102}" dt="2019-12-02T21:24:31.209" v="1237" actId="478"/>
          <ac:picMkLst>
            <pc:docMk/>
            <pc:sldMk cId="2225755232" sldId="270"/>
            <ac:picMk id="7" creationId="{DBFDACCA-4950-4020-8A3A-FF408C2A2FC6}"/>
          </ac:picMkLst>
        </pc:picChg>
        <pc:picChg chg="add mod">
          <ac:chgData name="Hu Tianyi" userId="715dfee7add0241d" providerId="LiveId" clId="{FB0E71FD-FF9D-4C85-BD1A-88A7EC421102}" dt="2019-12-03T00:29:15.178" v="2418" actId="1076"/>
          <ac:picMkLst>
            <pc:docMk/>
            <pc:sldMk cId="2225755232" sldId="270"/>
            <ac:picMk id="8" creationId="{AA2A5DCA-9410-4851-99CF-ED484BD6B136}"/>
          </ac:picMkLst>
        </pc:picChg>
        <pc:picChg chg="add mod">
          <ac:chgData name="Hu Tianyi" userId="715dfee7add0241d" providerId="LiveId" clId="{FB0E71FD-FF9D-4C85-BD1A-88A7EC421102}" dt="2019-12-02T21:24:56.235" v="1245" actId="1076"/>
          <ac:picMkLst>
            <pc:docMk/>
            <pc:sldMk cId="2225755232" sldId="270"/>
            <ac:picMk id="11" creationId="{D40F2126-580E-49E7-9A86-408CB96B8469}"/>
          </ac:picMkLst>
        </pc:picChg>
      </pc:sldChg>
      <pc:sldChg chg="addSp modSp add addCm delCm">
        <pc:chgData name="Hu Tianyi" userId="715dfee7add0241d" providerId="LiveId" clId="{FB0E71FD-FF9D-4C85-BD1A-88A7EC421102}" dt="2019-12-03T02:19:30.248" v="2587" actId="20577"/>
        <pc:sldMkLst>
          <pc:docMk/>
          <pc:sldMk cId="1234933174" sldId="271"/>
        </pc:sldMkLst>
        <pc:spChg chg="mod">
          <ac:chgData name="Hu Tianyi" userId="715dfee7add0241d" providerId="LiveId" clId="{FB0E71FD-FF9D-4C85-BD1A-88A7EC421102}" dt="2019-12-02T21:15:18.184" v="1161" actId="20577"/>
          <ac:spMkLst>
            <pc:docMk/>
            <pc:sldMk cId="1234933174" sldId="271"/>
            <ac:spMk id="2" creationId="{00000000-0000-0000-0000-000000000000}"/>
          </ac:spMkLst>
        </pc:spChg>
        <pc:spChg chg="add mod">
          <ac:chgData name="Hu Tianyi" userId="715dfee7add0241d" providerId="LiveId" clId="{FB0E71FD-FF9D-4C85-BD1A-88A7EC421102}" dt="2019-12-03T00:14:13.648" v="2178" actId="114"/>
          <ac:spMkLst>
            <pc:docMk/>
            <pc:sldMk cId="1234933174" sldId="271"/>
            <ac:spMk id="5" creationId="{67EB59BB-3166-4129-8E56-312E65B40B2B}"/>
          </ac:spMkLst>
        </pc:spChg>
        <pc:spChg chg="add mod">
          <ac:chgData name="Hu Tianyi" userId="715dfee7add0241d" providerId="LiveId" clId="{FB0E71FD-FF9D-4C85-BD1A-88A7EC421102}" dt="2019-12-03T02:19:30.248" v="2587" actId="20577"/>
          <ac:spMkLst>
            <pc:docMk/>
            <pc:sldMk cId="1234933174" sldId="271"/>
            <ac:spMk id="8" creationId="{154CD3B7-3D2F-4470-873A-69C2BDD155C8}"/>
          </ac:spMkLst>
        </pc:spChg>
        <pc:picChg chg="add mod">
          <ac:chgData name="Hu Tianyi" userId="715dfee7add0241d" providerId="LiveId" clId="{FB0E71FD-FF9D-4C85-BD1A-88A7EC421102}" dt="2019-12-03T00:38:13.808" v="2545" actId="1076"/>
          <ac:picMkLst>
            <pc:docMk/>
            <pc:sldMk cId="1234933174" sldId="271"/>
            <ac:picMk id="6146" creationId="{E43C52B4-7607-412F-9A57-43AB6A83E820}"/>
          </ac:picMkLst>
        </pc:picChg>
        <pc:picChg chg="add mod">
          <ac:chgData name="Hu Tianyi" userId="715dfee7add0241d" providerId="LiveId" clId="{FB0E71FD-FF9D-4C85-BD1A-88A7EC421102}" dt="2019-12-03T00:38:32.672" v="2546" actId="1076"/>
          <ac:picMkLst>
            <pc:docMk/>
            <pc:sldMk cId="1234933174" sldId="271"/>
            <ac:picMk id="6148" creationId="{27E0117A-A817-4370-9FB2-49841D2532D9}"/>
          </ac:picMkLst>
        </pc:picChg>
      </pc:sldChg>
      <pc:sldChg chg="modSp add">
        <pc:chgData name="Hu Tianyi" userId="715dfee7add0241d" providerId="LiveId" clId="{FB0E71FD-FF9D-4C85-BD1A-88A7EC421102}" dt="2019-12-02T19:18:00.758" v="184" actId="20577"/>
        <pc:sldMkLst>
          <pc:docMk/>
          <pc:sldMk cId="248328038" sldId="272"/>
        </pc:sldMkLst>
        <pc:spChg chg="mod">
          <ac:chgData name="Hu Tianyi" userId="715dfee7add0241d" providerId="LiveId" clId="{FB0E71FD-FF9D-4C85-BD1A-88A7EC421102}" dt="2019-12-02T19:17:21.300" v="100" actId="20577"/>
          <ac:spMkLst>
            <pc:docMk/>
            <pc:sldMk cId="248328038" sldId="272"/>
            <ac:spMk id="5" creationId="{00000000-0000-0000-0000-000000000000}"/>
          </ac:spMkLst>
        </pc:spChg>
        <pc:spChg chg="mod">
          <ac:chgData name="Hu Tianyi" userId="715dfee7add0241d" providerId="LiveId" clId="{FB0E71FD-FF9D-4C85-BD1A-88A7EC421102}" dt="2019-12-02T19:18:00.758" v="184" actId="20577"/>
          <ac:spMkLst>
            <pc:docMk/>
            <pc:sldMk cId="248328038" sldId="272"/>
            <ac:spMk id="6" creationId="{00000000-0000-0000-0000-000000000000}"/>
          </ac:spMkLst>
        </pc:spChg>
        <pc:spChg chg="mod">
          <ac:chgData name="Hu Tianyi" userId="715dfee7add0241d" providerId="LiveId" clId="{FB0E71FD-FF9D-4C85-BD1A-88A7EC421102}" dt="2019-12-02T19:17:03.875" v="92" actId="20577"/>
          <ac:spMkLst>
            <pc:docMk/>
            <pc:sldMk cId="248328038" sldId="272"/>
            <ac:spMk id="9" creationId="{04F69230-F3A6-4586-9371-A858F4763E9F}"/>
          </ac:spMkLst>
        </pc:spChg>
      </pc:sldChg>
      <pc:sldChg chg="modSp add">
        <pc:chgData name="Hu Tianyi" userId="715dfee7add0241d" providerId="LiveId" clId="{FB0E71FD-FF9D-4C85-BD1A-88A7EC421102}" dt="2019-12-03T02:19:38.538" v="2593" actId="5793"/>
        <pc:sldMkLst>
          <pc:docMk/>
          <pc:sldMk cId="3401610049" sldId="273"/>
        </pc:sldMkLst>
        <pc:spChg chg="mod">
          <ac:chgData name="Hu Tianyi" userId="715dfee7add0241d" providerId="LiveId" clId="{FB0E71FD-FF9D-4C85-BD1A-88A7EC421102}" dt="2019-12-02T19:21:18.880" v="225" actId="403"/>
          <ac:spMkLst>
            <pc:docMk/>
            <pc:sldMk cId="3401610049" sldId="273"/>
            <ac:spMk id="5" creationId="{00000000-0000-0000-0000-000000000000}"/>
          </ac:spMkLst>
        </pc:spChg>
        <pc:spChg chg="mod">
          <ac:chgData name="Hu Tianyi" userId="715dfee7add0241d" providerId="LiveId" clId="{FB0E71FD-FF9D-4C85-BD1A-88A7EC421102}" dt="2019-12-03T02:19:38.538" v="2593" actId="5793"/>
          <ac:spMkLst>
            <pc:docMk/>
            <pc:sldMk cId="3401610049" sldId="273"/>
            <ac:spMk id="6" creationId="{00000000-0000-0000-0000-000000000000}"/>
          </ac:spMkLst>
        </pc:spChg>
        <pc:spChg chg="mod">
          <ac:chgData name="Hu Tianyi" userId="715dfee7add0241d" providerId="LiveId" clId="{FB0E71FD-FF9D-4C85-BD1A-88A7EC421102}" dt="2019-12-02T19:18:07.887" v="186" actId="20577"/>
          <ac:spMkLst>
            <pc:docMk/>
            <pc:sldMk cId="3401610049" sldId="273"/>
            <ac:spMk id="9" creationId="{04F69230-F3A6-4586-9371-A858F4763E9F}"/>
          </ac:spMkLst>
        </pc:spChg>
      </pc:sldChg>
      <pc:sldChg chg="addSp delSp modSp add">
        <pc:chgData name="Hu Tianyi" userId="715dfee7add0241d" providerId="LiveId" clId="{FB0E71FD-FF9D-4C85-BD1A-88A7EC421102}" dt="2019-12-03T00:31:39.673" v="2426" actId="14861"/>
        <pc:sldMkLst>
          <pc:docMk/>
          <pc:sldMk cId="2505472448" sldId="274"/>
        </pc:sldMkLst>
        <pc:spChg chg="mod">
          <ac:chgData name="Hu Tianyi" userId="715dfee7add0241d" providerId="LiveId" clId="{FB0E71FD-FF9D-4C85-BD1A-88A7EC421102}" dt="2019-12-02T21:18:43.729" v="1223" actId="20577"/>
          <ac:spMkLst>
            <pc:docMk/>
            <pc:sldMk cId="2505472448" sldId="274"/>
            <ac:spMk id="2" creationId="{00000000-0000-0000-0000-000000000000}"/>
          </ac:spMkLst>
        </pc:spChg>
        <pc:spChg chg="mod">
          <ac:chgData name="Hu Tianyi" userId="715dfee7add0241d" providerId="LiveId" clId="{FB0E71FD-FF9D-4C85-BD1A-88A7EC421102}" dt="2019-12-02T22:01:45.250" v="1553" actId="1038"/>
          <ac:spMkLst>
            <pc:docMk/>
            <pc:sldMk cId="2505472448" sldId="274"/>
            <ac:spMk id="3" creationId="{00000000-0000-0000-0000-000000000000}"/>
          </ac:spMkLst>
        </pc:spChg>
        <pc:spChg chg="mod">
          <ac:chgData name="Hu Tianyi" userId="715dfee7add0241d" providerId="LiveId" clId="{FB0E71FD-FF9D-4C85-BD1A-88A7EC421102}" dt="2019-12-02T22:01:55.514" v="1556" actId="1076"/>
          <ac:spMkLst>
            <pc:docMk/>
            <pc:sldMk cId="2505472448" sldId="274"/>
            <ac:spMk id="4" creationId="{00000000-0000-0000-0000-000000000000}"/>
          </ac:spMkLst>
        </pc:spChg>
        <pc:spChg chg="add mod">
          <ac:chgData name="Hu Tianyi" userId="715dfee7add0241d" providerId="LiveId" clId="{FB0E71FD-FF9D-4C85-BD1A-88A7EC421102}" dt="2019-12-02T22:02:20.290" v="1590" actId="14100"/>
          <ac:spMkLst>
            <pc:docMk/>
            <pc:sldMk cId="2505472448" sldId="274"/>
            <ac:spMk id="5" creationId="{982B2FD8-4034-4694-AD8A-28705D3D25A4}"/>
          </ac:spMkLst>
        </pc:spChg>
        <pc:spChg chg="add del mod">
          <ac:chgData name="Hu Tianyi" userId="715dfee7add0241d" providerId="LiveId" clId="{FB0E71FD-FF9D-4C85-BD1A-88A7EC421102}" dt="2019-12-02T21:35:01.340" v="1335" actId="478"/>
          <ac:spMkLst>
            <pc:docMk/>
            <pc:sldMk cId="2505472448" sldId="274"/>
            <ac:spMk id="6" creationId="{0D03152A-CF76-436C-8C4D-8233D2E7CE43}"/>
          </ac:spMkLst>
        </pc:spChg>
        <pc:spChg chg="add del">
          <ac:chgData name="Hu Tianyi" userId="715dfee7add0241d" providerId="LiveId" clId="{FB0E71FD-FF9D-4C85-BD1A-88A7EC421102}" dt="2019-12-02T21:36:26.821" v="1352" actId="478"/>
          <ac:spMkLst>
            <pc:docMk/>
            <pc:sldMk cId="2505472448" sldId="274"/>
            <ac:spMk id="7" creationId="{3CDDE1F3-7F90-4938-8CB0-8FDC255F8103}"/>
          </ac:spMkLst>
        </pc:spChg>
        <pc:spChg chg="add mod">
          <ac:chgData name="Hu Tianyi" userId="715dfee7add0241d" providerId="LiveId" clId="{FB0E71FD-FF9D-4C85-BD1A-88A7EC421102}" dt="2019-12-02T22:02:14.627" v="1589" actId="14100"/>
          <ac:spMkLst>
            <pc:docMk/>
            <pc:sldMk cId="2505472448" sldId="274"/>
            <ac:spMk id="8" creationId="{B605472A-A832-4B9C-BDDF-FCEF6A82057A}"/>
          </ac:spMkLst>
        </pc:spChg>
        <pc:spChg chg="add mod">
          <ac:chgData name="Hu Tianyi" userId="715dfee7add0241d" providerId="LiveId" clId="{FB0E71FD-FF9D-4C85-BD1A-88A7EC421102}" dt="2019-12-02T22:03:15.192" v="1598" actId="20577"/>
          <ac:spMkLst>
            <pc:docMk/>
            <pc:sldMk cId="2505472448" sldId="274"/>
            <ac:spMk id="9" creationId="{AEA84C25-78E9-4AD3-9AC4-1F92675A498A}"/>
          </ac:spMkLst>
        </pc:spChg>
        <pc:spChg chg="add mod">
          <ac:chgData name="Hu Tianyi" userId="715dfee7add0241d" providerId="LiveId" clId="{FB0E71FD-FF9D-4C85-BD1A-88A7EC421102}" dt="2019-12-02T22:02:38.582" v="1593" actId="313"/>
          <ac:spMkLst>
            <pc:docMk/>
            <pc:sldMk cId="2505472448" sldId="274"/>
            <ac:spMk id="10" creationId="{A5BE6BE1-ED53-41C8-9428-0D650122C764}"/>
          </ac:spMkLst>
        </pc:spChg>
        <pc:spChg chg="add mod">
          <ac:chgData name="Hu Tianyi" userId="715dfee7add0241d" providerId="LiveId" clId="{FB0E71FD-FF9D-4C85-BD1A-88A7EC421102}" dt="2019-12-02T22:02:08.905" v="1588" actId="1036"/>
          <ac:spMkLst>
            <pc:docMk/>
            <pc:sldMk cId="2505472448" sldId="274"/>
            <ac:spMk id="11" creationId="{886FBC6E-AB97-4127-9960-374A1503FE0D}"/>
          </ac:spMkLst>
        </pc:spChg>
        <pc:spChg chg="add mod">
          <ac:chgData name="Hu Tianyi" userId="715dfee7add0241d" providerId="LiveId" clId="{FB0E71FD-FF9D-4C85-BD1A-88A7EC421102}" dt="2019-12-02T22:02:28.449" v="1591" actId="1076"/>
          <ac:spMkLst>
            <pc:docMk/>
            <pc:sldMk cId="2505472448" sldId="274"/>
            <ac:spMk id="12" creationId="{7100054B-059C-4276-94BA-38A35C095D1B}"/>
          </ac:spMkLst>
        </pc:spChg>
        <pc:spChg chg="add mod">
          <ac:chgData name="Hu Tianyi" userId="715dfee7add0241d" providerId="LiveId" clId="{FB0E71FD-FF9D-4C85-BD1A-88A7EC421102}" dt="2019-12-02T22:02:31.471" v="1592" actId="1076"/>
          <ac:spMkLst>
            <pc:docMk/>
            <pc:sldMk cId="2505472448" sldId="274"/>
            <ac:spMk id="13" creationId="{C42F0EE5-2E90-4B63-89B6-F8E893B73318}"/>
          </ac:spMkLst>
        </pc:spChg>
        <pc:spChg chg="add mod">
          <ac:chgData name="Hu Tianyi" userId="715dfee7add0241d" providerId="LiveId" clId="{FB0E71FD-FF9D-4C85-BD1A-88A7EC421102}" dt="2019-12-02T22:02:08.905" v="1588" actId="1036"/>
          <ac:spMkLst>
            <pc:docMk/>
            <pc:sldMk cId="2505472448" sldId="274"/>
            <ac:spMk id="22" creationId="{35E036E3-CB5F-4654-AAFD-5680BFC179FD}"/>
          </ac:spMkLst>
        </pc:spChg>
        <pc:spChg chg="add mod">
          <ac:chgData name="Hu Tianyi" userId="715dfee7add0241d" providerId="LiveId" clId="{FB0E71FD-FF9D-4C85-BD1A-88A7EC421102}" dt="2019-12-02T22:02:08.905" v="1588" actId="1036"/>
          <ac:spMkLst>
            <pc:docMk/>
            <pc:sldMk cId="2505472448" sldId="274"/>
            <ac:spMk id="25" creationId="{12B0A920-395A-4D5B-AACB-5EB093AA8A8C}"/>
          </ac:spMkLst>
        </pc:spChg>
        <pc:spChg chg="add mod">
          <ac:chgData name="Hu Tianyi" userId="715dfee7add0241d" providerId="LiveId" clId="{FB0E71FD-FF9D-4C85-BD1A-88A7EC421102}" dt="2019-12-02T22:03:11.266" v="1596" actId="20577"/>
          <ac:spMkLst>
            <pc:docMk/>
            <pc:sldMk cId="2505472448" sldId="274"/>
            <ac:spMk id="27" creationId="{91F8DA4B-3389-4B16-B41C-E5C7D50542BC}"/>
          </ac:spMkLst>
        </pc:spChg>
        <pc:picChg chg="add mod">
          <ac:chgData name="Hu Tianyi" userId="715dfee7add0241d" providerId="LiveId" clId="{FB0E71FD-FF9D-4C85-BD1A-88A7EC421102}" dt="2019-12-03T00:31:39.673" v="2426" actId="14861"/>
          <ac:picMkLst>
            <pc:docMk/>
            <pc:sldMk cId="2505472448" sldId="274"/>
            <ac:picMk id="31" creationId="{C79A771D-4B6F-472F-9A1D-C66EF8623528}"/>
          </ac:picMkLst>
        </pc:picChg>
        <pc:picChg chg="add del mod">
          <ac:chgData name="Hu Tianyi" userId="715dfee7add0241d" providerId="LiveId" clId="{FB0E71FD-FF9D-4C85-BD1A-88A7EC421102}" dt="2019-12-02T21:36:20.172" v="1349" actId="478"/>
          <ac:picMkLst>
            <pc:docMk/>
            <pc:sldMk cId="2505472448" sldId="274"/>
            <ac:picMk id="34" creationId="{21A9E635-7BD0-4E6E-95B1-F12393EFB835}"/>
          </ac:picMkLst>
        </pc:picChg>
        <pc:picChg chg="add mod">
          <ac:chgData name="Hu Tianyi" userId="715dfee7add0241d" providerId="LiveId" clId="{FB0E71FD-FF9D-4C85-BD1A-88A7EC421102}" dt="2019-12-02T22:03:00.040" v="1594" actId="1076"/>
          <ac:picMkLst>
            <pc:docMk/>
            <pc:sldMk cId="2505472448" sldId="274"/>
            <ac:picMk id="35" creationId="{5D2FA8D1-44F3-4878-9F76-9FBA98BFD6CE}"/>
          </ac:picMkLst>
        </pc:picChg>
        <pc:cxnChg chg="add mod">
          <ac:chgData name="Hu Tianyi" userId="715dfee7add0241d" providerId="LiveId" clId="{FB0E71FD-FF9D-4C85-BD1A-88A7EC421102}" dt="2019-12-02T22:02:20.290" v="1590" actId="14100"/>
          <ac:cxnSpMkLst>
            <pc:docMk/>
            <pc:sldMk cId="2505472448" sldId="274"/>
            <ac:cxnSpMk id="14" creationId="{91AF73E0-2642-4622-A0F2-134B42D22438}"/>
          </ac:cxnSpMkLst>
        </pc:cxnChg>
        <pc:cxnChg chg="add mod">
          <ac:chgData name="Hu Tianyi" userId="715dfee7add0241d" providerId="LiveId" clId="{FB0E71FD-FF9D-4C85-BD1A-88A7EC421102}" dt="2019-12-02T22:02:14.627" v="1589" actId="14100"/>
          <ac:cxnSpMkLst>
            <pc:docMk/>
            <pc:sldMk cId="2505472448" sldId="274"/>
            <ac:cxnSpMk id="15" creationId="{8CEFF47B-9E50-4067-89FF-369356FC3128}"/>
          </ac:cxnSpMkLst>
        </pc:cxnChg>
        <pc:cxnChg chg="add mod">
          <ac:chgData name="Hu Tianyi" userId="715dfee7add0241d" providerId="LiveId" clId="{FB0E71FD-FF9D-4C85-BD1A-88A7EC421102}" dt="2019-12-02T22:02:20.290" v="1590" actId="14100"/>
          <ac:cxnSpMkLst>
            <pc:docMk/>
            <pc:sldMk cId="2505472448" sldId="274"/>
            <ac:cxnSpMk id="16" creationId="{C556AEDF-03A5-4AEA-90E8-73C983D4C445}"/>
          </ac:cxnSpMkLst>
        </pc:cxnChg>
        <pc:cxnChg chg="add mod">
          <ac:chgData name="Hu Tianyi" userId="715dfee7add0241d" providerId="LiveId" clId="{FB0E71FD-FF9D-4C85-BD1A-88A7EC421102}" dt="2019-12-02T22:02:14.627" v="1589" actId="14100"/>
          <ac:cxnSpMkLst>
            <pc:docMk/>
            <pc:sldMk cId="2505472448" sldId="274"/>
            <ac:cxnSpMk id="17" creationId="{0558C614-B358-4EFA-926C-A42D6910AD7A}"/>
          </ac:cxnSpMkLst>
        </pc:cxnChg>
        <pc:cxnChg chg="add mod">
          <ac:chgData name="Hu Tianyi" userId="715dfee7add0241d" providerId="LiveId" clId="{FB0E71FD-FF9D-4C85-BD1A-88A7EC421102}" dt="2019-12-02T22:03:00.040" v="1594" actId="1076"/>
          <ac:cxnSpMkLst>
            <pc:docMk/>
            <pc:sldMk cId="2505472448" sldId="274"/>
            <ac:cxnSpMk id="18" creationId="{2310634C-43AB-468B-99FA-6E8DDC636C6C}"/>
          </ac:cxnSpMkLst>
        </pc:cxnChg>
        <pc:cxnChg chg="add mod">
          <ac:chgData name="Hu Tianyi" userId="715dfee7add0241d" providerId="LiveId" clId="{FB0E71FD-FF9D-4C85-BD1A-88A7EC421102}" dt="2019-12-02T22:03:00.040" v="1594" actId="1076"/>
          <ac:cxnSpMkLst>
            <pc:docMk/>
            <pc:sldMk cId="2505472448" sldId="274"/>
            <ac:cxnSpMk id="19" creationId="{1A7A6585-5ABC-4E4C-8AFB-90AFBF14DD0E}"/>
          </ac:cxnSpMkLst>
        </pc:cxnChg>
        <pc:cxnChg chg="add mod">
          <ac:chgData name="Hu Tianyi" userId="715dfee7add0241d" providerId="LiveId" clId="{FB0E71FD-FF9D-4C85-BD1A-88A7EC421102}" dt="2019-12-02T22:02:28.449" v="1591" actId="1076"/>
          <ac:cxnSpMkLst>
            <pc:docMk/>
            <pc:sldMk cId="2505472448" sldId="274"/>
            <ac:cxnSpMk id="20" creationId="{5B079258-8BD7-4547-8C1B-638F03CC53E9}"/>
          </ac:cxnSpMkLst>
        </pc:cxnChg>
        <pc:cxnChg chg="add mod">
          <ac:chgData name="Hu Tianyi" userId="715dfee7add0241d" providerId="LiveId" clId="{FB0E71FD-FF9D-4C85-BD1A-88A7EC421102}" dt="2019-12-02T22:02:31.471" v="1592" actId="1076"/>
          <ac:cxnSpMkLst>
            <pc:docMk/>
            <pc:sldMk cId="2505472448" sldId="274"/>
            <ac:cxnSpMk id="21" creationId="{2892F938-C49E-4B1A-9366-218D74EC3845}"/>
          </ac:cxnSpMkLst>
        </pc:cxnChg>
        <pc:cxnChg chg="add mod">
          <ac:chgData name="Hu Tianyi" userId="715dfee7add0241d" providerId="LiveId" clId="{FB0E71FD-FF9D-4C85-BD1A-88A7EC421102}" dt="2019-12-02T22:02:08.905" v="1588" actId="1036"/>
          <ac:cxnSpMkLst>
            <pc:docMk/>
            <pc:sldMk cId="2505472448" sldId="274"/>
            <ac:cxnSpMk id="23" creationId="{29B4E5E9-3A8B-4B63-88CD-8DB288C5750C}"/>
          </ac:cxnSpMkLst>
        </pc:cxnChg>
        <pc:cxnChg chg="add mod">
          <ac:chgData name="Hu Tianyi" userId="715dfee7add0241d" providerId="LiveId" clId="{FB0E71FD-FF9D-4C85-BD1A-88A7EC421102}" dt="2019-12-02T22:02:31.471" v="1592" actId="1076"/>
          <ac:cxnSpMkLst>
            <pc:docMk/>
            <pc:sldMk cId="2505472448" sldId="274"/>
            <ac:cxnSpMk id="24" creationId="{01BB7359-9E7B-4E87-960C-DD31562BD29A}"/>
          </ac:cxnSpMkLst>
        </pc:cxnChg>
        <pc:cxnChg chg="add mod">
          <ac:chgData name="Hu Tianyi" userId="715dfee7add0241d" providerId="LiveId" clId="{FB0E71FD-FF9D-4C85-BD1A-88A7EC421102}" dt="2019-12-02T22:02:08.905" v="1588" actId="1036"/>
          <ac:cxnSpMkLst>
            <pc:docMk/>
            <pc:sldMk cId="2505472448" sldId="274"/>
            <ac:cxnSpMk id="26" creationId="{6B57AC25-4AEB-4484-BA2A-F341113F5D62}"/>
          </ac:cxnSpMkLst>
        </pc:cxnChg>
        <pc:cxnChg chg="add mod">
          <ac:chgData name="Hu Tianyi" userId="715dfee7add0241d" providerId="LiveId" clId="{FB0E71FD-FF9D-4C85-BD1A-88A7EC421102}" dt="2019-12-02T22:02:14.627" v="1589" actId="14100"/>
          <ac:cxnSpMkLst>
            <pc:docMk/>
            <pc:sldMk cId="2505472448" sldId="274"/>
            <ac:cxnSpMk id="28" creationId="{846AE68B-961F-4FF1-8A7C-95DDCF49F3FF}"/>
          </ac:cxnSpMkLst>
        </pc:cxnChg>
        <pc:cxnChg chg="add mod">
          <ac:chgData name="Hu Tianyi" userId="715dfee7add0241d" providerId="LiveId" clId="{FB0E71FD-FF9D-4C85-BD1A-88A7EC421102}" dt="2019-12-02T22:02:08.905" v="1588" actId="1036"/>
          <ac:cxnSpMkLst>
            <pc:docMk/>
            <pc:sldMk cId="2505472448" sldId="274"/>
            <ac:cxnSpMk id="50" creationId="{01BB7359-9E7B-4E87-960C-DD31562BD29A}"/>
          </ac:cxnSpMkLst>
        </pc:cxnChg>
        <pc:cxnChg chg="add mod">
          <ac:chgData name="Hu Tianyi" userId="715dfee7add0241d" providerId="LiveId" clId="{FB0E71FD-FF9D-4C85-BD1A-88A7EC421102}" dt="2019-12-02T22:02:28.449" v="1591" actId="1076"/>
          <ac:cxnSpMkLst>
            <pc:docMk/>
            <pc:sldMk cId="2505472448" sldId="274"/>
            <ac:cxnSpMk id="51" creationId="{7DF288B6-3E9C-4694-815B-42069949C07B}"/>
          </ac:cxnSpMkLst>
        </pc:cxnChg>
        <pc:cxnChg chg="add del">
          <ac:chgData name="Hu Tianyi" userId="715dfee7add0241d" providerId="LiveId" clId="{FB0E71FD-FF9D-4C85-BD1A-88A7EC421102}" dt="2019-12-02T21:59:07.217" v="1474" actId="478"/>
          <ac:cxnSpMkLst>
            <pc:docMk/>
            <pc:sldMk cId="2505472448" sldId="274"/>
            <ac:cxnSpMk id="111" creationId="{413DE971-AEC7-40AF-A0C6-4C5C8155B6CE}"/>
          </ac:cxnSpMkLst>
        </pc:cxnChg>
        <pc:cxnChg chg="add mod">
          <ac:chgData name="Hu Tianyi" userId="715dfee7add0241d" providerId="LiveId" clId="{FB0E71FD-FF9D-4C85-BD1A-88A7EC421102}" dt="2019-12-02T22:02:20.290" v="1590" actId="14100"/>
          <ac:cxnSpMkLst>
            <pc:docMk/>
            <pc:sldMk cId="2505472448" sldId="274"/>
            <ac:cxnSpMk id="112" creationId="{39174494-3206-40F2-8FB3-5B51D48CE786}"/>
          </ac:cxnSpMkLst>
        </pc:cxnChg>
      </pc:sldChg>
      <pc:sldChg chg="addSp delSp modSp add">
        <pc:chgData name="Hu Tianyi" userId="715dfee7add0241d" providerId="LiveId" clId="{FB0E71FD-FF9D-4C85-BD1A-88A7EC421102}" dt="2019-12-03T02:20:11.386" v="2677" actId="20577"/>
        <pc:sldMkLst>
          <pc:docMk/>
          <pc:sldMk cId="458884989" sldId="275"/>
        </pc:sldMkLst>
        <pc:spChg chg="add mod">
          <ac:chgData name="Hu Tianyi" userId="715dfee7add0241d" providerId="LiveId" clId="{FB0E71FD-FF9D-4C85-BD1A-88A7EC421102}" dt="2019-12-03T02:20:11.386" v="2677" actId="20577"/>
          <ac:spMkLst>
            <pc:docMk/>
            <pc:sldMk cId="458884989" sldId="275"/>
            <ac:spMk id="3" creationId="{D8B64B3A-904E-414A-8B79-F486D158417E}"/>
          </ac:spMkLst>
        </pc:spChg>
        <pc:spChg chg="mod">
          <ac:chgData name="Hu Tianyi" userId="715dfee7add0241d" providerId="LiveId" clId="{FB0E71FD-FF9D-4C85-BD1A-88A7EC421102}" dt="2019-12-02T19:21:39.134" v="259" actId="20577"/>
          <ac:spMkLst>
            <pc:docMk/>
            <pc:sldMk cId="458884989" sldId="275"/>
            <ac:spMk id="5" creationId="{00000000-0000-0000-0000-000000000000}"/>
          </ac:spMkLst>
        </pc:spChg>
        <pc:spChg chg="del mod">
          <ac:chgData name="Hu Tianyi" userId="715dfee7add0241d" providerId="LiveId" clId="{FB0E71FD-FF9D-4C85-BD1A-88A7EC421102}" dt="2019-12-02T22:05:51.249" v="1642" actId="478"/>
          <ac:spMkLst>
            <pc:docMk/>
            <pc:sldMk cId="458884989" sldId="275"/>
            <ac:spMk id="6" creationId="{00000000-0000-0000-0000-000000000000}"/>
          </ac:spMkLst>
        </pc:spChg>
        <pc:spChg chg="mod">
          <ac:chgData name="Hu Tianyi" userId="715dfee7add0241d" providerId="LiveId" clId="{FB0E71FD-FF9D-4C85-BD1A-88A7EC421102}" dt="2019-12-02T19:21:33.368" v="245" actId="20577"/>
          <ac:spMkLst>
            <pc:docMk/>
            <pc:sldMk cId="458884989" sldId="275"/>
            <ac:spMk id="9" creationId="{04F69230-F3A6-4586-9371-A858F4763E9F}"/>
          </ac:spMkLst>
        </pc:spChg>
      </pc:sldChg>
      <pc:sldChg chg="addSp delSp modSp add">
        <pc:chgData name="Hu Tianyi" userId="715dfee7add0241d" providerId="LiveId" clId="{FB0E71FD-FF9D-4C85-BD1A-88A7EC421102}" dt="2019-12-03T03:36:31.814" v="3390" actId="207"/>
        <pc:sldMkLst>
          <pc:docMk/>
          <pc:sldMk cId="1437154966" sldId="276"/>
        </pc:sldMkLst>
        <pc:spChg chg="mod">
          <ac:chgData name="Hu Tianyi" userId="715dfee7add0241d" providerId="LiveId" clId="{FB0E71FD-FF9D-4C85-BD1A-88A7EC421102}" dt="2019-12-02T19:57:01.379" v="476" actId="20577"/>
          <ac:spMkLst>
            <pc:docMk/>
            <pc:sldMk cId="1437154966" sldId="276"/>
            <ac:spMk id="2" creationId="{00000000-0000-0000-0000-000000000000}"/>
          </ac:spMkLst>
        </pc:spChg>
        <pc:graphicFrameChg chg="add mod modGraphic">
          <ac:chgData name="Hu Tianyi" userId="715dfee7add0241d" providerId="LiveId" clId="{FB0E71FD-FF9D-4C85-BD1A-88A7EC421102}" dt="2019-12-03T03:36:31.814" v="3390" actId="207"/>
          <ac:graphicFrameMkLst>
            <pc:docMk/>
            <pc:sldMk cId="1437154966" sldId="276"/>
            <ac:graphicFrameMk id="29" creationId="{C3A101A0-1107-4B1D-93B7-B5AB788E9CC5}"/>
          </ac:graphicFrameMkLst>
        </pc:graphicFrameChg>
        <pc:picChg chg="add">
          <ac:chgData name="Hu Tianyi" userId="715dfee7add0241d" providerId="LiveId" clId="{FB0E71FD-FF9D-4C85-BD1A-88A7EC421102}" dt="2019-12-03T02:49:34.773" v="2872"/>
          <ac:picMkLst>
            <pc:docMk/>
            <pc:sldMk cId="1437154966" sldId="276"/>
            <ac:picMk id="6" creationId="{56FBC730-2D86-4095-8031-1150CAB379BF}"/>
          </ac:picMkLst>
        </pc:picChg>
        <pc:picChg chg="add del mod">
          <ac:chgData name="Hu Tianyi" userId="715dfee7add0241d" providerId="LiveId" clId="{FB0E71FD-FF9D-4C85-BD1A-88A7EC421102}" dt="2019-12-02T19:50:25.194" v="388" actId="478"/>
          <ac:picMkLst>
            <pc:docMk/>
            <pc:sldMk cId="1437154966" sldId="276"/>
            <ac:picMk id="6" creationId="{EF60ACA3-9C35-4730-827F-4B3504133DF6}"/>
          </ac:picMkLst>
        </pc:picChg>
        <pc:picChg chg="add del mod">
          <ac:chgData name="Hu Tianyi" userId="715dfee7add0241d" providerId="LiveId" clId="{FB0E71FD-FF9D-4C85-BD1A-88A7EC421102}" dt="2019-12-02T19:50:24.676" v="387" actId="478"/>
          <ac:picMkLst>
            <pc:docMk/>
            <pc:sldMk cId="1437154966" sldId="276"/>
            <ac:picMk id="8" creationId="{FDB0961A-E876-4D67-8E2D-FF0847D30FCF}"/>
          </ac:picMkLst>
        </pc:picChg>
        <pc:picChg chg="add del mod">
          <ac:chgData name="Hu Tianyi" userId="715dfee7add0241d" providerId="LiveId" clId="{FB0E71FD-FF9D-4C85-BD1A-88A7EC421102}" dt="2019-12-02T19:50:24.046" v="386" actId="478"/>
          <ac:picMkLst>
            <pc:docMk/>
            <pc:sldMk cId="1437154966" sldId="276"/>
            <ac:picMk id="10" creationId="{5349ECF8-01B0-4FE6-97D8-0DAA2718281A}"/>
          </ac:picMkLst>
        </pc:picChg>
        <pc:picChg chg="add del mod">
          <ac:chgData name="Hu Tianyi" userId="715dfee7add0241d" providerId="LiveId" clId="{FB0E71FD-FF9D-4C85-BD1A-88A7EC421102}" dt="2019-12-02T19:50:22.517" v="385" actId="478"/>
          <ac:picMkLst>
            <pc:docMk/>
            <pc:sldMk cId="1437154966" sldId="276"/>
            <ac:picMk id="12" creationId="{1EF4E2DD-1EAE-4143-8CD4-A59FE173B787}"/>
          </ac:picMkLst>
        </pc:picChg>
        <pc:picChg chg="add del mod">
          <ac:chgData name="Hu Tianyi" userId="715dfee7add0241d" providerId="LiveId" clId="{FB0E71FD-FF9D-4C85-BD1A-88A7EC421102}" dt="2019-12-02T19:50:22.011" v="384" actId="478"/>
          <ac:picMkLst>
            <pc:docMk/>
            <pc:sldMk cId="1437154966" sldId="276"/>
            <ac:picMk id="14" creationId="{0F382474-2AE9-4BD9-8CF9-52C981D80BA9}"/>
          </ac:picMkLst>
        </pc:picChg>
        <pc:picChg chg="add del mod">
          <ac:chgData name="Hu Tianyi" userId="715dfee7add0241d" providerId="LiveId" clId="{FB0E71FD-FF9D-4C85-BD1A-88A7EC421102}" dt="2019-12-02T19:50:21.487" v="383" actId="478"/>
          <ac:picMkLst>
            <pc:docMk/>
            <pc:sldMk cId="1437154966" sldId="276"/>
            <ac:picMk id="16" creationId="{595878AB-3439-4E17-A69B-8AAEAB4944A3}"/>
          </ac:picMkLst>
        </pc:picChg>
        <pc:picChg chg="add del mod">
          <ac:chgData name="Hu Tianyi" userId="715dfee7add0241d" providerId="LiveId" clId="{FB0E71FD-FF9D-4C85-BD1A-88A7EC421102}" dt="2019-12-02T19:50:20.933" v="382" actId="478"/>
          <ac:picMkLst>
            <pc:docMk/>
            <pc:sldMk cId="1437154966" sldId="276"/>
            <ac:picMk id="18" creationId="{E01A9474-1771-4C2B-8B54-C48E72B06CE2}"/>
          </ac:picMkLst>
        </pc:picChg>
        <pc:picChg chg="add del mod">
          <ac:chgData name="Hu Tianyi" userId="715dfee7add0241d" providerId="LiveId" clId="{FB0E71FD-FF9D-4C85-BD1A-88A7EC421102}" dt="2019-12-02T19:50:20.387" v="381" actId="478"/>
          <ac:picMkLst>
            <pc:docMk/>
            <pc:sldMk cId="1437154966" sldId="276"/>
            <ac:picMk id="20" creationId="{27C612A0-EBAF-46EF-8084-B302FB1FB039}"/>
          </ac:picMkLst>
        </pc:picChg>
        <pc:picChg chg="add del mod">
          <ac:chgData name="Hu Tianyi" userId="715dfee7add0241d" providerId="LiveId" clId="{FB0E71FD-FF9D-4C85-BD1A-88A7EC421102}" dt="2019-12-02T19:50:19.789" v="380" actId="478"/>
          <ac:picMkLst>
            <pc:docMk/>
            <pc:sldMk cId="1437154966" sldId="276"/>
            <ac:picMk id="22" creationId="{B5CA8920-795E-452D-88F3-958F576398E0}"/>
          </ac:picMkLst>
        </pc:picChg>
        <pc:picChg chg="add del mod">
          <ac:chgData name="Hu Tianyi" userId="715dfee7add0241d" providerId="LiveId" clId="{FB0E71FD-FF9D-4C85-BD1A-88A7EC421102}" dt="2019-12-02T19:50:18.694" v="379" actId="478"/>
          <ac:picMkLst>
            <pc:docMk/>
            <pc:sldMk cId="1437154966" sldId="276"/>
            <ac:picMk id="24" creationId="{C0848D6B-C93E-49E5-99AF-5649DC1CDCA3}"/>
          </ac:picMkLst>
        </pc:picChg>
        <pc:picChg chg="add del mod">
          <ac:chgData name="Hu Tianyi" userId="715dfee7add0241d" providerId="LiveId" clId="{FB0E71FD-FF9D-4C85-BD1A-88A7EC421102}" dt="2019-12-02T19:50:18.214" v="378" actId="478"/>
          <ac:picMkLst>
            <pc:docMk/>
            <pc:sldMk cId="1437154966" sldId="276"/>
            <ac:picMk id="26" creationId="{EDEC7DF1-31B2-44EF-A0F2-46D919D07EB9}"/>
          </ac:picMkLst>
        </pc:picChg>
        <pc:picChg chg="add del mod">
          <ac:chgData name="Hu Tianyi" userId="715dfee7add0241d" providerId="LiveId" clId="{FB0E71FD-FF9D-4C85-BD1A-88A7EC421102}" dt="2019-12-02T19:50:15.573" v="368" actId="478"/>
          <ac:picMkLst>
            <pc:docMk/>
            <pc:sldMk cId="1437154966" sldId="276"/>
            <ac:picMk id="28" creationId="{4627C043-8736-4B89-A521-5C4D52F3D64A}"/>
          </ac:picMkLst>
        </pc:picChg>
      </pc:sldChg>
      <pc:sldChg chg="modSp add">
        <pc:chgData name="Hu Tianyi" userId="715dfee7add0241d" providerId="LiveId" clId="{FB0E71FD-FF9D-4C85-BD1A-88A7EC421102}" dt="2019-12-02T19:22:16.963" v="349" actId="20577"/>
        <pc:sldMkLst>
          <pc:docMk/>
          <pc:sldMk cId="56502143" sldId="277"/>
        </pc:sldMkLst>
        <pc:spChg chg="mod">
          <ac:chgData name="Hu Tianyi" userId="715dfee7add0241d" providerId="LiveId" clId="{FB0E71FD-FF9D-4C85-BD1A-88A7EC421102}" dt="2019-12-02T19:21:49.205" v="271" actId="20577"/>
          <ac:spMkLst>
            <pc:docMk/>
            <pc:sldMk cId="56502143" sldId="277"/>
            <ac:spMk id="5" creationId="{00000000-0000-0000-0000-000000000000}"/>
          </ac:spMkLst>
        </pc:spChg>
        <pc:spChg chg="mod">
          <ac:chgData name="Hu Tianyi" userId="715dfee7add0241d" providerId="LiveId" clId="{FB0E71FD-FF9D-4C85-BD1A-88A7EC421102}" dt="2019-12-02T19:22:16.963" v="349" actId="20577"/>
          <ac:spMkLst>
            <pc:docMk/>
            <pc:sldMk cId="56502143" sldId="277"/>
            <ac:spMk id="6" creationId="{00000000-0000-0000-0000-000000000000}"/>
          </ac:spMkLst>
        </pc:spChg>
        <pc:spChg chg="mod">
          <ac:chgData name="Hu Tianyi" userId="715dfee7add0241d" providerId="LiveId" clId="{FB0E71FD-FF9D-4C85-BD1A-88A7EC421102}" dt="2019-12-02T19:21:44.318" v="261" actId="20577"/>
          <ac:spMkLst>
            <pc:docMk/>
            <pc:sldMk cId="56502143" sldId="277"/>
            <ac:spMk id="9" creationId="{04F69230-F3A6-4586-9371-A858F4763E9F}"/>
          </ac:spMkLst>
        </pc:spChg>
      </pc:sldChg>
      <pc:sldChg chg="addSp modSp add">
        <pc:chgData name="Hu Tianyi" userId="715dfee7add0241d" providerId="LiveId" clId="{FB0E71FD-FF9D-4C85-BD1A-88A7EC421102}" dt="2019-12-03T03:34:20.752" v="3389" actId="113"/>
        <pc:sldMkLst>
          <pc:docMk/>
          <pc:sldMk cId="2555038082" sldId="278"/>
        </pc:sldMkLst>
        <pc:spChg chg="mod">
          <ac:chgData name="Hu Tianyi" userId="715dfee7add0241d" providerId="LiveId" clId="{FB0E71FD-FF9D-4C85-BD1A-88A7EC421102}" dt="2019-12-02T20:04:00.269" v="496" actId="20577"/>
          <ac:spMkLst>
            <pc:docMk/>
            <pc:sldMk cId="2555038082" sldId="278"/>
            <ac:spMk id="2" creationId="{00000000-0000-0000-0000-000000000000}"/>
          </ac:spMkLst>
        </pc:spChg>
        <pc:spChg chg="mod">
          <ac:chgData name="Hu Tianyi" userId="715dfee7add0241d" providerId="LiveId" clId="{FB0E71FD-FF9D-4C85-BD1A-88A7EC421102}" dt="2019-12-02T20:42:24.814" v="636" actId="20577"/>
          <ac:spMkLst>
            <pc:docMk/>
            <pc:sldMk cId="2555038082" sldId="278"/>
            <ac:spMk id="3" creationId="{00000000-0000-0000-0000-000000000000}"/>
          </ac:spMkLst>
        </pc:spChg>
        <pc:spChg chg="add mod">
          <ac:chgData name="Hu Tianyi" userId="715dfee7add0241d" providerId="LiveId" clId="{FB0E71FD-FF9D-4C85-BD1A-88A7EC421102}" dt="2019-12-03T03:34:20.752" v="3389" actId="113"/>
          <ac:spMkLst>
            <pc:docMk/>
            <pc:sldMk cId="2555038082" sldId="278"/>
            <ac:spMk id="6" creationId="{5855EE45-54E6-43DA-AB5F-B143CD825FD1}"/>
          </ac:spMkLst>
        </pc:spChg>
        <pc:picChg chg="add mod">
          <ac:chgData name="Hu Tianyi" userId="715dfee7add0241d" providerId="LiveId" clId="{FB0E71FD-FF9D-4C85-BD1A-88A7EC421102}" dt="2019-12-02T20:42:31.466" v="637" actId="1076"/>
          <ac:picMkLst>
            <pc:docMk/>
            <pc:sldMk cId="2555038082" sldId="278"/>
            <ac:picMk id="5" creationId="{945C2542-1BD6-49C5-9719-AD9630120800}"/>
          </ac:picMkLst>
        </pc:picChg>
      </pc:sldChg>
      <pc:sldChg chg="addSp delSp modSp add del setBg">
        <pc:chgData name="Hu Tianyi" userId="715dfee7add0241d" providerId="LiveId" clId="{FB0E71FD-FF9D-4C85-BD1A-88A7EC421102}" dt="2019-12-02T20:26:09.323" v="599" actId="2696"/>
        <pc:sldMkLst>
          <pc:docMk/>
          <pc:sldMk cId="3091120248" sldId="279"/>
        </pc:sldMkLst>
        <pc:spChg chg="del">
          <ac:chgData name="Hu Tianyi" userId="715dfee7add0241d" providerId="LiveId" clId="{FB0E71FD-FF9D-4C85-BD1A-88A7EC421102}" dt="2019-12-02T20:25:42.230" v="593" actId="478"/>
          <ac:spMkLst>
            <pc:docMk/>
            <pc:sldMk cId="3091120248" sldId="279"/>
            <ac:spMk id="2" creationId="{00000000-0000-0000-0000-000000000000}"/>
          </ac:spMkLst>
        </pc:spChg>
        <pc:spChg chg="add del mod">
          <ac:chgData name="Hu Tianyi" userId="715dfee7add0241d" providerId="LiveId" clId="{FB0E71FD-FF9D-4C85-BD1A-88A7EC421102}" dt="2019-12-02T20:25:44.260" v="594" actId="478"/>
          <ac:spMkLst>
            <pc:docMk/>
            <pc:sldMk cId="3091120248" sldId="279"/>
            <ac:spMk id="7" creationId="{30AF3A6B-6E44-448D-BC11-11B91F8D5BB9}"/>
          </ac:spMkLst>
        </pc:spChg>
        <pc:picChg chg="del">
          <ac:chgData name="Hu Tianyi" userId="715dfee7add0241d" providerId="LiveId" clId="{FB0E71FD-FF9D-4C85-BD1A-88A7EC421102}" dt="2019-12-02T20:25:36.759" v="592" actId="478"/>
          <ac:picMkLst>
            <pc:docMk/>
            <pc:sldMk cId="3091120248" sldId="279"/>
            <ac:picMk id="5" creationId="{945C2542-1BD6-49C5-9719-AD9630120800}"/>
          </ac:picMkLst>
        </pc:picChg>
      </pc:sldChg>
      <pc:sldChg chg="addSp add setBg">
        <pc:chgData name="Hu Tianyi" userId="715dfee7add0241d" providerId="LiveId" clId="{FB0E71FD-FF9D-4C85-BD1A-88A7EC421102}" dt="2019-12-02T20:26:44.372" v="607"/>
        <pc:sldMkLst>
          <pc:docMk/>
          <pc:sldMk cId="3697117686" sldId="279"/>
        </pc:sldMkLst>
        <pc:spChg chg="add">
          <ac:chgData name="Hu Tianyi" userId="715dfee7add0241d" providerId="LiveId" clId="{FB0E71FD-FF9D-4C85-BD1A-88A7EC421102}" dt="2019-12-02T20:26:44.372" v="607"/>
          <ac:spMkLst>
            <pc:docMk/>
            <pc:sldMk cId="3697117686" sldId="279"/>
            <ac:spMk id="2" creationId="{554C52D8-C360-48C6-9328-2D475A399D92}"/>
          </ac:spMkLst>
        </pc:spChg>
      </pc:sldChg>
      <pc:sldChg chg="addSp delSp modSp add">
        <pc:chgData name="Hu Tianyi" userId="715dfee7add0241d" providerId="LiveId" clId="{FB0E71FD-FF9D-4C85-BD1A-88A7EC421102}" dt="2019-12-03T02:49:07.433" v="2864" actId="1076"/>
        <pc:sldMkLst>
          <pc:docMk/>
          <pc:sldMk cId="1127061207" sldId="280"/>
        </pc:sldMkLst>
        <pc:spChg chg="mod">
          <ac:chgData name="Hu Tianyi" userId="715dfee7add0241d" providerId="LiveId" clId="{FB0E71FD-FF9D-4C85-BD1A-88A7EC421102}" dt="2019-12-03T02:48:56.852" v="2862" actId="20577"/>
          <ac:spMkLst>
            <pc:docMk/>
            <pc:sldMk cId="1127061207" sldId="280"/>
            <ac:spMk id="2" creationId="{00000000-0000-0000-0000-000000000000}"/>
          </ac:spMkLst>
        </pc:spChg>
        <pc:spChg chg="mod">
          <ac:chgData name="Hu Tianyi" userId="715dfee7add0241d" providerId="LiveId" clId="{FB0E71FD-FF9D-4C85-BD1A-88A7EC421102}" dt="2019-12-03T01:04:34.192" v="2583" actId="1076"/>
          <ac:spMkLst>
            <pc:docMk/>
            <pc:sldMk cId="1127061207" sldId="280"/>
            <ac:spMk id="6" creationId="{D77B22B0-96DD-493D-9A2A-4351F12DCCFA}"/>
          </ac:spMkLst>
        </pc:spChg>
        <pc:graphicFrameChg chg="mod modGraphic">
          <ac:chgData name="Hu Tianyi" userId="715dfee7add0241d" providerId="LiveId" clId="{FB0E71FD-FF9D-4C85-BD1A-88A7EC421102}" dt="2019-12-03T02:31:42.842" v="2681" actId="1076"/>
          <ac:graphicFrameMkLst>
            <pc:docMk/>
            <pc:sldMk cId="1127061207" sldId="280"/>
            <ac:graphicFrameMk id="8" creationId="{00E36CF3-69DC-4553-AB7A-1CBF677388FE}"/>
          </ac:graphicFrameMkLst>
        </pc:graphicFrameChg>
        <pc:graphicFrameChg chg="del">
          <ac:chgData name="Hu Tianyi" userId="715dfee7add0241d" providerId="LiveId" clId="{FB0E71FD-FF9D-4C85-BD1A-88A7EC421102}" dt="2019-12-02T20:42:02.447" v="609" actId="478"/>
          <ac:graphicFrameMkLst>
            <pc:docMk/>
            <pc:sldMk cId="1127061207" sldId="280"/>
            <ac:graphicFrameMk id="29" creationId="{C3A101A0-1107-4B1D-93B7-B5AB788E9CC5}"/>
          </ac:graphicFrameMkLst>
        </pc:graphicFrameChg>
        <pc:picChg chg="mod">
          <ac:chgData name="Hu Tianyi" userId="715dfee7add0241d" providerId="LiveId" clId="{FB0E71FD-FF9D-4C85-BD1A-88A7EC421102}" dt="2019-12-03T02:42:20.696" v="2794" actId="14100"/>
          <ac:picMkLst>
            <pc:docMk/>
            <pc:sldMk cId="1127061207" sldId="280"/>
            <ac:picMk id="5" creationId="{38031348-6EF6-4538-B94C-52EBCAC3D623}"/>
          </ac:picMkLst>
        </pc:picChg>
        <pc:picChg chg="add mod modCrop">
          <ac:chgData name="Hu Tianyi" userId="715dfee7add0241d" providerId="LiveId" clId="{FB0E71FD-FF9D-4C85-BD1A-88A7EC421102}" dt="2019-12-03T02:42:23.244" v="2795" actId="14100"/>
          <ac:picMkLst>
            <pc:docMk/>
            <pc:sldMk cId="1127061207" sldId="280"/>
            <ac:picMk id="7" creationId="{9756B40B-1F56-4691-BE1A-C4085355229B}"/>
          </ac:picMkLst>
        </pc:picChg>
        <pc:picChg chg="add mod">
          <ac:chgData name="Hu Tianyi" userId="715dfee7add0241d" providerId="LiveId" clId="{FB0E71FD-FF9D-4C85-BD1A-88A7EC421102}" dt="2019-12-03T02:49:07.433" v="2864" actId="1076"/>
          <ac:picMkLst>
            <pc:docMk/>
            <pc:sldMk cId="1127061207" sldId="280"/>
            <ac:picMk id="9" creationId="{77CB3537-7330-4417-A610-CB196A7CB1D6}"/>
          </ac:picMkLst>
        </pc:picChg>
      </pc:sldChg>
      <pc:sldChg chg="addSp delSp modSp">
        <pc:chgData name="Hu Tianyi" userId="715dfee7add0241d" providerId="LiveId" clId="{FB0E71FD-FF9D-4C85-BD1A-88A7EC421102}" dt="2019-12-03T02:49:10.792" v="2865"/>
        <pc:sldMkLst>
          <pc:docMk/>
          <pc:sldMk cId="527552448" sldId="281"/>
        </pc:sldMkLst>
        <pc:spChg chg="mod">
          <ac:chgData name="Hu Tianyi" userId="715dfee7add0241d" providerId="LiveId" clId="{FB0E71FD-FF9D-4C85-BD1A-88A7EC421102}" dt="2019-12-02T21:27:17.771" v="1263" actId="20577"/>
          <ac:spMkLst>
            <pc:docMk/>
            <pc:sldMk cId="527552448" sldId="281"/>
            <ac:spMk id="2" creationId="{E70B46DA-E699-4DBA-88D7-23155C3ACCB3}"/>
          </ac:spMkLst>
        </pc:spChg>
        <pc:spChg chg="mod">
          <ac:chgData name="Hu Tianyi" userId="715dfee7add0241d" providerId="LiveId" clId="{FB0E71FD-FF9D-4C85-BD1A-88A7EC421102}" dt="2019-12-03T02:37:06.962" v="2729" actId="2711"/>
          <ac:spMkLst>
            <pc:docMk/>
            <pc:sldMk cId="527552448" sldId="281"/>
            <ac:spMk id="7" creationId="{62187116-6C13-4B05-88FC-08B0A8046041}"/>
          </ac:spMkLst>
        </pc:spChg>
        <pc:spChg chg="mod">
          <ac:chgData name="Hu Tianyi" userId="715dfee7add0241d" providerId="LiveId" clId="{FB0E71FD-FF9D-4C85-BD1A-88A7EC421102}" dt="2019-12-02T21:27:25.614" v="1264" actId="1076"/>
          <ac:spMkLst>
            <pc:docMk/>
            <pc:sldMk cId="527552448" sldId="281"/>
            <ac:spMk id="9" creationId="{65C33124-3F8D-4002-8CA8-2A6CAD933D63}"/>
          </ac:spMkLst>
        </pc:spChg>
        <pc:spChg chg="mod">
          <ac:chgData name="Hu Tianyi" userId="715dfee7add0241d" providerId="LiveId" clId="{FB0E71FD-FF9D-4C85-BD1A-88A7EC421102}" dt="2019-12-03T02:44:48.169" v="2817" actId="1076"/>
          <ac:spMkLst>
            <pc:docMk/>
            <pc:sldMk cId="527552448" sldId="281"/>
            <ac:spMk id="16" creationId="{E616EAAA-0CBF-4744-8E9C-F5B25A121C5D}"/>
          </ac:spMkLst>
        </pc:spChg>
        <pc:graphicFrameChg chg="mod modGraphic">
          <ac:chgData name="Hu Tianyi" userId="715dfee7add0241d" providerId="LiveId" clId="{FB0E71FD-FF9D-4C85-BD1A-88A7EC421102}" dt="2019-12-03T02:41:47.757" v="2792" actId="12385"/>
          <ac:graphicFrameMkLst>
            <pc:docMk/>
            <pc:sldMk cId="527552448" sldId="281"/>
            <ac:graphicFrameMk id="8" creationId="{05AF74C2-91F4-4000-9A18-DA25DB1B5148}"/>
          </ac:graphicFrameMkLst>
        </pc:graphicFrameChg>
        <pc:picChg chg="mod">
          <ac:chgData name="Hu Tianyi" userId="715dfee7add0241d" providerId="LiveId" clId="{FB0E71FD-FF9D-4C85-BD1A-88A7EC421102}" dt="2019-12-02T21:26:45.972" v="1258" actId="1076"/>
          <ac:picMkLst>
            <pc:docMk/>
            <pc:sldMk cId="527552448" sldId="281"/>
            <ac:picMk id="7" creationId="{902DB0E4-957D-4ABA-B3E8-5E52FB58876C}"/>
          </ac:picMkLst>
        </pc:picChg>
        <pc:picChg chg="add mod modCrop">
          <ac:chgData name="Hu Tianyi" userId="715dfee7add0241d" providerId="LiveId" clId="{FB0E71FD-FF9D-4C85-BD1A-88A7EC421102}" dt="2019-12-03T02:43:29.946" v="2808" actId="1076"/>
          <ac:picMkLst>
            <pc:docMk/>
            <pc:sldMk cId="527552448" sldId="281"/>
            <ac:picMk id="9" creationId="{ED4EC28D-1B24-4619-8D74-307AD9D72C6A}"/>
          </ac:picMkLst>
        </pc:picChg>
        <pc:picChg chg="mod modCrop">
          <ac:chgData name="Hu Tianyi" userId="715dfee7add0241d" providerId="LiveId" clId="{FB0E71FD-FF9D-4C85-BD1A-88A7EC421102}" dt="2019-12-03T02:45:12.123" v="2819" actId="732"/>
          <ac:picMkLst>
            <pc:docMk/>
            <pc:sldMk cId="527552448" sldId="281"/>
            <ac:picMk id="10" creationId="{4FF0E2A8-13B3-4F91-BEF5-F3F745213293}"/>
          </ac:picMkLst>
        </pc:picChg>
        <pc:picChg chg="add del mod">
          <ac:chgData name="Hu Tianyi" userId="715dfee7add0241d" providerId="LiveId" clId="{FB0E71FD-FF9D-4C85-BD1A-88A7EC421102}" dt="2019-12-03T02:35:02.047" v="2714"/>
          <ac:picMkLst>
            <pc:docMk/>
            <pc:sldMk cId="527552448" sldId="281"/>
            <ac:picMk id="11" creationId="{7CC0F6CE-CDE0-4A0C-AA55-AE14A619D76A}"/>
          </ac:picMkLst>
        </pc:picChg>
        <pc:picChg chg="add">
          <ac:chgData name="Hu Tianyi" userId="715dfee7add0241d" providerId="LiveId" clId="{FB0E71FD-FF9D-4C85-BD1A-88A7EC421102}" dt="2019-12-03T02:49:10.792" v="2865"/>
          <ac:picMkLst>
            <pc:docMk/>
            <pc:sldMk cId="527552448" sldId="281"/>
            <ac:picMk id="12" creationId="{02DB1273-A18F-49D4-8717-D4A88455BE42}"/>
          </ac:picMkLst>
        </pc:picChg>
      </pc:sldChg>
      <pc:sldChg chg="add">
        <pc:chgData name="Hu Tianyi" userId="715dfee7add0241d" providerId="LiveId" clId="{FB0E71FD-FF9D-4C85-BD1A-88A7EC421102}" dt="2019-12-02T21:28:10.427" v="1283"/>
        <pc:sldMkLst>
          <pc:docMk/>
          <pc:sldMk cId="166603539" sldId="282"/>
        </pc:sldMkLst>
      </pc:sldChg>
      <pc:sldChg chg="addSp delSp modSp">
        <pc:chgData name="Hu Tianyi" userId="715dfee7add0241d" providerId="LiveId" clId="{FB0E71FD-FF9D-4C85-BD1A-88A7EC421102}" dt="2019-12-03T02:49:13.919" v="2866"/>
        <pc:sldMkLst>
          <pc:docMk/>
          <pc:sldMk cId="166603539" sldId="283"/>
        </pc:sldMkLst>
        <pc:spChg chg="del mod">
          <ac:chgData name="Hu Tianyi" userId="715dfee7add0241d" providerId="LiveId" clId="{FB0E71FD-FF9D-4C85-BD1A-88A7EC421102}" dt="2019-12-03T02:38:34.495" v="2746" actId="478"/>
          <ac:spMkLst>
            <pc:docMk/>
            <pc:sldMk cId="166603539" sldId="283"/>
            <ac:spMk id="5" creationId="{159704CC-D5DD-48C7-BC1C-D7B88B7045E4}"/>
          </ac:spMkLst>
        </pc:spChg>
        <pc:spChg chg="mod">
          <ac:chgData name="Hu Tianyi" userId="715dfee7add0241d" providerId="LiveId" clId="{FB0E71FD-FF9D-4C85-BD1A-88A7EC421102}" dt="2019-12-03T02:44:59.975" v="2818" actId="1076"/>
          <ac:spMkLst>
            <pc:docMk/>
            <pc:sldMk cId="166603539" sldId="283"/>
            <ac:spMk id="8" creationId="{FCF5E400-EF8F-4E0D-9959-197DB8A3C11D}"/>
          </ac:spMkLst>
        </pc:spChg>
        <pc:spChg chg="add del mod">
          <ac:chgData name="Hu Tianyi" userId="715dfee7add0241d" providerId="LiveId" clId="{FB0E71FD-FF9D-4C85-BD1A-88A7EC421102}" dt="2019-12-02T23:24:27.591" v="1806"/>
          <ac:spMkLst>
            <pc:docMk/>
            <pc:sldMk cId="166603539" sldId="283"/>
            <ac:spMk id="9" creationId="{4F2BEEE3-5FB4-45A1-90BB-15CC023A88AD}"/>
          </ac:spMkLst>
        </pc:spChg>
        <pc:spChg chg="add del">
          <ac:chgData name="Hu Tianyi" userId="715dfee7add0241d" providerId="LiveId" clId="{FB0E71FD-FF9D-4C85-BD1A-88A7EC421102}" dt="2019-12-03T02:38:14.175" v="2739" actId="478"/>
          <ac:spMkLst>
            <pc:docMk/>
            <pc:sldMk cId="166603539" sldId="283"/>
            <ac:spMk id="10" creationId="{40392D1E-34D5-48E6-AF2B-2D9FDCE8524C}"/>
          </ac:spMkLst>
        </pc:spChg>
        <pc:spChg chg="add mod">
          <ac:chgData name="Hu Tianyi" userId="715dfee7add0241d" providerId="LiveId" clId="{FB0E71FD-FF9D-4C85-BD1A-88A7EC421102}" dt="2019-12-03T02:38:32.316" v="2745" actId="20577"/>
          <ac:spMkLst>
            <pc:docMk/>
            <pc:sldMk cId="166603539" sldId="283"/>
            <ac:spMk id="11" creationId="{B6A5E57A-F3A2-4516-9092-A8C9A74F306F}"/>
          </ac:spMkLst>
        </pc:spChg>
        <pc:graphicFrameChg chg="mod modGraphic">
          <ac:chgData name="Hu Tianyi" userId="715dfee7add0241d" providerId="LiveId" clId="{FB0E71FD-FF9D-4C85-BD1A-88A7EC421102}" dt="2019-12-03T02:40:45.151" v="2778" actId="1076"/>
          <ac:graphicFrameMkLst>
            <pc:docMk/>
            <pc:sldMk cId="166603539" sldId="283"/>
            <ac:graphicFrameMk id="6" creationId="{967DF90C-1E08-4968-B431-646DB39B9667}"/>
          </ac:graphicFrameMkLst>
        </pc:graphicFrameChg>
        <pc:picChg chg="mod modCrop">
          <ac:chgData name="Hu Tianyi" userId="715dfee7add0241d" providerId="LiveId" clId="{FB0E71FD-FF9D-4C85-BD1A-88A7EC421102}" dt="2019-12-03T02:37:45.307" v="2732" actId="1076"/>
          <ac:picMkLst>
            <pc:docMk/>
            <pc:sldMk cId="166603539" sldId="283"/>
            <ac:picMk id="7" creationId="{902DB0E4-957D-4ABA-B3E8-5E52FB58876C}"/>
          </ac:picMkLst>
        </pc:picChg>
        <pc:picChg chg="del">
          <ac:chgData name="Hu Tianyi" userId="715dfee7add0241d" providerId="LiveId" clId="{FB0E71FD-FF9D-4C85-BD1A-88A7EC421102}" dt="2019-12-02T21:28:13.465" v="1284" actId="478"/>
          <ac:picMkLst>
            <pc:docMk/>
            <pc:sldMk cId="166603539" sldId="283"/>
            <ac:picMk id="10" creationId="{4FF0E2A8-13B3-4F91-BEF5-F3F745213293}"/>
          </ac:picMkLst>
        </pc:picChg>
        <pc:picChg chg="add">
          <ac:chgData name="Hu Tianyi" userId="715dfee7add0241d" providerId="LiveId" clId="{FB0E71FD-FF9D-4C85-BD1A-88A7EC421102}" dt="2019-12-03T02:49:13.919" v="2866"/>
          <ac:picMkLst>
            <pc:docMk/>
            <pc:sldMk cId="166603539" sldId="283"/>
            <ac:picMk id="12" creationId="{85504DB3-BB4F-45A7-9920-8CB02D4AF560}"/>
          </ac:picMkLst>
        </pc:picChg>
      </pc:sldChg>
      <pc:sldChg chg="addSp modSp">
        <pc:chgData name="Hu Tianyi" userId="715dfee7add0241d" providerId="LiveId" clId="{FB0E71FD-FF9D-4C85-BD1A-88A7EC421102}" dt="2019-12-03T02:49:32.774" v="2871" actId="1076"/>
        <pc:sldMkLst>
          <pc:docMk/>
          <pc:sldMk cId="922554635" sldId="284"/>
        </pc:sldMkLst>
        <pc:spChg chg="mod">
          <ac:chgData name="Hu Tianyi" userId="715dfee7add0241d" providerId="LiveId" clId="{FB0E71FD-FF9D-4C85-BD1A-88A7EC421102}" dt="2019-12-03T02:48:25.935" v="2858" actId="20577"/>
          <ac:spMkLst>
            <pc:docMk/>
            <pc:sldMk cId="922554635" sldId="284"/>
            <ac:spMk id="2" creationId="{343120E0-547A-4BA4-BB9A-06AA461D583C}"/>
          </ac:spMkLst>
        </pc:spChg>
        <pc:picChg chg="mod modCrop">
          <ac:chgData name="Hu Tianyi" userId="715dfee7add0241d" providerId="LiveId" clId="{FB0E71FD-FF9D-4C85-BD1A-88A7EC421102}" dt="2019-12-03T02:48:14.459" v="2854" actId="1076"/>
          <ac:picMkLst>
            <pc:docMk/>
            <pc:sldMk cId="922554635" sldId="284"/>
            <ac:picMk id="5" creationId="{BCEB4BE1-1A67-463B-A5E6-3960FC056B98}"/>
          </ac:picMkLst>
        </pc:picChg>
        <pc:picChg chg="mod modCrop">
          <ac:chgData name="Hu Tianyi" userId="715dfee7add0241d" providerId="LiveId" clId="{FB0E71FD-FF9D-4C85-BD1A-88A7EC421102}" dt="2019-12-03T02:48:12.364" v="2853" actId="1076"/>
          <ac:picMkLst>
            <pc:docMk/>
            <pc:sldMk cId="922554635" sldId="284"/>
            <ac:picMk id="7" creationId="{49E0D896-ED74-4F20-A423-75BC28EE13FA}"/>
          </ac:picMkLst>
        </pc:picChg>
        <pc:picChg chg="add mod">
          <ac:chgData name="Hu Tianyi" userId="715dfee7add0241d" providerId="LiveId" clId="{FB0E71FD-FF9D-4C85-BD1A-88A7EC421102}" dt="2019-12-03T02:49:32.774" v="2871" actId="1076"/>
          <ac:picMkLst>
            <pc:docMk/>
            <pc:sldMk cId="922554635" sldId="284"/>
            <ac:picMk id="8" creationId="{9E948DEB-06C6-49A7-A8CD-69202BF277BB}"/>
          </ac:picMkLst>
        </pc:picChg>
        <pc:picChg chg="mod modCrop">
          <ac:chgData name="Hu Tianyi" userId="715dfee7add0241d" providerId="LiveId" clId="{FB0E71FD-FF9D-4C85-BD1A-88A7EC421102}" dt="2019-12-03T02:48:08.450" v="2852" actId="1076"/>
          <ac:picMkLst>
            <pc:docMk/>
            <pc:sldMk cId="922554635" sldId="284"/>
            <ac:picMk id="9" creationId="{0E56ECB6-7523-427B-A38E-1F82F45CAEBE}"/>
          </ac:picMkLst>
        </pc:picChg>
      </pc:sldChg>
      <pc:sldChg chg="addSp modSp add">
        <pc:chgData name="Hu Tianyi" userId="715dfee7add0241d" providerId="LiveId" clId="{FB0E71FD-FF9D-4C85-BD1A-88A7EC421102}" dt="2019-12-03T02:57:11.508" v="2975" actId="20577"/>
        <pc:sldMkLst>
          <pc:docMk/>
          <pc:sldMk cId="2767923759" sldId="285"/>
        </pc:sldMkLst>
        <pc:spChg chg="mod">
          <ac:chgData name="Hu Tianyi" userId="715dfee7add0241d" providerId="LiveId" clId="{FB0E71FD-FF9D-4C85-BD1A-88A7EC421102}" dt="2019-12-03T00:06:43.269" v="1888" actId="20577"/>
          <ac:spMkLst>
            <pc:docMk/>
            <pc:sldMk cId="2767923759" sldId="285"/>
            <ac:spMk id="2" creationId="{F5A1FAC9-06FD-4FEB-8D66-25F36DFF3FFA}"/>
          </ac:spMkLst>
        </pc:spChg>
        <pc:spChg chg="add mod">
          <ac:chgData name="Hu Tianyi" userId="715dfee7add0241d" providerId="LiveId" clId="{FB0E71FD-FF9D-4C85-BD1A-88A7EC421102}" dt="2019-12-03T02:57:11.508" v="2975" actId="20577"/>
          <ac:spMkLst>
            <pc:docMk/>
            <pc:sldMk cId="2767923759" sldId="285"/>
            <ac:spMk id="8" creationId="{868EB9BD-7C15-4058-ACAF-3648CE581055}"/>
          </ac:spMkLst>
        </pc:spChg>
        <pc:picChg chg="add mod modCrop">
          <ac:chgData name="Hu Tianyi" userId="715dfee7add0241d" providerId="LiveId" clId="{FB0E71FD-FF9D-4C85-BD1A-88A7EC421102}" dt="2019-12-03T00:09:56.868" v="1953" actId="1076"/>
          <ac:picMkLst>
            <pc:docMk/>
            <pc:sldMk cId="2767923759" sldId="285"/>
            <ac:picMk id="6" creationId="{594D32AF-B534-493D-BA33-91438DCAC3F8}"/>
          </ac:picMkLst>
        </pc:picChg>
        <pc:picChg chg="add">
          <ac:chgData name="Hu Tianyi" userId="715dfee7add0241d" providerId="LiveId" clId="{FB0E71FD-FF9D-4C85-BD1A-88A7EC421102}" dt="2019-12-03T02:49:43.450" v="2873"/>
          <ac:picMkLst>
            <pc:docMk/>
            <pc:sldMk cId="2767923759" sldId="285"/>
            <ac:picMk id="7" creationId="{AAD750CA-F84E-4D85-98CB-47E761ACC652}"/>
          </ac:picMkLst>
        </pc:picChg>
      </pc:sldChg>
      <pc:sldChg chg="addSp delSp modSp add">
        <pc:chgData name="Hu Tianyi" userId="715dfee7add0241d" providerId="LiveId" clId="{FB0E71FD-FF9D-4C85-BD1A-88A7EC421102}" dt="2019-12-03T02:57:56.105" v="2984" actId="20577"/>
        <pc:sldMkLst>
          <pc:docMk/>
          <pc:sldMk cId="3388890105" sldId="286"/>
        </pc:sldMkLst>
        <pc:spChg chg="mod">
          <ac:chgData name="Hu Tianyi" userId="715dfee7add0241d" providerId="LiveId" clId="{FB0E71FD-FF9D-4C85-BD1A-88A7EC421102}" dt="2019-12-03T00:08:24.095" v="1947" actId="20577"/>
          <ac:spMkLst>
            <pc:docMk/>
            <pc:sldMk cId="3388890105" sldId="286"/>
            <ac:spMk id="2" creationId="{F5A1FAC9-06FD-4FEB-8D66-25F36DFF3FFA}"/>
          </ac:spMkLst>
        </pc:spChg>
        <pc:spChg chg="add mod">
          <ac:chgData name="Hu Tianyi" userId="715dfee7add0241d" providerId="LiveId" clId="{FB0E71FD-FF9D-4C85-BD1A-88A7EC421102}" dt="2019-12-03T02:57:56.105" v="2984" actId="20577"/>
          <ac:spMkLst>
            <pc:docMk/>
            <pc:sldMk cId="3388890105" sldId="286"/>
            <ac:spMk id="9" creationId="{89A52FC6-E3D8-48C3-B008-F70DD3048851}"/>
          </ac:spMkLst>
        </pc:spChg>
        <pc:picChg chg="del">
          <ac:chgData name="Hu Tianyi" userId="715dfee7add0241d" providerId="LiveId" clId="{FB0E71FD-FF9D-4C85-BD1A-88A7EC421102}" dt="2019-12-02T23:57:22.708" v="1822" actId="478"/>
          <ac:picMkLst>
            <pc:docMk/>
            <pc:sldMk cId="3388890105" sldId="286"/>
            <ac:picMk id="6" creationId="{594D32AF-B534-493D-BA33-91438DCAC3F8}"/>
          </ac:picMkLst>
        </pc:picChg>
        <pc:picChg chg="add mod modCrop">
          <ac:chgData name="Hu Tianyi" userId="715dfee7add0241d" providerId="LiveId" clId="{FB0E71FD-FF9D-4C85-BD1A-88A7EC421102}" dt="2019-12-03T00:09:58.897" v="1954" actId="1076"/>
          <ac:picMkLst>
            <pc:docMk/>
            <pc:sldMk cId="3388890105" sldId="286"/>
            <ac:picMk id="7" creationId="{52770A20-D9E2-46AD-8321-2B8102836FA9}"/>
          </ac:picMkLst>
        </pc:picChg>
        <pc:picChg chg="add">
          <ac:chgData name="Hu Tianyi" userId="715dfee7add0241d" providerId="LiveId" clId="{FB0E71FD-FF9D-4C85-BD1A-88A7EC421102}" dt="2019-12-03T02:49:44.992" v="2874"/>
          <ac:picMkLst>
            <pc:docMk/>
            <pc:sldMk cId="3388890105" sldId="286"/>
            <ac:picMk id="8" creationId="{04AD5A6D-2498-4E06-928B-801329840E46}"/>
          </ac:picMkLst>
        </pc:picChg>
      </pc:sldChg>
      <pc:sldChg chg="add del">
        <pc:chgData name="Hu Tianyi" userId="715dfee7add0241d" providerId="LiveId" clId="{FB0E71FD-FF9D-4C85-BD1A-88A7EC421102}" dt="2019-12-03T00:04:55.384" v="1840" actId="2696"/>
        <pc:sldMkLst>
          <pc:docMk/>
          <pc:sldMk cId="1697484457" sldId="287"/>
        </pc:sldMkLst>
      </pc:sldChg>
      <pc:sldMasterChg chg="delSldLayout modSldLayout">
        <pc:chgData name="Hu Tianyi" userId="715dfee7add0241d" providerId="LiveId" clId="{FB0E71FD-FF9D-4C85-BD1A-88A7EC421102}" dt="2019-12-02T21:53:04.301" v="1433"/>
        <pc:sldMasterMkLst>
          <pc:docMk/>
          <pc:sldMasterMk cId="3784027784" sldId="2147483648"/>
        </pc:sldMasterMkLst>
        <pc:sldLayoutChg chg="modSp setBg">
          <pc:chgData name="Hu Tianyi" userId="715dfee7add0241d" providerId="LiveId" clId="{FB0E71FD-FF9D-4C85-BD1A-88A7EC421102}" dt="2019-12-02T21:53:04.301" v="1433"/>
          <pc:sldLayoutMkLst>
            <pc:docMk/>
            <pc:sldMasterMk cId="3784027784" sldId="2147483648"/>
            <pc:sldLayoutMk cId="2882586885" sldId="2147483660"/>
          </pc:sldLayoutMkLst>
          <pc:grpChg chg="mod">
            <ac:chgData name="Hu Tianyi" userId="715dfee7add0241d" providerId="LiveId" clId="{FB0E71FD-FF9D-4C85-BD1A-88A7EC421102}" dt="2019-12-02T21:52:31.433" v="1431" actId="1076"/>
            <ac:grpSpMkLst>
              <pc:docMk/>
              <pc:sldMasterMk cId="3784027784" sldId="2147483648"/>
              <pc:sldLayoutMk cId="2882586885" sldId="2147483660"/>
              <ac:grpSpMk id="6" creationId="{14C97526-73DE-4709-9224-AFBE5155378D}"/>
            </ac:grpSpMkLst>
          </pc:grpChg>
          <pc:grpChg chg="mod">
            <ac:chgData name="Hu Tianyi" userId="715dfee7add0241d" providerId="LiveId" clId="{FB0E71FD-FF9D-4C85-BD1A-88A7EC421102}" dt="2019-12-02T21:52:31.433" v="1431" actId="1076"/>
            <ac:grpSpMkLst>
              <pc:docMk/>
              <pc:sldMasterMk cId="3784027784" sldId="2147483648"/>
              <pc:sldLayoutMk cId="2882586885" sldId="2147483660"/>
              <ac:grpSpMk id="7" creationId="{7AB74670-6727-47B1-BDFC-EFAD304FA027}"/>
            </ac:grpSpMkLst>
          </pc:grpChg>
          <pc:grpChg chg="mod">
            <ac:chgData name="Hu Tianyi" userId="715dfee7add0241d" providerId="LiveId" clId="{FB0E71FD-FF9D-4C85-BD1A-88A7EC421102}" dt="2019-12-02T21:52:31.433" v="1431" actId="1076"/>
            <ac:grpSpMkLst>
              <pc:docMk/>
              <pc:sldMasterMk cId="3784027784" sldId="2147483648"/>
              <pc:sldLayoutMk cId="2882586885" sldId="2147483660"/>
              <ac:grpSpMk id="10293" creationId="{66DAECEB-5D11-4222-BDAA-6F52E878E13C}"/>
            </ac:grpSpMkLst>
          </pc:grpChg>
        </pc:sldLayoutChg>
        <pc:sldLayoutChg chg="del">
          <pc:chgData name="Hu Tianyi" userId="715dfee7add0241d" providerId="LiveId" clId="{FB0E71FD-FF9D-4C85-BD1A-88A7EC421102}" dt="2019-12-02T20:26:27.757" v="603" actId="2696"/>
          <pc:sldLayoutMkLst>
            <pc:docMk/>
            <pc:sldMasterMk cId="3784027784" sldId="2147483648"/>
            <pc:sldLayoutMk cId="3877878293" sldId="2147483670"/>
          </pc:sldLayoutMkLst>
        </pc:sldLayoutChg>
      </pc:sldMasterChg>
    </pc:docChg>
  </pc:docChgLst>
  <pc:docChgLst>
    <pc:chgData name="丁 汀" userId="6a9c40d05b27b5d9" providerId="LiveId" clId="{444DAD01-57F2-473B-B73B-8ABECED9F461}"/>
    <pc:docChg chg="custSel addSld delSld modSld sldOrd">
      <pc:chgData name="丁 汀" userId="6a9c40d05b27b5d9" providerId="LiveId" clId="{444DAD01-57F2-473B-B73B-8ABECED9F461}" dt="2019-12-03T00:28:34.328" v="167"/>
      <pc:docMkLst>
        <pc:docMk/>
      </pc:docMkLst>
      <pc:sldChg chg="ord">
        <pc:chgData name="丁 汀" userId="6a9c40d05b27b5d9" providerId="LiveId" clId="{444DAD01-57F2-473B-B73B-8ABECED9F461}" dt="2019-12-03T00:28:34.328" v="167"/>
        <pc:sldMkLst>
          <pc:docMk/>
          <pc:sldMk cId="1437154966" sldId="276"/>
        </pc:sldMkLst>
      </pc:sldChg>
      <pc:sldChg chg="addSp modSp">
        <pc:chgData name="丁 汀" userId="6a9c40d05b27b5d9" providerId="LiveId" clId="{444DAD01-57F2-473B-B73B-8ABECED9F461}" dt="2019-12-03T00:16:30.094" v="166" actId="20577"/>
        <pc:sldMkLst>
          <pc:docMk/>
          <pc:sldMk cId="1127061207" sldId="280"/>
        </pc:sldMkLst>
        <pc:spChg chg="add mod">
          <ac:chgData name="丁 汀" userId="6a9c40d05b27b5d9" providerId="LiveId" clId="{444DAD01-57F2-473B-B73B-8ABECED9F461}" dt="2019-12-03T00:16:30.094" v="166" actId="20577"/>
          <ac:spMkLst>
            <pc:docMk/>
            <pc:sldMk cId="1127061207" sldId="280"/>
            <ac:spMk id="6" creationId="{D77B22B0-96DD-493D-9A2A-4351F12DCCFA}"/>
          </ac:spMkLst>
        </pc:spChg>
        <pc:graphicFrameChg chg="mod">
          <ac:chgData name="丁 汀" userId="6a9c40d05b27b5d9" providerId="LiveId" clId="{444DAD01-57F2-473B-B73B-8ABECED9F461}" dt="2019-12-03T00:15:35.825" v="80" actId="1076"/>
          <ac:graphicFrameMkLst>
            <pc:docMk/>
            <pc:sldMk cId="1127061207" sldId="280"/>
            <ac:graphicFrameMk id="8" creationId="{00E36CF3-69DC-4553-AB7A-1CBF677388FE}"/>
          </ac:graphicFrameMkLst>
        </pc:graphicFrameChg>
      </pc:sldChg>
      <pc:sldChg chg="addSp modSp">
        <pc:chgData name="丁 汀" userId="6a9c40d05b27b5d9" providerId="LiveId" clId="{444DAD01-57F2-473B-B73B-8ABECED9F461}" dt="2019-12-02T22:13:49.124" v="61" actId="1076"/>
        <pc:sldMkLst>
          <pc:docMk/>
          <pc:sldMk cId="527552448" sldId="281"/>
        </pc:sldMkLst>
        <pc:spChg chg="add mod">
          <ac:chgData name="丁 汀" userId="6a9c40d05b27b5d9" providerId="LiveId" clId="{444DAD01-57F2-473B-B73B-8ABECED9F461}" dt="2019-12-02T21:55:03.377" v="52" actId="1076"/>
          <ac:spMkLst>
            <pc:docMk/>
            <pc:sldMk cId="527552448" sldId="281"/>
            <ac:spMk id="7" creationId="{62187116-6C13-4B05-88FC-08B0A8046041}"/>
          </ac:spMkLst>
        </pc:spChg>
        <pc:spChg chg="mod">
          <ac:chgData name="丁 汀" userId="6a9c40d05b27b5d9" providerId="LiveId" clId="{444DAD01-57F2-473B-B73B-8ABECED9F461}" dt="2019-12-02T22:13:49.124" v="61" actId="1076"/>
          <ac:spMkLst>
            <pc:docMk/>
            <pc:sldMk cId="527552448" sldId="281"/>
            <ac:spMk id="16" creationId="{E616EAAA-0CBF-4744-8E9C-F5B25A121C5D}"/>
          </ac:spMkLst>
        </pc:spChg>
        <pc:graphicFrameChg chg="add mod">
          <ac:chgData name="丁 汀" userId="6a9c40d05b27b5d9" providerId="LiveId" clId="{444DAD01-57F2-473B-B73B-8ABECED9F461}" dt="2019-12-02T21:55:03.377" v="52" actId="1076"/>
          <ac:graphicFrameMkLst>
            <pc:docMk/>
            <pc:sldMk cId="527552448" sldId="281"/>
            <ac:graphicFrameMk id="8" creationId="{05AF74C2-91F4-4000-9A18-DA25DB1B5148}"/>
          </ac:graphicFrameMkLst>
        </pc:graphicFrameChg>
      </pc:sldChg>
      <pc:sldChg chg="del">
        <pc:chgData name="丁 汀" userId="6a9c40d05b27b5d9" providerId="LiveId" clId="{444DAD01-57F2-473B-B73B-8ABECED9F461}" dt="2019-12-02T21:55:14.198" v="53" actId="2696"/>
        <pc:sldMkLst>
          <pc:docMk/>
          <pc:sldMk cId="3991464183" sldId="282"/>
        </pc:sldMkLst>
      </pc:sldChg>
      <pc:sldChg chg="addSp modSp">
        <pc:chgData name="丁 汀" userId="6a9c40d05b27b5d9" providerId="LiveId" clId="{444DAD01-57F2-473B-B73B-8ABECED9F461}" dt="2019-12-02T21:54:20.271" v="50" actId="20577"/>
        <pc:sldMkLst>
          <pc:docMk/>
          <pc:sldMk cId="166603539" sldId="283"/>
        </pc:sldMkLst>
        <pc:spChg chg="add mod">
          <ac:chgData name="丁 汀" userId="6a9c40d05b27b5d9" providerId="LiveId" clId="{444DAD01-57F2-473B-B73B-8ABECED9F461}" dt="2019-12-02T21:54:20.271" v="50" actId="20577"/>
          <ac:spMkLst>
            <pc:docMk/>
            <pc:sldMk cId="166603539" sldId="283"/>
            <ac:spMk id="8" creationId="{FCF5E400-EF8F-4E0D-9959-197DB8A3C11D}"/>
          </ac:spMkLst>
        </pc:spChg>
        <pc:picChg chg="mod">
          <ac:chgData name="丁 汀" userId="6a9c40d05b27b5d9" providerId="LiveId" clId="{444DAD01-57F2-473B-B73B-8ABECED9F461}" dt="2019-12-02T21:53:15.844" v="1" actId="1076"/>
          <ac:picMkLst>
            <pc:docMk/>
            <pc:sldMk cId="166603539" sldId="283"/>
            <ac:picMk id="7" creationId="{902DB0E4-957D-4ABA-B3E8-5E52FB58876C}"/>
          </ac:picMkLst>
        </pc:picChg>
      </pc:sldChg>
      <pc:sldChg chg="ord">
        <pc:chgData name="丁 汀" userId="6a9c40d05b27b5d9" providerId="LiveId" clId="{444DAD01-57F2-473B-B73B-8ABECED9F461}" dt="2019-12-03T00:28:34.328" v="167"/>
        <pc:sldMkLst>
          <pc:docMk/>
          <pc:sldMk cId="922554635" sldId="284"/>
        </pc:sldMkLst>
      </pc:sldChg>
      <pc:sldChg chg="add del">
        <pc:chgData name="丁 汀" userId="6a9c40d05b27b5d9" providerId="LiveId" clId="{444DAD01-57F2-473B-B73B-8ABECED9F461}" dt="2019-12-03T00:03:40.128" v="63" actId="2696"/>
        <pc:sldMkLst>
          <pc:docMk/>
          <pc:sldMk cId="600341375" sldId="287"/>
        </pc:sldMkLst>
      </pc:sldChg>
      <pc:sldChg chg="addSp delSp modSp add ord delAnim modAnim">
        <pc:chgData name="丁 汀" userId="6a9c40d05b27b5d9" providerId="LiveId" clId="{444DAD01-57F2-473B-B73B-8ABECED9F461}" dt="2019-12-03T00:11:16.008" v="79" actId="14100"/>
        <pc:sldMkLst>
          <pc:docMk/>
          <pc:sldMk cId="1697484457" sldId="287"/>
        </pc:sldMkLst>
        <pc:spChg chg="del">
          <ac:chgData name="丁 汀" userId="6a9c40d05b27b5d9" providerId="LiveId" clId="{444DAD01-57F2-473B-B73B-8ABECED9F461}" dt="2019-12-03T00:04:17.269" v="66" actId="478"/>
          <ac:spMkLst>
            <pc:docMk/>
            <pc:sldMk cId="1697484457" sldId="287"/>
            <ac:spMk id="2" creationId="{E9FB64F2-58CD-4CD9-98E1-2B58812CFB53}"/>
          </ac:spMkLst>
        </pc:spChg>
        <pc:spChg chg="del">
          <ac:chgData name="丁 汀" userId="6a9c40d05b27b5d9" providerId="LiveId" clId="{444DAD01-57F2-473B-B73B-8ABECED9F461}" dt="2019-12-03T00:04:19.391" v="67" actId="478"/>
          <ac:spMkLst>
            <pc:docMk/>
            <pc:sldMk cId="1697484457" sldId="287"/>
            <ac:spMk id="3" creationId="{90C9A2C1-96B6-4366-BC85-0333C1EAC1F7}"/>
          </ac:spMkLst>
        </pc:spChg>
        <pc:picChg chg="add del mod">
          <ac:chgData name="丁 汀" userId="6a9c40d05b27b5d9" providerId="LiveId" clId="{444DAD01-57F2-473B-B73B-8ABECED9F461}" dt="2019-12-03T00:08:35.699" v="72" actId="478"/>
          <ac:picMkLst>
            <pc:docMk/>
            <pc:sldMk cId="1697484457" sldId="287"/>
            <ac:picMk id="2" creationId="{5F4D0F66-A535-4705-9BCF-636866C647E7}"/>
          </ac:picMkLst>
        </pc:picChg>
        <pc:picChg chg="add mod">
          <ac:chgData name="丁 汀" userId="6a9c40d05b27b5d9" providerId="LiveId" clId="{444DAD01-57F2-473B-B73B-8ABECED9F461}" dt="2019-12-03T00:11:16.008" v="79" actId="14100"/>
          <ac:picMkLst>
            <pc:docMk/>
            <pc:sldMk cId="1697484457" sldId="287"/>
            <ac:picMk id="3" creationId="{300ADE00-2C43-40A9-A638-ED4147761840}"/>
          </ac:picMkLst>
        </pc:picChg>
      </pc:sldChg>
    </pc:docChg>
  </pc:docChgLst>
  <pc:docChgLst>
    <pc:chgData name="来宾用户" providerId="Windows Live" clId="Web-{5D9AD181-B3E9-47BD-B460-311A9D063BFC}"/>
    <pc:docChg chg="addSld modSld">
      <pc:chgData name="来宾用户" userId="" providerId="Windows Live" clId="Web-{5D9AD181-B3E9-47BD-B460-311A9D063BFC}" dt="2019-12-02T21:50:26.841" v="947"/>
      <pc:docMkLst>
        <pc:docMk/>
      </pc:docMkLst>
      <pc:sldChg chg="modSp">
        <pc:chgData name="来宾用户" userId="" providerId="Windows Live" clId="Web-{5D9AD181-B3E9-47BD-B460-311A9D063BFC}" dt="2019-12-02T21:29:24.851" v="263" actId="20577"/>
        <pc:sldMkLst>
          <pc:docMk/>
          <pc:sldMk cId="2271741893" sldId="256"/>
        </pc:sldMkLst>
        <pc:spChg chg="mod">
          <ac:chgData name="来宾用户" userId="" providerId="Windows Live" clId="Web-{5D9AD181-B3E9-47BD-B460-311A9D063BFC}" dt="2019-12-02T21:29:24.851" v="263" actId="20577"/>
          <ac:spMkLst>
            <pc:docMk/>
            <pc:sldMk cId="2271741893" sldId="256"/>
            <ac:spMk id="4" creationId="{00000000-0000-0000-0000-000000000000}"/>
          </ac:spMkLst>
        </pc:spChg>
      </pc:sldChg>
      <pc:sldChg chg="addSp delSp modSp new">
        <pc:chgData name="来宾用户" userId="" providerId="Windows Live" clId="Web-{5D9AD181-B3E9-47BD-B460-311A9D063BFC}" dt="2019-12-02T21:48:38.778" v="931" actId="14100"/>
        <pc:sldMkLst>
          <pc:docMk/>
          <pc:sldMk cId="527552448" sldId="281"/>
        </pc:sldMkLst>
        <pc:spChg chg="mod">
          <ac:chgData name="来宾用户" userId="" providerId="Windows Live" clId="Web-{5D9AD181-B3E9-47BD-B460-311A9D063BFC}" dt="2019-12-02T21:25:35.960" v="232" actId="20577"/>
          <ac:spMkLst>
            <pc:docMk/>
            <pc:sldMk cId="527552448" sldId="281"/>
            <ac:spMk id="2" creationId="{E70B46DA-E699-4DBA-88D7-23155C3ACCB3}"/>
          </ac:spMkLst>
        </pc:spChg>
        <pc:spChg chg="add del mod">
          <ac:chgData name="来宾用户" userId="" providerId="Windows Live" clId="Web-{5D9AD181-B3E9-47BD-B460-311A9D063BFC}" dt="2019-12-02T21:48:15.778" v="928"/>
          <ac:spMkLst>
            <pc:docMk/>
            <pc:sldMk cId="527552448" sldId="281"/>
            <ac:spMk id="9" creationId="{65C33124-3F8D-4002-8CA8-2A6CAD933D63}"/>
          </ac:spMkLst>
        </pc:spChg>
        <pc:spChg chg="add del">
          <ac:chgData name="来宾用户" userId="" providerId="Windows Live" clId="Web-{5D9AD181-B3E9-47BD-B460-311A9D063BFC}" dt="2019-12-02T21:19:07.599" v="109"/>
          <ac:spMkLst>
            <pc:docMk/>
            <pc:sldMk cId="527552448" sldId="281"/>
            <ac:spMk id="12" creationId="{ABF14BCC-CDA6-4EDE-9341-00809F1429C5}"/>
          </ac:spMkLst>
        </pc:spChg>
        <pc:spChg chg="add del">
          <ac:chgData name="来宾用户" userId="" providerId="Windows Live" clId="Web-{5D9AD181-B3E9-47BD-B460-311A9D063BFC}" dt="2019-12-02T21:19:04.114" v="108"/>
          <ac:spMkLst>
            <pc:docMk/>
            <pc:sldMk cId="527552448" sldId="281"/>
            <ac:spMk id="13" creationId="{5DF9C374-7B36-404D-B01B-F506A6EE0DE8}"/>
          </ac:spMkLst>
        </pc:spChg>
        <pc:spChg chg="add del mod">
          <ac:chgData name="来宾用户" userId="" providerId="Windows Live" clId="Web-{5D9AD181-B3E9-47BD-B460-311A9D063BFC}" dt="2019-12-02T21:19:01.802" v="107"/>
          <ac:spMkLst>
            <pc:docMk/>
            <pc:sldMk cId="527552448" sldId="281"/>
            <ac:spMk id="14" creationId="{8CD6A77A-D858-4CB1-9AA9-69FA18D47B52}"/>
          </ac:spMkLst>
        </pc:spChg>
        <pc:spChg chg="add del mod">
          <ac:chgData name="来宾用户" userId="" providerId="Windows Live" clId="Web-{5D9AD181-B3E9-47BD-B460-311A9D063BFC}" dt="2019-12-02T21:18:57.489" v="103"/>
          <ac:spMkLst>
            <pc:docMk/>
            <pc:sldMk cId="527552448" sldId="281"/>
            <ac:spMk id="15" creationId="{A1A227B4-C8A8-404C-BB2B-43E8F93E991A}"/>
          </ac:spMkLst>
        </pc:spChg>
        <pc:spChg chg="add mod">
          <ac:chgData name="来宾用户" userId="" providerId="Windows Live" clId="Web-{5D9AD181-B3E9-47BD-B460-311A9D063BFC}" dt="2019-12-02T21:48:30.746" v="930" actId="1076"/>
          <ac:spMkLst>
            <pc:docMk/>
            <pc:sldMk cId="527552448" sldId="281"/>
            <ac:spMk id="16" creationId="{E616EAAA-0CBF-4744-8E9C-F5B25A121C5D}"/>
          </ac:spMkLst>
        </pc:spChg>
        <pc:picChg chg="add del mod">
          <ac:chgData name="来宾用户" userId="" providerId="Windows Live" clId="Web-{5D9AD181-B3E9-47BD-B460-311A9D063BFC}" dt="2019-12-02T21:13:35.691" v="2"/>
          <ac:picMkLst>
            <pc:docMk/>
            <pc:sldMk cId="527552448" sldId="281"/>
            <ac:picMk id="5" creationId="{3062997D-769F-44EF-8148-EBB36FC5F949}"/>
          </ac:picMkLst>
        </pc:picChg>
        <pc:picChg chg="add del mod">
          <ac:chgData name="来宾用户" userId="" providerId="Windows Live" clId="Web-{5D9AD181-B3E9-47BD-B460-311A9D063BFC}" dt="2019-12-02T21:48:11.856" v="927"/>
          <ac:picMkLst>
            <pc:docMk/>
            <pc:sldMk cId="527552448" sldId="281"/>
            <ac:picMk id="7" creationId="{902DB0E4-957D-4ABA-B3E8-5E52FB58876C}"/>
          </ac:picMkLst>
        </pc:picChg>
        <pc:picChg chg="add mod">
          <ac:chgData name="来宾用户" userId="" providerId="Windows Live" clId="Web-{5D9AD181-B3E9-47BD-B460-311A9D063BFC}" dt="2019-12-02T21:48:38.778" v="931" actId="14100"/>
          <ac:picMkLst>
            <pc:docMk/>
            <pc:sldMk cId="527552448" sldId="281"/>
            <ac:picMk id="10" creationId="{4FF0E2A8-13B3-4F91-BEF5-F3F745213293}"/>
          </ac:picMkLst>
        </pc:picChg>
      </pc:sldChg>
      <pc:sldChg chg="addSp modSp new">
        <pc:chgData name="来宾用户" userId="" providerId="Windows Live" clId="Web-{5D9AD181-B3E9-47BD-B460-311A9D063BFC}" dt="2019-12-02T21:46:23.465" v="926"/>
        <pc:sldMkLst>
          <pc:docMk/>
          <pc:sldMk cId="3991464183" sldId="282"/>
        </pc:sldMkLst>
        <pc:spChg chg="mod">
          <ac:chgData name="来宾用户" userId="" providerId="Windows Live" clId="Web-{5D9AD181-B3E9-47BD-B460-311A9D063BFC}" dt="2019-12-02T21:28:51.351" v="258" actId="20577"/>
          <ac:spMkLst>
            <pc:docMk/>
            <pc:sldMk cId="3991464183" sldId="282"/>
            <ac:spMk id="2" creationId="{7E789FB0-1EAE-4D95-B308-68EC974B17F6}"/>
          </ac:spMkLst>
        </pc:spChg>
        <pc:spChg chg="add mod">
          <ac:chgData name="来宾用户" userId="" providerId="Windows Live" clId="Web-{5D9AD181-B3E9-47BD-B460-311A9D063BFC}" dt="2019-12-02T21:45:17.261" v="897" actId="1076"/>
          <ac:spMkLst>
            <pc:docMk/>
            <pc:sldMk cId="3991464183" sldId="282"/>
            <ac:spMk id="5" creationId="{A224B0AC-DA4D-448E-A013-0C6DFF10BE39}"/>
          </ac:spMkLst>
        </pc:spChg>
        <pc:spChg chg="add mod">
          <ac:chgData name="来宾用户" userId="" providerId="Windows Live" clId="Web-{5D9AD181-B3E9-47BD-B460-311A9D063BFC}" dt="2019-12-02T21:45:09.699" v="896" actId="1076"/>
          <ac:spMkLst>
            <pc:docMk/>
            <pc:sldMk cId="3991464183" sldId="282"/>
            <ac:spMk id="8" creationId="{EDDCDC5E-F244-49A4-9ED0-2DBE27D74084}"/>
          </ac:spMkLst>
        </pc:spChg>
        <pc:graphicFrameChg chg="add mod modGraphic">
          <ac:chgData name="来宾用户" userId="" providerId="Windows Live" clId="Web-{5D9AD181-B3E9-47BD-B460-311A9D063BFC}" dt="2019-12-02T21:43:57.511" v="720" actId="1076"/>
          <ac:graphicFrameMkLst>
            <pc:docMk/>
            <pc:sldMk cId="3991464183" sldId="282"/>
            <ac:graphicFrameMk id="6" creationId="{312488E5-C6DB-4D6F-B3B3-176C0D3C2F65}"/>
          </ac:graphicFrameMkLst>
        </pc:graphicFrameChg>
        <pc:graphicFrameChg chg="add mod modGraphic">
          <ac:chgData name="来宾用户" userId="" providerId="Windows Live" clId="Web-{5D9AD181-B3E9-47BD-B460-311A9D063BFC}" dt="2019-12-02T21:46:23.465" v="926"/>
          <ac:graphicFrameMkLst>
            <pc:docMk/>
            <pc:sldMk cId="3991464183" sldId="282"/>
            <ac:graphicFrameMk id="9" creationId="{BE02FB23-5BDF-45F2-85BF-2FBCFF5A1D5A}"/>
          </ac:graphicFrameMkLst>
        </pc:graphicFrameChg>
      </pc:sldChg>
      <pc:sldChg chg="addSp delSp modSp">
        <pc:chgData name="来宾用户" userId="" providerId="Windows Live" clId="Web-{5D9AD181-B3E9-47BD-B460-311A9D063BFC}" dt="2019-12-02T21:50:26.841" v="947"/>
        <pc:sldMkLst>
          <pc:docMk/>
          <pc:sldMk cId="166603539" sldId="283"/>
        </pc:sldMkLst>
        <pc:spChg chg="add mod">
          <ac:chgData name="来宾用户" userId="" providerId="Windows Live" clId="Web-{5D9AD181-B3E9-47BD-B460-311A9D063BFC}" dt="2019-12-02T21:49:20.794" v="937" actId="1076"/>
          <ac:spMkLst>
            <pc:docMk/>
            <pc:sldMk cId="166603539" sldId="283"/>
            <ac:spMk id="5" creationId="{159704CC-D5DD-48C7-BC1C-D7B88B7045E4}"/>
          </ac:spMkLst>
        </pc:spChg>
        <pc:spChg chg="del mod">
          <ac:chgData name="来宾用户" userId="" providerId="Windows Live" clId="Web-{5D9AD181-B3E9-47BD-B460-311A9D063BFC}" dt="2019-12-02T21:49:34.794" v="944"/>
          <ac:spMkLst>
            <pc:docMk/>
            <pc:sldMk cId="166603539" sldId="283"/>
            <ac:spMk id="9" creationId="{65C33124-3F8D-4002-8CA8-2A6CAD933D63}"/>
          </ac:spMkLst>
        </pc:spChg>
        <pc:spChg chg="add del mod">
          <ac:chgData name="来宾用户" userId="" providerId="Windows Live" clId="Web-{5D9AD181-B3E9-47BD-B460-311A9D063BFC}" dt="2019-12-02T21:50:26.841" v="947"/>
          <ac:spMkLst>
            <pc:docMk/>
            <pc:sldMk cId="166603539" sldId="283"/>
            <ac:spMk id="11" creationId="{58B7FE38-B81E-4969-9159-43B80397F29C}"/>
          </ac:spMkLst>
        </pc:spChg>
        <pc:spChg chg="del">
          <ac:chgData name="来宾用户" userId="" providerId="Windows Live" clId="Web-{5D9AD181-B3E9-47BD-B460-311A9D063BFC}" dt="2019-12-02T21:48:51.621" v="932"/>
          <ac:spMkLst>
            <pc:docMk/>
            <pc:sldMk cId="166603539" sldId="283"/>
            <ac:spMk id="16" creationId="{E616EAAA-0CBF-4744-8E9C-F5B25A121C5D}"/>
          </ac:spMkLst>
        </pc:spChg>
        <pc:graphicFrameChg chg="add mod">
          <ac:chgData name="来宾用户" userId="" providerId="Windows Live" clId="Web-{5D9AD181-B3E9-47BD-B460-311A9D063BFC}" dt="2019-12-02T21:49:20.809" v="938" actId="1076"/>
          <ac:graphicFrameMkLst>
            <pc:docMk/>
            <pc:sldMk cId="166603539" sldId="283"/>
            <ac:graphicFrameMk id="6" creationId="{967DF90C-1E08-4968-B431-646DB39B9667}"/>
          </ac:graphicFrameMkLst>
        </pc:graphicFrameChg>
        <pc:picChg chg="mod">
          <ac:chgData name="来宾用户" userId="" providerId="Windows Live" clId="Web-{5D9AD181-B3E9-47BD-B460-311A9D063BFC}" dt="2019-12-02T21:49:27.168" v="939" actId="1076"/>
          <ac:picMkLst>
            <pc:docMk/>
            <pc:sldMk cId="166603539" sldId="283"/>
            <ac:picMk id="7" creationId="{902DB0E4-957D-4ABA-B3E8-5E52FB58876C}"/>
          </ac:picMkLst>
        </pc:picChg>
      </pc:sldChg>
    </pc:docChg>
  </pc:docChgLst>
  <pc:docChgLst>
    <pc:chgData name="Guest User" providerId="Windows Live" clId="Web-{7DE23F0D-A0E5-468E-8A2A-78A33D4FF74C}"/>
    <pc:docChg chg="modSld">
      <pc:chgData name="Guest User" userId="" providerId="Windows Live" clId="Web-{7DE23F0D-A0E5-468E-8A2A-78A33D4FF74C}" dt="2019-12-02T21:39:41.991" v="169"/>
      <pc:docMkLst>
        <pc:docMk/>
      </pc:docMkLst>
      <pc:sldChg chg="addSp delSp modSp">
        <pc:chgData name="Guest User" userId="" providerId="Windows Live" clId="Web-{7DE23F0D-A0E5-468E-8A2A-78A33D4FF74C}" dt="2019-12-02T21:39:41.991" v="169"/>
        <pc:sldMkLst>
          <pc:docMk/>
          <pc:sldMk cId="1437154966" sldId="276"/>
        </pc:sldMkLst>
        <pc:graphicFrameChg chg="add del mod">
          <ac:chgData name="Guest User" userId="" providerId="Windows Live" clId="Web-{7DE23F0D-A0E5-468E-8A2A-78A33D4FF74C}" dt="2019-12-02T21:39:11.553" v="149"/>
          <ac:graphicFrameMkLst>
            <pc:docMk/>
            <pc:sldMk cId="1437154966" sldId="276"/>
            <ac:graphicFrameMk id="6" creationId="{F205CDAB-5D87-4700-9FCA-068F3B0F5AB4}"/>
          </ac:graphicFrameMkLst>
        </pc:graphicFrameChg>
        <pc:graphicFrameChg chg="mod modGraphic">
          <ac:chgData name="Guest User" userId="" providerId="Windows Live" clId="Web-{7DE23F0D-A0E5-468E-8A2A-78A33D4FF74C}" dt="2019-12-02T21:39:41.991" v="169"/>
          <ac:graphicFrameMkLst>
            <pc:docMk/>
            <pc:sldMk cId="1437154966" sldId="276"/>
            <ac:graphicFrameMk id="29" creationId="{C3A101A0-1107-4B1D-93B7-B5AB788E9CC5}"/>
          </ac:graphicFrameMkLst>
        </pc:graphicFrameChg>
      </pc:sldChg>
    </pc:docChg>
  </pc:docChgLst>
  <pc:docChgLst>
    <pc:chgData name="Guest User" providerId="Windows Live" clId="Web-{B2E50056-66B3-4F9F-B766-56C3B5DD723E}"/>
    <pc:docChg chg="modSld">
      <pc:chgData name="Guest User" userId="" providerId="Windows Live" clId="Web-{B2E50056-66B3-4F9F-B766-56C3B5DD723E}" dt="2019-12-03T03:17:23.052" v="1"/>
      <pc:docMkLst>
        <pc:docMk/>
      </pc:docMkLst>
      <pc:sldChg chg="modSp">
        <pc:chgData name="Guest User" userId="" providerId="Windows Live" clId="Web-{B2E50056-66B3-4F9F-B766-56C3B5DD723E}" dt="2019-12-03T03:17:23.052" v="1"/>
        <pc:sldMkLst>
          <pc:docMk/>
          <pc:sldMk cId="1437154966" sldId="276"/>
        </pc:sldMkLst>
        <pc:graphicFrameChg chg="mod modGraphic">
          <ac:chgData name="Guest User" userId="" providerId="Windows Live" clId="Web-{B2E50056-66B3-4F9F-B766-56C3B5DD723E}" dt="2019-12-03T03:17:23.052" v="1"/>
          <ac:graphicFrameMkLst>
            <pc:docMk/>
            <pc:sldMk cId="1437154966" sldId="276"/>
            <ac:graphicFrameMk id="29" creationId="{C3A101A0-1107-4B1D-93B7-B5AB788E9CC5}"/>
          </ac:graphicFrameMkLst>
        </pc:graphicFrameChg>
      </pc:sldChg>
    </pc:docChg>
  </pc:docChgLst>
  <pc:docChgLst>
    <pc:chgData name="Guest User" providerId="Windows Live" clId="Web-{5D71782A-BF57-4284-B8D0-0CB39501B4DA}"/>
    <pc:docChg chg="modSld">
      <pc:chgData name="Guest User" userId="" providerId="Windows Live" clId="Web-{5D71782A-BF57-4284-B8D0-0CB39501B4DA}" dt="2019-12-02T22:11:43.976" v="5"/>
      <pc:docMkLst>
        <pc:docMk/>
      </pc:docMkLst>
      <pc:sldChg chg="addSp delSp">
        <pc:chgData name="Guest User" userId="" providerId="Windows Live" clId="Web-{5D71782A-BF57-4284-B8D0-0CB39501B4DA}" dt="2019-12-02T22:11:43.976" v="5"/>
        <pc:sldMkLst>
          <pc:docMk/>
          <pc:sldMk cId="922554635" sldId="284"/>
        </pc:sldMkLst>
        <pc:picChg chg="add del">
          <ac:chgData name="Guest User" userId="" providerId="Windows Live" clId="Web-{5D71782A-BF57-4284-B8D0-0CB39501B4DA}" dt="2019-12-02T22:11:41.508" v="3"/>
          <ac:picMkLst>
            <pc:docMk/>
            <pc:sldMk cId="922554635" sldId="284"/>
            <ac:picMk id="5" creationId="{BCEB4BE1-1A67-463B-A5E6-3960FC056B98}"/>
          </ac:picMkLst>
        </pc:picChg>
        <pc:picChg chg="add del">
          <ac:chgData name="Guest User" userId="" providerId="Windows Live" clId="Web-{5D71782A-BF57-4284-B8D0-0CB39501B4DA}" dt="2019-12-02T22:11:43.976" v="5"/>
          <ac:picMkLst>
            <pc:docMk/>
            <pc:sldMk cId="922554635" sldId="284"/>
            <ac:picMk id="7" creationId="{49E0D896-ED74-4F20-A423-75BC28EE13FA}"/>
          </ac:picMkLst>
        </pc:picChg>
        <pc:picChg chg="add del">
          <ac:chgData name="Guest User" userId="" providerId="Windows Live" clId="Web-{5D71782A-BF57-4284-B8D0-0CB39501B4DA}" dt="2019-12-02T22:11:42.773" v="4"/>
          <ac:picMkLst>
            <pc:docMk/>
            <pc:sldMk cId="922554635" sldId="284"/>
            <ac:picMk id="9" creationId="{0E56ECB6-7523-427B-A38E-1F82F45CAEBE}"/>
          </ac:picMkLst>
        </pc:picChg>
      </pc:sldChg>
    </pc:docChg>
  </pc:docChgLst>
  <pc:docChgLst>
    <pc:chgData name="Guest User" providerId="Windows Live" clId="Web-{7B6ADF20-C6DC-486F-B0C5-7EF495096446}"/>
    <pc:docChg chg="modSld">
      <pc:chgData name="Guest User" userId="" providerId="Windows Live" clId="Web-{7B6ADF20-C6DC-486F-B0C5-7EF495096446}" dt="2019-12-02T21:47:24.593" v="45" actId="14100"/>
      <pc:docMkLst>
        <pc:docMk/>
      </pc:docMkLst>
      <pc:sldChg chg="addSp delSp modSp">
        <pc:chgData name="Guest User" userId="" providerId="Windows Live" clId="Web-{7B6ADF20-C6DC-486F-B0C5-7EF495096446}" dt="2019-12-02T21:47:24.593" v="45" actId="14100"/>
        <pc:sldMkLst>
          <pc:docMk/>
          <pc:sldMk cId="1127061207" sldId="280"/>
        </pc:sldMkLst>
        <pc:spChg chg="add del mod">
          <ac:chgData name="Guest User" userId="" providerId="Windows Live" clId="Web-{7B6ADF20-C6DC-486F-B0C5-7EF495096446}" dt="2019-12-02T20:44:19.705" v="7"/>
          <ac:spMkLst>
            <pc:docMk/>
            <pc:sldMk cId="1127061207" sldId="280"/>
            <ac:spMk id="9" creationId="{4894A749-2C6E-45DD-8177-57399F378B2D}"/>
          </ac:spMkLst>
        </pc:spChg>
        <pc:graphicFrameChg chg="add del modGraphic">
          <ac:chgData name="Guest User" userId="" providerId="Windows Live" clId="Web-{7B6ADF20-C6DC-486F-B0C5-7EF495096446}" dt="2019-12-02T20:44:10.470" v="5"/>
          <ac:graphicFrameMkLst>
            <pc:docMk/>
            <pc:sldMk cId="1127061207" sldId="280"/>
            <ac:graphicFrameMk id="5" creationId="{13B16ED5-136B-4E3B-A31F-DBD39BA494A5}"/>
          </ac:graphicFrameMkLst>
        </pc:graphicFrameChg>
        <pc:graphicFrameChg chg="add mod modGraphic">
          <ac:chgData name="Guest User" userId="" providerId="Windows Live" clId="Web-{7B6ADF20-C6DC-486F-B0C5-7EF495096446}" dt="2019-12-02T20:45:03.721" v="37"/>
          <ac:graphicFrameMkLst>
            <pc:docMk/>
            <pc:sldMk cId="1127061207" sldId="280"/>
            <ac:graphicFrameMk id="8" creationId="{00E36CF3-69DC-4553-AB7A-1CBF677388FE}"/>
          </ac:graphicFrameMkLst>
        </pc:graphicFrameChg>
        <pc:picChg chg="add mod">
          <ac:chgData name="Guest User" userId="" providerId="Windows Live" clId="Web-{7B6ADF20-C6DC-486F-B0C5-7EF495096446}" dt="2019-12-02T21:47:24.593" v="45" actId="14100"/>
          <ac:picMkLst>
            <pc:docMk/>
            <pc:sldMk cId="1127061207" sldId="280"/>
            <ac:picMk id="5" creationId="{38031348-6EF6-4538-B94C-52EBCAC3D623}"/>
          </ac:picMkLst>
        </pc:picChg>
        <pc:picChg chg="add del mod">
          <ac:chgData name="Guest User" userId="" providerId="Windows Live" clId="Web-{7B6ADF20-C6DC-486F-B0C5-7EF495096446}" dt="2019-12-02T21:10:30.959" v="42"/>
          <ac:picMkLst>
            <pc:docMk/>
            <pc:sldMk cId="1127061207" sldId="280"/>
            <ac:picMk id="5" creationId="{53023C06-8A7E-40DE-BA7A-01745632E3C7}"/>
          </ac:picMkLst>
        </pc:picChg>
      </pc:sld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>
            <a:extLst>
              <a:ext uri="{FF2B5EF4-FFF2-40B4-BE49-F238E27FC236}">
                <a16:creationId xmlns:a16="http://schemas.microsoft.com/office/drawing/2014/main" id="{81F2D878-D90C-4330-8E55-11745100011B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>
            <a:extLst>
              <a:ext uri="{FF2B5EF4-FFF2-40B4-BE49-F238E27FC236}">
                <a16:creationId xmlns:a16="http://schemas.microsoft.com/office/drawing/2014/main" id="{DFFD755E-DB5F-4115-87C3-B184447F0C77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0979D89-FE9F-4C2E-B949-65D76E1BDDFE}" type="datetimeFigureOut">
              <a:rPr lang="zh-CN" altLang="en-US" smtClean="0"/>
              <a:t>2019/12/8</a:t>
            </a:fld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31A412B8-9F36-47D5-9616-52636D56C363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5" name="灯片编号占位符 4">
            <a:extLst>
              <a:ext uri="{FF2B5EF4-FFF2-40B4-BE49-F238E27FC236}">
                <a16:creationId xmlns:a16="http://schemas.microsoft.com/office/drawing/2014/main" id="{68B7ADB3-1FFD-4C25-86FF-26D2A2461001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17924ED-9D06-47F2-88D0-DF0F7C061128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66816645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86D8963-CFCD-4740-AF60-049850373CDF}" type="datetimeFigureOut">
              <a:rPr lang="zh-CN" altLang="en-US" smtClean="0"/>
              <a:t>2019/12/8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9E6FDB6-6D2B-46C1-9FA1-D82906A37C3A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18498155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t>1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26168572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 userDrawn="1">
  <p:cSld name="标题幻灯片">
    <p:bg>
      <p:bgPr>
        <a:solidFill>
          <a:srgbClr val="F3D04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801" name="副标题 2"/>
          <p:cNvSpPr>
            <a:spLocks noGrp="1"/>
          </p:cNvSpPr>
          <p:nvPr userDrawn="1">
            <p:ph type="subTitle" idx="1"/>
          </p:nvPr>
        </p:nvSpPr>
        <p:spPr>
          <a:xfrm>
            <a:off x="673099" y="5578476"/>
            <a:ext cx="10845800" cy="558799"/>
          </a:xfrm>
        </p:spPr>
        <p:txBody>
          <a:bodyPr anchor="ctr">
            <a:normAutofit/>
          </a:bodyPr>
          <a:lstStyle>
            <a:lvl1pPr marL="0" indent="0" algn="l">
              <a:buNone/>
              <a:defRPr sz="2000">
                <a:solidFill>
                  <a:schemeClr val="tx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grpSp>
        <p:nvGrpSpPr>
          <p:cNvPr id="10293" name="组合 10292">
            <a:extLst>
              <a:ext uri="{FF2B5EF4-FFF2-40B4-BE49-F238E27FC236}">
                <a16:creationId xmlns:a16="http://schemas.microsoft.com/office/drawing/2014/main" id="{66DAECEB-5D11-4222-BDAA-6F52E878E13C}"/>
              </a:ext>
            </a:extLst>
          </p:cNvPr>
          <p:cNvGrpSpPr/>
          <p:nvPr userDrawn="1"/>
        </p:nvGrpSpPr>
        <p:grpSpPr>
          <a:xfrm>
            <a:off x="274308" y="0"/>
            <a:ext cx="11515876" cy="4582971"/>
            <a:chOff x="-3175" y="1001713"/>
            <a:chExt cx="12198350" cy="4854575"/>
          </a:xfrm>
        </p:grpSpPr>
        <p:sp>
          <p:nvSpPr>
            <p:cNvPr id="5" name="AutoShape 3">
              <a:extLst>
                <a:ext uri="{FF2B5EF4-FFF2-40B4-BE49-F238E27FC236}">
                  <a16:creationId xmlns:a16="http://schemas.microsoft.com/office/drawing/2014/main" id="{508BD27F-59C2-488F-9A5A-C3DCE0CEA87E}"/>
                </a:ext>
              </a:extLst>
            </p:cNvPr>
            <p:cNvSpPr>
              <a:spLocks noChangeAspect="1" noChangeArrowheads="1" noTextEdit="1"/>
            </p:cNvSpPr>
            <p:nvPr userDrawn="1"/>
          </p:nvSpPr>
          <p:spPr bwMode="auto">
            <a:xfrm>
              <a:off x="0" y="1006475"/>
              <a:ext cx="12192000" cy="48450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grpSp>
          <p:nvGrpSpPr>
            <p:cNvPr id="6" name="Group 205">
              <a:extLst>
                <a:ext uri="{FF2B5EF4-FFF2-40B4-BE49-F238E27FC236}">
                  <a16:creationId xmlns:a16="http://schemas.microsoft.com/office/drawing/2014/main" id="{14C97526-73DE-4709-9224-AFBE5155378D}"/>
                </a:ext>
              </a:extLst>
            </p:cNvPr>
            <p:cNvGrpSpPr>
              <a:grpSpLocks/>
            </p:cNvGrpSpPr>
            <p:nvPr userDrawn="1"/>
          </p:nvGrpSpPr>
          <p:grpSpPr bwMode="auto">
            <a:xfrm>
              <a:off x="2820988" y="1001713"/>
              <a:ext cx="9345613" cy="4830763"/>
              <a:chOff x="1777" y="631"/>
              <a:chExt cx="5887" cy="3043"/>
            </a:xfrm>
          </p:grpSpPr>
          <p:sp>
            <p:nvSpPr>
              <p:cNvPr id="10093" name="Freeform 5">
                <a:extLst>
                  <a:ext uri="{FF2B5EF4-FFF2-40B4-BE49-F238E27FC236}">
                    <a16:creationId xmlns:a16="http://schemas.microsoft.com/office/drawing/2014/main" id="{B7557A61-52D1-4956-9AE3-31FF2E6C90C2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635" y="683"/>
                <a:ext cx="15" cy="984"/>
              </a:xfrm>
              <a:custGeom>
                <a:avLst/>
                <a:gdLst>
                  <a:gd name="T0" fmla="*/ 5 w 14"/>
                  <a:gd name="T1" fmla="*/ 2 h 930"/>
                  <a:gd name="T2" fmla="*/ 1 w 14"/>
                  <a:gd name="T3" fmla="*/ 459 h 930"/>
                  <a:gd name="T4" fmla="*/ 0 w 14"/>
                  <a:gd name="T5" fmla="*/ 920 h 930"/>
                  <a:gd name="T6" fmla="*/ 14 w 14"/>
                  <a:gd name="T7" fmla="*/ 919 h 930"/>
                  <a:gd name="T8" fmla="*/ 13 w 14"/>
                  <a:gd name="T9" fmla="*/ 462 h 930"/>
                  <a:gd name="T10" fmla="*/ 9 w 14"/>
                  <a:gd name="T11" fmla="*/ 2 h 930"/>
                  <a:gd name="T12" fmla="*/ 5 w 14"/>
                  <a:gd name="T13" fmla="*/ 2 h 9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4" h="930">
                    <a:moveTo>
                      <a:pt x="5" y="2"/>
                    </a:moveTo>
                    <a:cubicBezTo>
                      <a:pt x="1" y="155"/>
                      <a:pt x="1" y="307"/>
                      <a:pt x="1" y="459"/>
                    </a:cubicBezTo>
                    <a:cubicBezTo>
                      <a:pt x="1" y="613"/>
                      <a:pt x="0" y="767"/>
                      <a:pt x="0" y="920"/>
                    </a:cubicBezTo>
                    <a:cubicBezTo>
                      <a:pt x="0" y="930"/>
                      <a:pt x="14" y="928"/>
                      <a:pt x="14" y="919"/>
                    </a:cubicBezTo>
                    <a:cubicBezTo>
                      <a:pt x="14" y="766"/>
                      <a:pt x="14" y="614"/>
                      <a:pt x="13" y="462"/>
                    </a:cubicBezTo>
                    <a:cubicBezTo>
                      <a:pt x="13" y="309"/>
                      <a:pt x="14" y="155"/>
                      <a:pt x="9" y="2"/>
                    </a:cubicBezTo>
                    <a:cubicBezTo>
                      <a:pt x="9" y="0"/>
                      <a:pt x="5" y="0"/>
                      <a:pt x="5" y="2"/>
                    </a:cubicBezTo>
                  </a:path>
                </a:pathLst>
              </a:custGeom>
              <a:solidFill>
                <a:srgbClr val="04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094" name="Freeform 6">
                <a:extLst>
                  <a:ext uri="{FF2B5EF4-FFF2-40B4-BE49-F238E27FC236}">
                    <a16:creationId xmlns:a16="http://schemas.microsoft.com/office/drawing/2014/main" id="{57526927-8947-4EEB-95CF-641BAB516506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6939" y="1851"/>
                <a:ext cx="183" cy="185"/>
              </a:xfrm>
              <a:custGeom>
                <a:avLst/>
                <a:gdLst>
                  <a:gd name="T0" fmla="*/ 51 w 172"/>
                  <a:gd name="T1" fmla="*/ 153 h 174"/>
                  <a:gd name="T2" fmla="*/ 76 w 172"/>
                  <a:gd name="T3" fmla="*/ 171 h 174"/>
                  <a:gd name="T4" fmla="*/ 90 w 172"/>
                  <a:gd name="T5" fmla="*/ 173 h 174"/>
                  <a:gd name="T6" fmla="*/ 104 w 172"/>
                  <a:gd name="T7" fmla="*/ 173 h 174"/>
                  <a:gd name="T8" fmla="*/ 100 w 172"/>
                  <a:gd name="T9" fmla="*/ 170 h 174"/>
                  <a:gd name="T10" fmla="*/ 62 w 172"/>
                  <a:gd name="T11" fmla="*/ 160 h 174"/>
                  <a:gd name="T12" fmla="*/ 53 w 172"/>
                  <a:gd name="T13" fmla="*/ 143 h 174"/>
                  <a:gd name="T14" fmla="*/ 121 w 172"/>
                  <a:gd name="T15" fmla="*/ 124 h 174"/>
                  <a:gd name="T16" fmla="*/ 153 w 172"/>
                  <a:gd name="T17" fmla="*/ 126 h 174"/>
                  <a:gd name="T18" fmla="*/ 167 w 172"/>
                  <a:gd name="T19" fmla="*/ 121 h 174"/>
                  <a:gd name="T20" fmla="*/ 150 w 172"/>
                  <a:gd name="T21" fmla="*/ 121 h 174"/>
                  <a:gd name="T22" fmla="*/ 4 w 172"/>
                  <a:gd name="T23" fmla="*/ 50 h 174"/>
                  <a:gd name="T24" fmla="*/ 1 w 172"/>
                  <a:gd name="T25" fmla="*/ 70 h 174"/>
                  <a:gd name="T26" fmla="*/ 1 w 172"/>
                  <a:gd name="T27" fmla="*/ 70 h 174"/>
                  <a:gd name="T28" fmla="*/ 2 w 172"/>
                  <a:gd name="T29" fmla="*/ 93 h 174"/>
                  <a:gd name="T30" fmla="*/ 2 w 172"/>
                  <a:gd name="T31" fmla="*/ 93 h 174"/>
                  <a:gd name="T32" fmla="*/ 12 w 172"/>
                  <a:gd name="T33" fmla="*/ 106 h 174"/>
                  <a:gd name="T34" fmla="*/ 57 w 172"/>
                  <a:gd name="T35" fmla="*/ 112 h 174"/>
                  <a:gd name="T36" fmla="*/ 58 w 172"/>
                  <a:gd name="T37" fmla="*/ 116 h 174"/>
                  <a:gd name="T38" fmla="*/ 60 w 172"/>
                  <a:gd name="T39" fmla="*/ 108 h 174"/>
                  <a:gd name="T40" fmla="*/ 10 w 172"/>
                  <a:gd name="T41" fmla="*/ 97 h 174"/>
                  <a:gd name="T42" fmla="*/ 4 w 172"/>
                  <a:gd name="T43" fmla="*/ 50 h 174"/>
                  <a:gd name="T44" fmla="*/ 65 w 172"/>
                  <a:gd name="T45" fmla="*/ 12 h 174"/>
                  <a:gd name="T46" fmla="*/ 65 w 172"/>
                  <a:gd name="T47" fmla="*/ 10 h 174"/>
                  <a:gd name="T48" fmla="*/ 95 w 172"/>
                  <a:gd name="T49" fmla="*/ 88 h 174"/>
                  <a:gd name="T50" fmla="*/ 98 w 172"/>
                  <a:gd name="T51" fmla="*/ 67 h 174"/>
                  <a:gd name="T52" fmla="*/ 99 w 172"/>
                  <a:gd name="T53" fmla="*/ 63 h 174"/>
                  <a:gd name="T54" fmla="*/ 89 w 172"/>
                  <a:gd name="T55" fmla="*/ 91 h 174"/>
                  <a:gd name="T56" fmla="*/ 91 w 172"/>
                  <a:gd name="T57" fmla="*/ 88 h 174"/>
                  <a:gd name="T58" fmla="*/ 80 w 172"/>
                  <a:gd name="T59" fmla="*/ 0 h 174"/>
                  <a:gd name="T60" fmla="*/ 68 w 172"/>
                  <a:gd name="T61" fmla="*/ 40 h 174"/>
                  <a:gd name="T62" fmla="*/ 57 w 172"/>
                  <a:gd name="T63" fmla="*/ 48 h 174"/>
                  <a:gd name="T64" fmla="*/ 49 w 172"/>
                  <a:gd name="T65" fmla="*/ 53 h 174"/>
                  <a:gd name="T66" fmla="*/ 30 w 172"/>
                  <a:gd name="T67" fmla="*/ 49 h 174"/>
                  <a:gd name="T68" fmla="*/ 25 w 172"/>
                  <a:gd name="T69" fmla="*/ 48 h 174"/>
                  <a:gd name="T70" fmla="*/ 22 w 172"/>
                  <a:gd name="T71" fmla="*/ 48 h 174"/>
                  <a:gd name="T72" fmla="*/ 17 w 172"/>
                  <a:gd name="T73" fmla="*/ 49 h 174"/>
                  <a:gd name="T74" fmla="*/ 11 w 172"/>
                  <a:gd name="T75" fmla="*/ 59 h 174"/>
                  <a:gd name="T76" fmla="*/ 36 w 172"/>
                  <a:gd name="T77" fmla="*/ 96 h 174"/>
                  <a:gd name="T78" fmla="*/ 63 w 172"/>
                  <a:gd name="T79" fmla="*/ 100 h 174"/>
                  <a:gd name="T80" fmla="*/ 67 w 172"/>
                  <a:gd name="T81" fmla="*/ 105 h 174"/>
                  <a:gd name="T82" fmla="*/ 62 w 172"/>
                  <a:gd name="T83" fmla="*/ 142 h 174"/>
                  <a:gd name="T84" fmla="*/ 97 w 172"/>
                  <a:gd name="T85" fmla="*/ 161 h 174"/>
                  <a:gd name="T86" fmla="*/ 111 w 172"/>
                  <a:gd name="T87" fmla="*/ 158 h 174"/>
                  <a:gd name="T88" fmla="*/ 111 w 172"/>
                  <a:gd name="T89" fmla="*/ 155 h 174"/>
                  <a:gd name="T90" fmla="*/ 115 w 172"/>
                  <a:gd name="T91" fmla="*/ 124 h 174"/>
                  <a:gd name="T92" fmla="*/ 116 w 172"/>
                  <a:gd name="T93" fmla="*/ 124 h 174"/>
                  <a:gd name="T94" fmla="*/ 120 w 172"/>
                  <a:gd name="T95" fmla="*/ 112 h 174"/>
                  <a:gd name="T96" fmla="*/ 144 w 172"/>
                  <a:gd name="T97" fmla="*/ 112 h 174"/>
                  <a:gd name="T98" fmla="*/ 160 w 172"/>
                  <a:gd name="T99" fmla="*/ 114 h 174"/>
                  <a:gd name="T100" fmla="*/ 171 w 172"/>
                  <a:gd name="T101" fmla="*/ 97 h 174"/>
                  <a:gd name="T102" fmla="*/ 144 w 172"/>
                  <a:gd name="T103" fmla="*/ 68 h 174"/>
                  <a:gd name="T104" fmla="*/ 120 w 172"/>
                  <a:gd name="T105" fmla="*/ 65 h 174"/>
                  <a:gd name="T106" fmla="*/ 114 w 172"/>
                  <a:gd name="T107" fmla="*/ 62 h 174"/>
                  <a:gd name="T108" fmla="*/ 115 w 172"/>
                  <a:gd name="T109" fmla="*/ 62 h 174"/>
                  <a:gd name="T110" fmla="*/ 114 w 172"/>
                  <a:gd name="T111" fmla="*/ 56 h 174"/>
                  <a:gd name="T112" fmla="*/ 115 w 172"/>
                  <a:gd name="T113" fmla="*/ 32 h 174"/>
                  <a:gd name="T114" fmla="*/ 119 w 172"/>
                  <a:gd name="T115" fmla="*/ 20 h 174"/>
                  <a:gd name="T116" fmla="*/ 119 w 172"/>
                  <a:gd name="T117" fmla="*/ 19 h 174"/>
                  <a:gd name="T118" fmla="*/ 100 w 172"/>
                  <a:gd name="T119" fmla="*/ 4 h 1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172" h="174">
                    <a:moveTo>
                      <a:pt x="53" y="143"/>
                    </a:moveTo>
                    <a:cubicBezTo>
                      <a:pt x="52" y="146"/>
                      <a:pt x="51" y="149"/>
                      <a:pt x="51" y="153"/>
                    </a:cubicBezTo>
                    <a:cubicBezTo>
                      <a:pt x="51" y="157"/>
                      <a:pt x="52" y="161"/>
                      <a:pt x="56" y="164"/>
                    </a:cubicBezTo>
                    <a:cubicBezTo>
                      <a:pt x="62" y="166"/>
                      <a:pt x="69" y="167"/>
                      <a:pt x="76" y="171"/>
                    </a:cubicBezTo>
                    <a:cubicBezTo>
                      <a:pt x="80" y="172"/>
                      <a:pt x="84" y="173"/>
                      <a:pt x="88" y="173"/>
                    </a:cubicBezTo>
                    <a:cubicBezTo>
                      <a:pt x="89" y="173"/>
                      <a:pt x="90" y="173"/>
                      <a:pt x="90" y="173"/>
                    </a:cubicBezTo>
                    <a:cubicBezTo>
                      <a:pt x="92" y="174"/>
                      <a:pt x="95" y="174"/>
                      <a:pt x="98" y="174"/>
                    </a:cubicBezTo>
                    <a:cubicBezTo>
                      <a:pt x="100" y="174"/>
                      <a:pt x="103" y="174"/>
                      <a:pt x="104" y="173"/>
                    </a:cubicBezTo>
                    <a:cubicBezTo>
                      <a:pt x="106" y="172"/>
                      <a:pt x="107" y="171"/>
                      <a:pt x="108" y="169"/>
                    </a:cubicBezTo>
                    <a:cubicBezTo>
                      <a:pt x="106" y="170"/>
                      <a:pt x="103" y="170"/>
                      <a:pt x="100" y="170"/>
                    </a:cubicBezTo>
                    <a:cubicBezTo>
                      <a:pt x="96" y="170"/>
                      <a:pt x="92" y="170"/>
                      <a:pt x="88" y="169"/>
                    </a:cubicBezTo>
                    <a:cubicBezTo>
                      <a:pt x="80" y="168"/>
                      <a:pt x="70" y="164"/>
                      <a:pt x="62" y="160"/>
                    </a:cubicBezTo>
                    <a:cubicBezTo>
                      <a:pt x="58" y="159"/>
                      <a:pt x="56" y="156"/>
                      <a:pt x="54" y="152"/>
                    </a:cubicBezTo>
                    <a:cubicBezTo>
                      <a:pt x="53" y="149"/>
                      <a:pt x="52" y="146"/>
                      <a:pt x="53" y="143"/>
                    </a:cubicBezTo>
                    <a:moveTo>
                      <a:pt x="122" y="119"/>
                    </a:moveTo>
                    <a:cubicBezTo>
                      <a:pt x="122" y="121"/>
                      <a:pt x="122" y="122"/>
                      <a:pt x="121" y="124"/>
                    </a:cubicBezTo>
                    <a:cubicBezTo>
                      <a:pt x="126" y="124"/>
                      <a:pt x="131" y="124"/>
                      <a:pt x="137" y="124"/>
                    </a:cubicBezTo>
                    <a:cubicBezTo>
                      <a:pt x="140" y="125"/>
                      <a:pt x="147" y="126"/>
                      <a:pt x="153" y="126"/>
                    </a:cubicBezTo>
                    <a:cubicBezTo>
                      <a:pt x="158" y="126"/>
                      <a:pt x="163" y="125"/>
                      <a:pt x="166" y="122"/>
                    </a:cubicBezTo>
                    <a:cubicBezTo>
                      <a:pt x="166" y="122"/>
                      <a:pt x="167" y="122"/>
                      <a:pt x="167" y="121"/>
                    </a:cubicBezTo>
                    <a:cubicBezTo>
                      <a:pt x="164" y="122"/>
                      <a:pt x="162" y="122"/>
                      <a:pt x="159" y="122"/>
                    </a:cubicBezTo>
                    <a:cubicBezTo>
                      <a:pt x="156" y="122"/>
                      <a:pt x="153" y="122"/>
                      <a:pt x="150" y="121"/>
                    </a:cubicBezTo>
                    <a:cubicBezTo>
                      <a:pt x="141" y="120"/>
                      <a:pt x="132" y="120"/>
                      <a:pt x="122" y="119"/>
                    </a:cubicBezTo>
                    <a:moveTo>
                      <a:pt x="4" y="50"/>
                    </a:moveTo>
                    <a:cubicBezTo>
                      <a:pt x="1" y="53"/>
                      <a:pt x="1" y="59"/>
                      <a:pt x="1" y="63"/>
                    </a:cubicBezTo>
                    <a:cubicBezTo>
                      <a:pt x="1" y="66"/>
                      <a:pt x="1" y="68"/>
                      <a:pt x="1" y="70"/>
                    </a:cubicBezTo>
                    <a:cubicBezTo>
                      <a:pt x="1" y="70"/>
                      <a:pt x="1" y="70"/>
                      <a:pt x="1" y="70"/>
                    </a:cubicBezTo>
                    <a:cubicBezTo>
                      <a:pt x="1" y="70"/>
                      <a:pt x="1" y="70"/>
                      <a:pt x="1" y="70"/>
                    </a:cubicBezTo>
                    <a:cubicBezTo>
                      <a:pt x="1" y="72"/>
                      <a:pt x="1" y="74"/>
                      <a:pt x="1" y="77"/>
                    </a:cubicBezTo>
                    <a:cubicBezTo>
                      <a:pt x="1" y="82"/>
                      <a:pt x="1" y="88"/>
                      <a:pt x="2" y="93"/>
                    </a:cubicBezTo>
                    <a:cubicBezTo>
                      <a:pt x="2" y="93"/>
                      <a:pt x="2" y="93"/>
                      <a:pt x="2" y="93"/>
                    </a:cubicBezTo>
                    <a:cubicBezTo>
                      <a:pt x="2" y="93"/>
                      <a:pt x="2" y="93"/>
                      <a:pt x="2" y="93"/>
                    </a:cubicBezTo>
                    <a:cubicBezTo>
                      <a:pt x="2" y="94"/>
                      <a:pt x="2" y="94"/>
                      <a:pt x="2" y="94"/>
                    </a:cubicBezTo>
                    <a:cubicBezTo>
                      <a:pt x="2" y="101"/>
                      <a:pt x="5" y="104"/>
                      <a:pt x="12" y="106"/>
                    </a:cubicBezTo>
                    <a:cubicBezTo>
                      <a:pt x="26" y="106"/>
                      <a:pt x="39" y="112"/>
                      <a:pt x="53" y="112"/>
                    </a:cubicBezTo>
                    <a:cubicBezTo>
                      <a:pt x="54" y="112"/>
                      <a:pt x="55" y="112"/>
                      <a:pt x="57" y="112"/>
                    </a:cubicBezTo>
                    <a:cubicBezTo>
                      <a:pt x="58" y="116"/>
                      <a:pt x="58" y="116"/>
                      <a:pt x="58" y="116"/>
                    </a:cubicBezTo>
                    <a:cubicBezTo>
                      <a:pt x="58" y="116"/>
                      <a:pt x="58" y="116"/>
                      <a:pt x="58" y="116"/>
                    </a:cubicBezTo>
                    <a:cubicBezTo>
                      <a:pt x="58" y="117"/>
                      <a:pt x="58" y="118"/>
                      <a:pt x="58" y="119"/>
                    </a:cubicBezTo>
                    <a:cubicBezTo>
                      <a:pt x="58" y="115"/>
                      <a:pt x="59" y="112"/>
                      <a:pt x="60" y="108"/>
                    </a:cubicBezTo>
                    <a:cubicBezTo>
                      <a:pt x="51" y="108"/>
                      <a:pt x="42" y="106"/>
                      <a:pt x="33" y="104"/>
                    </a:cubicBezTo>
                    <a:cubicBezTo>
                      <a:pt x="26" y="102"/>
                      <a:pt x="16" y="103"/>
                      <a:pt x="10" y="97"/>
                    </a:cubicBezTo>
                    <a:cubicBezTo>
                      <a:pt x="0" y="89"/>
                      <a:pt x="3" y="68"/>
                      <a:pt x="3" y="57"/>
                    </a:cubicBezTo>
                    <a:cubicBezTo>
                      <a:pt x="3" y="55"/>
                      <a:pt x="3" y="52"/>
                      <a:pt x="4" y="50"/>
                    </a:cubicBezTo>
                    <a:moveTo>
                      <a:pt x="66" y="10"/>
                    </a:moveTo>
                    <a:cubicBezTo>
                      <a:pt x="65" y="10"/>
                      <a:pt x="65" y="11"/>
                      <a:pt x="65" y="12"/>
                    </a:cubicBezTo>
                    <a:cubicBezTo>
                      <a:pt x="63" y="17"/>
                      <a:pt x="63" y="22"/>
                      <a:pt x="62" y="27"/>
                    </a:cubicBezTo>
                    <a:cubicBezTo>
                      <a:pt x="63" y="22"/>
                      <a:pt x="64" y="16"/>
                      <a:pt x="65" y="10"/>
                    </a:cubicBezTo>
                    <a:cubicBezTo>
                      <a:pt x="66" y="10"/>
                      <a:pt x="66" y="10"/>
                      <a:pt x="66" y="10"/>
                    </a:cubicBezTo>
                    <a:moveTo>
                      <a:pt x="95" y="88"/>
                    </a:moveTo>
                    <a:cubicBezTo>
                      <a:pt x="99" y="88"/>
                      <a:pt x="101" y="86"/>
                      <a:pt x="103" y="81"/>
                    </a:cubicBezTo>
                    <a:cubicBezTo>
                      <a:pt x="104" y="76"/>
                      <a:pt x="104" y="69"/>
                      <a:pt x="98" y="67"/>
                    </a:cubicBezTo>
                    <a:cubicBezTo>
                      <a:pt x="96" y="66"/>
                      <a:pt x="97" y="63"/>
                      <a:pt x="99" y="63"/>
                    </a:cubicBezTo>
                    <a:cubicBezTo>
                      <a:pt x="99" y="63"/>
                      <a:pt x="99" y="63"/>
                      <a:pt x="99" y="63"/>
                    </a:cubicBezTo>
                    <a:cubicBezTo>
                      <a:pt x="117" y="65"/>
                      <a:pt x="108" y="95"/>
                      <a:pt x="96" y="95"/>
                    </a:cubicBezTo>
                    <a:cubicBezTo>
                      <a:pt x="94" y="95"/>
                      <a:pt x="91" y="94"/>
                      <a:pt x="89" y="91"/>
                    </a:cubicBezTo>
                    <a:cubicBezTo>
                      <a:pt x="88" y="90"/>
                      <a:pt x="88" y="88"/>
                      <a:pt x="90" y="88"/>
                    </a:cubicBezTo>
                    <a:cubicBezTo>
                      <a:pt x="90" y="88"/>
                      <a:pt x="90" y="88"/>
                      <a:pt x="91" y="88"/>
                    </a:cubicBezTo>
                    <a:cubicBezTo>
                      <a:pt x="92" y="88"/>
                      <a:pt x="93" y="88"/>
                      <a:pt x="95" y="88"/>
                    </a:cubicBezTo>
                    <a:moveTo>
                      <a:pt x="80" y="0"/>
                    </a:moveTo>
                    <a:cubicBezTo>
                      <a:pt x="79" y="0"/>
                      <a:pt x="78" y="0"/>
                      <a:pt x="77" y="0"/>
                    </a:cubicBezTo>
                    <a:cubicBezTo>
                      <a:pt x="70" y="11"/>
                      <a:pt x="73" y="29"/>
                      <a:pt x="68" y="40"/>
                    </a:cubicBezTo>
                    <a:cubicBezTo>
                      <a:pt x="67" y="41"/>
                      <a:pt x="66" y="42"/>
                      <a:pt x="66" y="42"/>
                    </a:cubicBezTo>
                    <a:cubicBezTo>
                      <a:pt x="64" y="45"/>
                      <a:pt x="61" y="47"/>
                      <a:pt x="57" y="48"/>
                    </a:cubicBezTo>
                    <a:cubicBezTo>
                      <a:pt x="57" y="50"/>
                      <a:pt x="52" y="53"/>
                      <a:pt x="52" y="53"/>
                    </a:cubicBezTo>
                    <a:cubicBezTo>
                      <a:pt x="51" y="53"/>
                      <a:pt x="50" y="53"/>
                      <a:pt x="49" y="53"/>
                    </a:cubicBezTo>
                    <a:cubicBezTo>
                      <a:pt x="45" y="53"/>
                      <a:pt x="42" y="52"/>
                      <a:pt x="39" y="51"/>
                    </a:cubicBezTo>
                    <a:cubicBezTo>
                      <a:pt x="36" y="50"/>
                      <a:pt x="33" y="49"/>
                      <a:pt x="30" y="49"/>
                    </a:cubicBezTo>
                    <a:cubicBezTo>
                      <a:pt x="30" y="49"/>
                      <a:pt x="30" y="49"/>
                      <a:pt x="30" y="49"/>
                    </a:cubicBezTo>
                    <a:cubicBezTo>
                      <a:pt x="28" y="48"/>
                      <a:pt x="26" y="48"/>
                      <a:pt x="25" y="48"/>
                    </a:cubicBezTo>
                    <a:cubicBezTo>
                      <a:pt x="24" y="48"/>
                      <a:pt x="24" y="48"/>
                      <a:pt x="23" y="48"/>
                    </a:cubicBezTo>
                    <a:cubicBezTo>
                      <a:pt x="23" y="48"/>
                      <a:pt x="23" y="48"/>
                      <a:pt x="22" y="48"/>
                    </a:cubicBezTo>
                    <a:cubicBezTo>
                      <a:pt x="21" y="48"/>
                      <a:pt x="21" y="48"/>
                      <a:pt x="20" y="48"/>
                    </a:cubicBezTo>
                    <a:cubicBezTo>
                      <a:pt x="19" y="48"/>
                      <a:pt x="18" y="49"/>
                      <a:pt x="17" y="49"/>
                    </a:cubicBezTo>
                    <a:cubicBezTo>
                      <a:pt x="15" y="49"/>
                      <a:pt x="13" y="48"/>
                      <a:pt x="12" y="48"/>
                    </a:cubicBezTo>
                    <a:cubicBezTo>
                      <a:pt x="10" y="51"/>
                      <a:pt x="11" y="54"/>
                      <a:pt x="11" y="59"/>
                    </a:cubicBezTo>
                    <a:cubicBezTo>
                      <a:pt x="11" y="67"/>
                      <a:pt x="10" y="77"/>
                      <a:pt x="12" y="85"/>
                    </a:cubicBezTo>
                    <a:cubicBezTo>
                      <a:pt x="16" y="96"/>
                      <a:pt x="26" y="94"/>
                      <a:pt x="36" y="96"/>
                    </a:cubicBezTo>
                    <a:cubicBezTo>
                      <a:pt x="44" y="98"/>
                      <a:pt x="52" y="100"/>
                      <a:pt x="61" y="100"/>
                    </a:cubicBezTo>
                    <a:cubicBezTo>
                      <a:pt x="62" y="100"/>
                      <a:pt x="63" y="100"/>
                      <a:pt x="63" y="100"/>
                    </a:cubicBezTo>
                    <a:cubicBezTo>
                      <a:pt x="63" y="100"/>
                      <a:pt x="64" y="100"/>
                      <a:pt x="64" y="100"/>
                    </a:cubicBezTo>
                    <a:cubicBezTo>
                      <a:pt x="67" y="100"/>
                      <a:pt x="68" y="103"/>
                      <a:pt x="67" y="105"/>
                    </a:cubicBezTo>
                    <a:cubicBezTo>
                      <a:pt x="68" y="106"/>
                      <a:pt x="68" y="107"/>
                      <a:pt x="68" y="108"/>
                    </a:cubicBezTo>
                    <a:cubicBezTo>
                      <a:pt x="69" y="120"/>
                      <a:pt x="62" y="131"/>
                      <a:pt x="62" y="142"/>
                    </a:cubicBezTo>
                    <a:cubicBezTo>
                      <a:pt x="63" y="151"/>
                      <a:pt x="69" y="152"/>
                      <a:pt x="76" y="155"/>
                    </a:cubicBezTo>
                    <a:cubicBezTo>
                      <a:pt x="83" y="157"/>
                      <a:pt x="89" y="160"/>
                      <a:pt x="97" y="161"/>
                    </a:cubicBezTo>
                    <a:cubicBezTo>
                      <a:pt x="100" y="161"/>
                      <a:pt x="102" y="162"/>
                      <a:pt x="104" y="162"/>
                    </a:cubicBezTo>
                    <a:cubicBezTo>
                      <a:pt x="106" y="162"/>
                      <a:pt x="108" y="161"/>
                      <a:pt x="111" y="158"/>
                    </a:cubicBezTo>
                    <a:cubicBezTo>
                      <a:pt x="111" y="158"/>
                      <a:pt x="111" y="158"/>
                      <a:pt x="111" y="158"/>
                    </a:cubicBezTo>
                    <a:cubicBezTo>
                      <a:pt x="111" y="157"/>
                      <a:pt x="111" y="156"/>
                      <a:pt x="111" y="155"/>
                    </a:cubicBezTo>
                    <a:cubicBezTo>
                      <a:pt x="111" y="152"/>
                      <a:pt x="111" y="148"/>
                      <a:pt x="111" y="145"/>
                    </a:cubicBezTo>
                    <a:cubicBezTo>
                      <a:pt x="111" y="137"/>
                      <a:pt x="112" y="130"/>
                      <a:pt x="115" y="124"/>
                    </a:cubicBezTo>
                    <a:cubicBezTo>
                      <a:pt x="115" y="124"/>
                      <a:pt x="115" y="124"/>
                      <a:pt x="115" y="124"/>
                    </a:cubicBezTo>
                    <a:cubicBezTo>
                      <a:pt x="116" y="124"/>
                      <a:pt x="116" y="124"/>
                      <a:pt x="116" y="124"/>
                    </a:cubicBezTo>
                    <a:cubicBezTo>
                      <a:pt x="117" y="122"/>
                      <a:pt x="117" y="120"/>
                      <a:pt x="118" y="118"/>
                    </a:cubicBezTo>
                    <a:cubicBezTo>
                      <a:pt x="115" y="117"/>
                      <a:pt x="116" y="112"/>
                      <a:pt x="120" y="112"/>
                    </a:cubicBezTo>
                    <a:cubicBezTo>
                      <a:pt x="123" y="111"/>
                      <a:pt x="128" y="111"/>
                      <a:pt x="132" y="111"/>
                    </a:cubicBezTo>
                    <a:cubicBezTo>
                      <a:pt x="136" y="111"/>
                      <a:pt x="140" y="111"/>
                      <a:pt x="144" y="112"/>
                    </a:cubicBezTo>
                    <a:cubicBezTo>
                      <a:pt x="149" y="112"/>
                      <a:pt x="153" y="114"/>
                      <a:pt x="158" y="114"/>
                    </a:cubicBezTo>
                    <a:cubicBezTo>
                      <a:pt x="159" y="114"/>
                      <a:pt x="159" y="114"/>
                      <a:pt x="160" y="114"/>
                    </a:cubicBezTo>
                    <a:cubicBezTo>
                      <a:pt x="165" y="113"/>
                      <a:pt x="168" y="111"/>
                      <a:pt x="170" y="108"/>
                    </a:cubicBezTo>
                    <a:cubicBezTo>
                      <a:pt x="170" y="104"/>
                      <a:pt x="170" y="100"/>
                      <a:pt x="171" y="97"/>
                    </a:cubicBezTo>
                    <a:cubicBezTo>
                      <a:pt x="171" y="91"/>
                      <a:pt x="172" y="80"/>
                      <a:pt x="166" y="74"/>
                    </a:cubicBezTo>
                    <a:cubicBezTo>
                      <a:pt x="159" y="70"/>
                      <a:pt x="149" y="70"/>
                      <a:pt x="144" y="68"/>
                    </a:cubicBezTo>
                    <a:cubicBezTo>
                      <a:pt x="136" y="68"/>
                      <a:pt x="129" y="66"/>
                      <a:pt x="124" y="65"/>
                    </a:cubicBezTo>
                    <a:cubicBezTo>
                      <a:pt x="122" y="65"/>
                      <a:pt x="121" y="65"/>
                      <a:pt x="120" y="65"/>
                    </a:cubicBezTo>
                    <a:cubicBezTo>
                      <a:pt x="118" y="65"/>
                      <a:pt x="117" y="64"/>
                      <a:pt x="114" y="62"/>
                    </a:cubicBezTo>
                    <a:cubicBezTo>
                      <a:pt x="114" y="62"/>
                      <a:pt x="114" y="62"/>
                      <a:pt x="114" y="62"/>
                    </a:cubicBezTo>
                    <a:cubicBezTo>
                      <a:pt x="114" y="62"/>
                      <a:pt x="114" y="62"/>
                      <a:pt x="114" y="62"/>
                    </a:cubicBezTo>
                    <a:cubicBezTo>
                      <a:pt x="115" y="62"/>
                      <a:pt x="115" y="62"/>
                      <a:pt x="115" y="62"/>
                    </a:cubicBezTo>
                    <a:cubicBezTo>
                      <a:pt x="114" y="62"/>
                      <a:pt x="114" y="61"/>
                      <a:pt x="114" y="60"/>
                    </a:cubicBezTo>
                    <a:cubicBezTo>
                      <a:pt x="114" y="59"/>
                      <a:pt x="114" y="58"/>
                      <a:pt x="114" y="56"/>
                    </a:cubicBezTo>
                    <a:cubicBezTo>
                      <a:pt x="114" y="54"/>
                      <a:pt x="114" y="52"/>
                      <a:pt x="114" y="50"/>
                    </a:cubicBezTo>
                    <a:cubicBezTo>
                      <a:pt x="114" y="44"/>
                      <a:pt x="115" y="37"/>
                      <a:pt x="115" y="32"/>
                    </a:cubicBezTo>
                    <a:cubicBezTo>
                      <a:pt x="116" y="29"/>
                      <a:pt x="117" y="27"/>
                      <a:pt x="118" y="25"/>
                    </a:cubicBezTo>
                    <a:cubicBezTo>
                      <a:pt x="118" y="23"/>
                      <a:pt x="118" y="22"/>
                      <a:pt x="119" y="20"/>
                    </a:cubicBezTo>
                    <a:cubicBezTo>
                      <a:pt x="119" y="20"/>
                      <a:pt x="119" y="20"/>
                      <a:pt x="119" y="20"/>
                    </a:cubicBezTo>
                    <a:cubicBezTo>
                      <a:pt x="119" y="20"/>
                      <a:pt x="119" y="20"/>
                      <a:pt x="119" y="19"/>
                    </a:cubicBezTo>
                    <a:cubicBezTo>
                      <a:pt x="119" y="18"/>
                      <a:pt x="118" y="16"/>
                      <a:pt x="118" y="15"/>
                    </a:cubicBezTo>
                    <a:cubicBezTo>
                      <a:pt x="114" y="8"/>
                      <a:pt x="107" y="6"/>
                      <a:pt x="100" y="4"/>
                    </a:cubicBezTo>
                    <a:cubicBezTo>
                      <a:pt x="94" y="3"/>
                      <a:pt x="86" y="0"/>
                      <a:pt x="80" y="0"/>
                    </a:cubicBezTo>
                  </a:path>
                </a:pathLst>
              </a:custGeom>
              <a:solidFill>
                <a:srgbClr val="F9CE8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095" name="Freeform 7">
                <a:extLst>
                  <a:ext uri="{FF2B5EF4-FFF2-40B4-BE49-F238E27FC236}">
                    <a16:creationId xmlns:a16="http://schemas.microsoft.com/office/drawing/2014/main" id="{2FAD9E85-D1FF-4427-A14F-27EEA7BE7B60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6493" y="1829"/>
                <a:ext cx="71" cy="68"/>
              </a:xfrm>
              <a:custGeom>
                <a:avLst/>
                <a:gdLst>
                  <a:gd name="T0" fmla="*/ 3 w 67"/>
                  <a:gd name="T1" fmla="*/ 17 h 64"/>
                  <a:gd name="T2" fmla="*/ 2 w 67"/>
                  <a:gd name="T3" fmla="*/ 20 h 64"/>
                  <a:gd name="T4" fmla="*/ 0 w 67"/>
                  <a:gd name="T5" fmla="*/ 32 h 64"/>
                  <a:gd name="T6" fmla="*/ 5 w 67"/>
                  <a:gd name="T7" fmla="*/ 49 h 64"/>
                  <a:gd name="T8" fmla="*/ 35 w 67"/>
                  <a:gd name="T9" fmla="*/ 64 h 64"/>
                  <a:gd name="T10" fmla="*/ 42 w 67"/>
                  <a:gd name="T11" fmla="*/ 63 h 64"/>
                  <a:gd name="T12" fmla="*/ 58 w 67"/>
                  <a:gd name="T13" fmla="*/ 55 h 64"/>
                  <a:gd name="T14" fmla="*/ 56 w 67"/>
                  <a:gd name="T15" fmla="*/ 56 h 64"/>
                  <a:gd name="T16" fmla="*/ 41 w 67"/>
                  <a:gd name="T17" fmla="*/ 59 h 64"/>
                  <a:gd name="T18" fmla="*/ 4 w 67"/>
                  <a:gd name="T19" fmla="*/ 35 h 64"/>
                  <a:gd name="T20" fmla="*/ 3 w 67"/>
                  <a:gd name="T21" fmla="*/ 17 h 64"/>
                  <a:gd name="T22" fmla="*/ 44 w 67"/>
                  <a:gd name="T23" fmla="*/ 0 h 64"/>
                  <a:gd name="T24" fmla="*/ 41 w 67"/>
                  <a:gd name="T25" fmla="*/ 1 h 64"/>
                  <a:gd name="T26" fmla="*/ 26 w 67"/>
                  <a:gd name="T27" fmla="*/ 3 h 64"/>
                  <a:gd name="T28" fmla="*/ 17 w 67"/>
                  <a:gd name="T29" fmla="*/ 5 h 64"/>
                  <a:gd name="T30" fmla="*/ 16 w 67"/>
                  <a:gd name="T31" fmla="*/ 5 h 64"/>
                  <a:gd name="T32" fmla="*/ 14 w 67"/>
                  <a:gd name="T33" fmla="*/ 39 h 64"/>
                  <a:gd name="T34" fmla="*/ 41 w 67"/>
                  <a:gd name="T35" fmla="*/ 52 h 64"/>
                  <a:gd name="T36" fmla="*/ 58 w 67"/>
                  <a:gd name="T37" fmla="*/ 47 h 64"/>
                  <a:gd name="T38" fmla="*/ 66 w 67"/>
                  <a:gd name="T39" fmla="*/ 38 h 64"/>
                  <a:gd name="T40" fmla="*/ 67 w 67"/>
                  <a:gd name="T41" fmla="*/ 33 h 64"/>
                  <a:gd name="T42" fmla="*/ 62 w 67"/>
                  <a:gd name="T43" fmla="*/ 17 h 64"/>
                  <a:gd name="T44" fmla="*/ 44 w 67"/>
                  <a:gd name="T45" fmla="*/ 0 h 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67" h="64">
                    <a:moveTo>
                      <a:pt x="3" y="17"/>
                    </a:moveTo>
                    <a:cubicBezTo>
                      <a:pt x="3" y="18"/>
                      <a:pt x="2" y="19"/>
                      <a:pt x="2" y="20"/>
                    </a:cubicBezTo>
                    <a:cubicBezTo>
                      <a:pt x="1" y="23"/>
                      <a:pt x="0" y="28"/>
                      <a:pt x="0" y="32"/>
                    </a:cubicBezTo>
                    <a:cubicBezTo>
                      <a:pt x="0" y="38"/>
                      <a:pt x="1" y="44"/>
                      <a:pt x="5" y="49"/>
                    </a:cubicBezTo>
                    <a:cubicBezTo>
                      <a:pt x="12" y="59"/>
                      <a:pt x="23" y="64"/>
                      <a:pt x="35" y="64"/>
                    </a:cubicBezTo>
                    <a:cubicBezTo>
                      <a:pt x="37" y="64"/>
                      <a:pt x="40" y="64"/>
                      <a:pt x="42" y="63"/>
                    </a:cubicBezTo>
                    <a:cubicBezTo>
                      <a:pt x="48" y="62"/>
                      <a:pt x="54" y="59"/>
                      <a:pt x="58" y="55"/>
                    </a:cubicBezTo>
                    <a:cubicBezTo>
                      <a:pt x="57" y="55"/>
                      <a:pt x="56" y="56"/>
                      <a:pt x="56" y="56"/>
                    </a:cubicBezTo>
                    <a:cubicBezTo>
                      <a:pt x="51" y="58"/>
                      <a:pt x="46" y="59"/>
                      <a:pt x="41" y="59"/>
                    </a:cubicBezTo>
                    <a:cubicBezTo>
                      <a:pt x="25" y="59"/>
                      <a:pt x="10" y="50"/>
                      <a:pt x="4" y="35"/>
                    </a:cubicBezTo>
                    <a:cubicBezTo>
                      <a:pt x="2" y="29"/>
                      <a:pt x="2" y="23"/>
                      <a:pt x="3" y="17"/>
                    </a:cubicBezTo>
                    <a:moveTo>
                      <a:pt x="44" y="0"/>
                    </a:moveTo>
                    <a:cubicBezTo>
                      <a:pt x="43" y="0"/>
                      <a:pt x="42" y="1"/>
                      <a:pt x="41" y="1"/>
                    </a:cubicBezTo>
                    <a:cubicBezTo>
                      <a:pt x="26" y="3"/>
                      <a:pt x="26" y="3"/>
                      <a:pt x="26" y="3"/>
                    </a:cubicBezTo>
                    <a:cubicBezTo>
                      <a:pt x="22" y="3"/>
                      <a:pt x="20" y="4"/>
                      <a:pt x="17" y="5"/>
                    </a:cubicBezTo>
                    <a:cubicBezTo>
                      <a:pt x="17" y="5"/>
                      <a:pt x="16" y="5"/>
                      <a:pt x="16" y="5"/>
                    </a:cubicBezTo>
                    <a:cubicBezTo>
                      <a:pt x="8" y="14"/>
                      <a:pt x="8" y="29"/>
                      <a:pt x="14" y="39"/>
                    </a:cubicBezTo>
                    <a:cubicBezTo>
                      <a:pt x="20" y="48"/>
                      <a:pt x="31" y="52"/>
                      <a:pt x="41" y="52"/>
                    </a:cubicBezTo>
                    <a:cubicBezTo>
                      <a:pt x="47" y="52"/>
                      <a:pt x="53" y="50"/>
                      <a:pt x="58" y="47"/>
                    </a:cubicBezTo>
                    <a:cubicBezTo>
                      <a:pt x="62" y="45"/>
                      <a:pt x="64" y="42"/>
                      <a:pt x="66" y="38"/>
                    </a:cubicBezTo>
                    <a:cubicBezTo>
                      <a:pt x="67" y="37"/>
                      <a:pt x="67" y="35"/>
                      <a:pt x="67" y="33"/>
                    </a:cubicBezTo>
                    <a:cubicBezTo>
                      <a:pt x="67" y="28"/>
                      <a:pt x="65" y="22"/>
                      <a:pt x="62" y="17"/>
                    </a:cubicBezTo>
                    <a:cubicBezTo>
                      <a:pt x="58" y="10"/>
                      <a:pt x="51" y="0"/>
                      <a:pt x="44" y="0"/>
                    </a:cubicBezTo>
                  </a:path>
                </a:pathLst>
              </a:custGeom>
              <a:solidFill>
                <a:srgbClr val="F9CE8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096" name="Freeform 8">
                <a:extLst>
                  <a:ext uri="{FF2B5EF4-FFF2-40B4-BE49-F238E27FC236}">
                    <a16:creationId xmlns:a16="http://schemas.microsoft.com/office/drawing/2014/main" id="{B7489FE0-281B-4EB6-97A3-0B51DD25FDEE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6284" y="1791"/>
                <a:ext cx="83" cy="77"/>
              </a:xfrm>
              <a:custGeom>
                <a:avLst/>
                <a:gdLst>
                  <a:gd name="T0" fmla="*/ 5 w 78"/>
                  <a:gd name="T1" fmla="*/ 23 h 73"/>
                  <a:gd name="T2" fmla="*/ 5 w 78"/>
                  <a:gd name="T3" fmla="*/ 24 h 73"/>
                  <a:gd name="T4" fmla="*/ 0 w 78"/>
                  <a:gd name="T5" fmla="*/ 43 h 73"/>
                  <a:gd name="T6" fmla="*/ 2 w 78"/>
                  <a:gd name="T7" fmla="*/ 50 h 73"/>
                  <a:gd name="T8" fmla="*/ 14 w 78"/>
                  <a:gd name="T9" fmla="*/ 67 h 73"/>
                  <a:gd name="T10" fmla="*/ 38 w 78"/>
                  <a:gd name="T11" fmla="*/ 72 h 73"/>
                  <a:gd name="T12" fmla="*/ 49 w 78"/>
                  <a:gd name="T13" fmla="*/ 73 h 73"/>
                  <a:gd name="T14" fmla="*/ 69 w 78"/>
                  <a:gd name="T15" fmla="*/ 65 h 73"/>
                  <a:gd name="T16" fmla="*/ 70 w 78"/>
                  <a:gd name="T17" fmla="*/ 63 h 73"/>
                  <a:gd name="T18" fmla="*/ 51 w 78"/>
                  <a:gd name="T19" fmla="*/ 67 h 73"/>
                  <a:gd name="T20" fmla="*/ 44 w 78"/>
                  <a:gd name="T21" fmla="*/ 67 h 73"/>
                  <a:gd name="T22" fmla="*/ 11 w 78"/>
                  <a:gd name="T23" fmla="*/ 55 h 73"/>
                  <a:gd name="T24" fmla="*/ 5 w 78"/>
                  <a:gd name="T25" fmla="*/ 26 h 73"/>
                  <a:gd name="T26" fmla="*/ 5 w 78"/>
                  <a:gd name="T27" fmla="*/ 23 h 73"/>
                  <a:gd name="T28" fmla="*/ 42 w 78"/>
                  <a:gd name="T29" fmla="*/ 0 h 73"/>
                  <a:gd name="T30" fmla="*/ 26 w 78"/>
                  <a:gd name="T31" fmla="*/ 5 h 73"/>
                  <a:gd name="T32" fmla="*/ 12 w 78"/>
                  <a:gd name="T33" fmla="*/ 25 h 73"/>
                  <a:gd name="T34" fmla="*/ 47 w 78"/>
                  <a:gd name="T35" fmla="*/ 61 h 73"/>
                  <a:gd name="T36" fmla="*/ 56 w 78"/>
                  <a:gd name="T37" fmla="*/ 61 h 73"/>
                  <a:gd name="T38" fmla="*/ 76 w 78"/>
                  <a:gd name="T39" fmla="*/ 51 h 73"/>
                  <a:gd name="T40" fmla="*/ 77 w 78"/>
                  <a:gd name="T41" fmla="*/ 50 h 73"/>
                  <a:gd name="T42" fmla="*/ 78 w 78"/>
                  <a:gd name="T43" fmla="*/ 42 h 73"/>
                  <a:gd name="T44" fmla="*/ 78 w 78"/>
                  <a:gd name="T45" fmla="*/ 38 h 73"/>
                  <a:gd name="T46" fmla="*/ 48 w 78"/>
                  <a:gd name="T47" fmla="*/ 1 h 73"/>
                  <a:gd name="T48" fmla="*/ 42 w 78"/>
                  <a:gd name="T49" fmla="*/ 0 h 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78" h="73">
                    <a:moveTo>
                      <a:pt x="5" y="23"/>
                    </a:moveTo>
                    <a:cubicBezTo>
                      <a:pt x="5" y="24"/>
                      <a:pt x="5" y="24"/>
                      <a:pt x="5" y="24"/>
                    </a:cubicBezTo>
                    <a:cubicBezTo>
                      <a:pt x="3" y="31"/>
                      <a:pt x="0" y="37"/>
                      <a:pt x="0" y="43"/>
                    </a:cubicBezTo>
                    <a:cubicBezTo>
                      <a:pt x="0" y="46"/>
                      <a:pt x="1" y="48"/>
                      <a:pt x="2" y="50"/>
                    </a:cubicBezTo>
                    <a:cubicBezTo>
                      <a:pt x="4" y="57"/>
                      <a:pt x="8" y="64"/>
                      <a:pt x="14" y="67"/>
                    </a:cubicBezTo>
                    <a:cubicBezTo>
                      <a:pt x="21" y="71"/>
                      <a:pt x="31" y="72"/>
                      <a:pt x="38" y="72"/>
                    </a:cubicBezTo>
                    <a:cubicBezTo>
                      <a:pt x="42" y="73"/>
                      <a:pt x="45" y="73"/>
                      <a:pt x="49" y="73"/>
                    </a:cubicBezTo>
                    <a:cubicBezTo>
                      <a:pt x="56" y="73"/>
                      <a:pt x="63" y="71"/>
                      <a:pt x="69" y="65"/>
                    </a:cubicBezTo>
                    <a:cubicBezTo>
                      <a:pt x="69" y="64"/>
                      <a:pt x="70" y="64"/>
                      <a:pt x="70" y="63"/>
                    </a:cubicBezTo>
                    <a:cubicBezTo>
                      <a:pt x="65" y="66"/>
                      <a:pt x="58" y="67"/>
                      <a:pt x="51" y="67"/>
                    </a:cubicBezTo>
                    <a:cubicBezTo>
                      <a:pt x="49" y="67"/>
                      <a:pt x="46" y="67"/>
                      <a:pt x="44" y="67"/>
                    </a:cubicBezTo>
                    <a:cubicBezTo>
                      <a:pt x="32" y="66"/>
                      <a:pt x="20" y="66"/>
                      <a:pt x="11" y="55"/>
                    </a:cubicBezTo>
                    <a:cubicBezTo>
                      <a:pt x="4" y="47"/>
                      <a:pt x="2" y="36"/>
                      <a:pt x="5" y="26"/>
                    </a:cubicBezTo>
                    <a:cubicBezTo>
                      <a:pt x="5" y="25"/>
                      <a:pt x="5" y="24"/>
                      <a:pt x="5" y="23"/>
                    </a:cubicBezTo>
                    <a:moveTo>
                      <a:pt x="42" y="0"/>
                    </a:moveTo>
                    <a:cubicBezTo>
                      <a:pt x="37" y="1"/>
                      <a:pt x="31" y="2"/>
                      <a:pt x="26" y="5"/>
                    </a:cubicBezTo>
                    <a:cubicBezTo>
                      <a:pt x="20" y="9"/>
                      <a:pt x="15" y="15"/>
                      <a:pt x="12" y="25"/>
                    </a:cubicBezTo>
                    <a:cubicBezTo>
                      <a:pt x="5" y="51"/>
                      <a:pt x="26" y="58"/>
                      <a:pt x="47" y="61"/>
                    </a:cubicBezTo>
                    <a:cubicBezTo>
                      <a:pt x="50" y="61"/>
                      <a:pt x="53" y="61"/>
                      <a:pt x="56" y="61"/>
                    </a:cubicBezTo>
                    <a:cubicBezTo>
                      <a:pt x="64" y="61"/>
                      <a:pt x="70" y="59"/>
                      <a:pt x="76" y="51"/>
                    </a:cubicBezTo>
                    <a:cubicBezTo>
                      <a:pt x="77" y="50"/>
                      <a:pt x="77" y="50"/>
                      <a:pt x="77" y="50"/>
                    </a:cubicBezTo>
                    <a:cubicBezTo>
                      <a:pt x="78" y="47"/>
                      <a:pt x="78" y="44"/>
                      <a:pt x="78" y="42"/>
                    </a:cubicBezTo>
                    <a:cubicBezTo>
                      <a:pt x="78" y="41"/>
                      <a:pt x="78" y="39"/>
                      <a:pt x="78" y="38"/>
                    </a:cubicBezTo>
                    <a:cubicBezTo>
                      <a:pt x="75" y="20"/>
                      <a:pt x="63" y="7"/>
                      <a:pt x="48" y="1"/>
                    </a:cubicBezTo>
                    <a:cubicBezTo>
                      <a:pt x="42" y="0"/>
                      <a:pt x="42" y="0"/>
                      <a:pt x="42" y="0"/>
                    </a:cubicBezTo>
                  </a:path>
                </a:pathLst>
              </a:custGeom>
              <a:solidFill>
                <a:srgbClr val="F9CE8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097" name="Freeform 9">
                <a:extLst>
                  <a:ext uri="{FF2B5EF4-FFF2-40B4-BE49-F238E27FC236}">
                    <a16:creationId xmlns:a16="http://schemas.microsoft.com/office/drawing/2014/main" id="{919E4F9A-B8B1-4BAC-9681-2E4AD12EF914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6380" y="1887"/>
                <a:ext cx="85" cy="78"/>
              </a:xfrm>
              <a:custGeom>
                <a:avLst/>
                <a:gdLst>
                  <a:gd name="T0" fmla="*/ 3 w 80"/>
                  <a:gd name="T1" fmla="*/ 21 h 73"/>
                  <a:gd name="T2" fmla="*/ 1 w 80"/>
                  <a:gd name="T3" fmla="*/ 30 h 73"/>
                  <a:gd name="T4" fmla="*/ 0 w 80"/>
                  <a:gd name="T5" fmla="*/ 33 h 73"/>
                  <a:gd name="T6" fmla="*/ 15 w 80"/>
                  <a:gd name="T7" fmla="*/ 63 h 73"/>
                  <a:gd name="T8" fmla="*/ 35 w 80"/>
                  <a:gd name="T9" fmla="*/ 72 h 73"/>
                  <a:gd name="T10" fmla="*/ 45 w 80"/>
                  <a:gd name="T11" fmla="*/ 73 h 73"/>
                  <a:gd name="T12" fmla="*/ 64 w 80"/>
                  <a:gd name="T13" fmla="*/ 66 h 73"/>
                  <a:gd name="T14" fmla="*/ 65 w 80"/>
                  <a:gd name="T15" fmla="*/ 65 h 73"/>
                  <a:gd name="T16" fmla="*/ 50 w 80"/>
                  <a:gd name="T17" fmla="*/ 69 h 73"/>
                  <a:gd name="T18" fmla="*/ 46 w 80"/>
                  <a:gd name="T19" fmla="*/ 68 h 73"/>
                  <a:gd name="T20" fmla="*/ 3 w 80"/>
                  <a:gd name="T21" fmla="*/ 21 h 73"/>
                  <a:gd name="T22" fmla="*/ 33 w 80"/>
                  <a:gd name="T23" fmla="*/ 0 h 73"/>
                  <a:gd name="T24" fmla="*/ 22 w 80"/>
                  <a:gd name="T25" fmla="*/ 2 h 73"/>
                  <a:gd name="T26" fmla="*/ 11 w 80"/>
                  <a:gd name="T27" fmla="*/ 22 h 73"/>
                  <a:gd name="T28" fmla="*/ 47 w 80"/>
                  <a:gd name="T29" fmla="*/ 61 h 73"/>
                  <a:gd name="T30" fmla="*/ 51 w 80"/>
                  <a:gd name="T31" fmla="*/ 61 h 73"/>
                  <a:gd name="T32" fmla="*/ 79 w 80"/>
                  <a:gd name="T33" fmla="*/ 41 h 73"/>
                  <a:gd name="T34" fmla="*/ 79 w 80"/>
                  <a:gd name="T35" fmla="*/ 39 h 73"/>
                  <a:gd name="T36" fmla="*/ 80 w 80"/>
                  <a:gd name="T37" fmla="*/ 33 h 73"/>
                  <a:gd name="T38" fmla="*/ 70 w 80"/>
                  <a:gd name="T39" fmla="*/ 8 h 73"/>
                  <a:gd name="T40" fmla="*/ 45 w 80"/>
                  <a:gd name="T41" fmla="*/ 1 h 73"/>
                  <a:gd name="T42" fmla="*/ 45 w 80"/>
                  <a:gd name="T43" fmla="*/ 1 h 73"/>
                  <a:gd name="T44" fmla="*/ 33 w 80"/>
                  <a:gd name="T45" fmla="*/ 0 h 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80" h="73">
                    <a:moveTo>
                      <a:pt x="3" y="21"/>
                    </a:moveTo>
                    <a:cubicBezTo>
                      <a:pt x="2" y="24"/>
                      <a:pt x="1" y="27"/>
                      <a:pt x="1" y="30"/>
                    </a:cubicBezTo>
                    <a:cubicBezTo>
                      <a:pt x="0" y="31"/>
                      <a:pt x="0" y="32"/>
                      <a:pt x="0" y="33"/>
                    </a:cubicBezTo>
                    <a:cubicBezTo>
                      <a:pt x="0" y="43"/>
                      <a:pt x="6" y="55"/>
                      <a:pt x="15" y="63"/>
                    </a:cubicBezTo>
                    <a:cubicBezTo>
                      <a:pt x="21" y="68"/>
                      <a:pt x="28" y="70"/>
                      <a:pt x="35" y="72"/>
                    </a:cubicBezTo>
                    <a:cubicBezTo>
                      <a:pt x="39" y="73"/>
                      <a:pt x="42" y="73"/>
                      <a:pt x="45" y="73"/>
                    </a:cubicBezTo>
                    <a:cubicBezTo>
                      <a:pt x="51" y="73"/>
                      <a:pt x="57" y="71"/>
                      <a:pt x="64" y="66"/>
                    </a:cubicBezTo>
                    <a:cubicBezTo>
                      <a:pt x="64" y="66"/>
                      <a:pt x="65" y="65"/>
                      <a:pt x="65" y="65"/>
                    </a:cubicBezTo>
                    <a:cubicBezTo>
                      <a:pt x="61" y="67"/>
                      <a:pt x="55" y="69"/>
                      <a:pt x="50" y="69"/>
                    </a:cubicBezTo>
                    <a:cubicBezTo>
                      <a:pt x="49" y="69"/>
                      <a:pt x="47" y="68"/>
                      <a:pt x="46" y="68"/>
                    </a:cubicBezTo>
                    <a:cubicBezTo>
                      <a:pt x="23" y="65"/>
                      <a:pt x="0" y="46"/>
                      <a:pt x="3" y="21"/>
                    </a:cubicBezTo>
                    <a:moveTo>
                      <a:pt x="33" y="0"/>
                    </a:moveTo>
                    <a:cubicBezTo>
                      <a:pt x="30" y="0"/>
                      <a:pt x="26" y="1"/>
                      <a:pt x="22" y="2"/>
                    </a:cubicBezTo>
                    <a:cubicBezTo>
                      <a:pt x="17" y="7"/>
                      <a:pt x="12" y="15"/>
                      <a:pt x="11" y="22"/>
                    </a:cubicBezTo>
                    <a:cubicBezTo>
                      <a:pt x="8" y="43"/>
                      <a:pt x="28" y="58"/>
                      <a:pt x="47" y="61"/>
                    </a:cubicBezTo>
                    <a:cubicBezTo>
                      <a:pt x="48" y="61"/>
                      <a:pt x="49" y="61"/>
                      <a:pt x="51" y="61"/>
                    </a:cubicBezTo>
                    <a:cubicBezTo>
                      <a:pt x="63" y="61"/>
                      <a:pt x="73" y="53"/>
                      <a:pt x="79" y="41"/>
                    </a:cubicBezTo>
                    <a:cubicBezTo>
                      <a:pt x="79" y="41"/>
                      <a:pt x="79" y="40"/>
                      <a:pt x="79" y="39"/>
                    </a:cubicBezTo>
                    <a:cubicBezTo>
                      <a:pt x="79" y="38"/>
                      <a:pt x="80" y="36"/>
                      <a:pt x="80" y="33"/>
                    </a:cubicBezTo>
                    <a:cubicBezTo>
                      <a:pt x="80" y="25"/>
                      <a:pt x="76" y="14"/>
                      <a:pt x="70" y="8"/>
                    </a:cubicBezTo>
                    <a:cubicBezTo>
                      <a:pt x="64" y="3"/>
                      <a:pt x="52" y="1"/>
                      <a:pt x="45" y="1"/>
                    </a:cubicBezTo>
                    <a:cubicBezTo>
                      <a:pt x="45" y="1"/>
                      <a:pt x="45" y="1"/>
                      <a:pt x="45" y="1"/>
                    </a:cubicBezTo>
                    <a:cubicBezTo>
                      <a:pt x="41" y="1"/>
                      <a:pt x="37" y="0"/>
                      <a:pt x="33" y="0"/>
                    </a:cubicBezTo>
                  </a:path>
                </a:pathLst>
              </a:custGeom>
              <a:solidFill>
                <a:srgbClr val="F9CE8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098" name="Freeform 10">
                <a:extLst>
                  <a:ext uri="{FF2B5EF4-FFF2-40B4-BE49-F238E27FC236}">
                    <a16:creationId xmlns:a16="http://schemas.microsoft.com/office/drawing/2014/main" id="{06DC0AB8-0C9B-4CD8-9F1B-7620D8CF5F8E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6387" y="1732"/>
                <a:ext cx="77" cy="78"/>
              </a:xfrm>
              <a:custGeom>
                <a:avLst/>
                <a:gdLst>
                  <a:gd name="T0" fmla="*/ 4 w 72"/>
                  <a:gd name="T1" fmla="*/ 20 h 74"/>
                  <a:gd name="T2" fmla="*/ 1 w 72"/>
                  <a:gd name="T3" fmla="*/ 28 h 74"/>
                  <a:gd name="T4" fmla="*/ 0 w 72"/>
                  <a:gd name="T5" fmla="*/ 35 h 74"/>
                  <a:gd name="T6" fmla="*/ 33 w 72"/>
                  <a:gd name="T7" fmla="*/ 74 h 74"/>
                  <a:gd name="T8" fmla="*/ 36 w 72"/>
                  <a:gd name="T9" fmla="*/ 74 h 74"/>
                  <a:gd name="T10" fmla="*/ 59 w 72"/>
                  <a:gd name="T11" fmla="*/ 65 h 74"/>
                  <a:gd name="T12" fmla="*/ 44 w 72"/>
                  <a:gd name="T13" fmla="*/ 69 h 74"/>
                  <a:gd name="T14" fmla="*/ 34 w 72"/>
                  <a:gd name="T15" fmla="*/ 67 h 74"/>
                  <a:gd name="T16" fmla="*/ 4 w 72"/>
                  <a:gd name="T17" fmla="*/ 20 h 74"/>
                  <a:gd name="T18" fmla="*/ 26 w 72"/>
                  <a:gd name="T19" fmla="*/ 0 h 74"/>
                  <a:gd name="T20" fmla="*/ 23 w 72"/>
                  <a:gd name="T21" fmla="*/ 0 h 74"/>
                  <a:gd name="T22" fmla="*/ 16 w 72"/>
                  <a:gd name="T23" fmla="*/ 8 h 74"/>
                  <a:gd name="T24" fmla="*/ 10 w 72"/>
                  <a:gd name="T25" fmla="*/ 31 h 74"/>
                  <a:gd name="T26" fmla="*/ 43 w 72"/>
                  <a:gd name="T27" fmla="*/ 63 h 74"/>
                  <a:gd name="T28" fmla="*/ 44 w 72"/>
                  <a:gd name="T29" fmla="*/ 63 h 74"/>
                  <a:gd name="T30" fmla="*/ 71 w 72"/>
                  <a:gd name="T31" fmla="*/ 45 h 74"/>
                  <a:gd name="T32" fmla="*/ 72 w 72"/>
                  <a:gd name="T33" fmla="*/ 37 h 74"/>
                  <a:gd name="T34" fmla="*/ 71 w 72"/>
                  <a:gd name="T35" fmla="*/ 32 h 74"/>
                  <a:gd name="T36" fmla="*/ 57 w 72"/>
                  <a:gd name="T37" fmla="*/ 5 h 74"/>
                  <a:gd name="T38" fmla="*/ 41 w 72"/>
                  <a:gd name="T39" fmla="*/ 1 h 74"/>
                  <a:gd name="T40" fmla="*/ 37 w 72"/>
                  <a:gd name="T41" fmla="*/ 1 h 74"/>
                  <a:gd name="T42" fmla="*/ 26 w 72"/>
                  <a:gd name="T43" fmla="*/ 0 h 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72" h="74">
                    <a:moveTo>
                      <a:pt x="4" y="20"/>
                    </a:moveTo>
                    <a:cubicBezTo>
                      <a:pt x="3" y="23"/>
                      <a:pt x="2" y="26"/>
                      <a:pt x="1" y="28"/>
                    </a:cubicBezTo>
                    <a:cubicBezTo>
                      <a:pt x="1" y="31"/>
                      <a:pt x="0" y="33"/>
                      <a:pt x="0" y="35"/>
                    </a:cubicBezTo>
                    <a:cubicBezTo>
                      <a:pt x="0" y="53"/>
                      <a:pt x="13" y="70"/>
                      <a:pt x="33" y="74"/>
                    </a:cubicBezTo>
                    <a:cubicBezTo>
                      <a:pt x="34" y="74"/>
                      <a:pt x="35" y="74"/>
                      <a:pt x="36" y="74"/>
                    </a:cubicBezTo>
                    <a:cubicBezTo>
                      <a:pt x="45" y="74"/>
                      <a:pt x="53" y="70"/>
                      <a:pt x="59" y="65"/>
                    </a:cubicBezTo>
                    <a:cubicBezTo>
                      <a:pt x="55" y="67"/>
                      <a:pt x="50" y="69"/>
                      <a:pt x="44" y="69"/>
                    </a:cubicBezTo>
                    <a:cubicBezTo>
                      <a:pt x="41" y="69"/>
                      <a:pt x="38" y="68"/>
                      <a:pt x="34" y="67"/>
                    </a:cubicBezTo>
                    <a:cubicBezTo>
                      <a:pt x="15" y="62"/>
                      <a:pt x="0" y="41"/>
                      <a:pt x="4" y="20"/>
                    </a:cubicBezTo>
                    <a:moveTo>
                      <a:pt x="26" y="0"/>
                    </a:moveTo>
                    <a:cubicBezTo>
                      <a:pt x="25" y="0"/>
                      <a:pt x="24" y="0"/>
                      <a:pt x="23" y="0"/>
                    </a:cubicBezTo>
                    <a:cubicBezTo>
                      <a:pt x="20" y="2"/>
                      <a:pt x="18" y="4"/>
                      <a:pt x="16" y="8"/>
                    </a:cubicBezTo>
                    <a:cubicBezTo>
                      <a:pt x="12" y="15"/>
                      <a:pt x="10" y="23"/>
                      <a:pt x="10" y="31"/>
                    </a:cubicBezTo>
                    <a:cubicBezTo>
                      <a:pt x="12" y="47"/>
                      <a:pt x="27" y="63"/>
                      <a:pt x="43" y="63"/>
                    </a:cubicBezTo>
                    <a:cubicBezTo>
                      <a:pt x="43" y="63"/>
                      <a:pt x="44" y="63"/>
                      <a:pt x="44" y="63"/>
                    </a:cubicBezTo>
                    <a:cubicBezTo>
                      <a:pt x="57" y="63"/>
                      <a:pt x="66" y="55"/>
                      <a:pt x="71" y="45"/>
                    </a:cubicBezTo>
                    <a:cubicBezTo>
                      <a:pt x="71" y="43"/>
                      <a:pt x="72" y="40"/>
                      <a:pt x="72" y="37"/>
                    </a:cubicBezTo>
                    <a:cubicBezTo>
                      <a:pt x="72" y="36"/>
                      <a:pt x="72" y="34"/>
                      <a:pt x="71" y="32"/>
                    </a:cubicBezTo>
                    <a:cubicBezTo>
                      <a:pt x="70" y="22"/>
                      <a:pt x="65" y="13"/>
                      <a:pt x="57" y="5"/>
                    </a:cubicBezTo>
                    <a:cubicBezTo>
                      <a:pt x="52" y="2"/>
                      <a:pt x="49" y="1"/>
                      <a:pt x="41" y="1"/>
                    </a:cubicBezTo>
                    <a:cubicBezTo>
                      <a:pt x="37" y="1"/>
                      <a:pt x="37" y="1"/>
                      <a:pt x="37" y="1"/>
                    </a:cubicBezTo>
                    <a:cubicBezTo>
                      <a:pt x="34" y="1"/>
                      <a:pt x="30" y="0"/>
                      <a:pt x="26" y="0"/>
                    </a:cubicBezTo>
                  </a:path>
                </a:pathLst>
              </a:custGeom>
              <a:solidFill>
                <a:srgbClr val="F9CE8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099" name="Freeform 11">
                <a:extLst>
                  <a:ext uri="{FF2B5EF4-FFF2-40B4-BE49-F238E27FC236}">
                    <a16:creationId xmlns:a16="http://schemas.microsoft.com/office/drawing/2014/main" id="{C208F3D7-85CB-4C01-8500-CD1E5CB93D74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6159" y="1677"/>
                <a:ext cx="1061" cy="522"/>
              </a:xfrm>
              <a:custGeom>
                <a:avLst/>
                <a:gdLst>
                  <a:gd name="T0" fmla="*/ 3 w 1001"/>
                  <a:gd name="T1" fmla="*/ 183 h 493"/>
                  <a:gd name="T2" fmla="*/ 124 w 1001"/>
                  <a:gd name="T3" fmla="*/ 376 h 493"/>
                  <a:gd name="T4" fmla="*/ 242 w 1001"/>
                  <a:gd name="T5" fmla="*/ 410 h 493"/>
                  <a:gd name="T6" fmla="*/ 365 w 1001"/>
                  <a:gd name="T7" fmla="*/ 383 h 493"/>
                  <a:gd name="T8" fmla="*/ 413 w 1001"/>
                  <a:gd name="T9" fmla="*/ 386 h 493"/>
                  <a:gd name="T10" fmla="*/ 640 w 1001"/>
                  <a:gd name="T11" fmla="*/ 423 h 493"/>
                  <a:gd name="T12" fmla="*/ 704 w 1001"/>
                  <a:gd name="T13" fmla="*/ 463 h 493"/>
                  <a:gd name="T14" fmla="*/ 796 w 1001"/>
                  <a:gd name="T15" fmla="*/ 492 h 493"/>
                  <a:gd name="T16" fmla="*/ 833 w 1001"/>
                  <a:gd name="T17" fmla="*/ 491 h 493"/>
                  <a:gd name="T18" fmla="*/ 922 w 1001"/>
                  <a:gd name="T19" fmla="*/ 466 h 493"/>
                  <a:gd name="T20" fmla="*/ 825 w 1001"/>
                  <a:gd name="T21" fmla="*/ 488 h 493"/>
                  <a:gd name="T22" fmla="*/ 696 w 1001"/>
                  <a:gd name="T23" fmla="*/ 452 h 493"/>
                  <a:gd name="T24" fmla="*/ 643 w 1001"/>
                  <a:gd name="T25" fmla="*/ 414 h 493"/>
                  <a:gd name="T26" fmla="*/ 445 w 1001"/>
                  <a:gd name="T27" fmla="*/ 385 h 493"/>
                  <a:gd name="T28" fmla="*/ 379 w 1001"/>
                  <a:gd name="T29" fmla="*/ 378 h 493"/>
                  <a:gd name="T30" fmla="*/ 250 w 1001"/>
                  <a:gd name="T31" fmla="*/ 405 h 493"/>
                  <a:gd name="T32" fmla="*/ 31 w 1001"/>
                  <a:gd name="T33" fmla="*/ 273 h 493"/>
                  <a:gd name="T34" fmla="*/ 39 w 1001"/>
                  <a:gd name="T35" fmla="*/ 166 h 493"/>
                  <a:gd name="T36" fmla="*/ 45 w 1001"/>
                  <a:gd name="T37" fmla="*/ 160 h 493"/>
                  <a:gd name="T38" fmla="*/ 47 w 1001"/>
                  <a:gd name="T39" fmla="*/ 162 h 493"/>
                  <a:gd name="T40" fmla="*/ 39 w 1001"/>
                  <a:gd name="T41" fmla="*/ 166 h 493"/>
                  <a:gd name="T42" fmla="*/ 64 w 1001"/>
                  <a:gd name="T43" fmla="*/ 22 h 493"/>
                  <a:gd name="T44" fmla="*/ 66 w 1001"/>
                  <a:gd name="T45" fmla="*/ 309 h 493"/>
                  <a:gd name="T46" fmla="*/ 249 w 1001"/>
                  <a:gd name="T47" fmla="*/ 398 h 493"/>
                  <a:gd name="T48" fmla="*/ 385 w 1001"/>
                  <a:gd name="T49" fmla="*/ 371 h 493"/>
                  <a:gd name="T50" fmla="*/ 648 w 1001"/>
                  <a:gd name="T51" fmla="*/ 407 h 493"/>
                  <a:gd name="T52" fmla="*/ 767 w 1001"/>
                  <a:gd name="T53" fmla="*/ 471 h 493"/>
                  <a:gd name="T54" fmla="*/ 882 w 1001"/>
                  <a:gd name="T55" fmla="*/ 471 h 493"/>
                  <a:gd name="T56" fmla="*/ 1001 w 1001"/>
                  <a:gd name="T57" fmla="*/ 370 h 493"/>
                  <a:gd name="T58" fmla="*/ 930 w 1001"/>
                  <a:gd name="T59" fmla="*/ 437 h 493"/>
                  <a:gd name="T60" fmla="*/ 852 w 1001"/>
                  <a:gd name="T61" fmla="*/ 461 h 493"/>
                  <a:gd name="T62" fmla="*/ 727 w 1001"/>
                  <a:gd name="T63" fmla="*/ 437 h 493"/>
                  <a:gd name="T64" fmla="*/ 643 w 1001"/>
                  <a:gd name="T65" fmla="*/ 383 h 493"/>
                  <a:gd name="T66" fmla="*/ 643 w 1001"/>
                  <a:gd name="T67" fmla="*/ 382 h 493"/>
                  <a:gd name="T68" fmla="*/ 429 w 1001"/>
                  <a:gd name="T69" fmla="*/ 356 h 493"/>
                  <a:gd name="T70" fmla="*/ 370 w 1001"/>
                  <a:gd name="T71" fmla="*/ 350 h 493"/>
                  <a:gd name="T72" fmla="*/ 252 w 1001"/>
                  <a:gd name="T73" fmla="*/ 379 h 493"/>
                  <a:gd name="T74" fmla="*/ 157 w 1001"/>
                  <a:gd name="T75" fmla="*/ 348 h 493"/>
                  <a:gd name="T76" fmla="*/ 72 w 1001"/>
                  <a:gd name="T77" fmla="*/ 278 h 493"/>
                  <a:gd name="T78" fmla="*/ 37 w 1001"/>
                  <a:gd name="T79" fmla="*/ 207 h 493"/>
                  <a:gd name="T80" fmla="*/ 43 w 1001"/>
                  <a:gd name="T81" fmla="*/ 201 h 493"/>
                  <a:gd name="T82" fmla="*/ 43 w 1001"/>
                  <a:gd name="T83" fmla="*/ 195 h 493"/>
                  <a:gd name="T84" fmla="*/ 40 w 1001"/>
                  <a:gd name="T85" fmla="*/ 189 h 493"/>
                  <a:gd name="T86" fmla="*/ 33 w 1001"/>
                  <a:gd name="T87" fmla="*/ 173 h 493"/>
                  <a:gd name="T88" fmla="*/ 40 w 1001"/>
                  <a:gd name="T89" fmla="*/ 169 h 493"/>
                  <a:gd name="T90" fmla="*/ 56 w 1001"/>
                  <a:gd name="T91" fmla="*/ 138 h 493"/>
                  <a:gd name="T92" fmla="*/ 64 w 1001"/>
                  <a:gd name="T93" fmla="*/ 90 h 493"/>
                  <a:gd name="T94" fmla="*/ 42 w 1001"/>
                  <a:gd name="T95" fmla="*/ 144 h 493"/>
                  <a:gd name="T96" fmla="*/ 40 w 1001"/>
                  <a:gd name="T97" fmla="*/ 144 h 493"/>
                  <a:gd name="T98" fmla="*/ 89 w 1001"/>
                  <a:gd name="T99" fmla="*/ 0 h 4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1001" h="493">
                    <a:moveTo>
                      <a:pt x="15" y="102"/>
                    </a:moveTo>
                    <a:cubicBezTo>
                      <a:pt x="7" y="128"/>
                      <a:pt x="3" y="156"/>
                      <a:pt x="3" y="183"/>
                    </a:cubicBezTo>
                    <a:cubicBezTo>
                      <a:pt x="2" y="221"/>
                      <a:pt x="16" y="262"/>
                      <a:pt x="37" y="294"/>
                    </a:cubicBezTo>
                    <a:cubicBezTo>
                      <a:pt x="60" y="329"/>
                      <a:pt x="89" y="358"/>
                      <a:pt x="124" y="376"/>
                    </a:cubicBezTo>
                    <a:cubicBezTo>
                      <a:pt x="152" y="389"/>
                      <a:pt x="181" y="402"/>
                      <a:pt x="210" y="407"/>
                    </a:cubicBezTo>
                    <a:cubicBezTo>
                      <a:pt x="221" y="409"/>
                      <a:pt x="232" y="410"/>
                      <a:pt x="242" y="410"/>
                    </a:cubicBezTo>
                    <a:cubicBezTo>
                      <a:pt x="268" y="410"/>
                      <a:pt x="294" y="404"/>
                      <a:pt x="319" y="396"/>
                    </a:cubicBezTo>
                    <a:cubicBezTo>
                      <a:pt x="334" y="390"/>
                      <a:pt x="349" y="386"/>
                      <a:pt x="365" y="383"/>
                    </a:cubicBezTo>
                    <a:cubicBezTo>
                      <a:pt x="369" y="383"/>
                      <a:pt x="372" y="383"/>
                      <a:pt x="375" y="383"/>
                    </a:cubicBezTo>
                    <a:cubicBezTo>
                      <a:pt x="388" y="383"/>
                      <a:pt x="401" y="385"/>
                      <a:pt x="413" y="386"/>
                    </a:cubicBezTo>
                    <a:cubicBezTo>
                      <a:pt x="489" y="397"/>
                      <a:pt x="565" y="406"/>
                      <a:pt x="640" y="419"/>
                    </a:cubicBezTo>
                    <a:cubicBezTo>
                      <a:pt x="640" y="423"/>
                      <a:pt x="640" y="423"/>
                      <a:pt x="640" y="423"/>
                    </a:cubicBezTo>
                    <a:cubicBezTo>
                      <a:pt x="646" y="428"/>
                      <a:pt x="654" y="432"/>
                      <a:pt x="661" y="436"/>
                    </a:cubicBezTo>
                    <a:cubicBezTo>
                      <a:pt x="676" y="446"/>
                      <a:pt x="691" y="456"/>
                      <a:pt x="704" y="463"/>
                    </a:cubicBezTo>
                    <a:cubicBezTo>
                      <a:pt x="717" y="471"/>
                      <a:pt x="730" y="474"/>
                      <a:pt x="744" y="480"/>
                    </a:cubicBezTo>
                    <a:cubicBezTo>
                      <a:pt x="760" y="484"/>
                      <a:pt x="778" y="489"/>
                      <a:pt x="796" y="492"/>
                    </a:cubicBezTo>
                    <a:cubicBezTo>
                      <a:pt x="801" y="492"/>
                      <a:pt x="805" y="493"/>
                      <a:pt x="810" y="493"/>
                    </a:cubicBezTo>
                    <a:cubicBezTo>
                      <a:pt x="818" y="493"/>
                      <a:pt x="826" y="492"/>
                      <a:pt x="833" y="491"/>
                    </a:cubicBezTo>
                    <a:cubicBezTo>
                      <a:pt x="851" y="490"/>
                      <a:pt x="869" y="487"/>
                      <a:pt x="888" y="480"/>
                    </a:cubicBezTo>
                    <a:cubicBezTo>
                      <a:pt x="900" y="477"/>
                      <a:pt x="911" y="472"/>
                      <a:pt x="922" y="466"/>
                    </a:cubicBezTo>
                    <a:cubicBezTo>
                      <a:pt x="910" y="472"/>
                      <a:pt x="898" y="476"/>
                      <a:pt x="886" y="480"/>
                    </a:cubicBezTo>
                    <a:cubicBezTo>
                      <a:pt x="865" y="485"/>
                      <a:pt x="845" y="488"/>
                      <a:pt x="825" y="488"/>
                    </a:cubicBezTo>
                    <a:cubicBezTo>
                      <a:pt x="802" y="488"/>
                      <a:pt x="779" y="484"/>
                      <a:pt x="756" y="478"/>
                    </a:cubicBezTo>
                    <a:cubicBezTo>
                      <a:pt x="735" y="472"/>
                      <a:pt x="715" y="463"/>
                      <a:pt x="696" y="452"/>
                    </a:cubicBezTo>
                    <a:cubicBezTo>
                      <a:pt x="679" y="442"/>
                      <a:pt x="657" y="431"/>
                      <a:pt x="644" y="416"/>
                    </a:cubicBezTo>
                    <a:cubicBezTo>
                      <a:pt x="643" y="416"/>
                      <a:pt x="643" y="415"/>
                      <a:pt x="643" y="414"/>
                    </a:cubicBezTo>
                    <a:cubicBezTo>
                      <a:pt x="599" y="406"/>
                      <a:pt x="554" y="400"/>
                      <a:pt x="510" y="394"/>
                    </a:cubicBezTo>
                    <a:cubicBezTo>
                      <a:pt x="488" y="391"/>
                      <a:pt x="467" y="388"/>
                      <a:pt x="445" y="385"/>
                    </a:cubicBezTo>
                    <a:cubicBezTo>
                      <a:pt x="425" y="382"/>
                      <a:pt x="405" y="378"/>
                      <a:pt x="385" y="378"/>
                    </a:cubicBezTo>
                    <a:cubicBezTo>
                      <a:pt x="383" y="378"/>
                      <a:pt x="381" y="378"/>
                      <a:pt x="379" y="378"/>
                    </a:cubicBezTo>
                    <a:cubicBezTo>
                      <a:pt x="344" y="380"/>
                      <a:pt x="311" y="398"/>
                      <a:pt x="276" y="403"/>
                    </a:cubicBezTo>
                    <a:cubicBezTo>
                      <a:pt x="267" y="404"/>
                      <a:pt x="258" y="405"/>
                      <a:pt x="250" y="405"/>
                    </a:cubicBezTo>
                    <a:cubicBezTo>
                      <a:pt x="225" y="405"/>
                      <a:pt x="201" y="400"/>
                      <a:pt x="178" y="392"/>
                    </a:cubicBezTo>
                    <a:cubicBezTo>
                      <a:pt x="116" y="370"/>
                      <a:pt x="62" y="333"/>
                      <a:pt x="31" y="273"/>
                    </a:cubicBezTo>
                    <a:cubicBezTo>
                      <a:pt x="3" y="219"/>
                      <a:pt x="0" y="160"/>
                      <a:pt x="15" y="102"/>
                    </a:cubicBezTo>
                    <a:moveTo>
                      <a:pt x="39" y="166"/>
                    </a:moveTo>
                    <a:cubicBezTo>
                      <a:pt x="38" y="166"/>
                      <a:pt x="37" y="165"/>
                      <a:pt x="38" y="164"/>
                    </a:cubicBezTo>
                    <a:cubicBezTo>
                      <a:pt x="40" y="162"/>
                      <a:pt x="43" y="161"/>
                      <a:pt x="45" y="160"/>
                    </a:cubicBezTo>
                    <a:cubicBezTo>
                      <a:pt x="45" y="160"/>
                      <a:pt x="46" y="159"/>
                      <a:pt x="46" y="159"/>
                    </a:cubicBezTo>
                    <a:cubicBezTo>
                      <a:pt x="47" y="159"/>
                      <a:pt x="48" y="162"/>
                      <a:pt x="47" y="162"/>
                    </a:cubicBezTo>
                    <a:cubicBezTo>
                      <a:pt x="44" y="164"/>
                      <a:pt x="42" y="165"/>
                      <a:pt x="40" y="166"/>
                    </a:cubicBezTo>
                    <a:cubicBezTo>
                      <a:pt x="39" y="166"/>
                      <a:pt x="39" y="166"/>
                      <a:pt x="39" y="166"/>
                    </a:cubicBezTo>
                    <a:moveTo>
                      <a:pt x="89" y="0"/>
                    </a:moveTo>
                    <a:cubicBezTo>
                      <a:pt x="80" y="7"/>
                      <a:pt x="72" y="14"/>
                      <a:pt x="64" y="22"/>
                    </a:cubicBezTo>
                    <a:cubicBezTo>
                      <a:pt x="42" y="47"/>
                      <a:pt x="29" y="78"/>
                      <a:pt x="21" y="111"/>
                    </a:cubicBezTo>
                    <a:cubicBezTo>
                      <a:pt x="4" y="182"/>
                      <a:pt x="19" y="253"/>
                      <a:pt x="66" y="309"/>
                    </a:cubicBezTo>
                    <a:cubicBezTo>
                      <a:pt x="108" y="360"/>
                      <a:pt x="180" y="397"/>
                      <a:pt x="246" y="398"/>
                    </a:cubicBezTo>
                    <a:cubicBezTo>
                      <a:pt x="247" y="398"/>
                      <a:pt x="248" y="398"/>
                      <a:pt x="249" y="398"/>
                    </a:cubicBezTo>
                    <a:cubicBezTo>
                      <a:pt x="284" y="398"/>
                      <a:pt x="316" y="385"/>
                      <a:pt x="350" y="376"/>
                    </a:cubicBezTo>
                    <a:cubicBezTo>
                      <a:pt x="362" y="373"/>
                      <a:pt x="374" y="371"/>
                      <a:pt x="385" y="371"/>
                    </a:cubicBezTo>
                    <a:cubicBezTo>
                      <a:pt x="403" y="371"/>
                      <a:pt x="420" y="374"/>
                      <a:pt x="438" y="377"/>
                    </a:cubicBezTo>
                    <a:cubicBezTo>
                      <a:pt x="508" y="387"/>
                      <a:pt x="578" y="395"/>
                      <a:pt x="648" y="407"/>
                    </a:cubicBezTo>
                    <a:cubicBezTo>
                      <a:pt x="651" y="407"/>
                      <a:pt x="651" y="411"/>
                      <a:pt x="650" y="413"/>
                    </a:cubicBezTo>
                    <a:cubicBezTo>
                      <a:pt x="689" y="434"/>
                      <a:pt x="723" y="459"/>
                      <a:pt x="767" y="471"/>
                    </a:cubicBezTo>
                    <a:cubicBezTo>
                      <a:pt x="786" y="476"/>
                      <a:pt x="805" y="478"/>
                      <a:pt x="824" y="478"/>
                    </a:cubicBezTo>
                    <a:cubicBezTo>
                      <a:pt x="844" y="478"/>
                      <a:pt x="863" y="476"/>
                      <a:pt x="882" y="471"/>
                    </a:cubicBezTo>
                    <a:cubicBezTo>
                      <a:pt x="920" y="461"/>
                      <a:pt x="953" y="439"/>
                      <a:pt x="979" y="410"/>
                    </a:cubicBezTo>
                    <a:cubicBezTo>
                      <a:pt x="989" y="397"/>
                      <a:pt x="996" y="384"/>
                      <a:pt x="1001" y="370"/>
                    </a:cubicBezTo>
                    <a:cubicBezTo>
                      <a:pt x="995" y="379"/>
                      <a:pt x="987" y="388"/>
                      <a:pt x="979" y="396"/>
                    </a:cubicBezTo>
                    <a:cubicBezTo>
                      <a:pt x="965" y="411"/>
                      <a:pt x="949" y="426"/>
                      <a:pt x="930" y="437"/>
                    </a:cubicBezTo>
                    <a:cubicBezTo>
                      <a:pt x="925" y="442"/>
                      <a:pt x="919" y="445"/>
                      <a:pt x="912" y="448"/>
                    </a:cubicBezTo>
                    <a:cubicBezTo>
                      <a:pt x="894" y="459"/>
                      <a:pt x="873" y="461"/>
                      <a:pt x="852" y="461"/>
                    </a:cubicBezTo>
                    <a:cubicBezTo>
                      <a:pt x="850" y="461"/>
                      <a:pt x="848" y="461"/>
                      <a:pt x="845" y="461"/>
                    </a:cubicBezTo>
                    <a:cubicBezTo>
                      <a:pt x="805" y="460"/>
                      <a:pt x="761" y="458"/>
                      <a:pt x="727" y="437"/>
                    </a:cubicBezTo>
                    <a:cubicBezTo>
                      <a:pt x="698" y="421"/>
                      <a:pt x="674" y="397"/>
                      <a:pt x="643" y="383"/>
                    </a:cubicBezTo>
                    <a:cubicBezTo>
                      <a:pt x="643" y="383"/>
                      <a:pt x="643" y="383"/>
                      <a:pt x="643" y="383"/>
                    </a:cubicBezTo>
                    <a:cubicBezTo>
                      <a:pt x="643" y="383"/>
                      <a:pt x="643" y="383"/>
                      <a:pt x="643" y="383"/>
                    </a:cubicBezTo>
                    <a:cubicBezTo>
                      <a:pt x="643" y="382"/>
                      <a:pt x="643" y="382"/>
                      <a:pt x="643" y="382"/>
                    </a:cubicBezTo>
                    <a:cubicBezTo>
                      <a:pt x="605" y="377"/>
                      <a:pt x="570" y="369"/>
                      <a:pt x="532" y="366"/>
                    </a:cubicBezTo>
                    <a:cubicBezTo>
                      <a:pt x="498" y="363"/>
                      <a:pt x="462" y="359"/>
                      <a:pt x="429" y="356"/>
                    </a:cubicBezTo>
                    <a:cubicBezTo>
                      <a:pt x="413" y="353"/>
                      <a:pt x="397" y="349"/>
                      <a:pt x="381" y="349"/>
                    </a:cubicBezTo>
                    <a:cubicBezTo>
                      <a:pt x="377" y="349"/>
                      <a:pt x="374" y="349"/>
                      <a:pt x="370" y="350"/>
                    </a:cubicBezTo>
                    <a:cubicBezTo>
                      <a:pt x="349" y="352"/>
                      <a:pt x="329" y="362"/>
                      <a:pt x="310" y="368"/>
                    </a:cubicBezTo>
                    <a:cubicBezTo>
                      <a:pt x="292" y="375"/>
                      <a:pt x="272" y="379"/>
                      <a:pt x="252" y="379"/>
                    </a:cubicBezTo>
                    <a:cubicBezTo>
                      <a:pt x="237" y="379"/>
                      <a:pt x="220" y="372"/>
                      <a:pt x="205" y="369"/>
                    </a:cubicBezTo>
                    <a:cubicBezTo>
                      <a:pt x="190" y="362"/>
                      <a:pt x="172" y="356"/>
                      <a:pt x="157" y="348"/>
                    </a:cubicBezTo>
                    <a:cubicBezTo>
                      <a:pt x="143" y="342"/>
                      <a:pt x="131" y="331"/>
                      <a:pt x="118" y="322"/>
                    </a:cubicBezTo>
                    <a:cubicBezTo>
                      <a:pt x="102" y="310"/>
                      <a:pt x="84" y="295"/>
                      <a:pt x="72" y="278"/>
                    </a:cubicBezTo>
                    <a:cubicBezTo>
                      <a:pt x="61" y="262"/>
                      <a:pt x="52" y="244"/>
                      <a:pt x="46" y="225"/>
                    </a:cubicBezTo>
                    <a:cubicBezTo>
                      <a:pt x="37" y="207"/>
                      <a:pt x="37" y="207"/>
                      <a:pt x="37" y="207"/>
                    </a:cubicBezTo>
                    <a:cubicBezTo>
                      <a:pt x="37" y="207"/>
                      <a:pt x="37" y="207"/>
                      <a:pt x="37" y="207"/>
                    </a:cubicBezTo>
                    <a:cubicBezTo>
                      <a:pt x="39" y="205"/>
                      <a:pt x="41" y="203"/>
                      <a:pt x="43" y="201"/>
                    </a:cubicBezTo>
                    <a:cubicBezTo>
                      <a:pt x="41" y="201"/>
                      <a:pt x="40" y="199"/>
                      <a:pt x="41" y="197"/>
                    </a:cubicBezTo>
                    <a:cubicBezTo>
                      <a:pt x="42" y="197"/>
                      <a:pt x="42" y="196"/>
                      <a:pt x="43" y="195"/>
                    </a:cubicBezTo>
                    <a:cubicBezTo>
                      <a:pt x="41" y="191"/>
                      <a:pt x="41" y="191"/>
                      <a:pt x="41" y="191"/>
                    </a:cubicBezTo>
                    <a:cubicBezTo>
                      <a:pt x="40" y="189"/>
                      <a:pt x="40" y="189"/>
                      <a:pt x="40" y="189"/>
                    </a:cubicBezTo>
                    <a:cubicBezTo>
                      <a:pt x="39" y="189"/>
                      <a:pt x="37" y="187"/>
                      <a:pt x="38" y="185"/>
                    </a:cubicBezTo>
                    <a:cubicBezTo>
                      <a:pt x="33" y="173"/>
                      <a:pt x="33" y="173"/>
                      <a:pt x="33" y="173"/>
                    </a:cubicBezTo>
                    <a:cubicBezTo>
                      <a:pt x="33" y="173"/>
                      <a:pt x="33" y="173"/>
                      <a:pt x="33" y="173"/>
                    </a:cubicBezTo>
                    <a:cubicBezTo>
                      <a:pt x="35" y="172"/>
                      <a:pt x="37" y="171"/>
                      <a:pt x="40" y="169"/>
                    </a:cubicBezTo>
                    <a:cubicBezTo>
                      <a:pt x="59" y="167"/>
                      <a:pt x="59" y="167"/>
                      <a:pt x="59" y="167"/>
                    </a:cubicBezTo>
                    <a:cubicBezTo>
                      <a:pt x="57" y="157"/>
                      <a:pt x="56" y="147"/>
                      <a:pt x="56" y="138"/>
                    </a:cubicBezTo>
                    <a:cubicBezTo>
                      <a:pt x="56" y="130"/>
                      <a:pt x="57" y="122"/>
                      <a:pt x="58" y="115"/>
                    </a:cubicBezTo>
                    <a:cubicBezTo>
                      <a:pt x="59" y="106"/>
                      <a:pt x="61" y="98"/>
                      <a:pt x="64" y="90"/>
                    </a:cubicBezTo>
                    <a:cubicBezTo>
                      <a:pt x="50" y="90"/>
                      <a:pt x="50" y="90"/>
                      <a:pt x="50" y="90"/>
                    </a:cubicBezTo>
                    <a:cubicBezTo>
                      <a:pt x="45" y="108"/>
                      <a:pt x="42" y="126"/>
                      <a:pt x="42" y="144"/>
                    </a:cubicBezTo>
                    <a:cubicBezTo>
                      <a:pt x="42" y="145"/>
                      <a:pt x="41" y="145"/>
                      <a:pt x="41" y="145"/>
                    </a:cubicBezTo>
                    <a:cubicBezTo>
                      <a:pt x="40" y="145"/>
                      <a:pt x="40" y="145"/>
                      <a:pt x="40" y="144"/>
                    </a:cubicBezTo>
                    <a:cubicBezTo>
                      <a:pt x="34" y="113"/>
                      <a:pt x="46" y="76"/>
                      <a:pt x="59" y="47"/>
                    </a:cubicBezTo>
                    <a:cubicBezTo>
                      <a:pt x="66" y="30"/>
                      <a:pt x="77" y="14"/>
                      <a:pt x="89" y="0"/>
                    </a:cubicBezTo>
                  </a:path>
                </a:pathLst>
              </a:custGeom>
              <a:solidFill>
                <a:srgbClr val="6F686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100" name="Freeform 12">
                <a:extLst>
                  <a:ext uri="{FF2B5EF4-FFF2-40B4-BE49-F238E27FC236}">
                    <a16:creationId xmlns:a16="http://schemas.microsoft.com/office/drawing/2014/main" id="{D743F797-B642-4F1F-BC12-44FC390BBDFB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6194" y="1631"/>
                <a:ext cx="1040" cy="534"/>
              </a:xfrm>
              <a:custGeom>
                <a:avLst/>
                <a:gdLst>
                  <a:gd name="T0" fmla="*/ 575 w 981"/>
                  <a:gd name="T1" fmla="*/ 263 h 504"/>
                  <a:gd name="T2" fmla="*/ 575 w 981"/>
                  <a:gd name="T3" fmla="*/ 263 h 504"/>
                  <a:gd name="T4" fmla="*/ 733 w 981"/>
                  <a:gd name="T5" fmla="*/ 257 h 504"/>
                  <a:gd name="T6" fmla="*/ 472 w 981"/>
                  <a:gd name="T7" fmla="*/ 246 h 504"/>
                  <a:gd name="T8" fmla="*/ 516 w 981"/>
                  <a:gd name="T9" fmla="*/ 284 h 504"/>
                  <a:gd name="T10" fmla="*/ 245 w 981"/>
                  <a:gd name="T11" fmla="*/ 250 h 504"/>
                  <a:gd name="T12" fmla="*/ 821 w 981"/>
                  <a:gd name="T13" fmla="*/ 233 h 504"/>
                  <a:gd name="T14" fmla="*/ 817 w 981"/>
                  <a:gd name="T15" fmla="*/ 270 h 504"/>
                  <a:gd name="T16" fmla="*/ 876 w 981"/>
                  <a:gd name="T17" fmla="*/ 287 h 504"/>
                  <a:gd name="T18" fmla="*/ 803 w 981"/>
                  <a:gd name="T19" fmla="*/ 212 h 504"/>
                  <a:gd name="T20" fmla="*/ 617 w 981"/>
                  <a:gd name="T21" fmla="*/ 194 h 504"/>
                  <a:gd name="T22" fmla="*/ 542 w 981"/>
                  <a:gd name="T23" fmla="*/ 186 h 504"/>
                  <a:gd name="T24" fmla="*/ 467 w 981"/>
                  <a:gd name="T25" fmla="*/ 162 h 504"/>
                  <a:gd name="T26" fmla="*/ 467 w 981"/>
                  <a:gd name="T27" fmla="*/ 162 h 504"/>
                  <a:gd name="T28" fmla="*/ 239 w 981"/>
                  <a:gd name="T29" fmla="*/ 100 h 504"/>
                  <a:gd name="T30" fmla="*/ 783 w 981"/>
                  <a:gd name="T31" fmla="*/ 410 h 504"/>
                  <a:gd name="T32" fmla="*/ 795 w 981"/>
                  <a:gd name="T33" fmla="*/ 420 h 504"/>
                  <a:gd name="T34" fmla="*/ 230 w 981"/>
                  <a:gd name="T35" fmla="*/ 390 h 504"/>
                  <a:gd name="T36" fmla="*/ 377 w 981"/>
                  <a:gd name="T37" fmla="*/ 318 h 504"/>
                  <a:gd name="T38" fmla="*/ 571 w 981"/>
                  <a:gd name="T39" fmla="*/ 257 h 504"/>
                  <a:gd name="T40" fmla="*/ 609 w 981"/>
                  <a:gd name="T41" fmla="*/ 322 h 504"/>
                  <a:gd name="T42" fmla="*/ 519 w 981"/>
                  <a:gd name="T43" fmla="*/ 308 h 504"/>
                  <a:gd name="T44" fmla="*/ 470 w 981"/>
                  <a:gd name="T45" fmla="*/ 281 h 504"/>
                  <a:gd name="T46" fmla="*/ 233 w 981"/>
                  <a:gd name="T47" fmla="*/ 234 h 504"/>
                  <a:gd name="T48" fmla="*/ 178 w 981"/>
                  <a:gd name="T49" fmla="*/ 263 h 504"/>
                  <a:gd name="T50" fmla="*/ 827 w 981"/>
                  <a:gd name="T51" fmla="*/ 260 h 504"/>
                  <a:gd name="T52" fmla="*/ 872 w 981"/>
                  <a:gd name="T53" fmla="*/ 329 h 504"/>
                  <a:gd name="T54" fmla="*/ 801 w 981"/>
                  <a:gd name="T55" fmla="*/ 382 h 504"/>
                  <a:gd name="T56" fmla="*/ 761 w 981"/>
                  <a:gd name="T57" fmla="*/ 324 h 504"/>
                  <a:gd name="T58" fmla="*/ 704 w 981"/>
                  <a:gd name="T59" fmla="*/ 278 h 504"/>
                  <a:gd name="T60" fmla="*/ 760 w 981"/>
                  <a:gd name="T61" fmla="*/ 249 h 504"/>
                  <a:gd name="T62" fmla="*/ 621 w 981"/>
                  <a:gd name="T63" fmla="*/ 185 h 504"/>
                  <a:gd name="T64" fmla="*/ 623 w 981"/>
                  <a:gd name="T65" fmla="*/ 212 h 504"/>
                  <a:gd name="T66" fmla="*/ 334 w 981"/>
                  <a:gd name="T67" fmla="*/ 177 h 504"/>
                  <a:gd name="T68" fmla="*/ 285 w 981"/>
                  <a:gd name="T69" fmla="*/ 204 h 504"/>
                  <a:gd name="T70" fmla="*/ 349 w 981"/>
                  <a:gd name="T71" fmla="*/ 220 h 504"/>
                  <a:gd name="T72" fmla="*/ 546 w 981"/>
                  <a:gd name="T73" fmla="*/ 174 h 504"/>
                  <a:gd name="T74" fmla="*/ 542 w 981"/>
                  <a:gd name="T75" fmla="*/ 194 h 504"/>
                  <a:gd name="T76" fmla="*/ 532 w 981"/>
                  <a:gd name="T77" fmla="*/ 185 h 504"/>
                  <a:gd name="T78" fmla="*/ 864 w 981"/>
                  <a:gd name="T79" fmla="*/ 385 h 504"/>
                  <a:gd name="T80" fmla="*/ 674 w 981"/>
                  <a:gd name="T81" fmla="*/ 274 h 504"/>
                  <a:gd name="T82" fmla="*/ 455 w 981"/>
                  <a:gd name="T83" fmla="*/ 165 h 504"/>
                  <a:gd name="T84" fmla="*/ 462 w 981"/>
                  <a:gd name="T85" fmla="*/ 185 h 504"/>
                  <a:gd name="T86" fmla="*/ 111 w 981"/>
                  <a:gd name="T87" fmla="*/ 156 h 504"/>
                  <a:gd name="T88" fmla="*/ 140 w 981"/>
                  <a:gd name="T89" fmla="*/ 143 h 504"/>
                  <a:gd name="T90" fmla="*/ 90 w 981"/>
                  <a:gd name="T91" fmla="*/ 175 h 504"/>
                  <a:gd name="T92" fmla="*/ 218 w 981"/>
                  <a:gd name="T93" fmla="*/ 169 h 504"/>
                  <a:gd name="T94" fmla="*/ 137 w 981"/>
                  <a:gd name="T95" fmla="*/ 22 h 504"/>
                  <a:gd name="T96" fmla="*/ 257 w 981"/>
                  <a:gd name="T97" fmla="*/ 26 h 504"/>
                  <a:gd name="T98" fmla="*/ 157 w 981"/>
                  <a:gd name="T99" fmla="*/ 0 h 504"/>
                  <a:gd name="T100" fmla="*/ 26 w 981"/>
                  <a:gd name="T101" fmla="*/ 210 h 504"/>
                  <a:gd name="T102" fmla="*/ 15 w 981"/>
                  <a:gd name="T103" fmla="*/ 229 h 504"/>
                  <a:gd name="T104" fmla="*/ 12 w 981"/>
                  <a:gd name="T105" fmla="*/ 243 h 504"/>
                  <a:gd name="T106" fmla="*/ 172 w 981"/>
                  <a:gd name="T107" fmla="*/ 412 h 504"/>
                  <a:gd name="T108" fmla="*/ 610 w 981"/>
                  <a:gd name="T109" fmla="*/ 426 h 504"/>
                  <a:gd name="T110" fmla="*/ 780 w 981"/>
                  <a:gd name="T111" fmla="*/ 497 h 504"/>
                  <a:gd name="T112" fmla="*/ 111 w 981"/>
                  <a:gd name="T113" fmla="*/ 377 h 504"/>
                  <a:gd name="T114" fmla="*/ 311 w 981"/>
                  <a:gd name="T115" fmla="*/ 386 h 504"/>
                  <a:gd name="T116" fmla="*/ 862 w 981"/>
                  <a:gd name="T117" fmla="*/ 489 h 504"/>
                  <a:gd name="T118" fmla="*/ 702 w 981"/>
                  <a:gd name="T119" fmla="*/ 85 h 5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981" h="504">
                    <a:moveTo>
                      <a:pt x="818" y="332"/>
                    </a:moveTo>
                    <a:cubicBezTo>
                      <a:pt x="818" y="332"/>
                      <a:pt x="818" y="332"/>
                      <a:pt x="818" y="332"/>
                    </a:cubicBezTo>
                    <a:cubicBezTo>
                      <a:pt x="815" y="338"/>
                      <a:pt x="814" y="345"/>
                      <a:pt x="814" y="353"/>
                    </a:cubicBezTo>
                    <a:cubicBezTo>
                      <a:pt x="814" y="356"/>
                      <a:pt x="814" y="360"/>
                      <a:pt x="814" y="363"/>
                    </a:cubicBezTo>
                    <a:cubicBezTo>
                      <a:pt x="814" y="364"/>
                      <a:pt x="814" y="365"/>
                      <a:pt x="814" y="366"/>
                    </a:cubicBezTo>
                    <a:cubicBezTo>
                      <a:pt x="819" y="361"/>
                      <a:pt x="818" y="354"/>
                      <a:pt x="818" y="347"/>
                    </a:cubicBezTo>
                    <a:cubicBezTo>
                      <a:pt x="818" y="342"/>
                      <a:pt x="818" y="337"/>
                      <a:pt x="819" y="332"/>
                    </a:cubicBezTo>
                    <a:cubicBezTo>
                      <a:pt x="819" y="332"/>
                      <a:pt x="819" y="332"/>
                      <a:pt x="818" y="332"/>
                    </a:cubicBezTo>
                    <a:moveTo>
                      <a:pt x="575" y="263"/>
                    </a:moveTo>
                    <a:cubicBezTo>
                      <a:pt x="575" y="263"/>
                      <a:pt x="574" y="264"/>
                      <a:pt x="573" y="264"/>
                    </a:cubicBezTo>
                    <a:cubicBezTo>
                      <a:pt x="569" y="266"/>
                      <a:pt x="569" y="268"/>
                      <a:pt x="570" y="270"/>
                    </a:cubicBezTo>
                    <a:cubicBezTo>
                      <a:pt x="579" y="271"/>
                      <a:pt x="589" y="285"/>
                      <a:pt x="595" y="290"/>
                    </a:cubicBezTo>
                    <a:cubicBezTo>
                      <a:pt x="605" y="297"/>
                      <a:pt x="621" y="306"/>
                      <a:pt x="623" y="319"/>
                    </a:cubicBezTo>
                    <a:cubicBezTo>
                      <a:pt x="626" y="319"/>
                      <a:pt x="629" y="316"/>
                      <a:pt x="628" y="311"/>
                    </a:cubicBezTo>
                    <a:cubicBezTo>
                      <a:pt x="628" y="309"/>
                      <a:pt x="625" y="306"/>
                      <a:pt x="624" y="304"/>
                    </a:cubicBezTo>
                    <a:cubicBezTo>
                      <a:pt x="620" y="298"/>
                      <a:pt x="614" y="293"/>
                      <a:pt x="608" y="289"/>
                    </a:cubicBezTo>
                    <a:cubicBezTo>
                      <a:pt x="600" y="282"/>
                      <a:pt x="591" y="275"/>
                      <a:pt x="582" y="268"/>
                    </a:cubicBezTo>
                    <a:cubicBezTo>
                      <a:pt x="579" y="266"/>
                      <a:pt x="578" y="263"/>
                      <a:pt x="575" y="263"/>
                    </a:cubicBezTo>
                    <a:moveTo>
                      <a:pt x="727" y="251"/>
                    </a:moveTo>
                    <a:cubicBezTo>
                      <a:pt x="726" y="251"/>
                      <a:pt x="725" y="251"/>
                      <a:pt x="723" y="251"/>
                    </a:cubicBezTo>
                    <a:cubicBezTo>
                      <a:pt x="718" y="252"/>
                      <a:pt x="716" y="254"/>
                      <a:pt x="715" y="256"/>
                    </a:cubicBezTo>
                    <a:cubicBezTo>
                      <a:pt x="716" y="256"/>
                      <a:pt x="718" y="257"/>
                      <a:pt x="720" y="257"/>
                    </a:cubicBezTo>
                    <a:cubicBezTo>
                      <a:pt x="721" y="257"/>
                      <a:pt x="722" y="256"/>
                      <a:pt x="723" y="256"/>
                    </a:cubicBezTo>
                    <a:cubicBezTo>
                      <a:pt x="724" y="256"/>
                      <a:pt x="724" y="256"/>
                      <a:pt x="725" y="256"/>
                    </a:cubicBezTo>
                    <a:cubicBezTo>
                      <a:pt x="726" y="256"/>
                      <a:pt x="726" y="256"/>
                      <a:pt x="726" y="256"/>
                    </a:cubicBezTo>
                    <a:cubicBezTo>
                      <a:pt x="727" y="256"/>
                      <a:pt x="727" y="256"/>
                      <a:pt x="728" y="256"/>
                    </a:cubicBezTo>
                    <a:cubicBezTo>
                      <a:pt x="729" y="256"/>
                      <a:pt x="731" y="256"/>
                      <a:pt x="733" y="257"/>
                    </a:cubicBezTo>
                    <a:cubicBezTo>
                      <a:pt x="733" y="257"/>
                      <a:pt x="733" y="257"/>
                      <a:pt x="733" y="257"/>
                    </a:cubicBezTo>
                    <a:cubicBezTo>
                      <a:pt x="736" y="257"/>
                      <a:pt x="739" y="258"/>
                      <a:pt x="742" y="259"/>
                    </a:cubicBezTo>
                    <a:cubicBezTo>
                      <a:pt x="745" y="260"/>
                      <a:pt x="748" y="261"/>
                      <a:pt x="752" y="261"/>
                    </a:cubicBezTo>
                    <a:cubicBezTo>
                      <a:pt x="753" y="261"/>
                      <a:pt x="754" y="261"/>
                      <a:pt x="755" y="261"/>
                    </a:cubicBezTo>
                    <a:cubicBezTo>
                      <a:pt x="755" y="261"/>
                      <a:pt x="760" y="258"/>
                      <a:pt x="760" y="256"/>
                    </a:cubicBezTo>
                    <a:cubicBezTo>
                      <a:pt x="759" y="256"/>
                      <a:pt x="758" y="256"/>
                      <a:pt x="757" y="256"/>
                    </a:cubicBezTo>
                    <a:cubicBezTo>
                      <a:pt x="757" y="256"/>
                      <a:pt x="757" y="256"/>
                      <a:pt x="757" y="256"/>
                    </a:cubicBezTo>
                    <a:cubicBezTo>
                      <a:pt x="747" y="256"/>
                      <a:pt x="738" y="251"/>
                      <a:pt x="727" y="251"/>
                    </a:cubicBezTo>
                    <a:moveTo>
                      <a:pt x="472" y="246"/>
                    </a:moveTo>
                    <a:cubicBezTo>
                      <a:pt x="471" y="246"/>
                      <a:pt x="471" y="246"/>
                      <a:pt x="471" y="246"/>
                    </a:cubicBezTo>
                    <a:cubicBezTo>
                      <a:pt x="466" y="247"/>
                      <a:pt x="465" y="249"/>
                      <a:pt x="465" y="252"/>
                    </a:cubicBezTo>
                    <a:cubicBezTo>
                      <a:pt x="466" y="252"/>
                      <a:pt x="467" y="252"/>
                      <a:pt x="469" y="253"/>
                    </a:cubicBezTo>
                    <a:cubicBezTo>
                      <a:pt x="476" y="253"/>
                      <a:pt x="482" y="258"/>
                      <a:pt x="488" y="263"/>
                    </a:cubicBezTo>
                    <a:cubicBezTo>
                      <a:pt x="494" y="269"/>
                      <a:pt x="502" y="275"/>
                      <a:pt x="507" y="282"/>
                    </a:cubicBezTo>
                    <a:cubicBezTo>
                      <a:pt x="510" y="285"/>
                      <a:pt x="512" y="289"/>
                      <a:pt x="514" y="294"/>
                    </a:cubicBezTo>
                    <a:cubicBezTo>
                      <a:pt x="516" y="296"/>
                      <a:pt x="517" y="298"/>
                      <a:pt x="518" y="301"/>
                    </a:cubicBezTo>
                    <a:cubicBezTo>
                      <a:pt x="519" y="300"/>
                      <a:pt x="519" y="300"/>
                      <a:pt x="520" y="299"/>
                    </a:cubicBezTo>
                    <a:cubicBezTo>
                      <a:pt x="524" y="293"/>
                      <a:pt x="520" y="289"/>
                      <a:pt x="516" y="284"/>
                    </a:cubicBezTo>
                    <a:cubicBezTo>
                      <a:pt x="507" y="272"/>
                      <a:pt x="496" y="262"/>
                      <a:pt x="484" y="253"/>
                    </a:cubicBezTo>
                    <a:cubicBezTo>
                      <a:pt x="482" y="251"/>
                      <a:pt x="476" y="246"/>
                      <a:pt x="472" y="246"/>
                    </a:cubicBezTo>
                    <a:moveTo>
                      <a:pt x="216" y="237"/>
                    </a:moveTo>
                    <a:cubicBezTo>
                      <a:pt x="211" y="237"/>
                      <a:pt x="206" y="238"/>
                      <a:pt x="200" y="242"/>
                    </a:cubicBezTo>
                    <a:cubicBezTo>
                      <a:pt x="199" y="242"/>
                      <a:pt x="198" y="243"/>
                      <a:pt x="197" y="244"/>
                    </a:cubicBezTo>
                    <a:cubicBezTo>
                      <a:pt x="201" y="243"/>
                      <a:pt x="205" y="242"/>
                      <a:pt x="208" y="242"/>
                    </a:cubicBezTo>
                    <a:cubicBezTo>
                      <a:pt x="212" y="242"/>
                      <a:pt x="216" y="243"/>
                      <a:pt x="220" y="243"/>
                    </a:cubicBezTo>
                    <a:cubicBezTo>
                      <a:pt x="220" y="243"/>
                      <a:pt x="220" y="243"/>
                      <a:pt x="220" y="243"/>
                    </a:cubicBezTo>
                    <a:cubicBezTo>
                      <a:pt x="227" y="243"/>
                      <a:pt x="239" y="245"/>
                      <a:pt x="245" y="250"/>
                    </a:cubicBezTo>
                    <a:cubicBezTo>
                      <a:pt x="251" y="256"/>
                      <a:pt x="255" y="267"/>
                      <a:pt x="255" y="275"/>
                    </a:cubicBezTo>
                    <a:cubicBezTo>
                      <a:pt x="255" y="278"/>
                      <a:pt x="254" y="280"/>
                      <a:pt x="254" y="281"/>
                    </a:cubicBezTo>
                    <a:cubicBezTo>
                      <a:pt x="254" y="282"/>
                      <a:pt x="254" y="283"/>
                      <a:pt x="254" y="283"/>
                    </a:cubicBezTo>
                    <a:cubicBezTo>
                      <a:pt x="256" y="278"/>
                      <a:pt x="258" y="272"/>
                      <a:pt x="258" y="266"/>
                    </a:cubicBezTo>
                    <a:cubicBezTo>
                      <a:pt x="257" y="249"/>
                      <a:pt x="248" y="240"/>
                      <a:pt x="234" y="237"/>
                    </a:cubicBezTo>
                    <a:cubicBezTo>
                      <a:pt x="234" y="238"/>
                      <a:pt x="233" y="239"/>
                      <a:pt x="232" y="239"/>
                    </a:cubicBezTo>
                    <a:cubicBezTo>
                      <a:pt x="232" y="239"/>
                      <a:pt x="232" y="239"/>
                      <a:pt x="231" y="239"/>
                    </a:cubicBezTo>
                    <a:cubicBezTo>
                      <a:pt x="226" y="238"/>
                      <a:pt x="221" y="237"/>
                      <a:pt x="216" y="237"/>
                    </a:cubicBezTo>
                    <a:moveTo>
                      <a:pt x="821" y="233"/>
                    </a:moveTo>
                    <a:cubicBezTo>
                      <a:pt x="820" y="235"/>
                      <a:pt x="819" y="237"/>
                      <a:pt x="818" y="240"/>
                    </a:cubicBezTo>
                    <a:cubicBezTo>
                      <a:pt x="818" y="245"/>
                      <a:pt x="817" y="252"/>
                      <a:pt x="817" y="258"/>
                    </a:cubicBezTo>
                    <a:cubicBezTo>
                      <a:pt x="817" y="260"/>
                      <a:pt x="817" y="262"/>
                      <a:pt x="817" y="264"/>
                    </a:cubicBezTo>
                    <a:cubicBezTo>
                      <a:pt x="817" y="264"/>
                      <a:pt x="817" y="264"/>
                      <a:pt x="817" y="264"/>
                    </a:cubicBezTo>
                    <a:cubicBezTo>
                      <a:pt x="817" y="266"/>
                      <a:pt x="817" y="267"/>
                      <a:pt x="817" y="268"/>
                    </a:cubicBezTo>
                    <a:cubicBezTo>
                      <a:pt x="817" y="269"/>
                      <a:pt x="817" y="270"/>
                      <a:pt x="818" y="270"/>
                    </a:cubicBezTo>
                    <a:cubicBezTo>
                      <a:pt x="818" y="270"/>
                      <a:pt x="818" y="270"/>
                      <a:pt x="818" y="270"/>
                    </a:cubicBezTo>
                    <a:cubicBezTo>
                      <a:pt x="817" y="270"/>
                      <a:pt x="817" y="270"/>
                      <a:pt x="817" y="270"/>
                    </a:cubicBezTo>
                    <a:cubicBezTo>
                      <a:pt x="817" y="270"/>
                      <a:pt x="817" y="270"/>
                      <a:pt x="817" y="270"/>
                    </a:cubicBezTo>
                    <a:cubicBezTo>
                      <a:pt x="820" y="272"/>
                      <a:pt x="821" y="273"/>
                      <a:pt x="823" y="273"/>
                    </a:cubicBezTo>
                    <a:cubicBezTo>
                      <a:pt x="824" y="273"/>
                      <a:pt x="825" y="273"/>
                      <a:pt x="827" y="273"/>
                    </a:cubicBezTo>
                    <a:cubicBezTo>
                      <a:pt x="832" y="274"/>
                      <a:pt x="839" y="276"/>
                      <a:pt x="847" y="276"/>
                    </a:cubicBezTo>
                    <a:cubicBezTo>
                      <a:pt x="852" y="278"/>
                      <a:pt x="862" y="278"/>
                      <a:pt x="869" y="282"/>
                    </a:cubicBezTo>
                    <a:cubicBezTo>
                      <a:pt x="875" y="288"/>
                      <a:pt x="874" y="299"/>
                      <a:pt x="874" y="305"/>
                    </a:cubicBezTo>
                    <a:cubicBezTo>
                      <a:pt x="874" y="305"/>
                      <a:pt x="874" y="305"/>
                      <a:pt x="874" y="305"/>
                    </a:cubicBezTo>
                    <a:cubicBezTo>
                      <a:pt x="873" y="308"/>
                      <a:pt x="873" y="312"/>
                      <a:pt x="873" y="316"/>
                    </a:cubicBezTo>
                    <a:cubicBezTo>
                      <a:pt x="875" y="313"/>
                      <a:pt x="875" y="308"/>
                      <a:pt x="876" y="303"/>
                    </a:cubicBezTo>
                    <a:cubicBezTo>
                      <a:pt x="876" y="298"/>
                      <a:pt x="877" y="293"/>
                      <a:pt x="876" y="287"/>
                    </a:cubicBezTo>
                    <a:cubicBezTo>
                      <a:pt x="873" y="263"/>
                      <a:pt x="834" y="278"/>
                      <a:pt x="821" y="263"/>
                    </a:cubicBezTo>
                    <a:cubicBezTo>
                      <a:pt x="821" y="262"/>
                      <a:pt x="821" y="262"/>
                      <a:pt x="821" y="262"/>
                    </a:cubicBezTo>
                    <a:cubicBezTo>
                      <a:pt x="818" y="258"/>
                      <a:pt x="819" y="252"/>
                      <a:pt x="820" y="247"/>
                    </a:cubicBezTo>
                    <a:cubicBezTo>
                      <a:pt x="820" y="243"/>
                      <a:pt x="820" y="238"/>
                      <a:pt x="821" y="233"/>
                    </a:cubicBezTo>
                    <a:moveTo>
                      <a:pt x="791" y="204"/>
                    </a:moveTo>
                    <a:cubicBezTo>
                      <a:pt x="786" y="204"/>
                      <a:pt x="782" y="205"/>
                      <a:pt x="780" y="208"/>
                    </a:cubicBezTo>
                    <a:cubicBezTo>
                      <a:pt x="780" y="208"/>
                      <a:pt x="780" y="208"/>
                      <a:pt x="780" y="208"/>
                    </a:cubicBezTo>
                    <a:cubicBezTo>
                      <a:pt x="781" y="208"/>
                      <a:pt x="782" y="208"/>
                      <a:pt x="783" y="208"/>
                    </a:cubicBezTo>
                    <a:cubicBezTo>
                      <a:pt x="789" y="208"/>
                      <a:pt x="797" y="211"/>
                      <a:pt x="803" y="212"/>
                    </a:cubicBezTo>
                    <a:cubicBezTo>
                      <a:pt x="810" y="214"/>
                      <a:pt x="817" y="216"/>
                      <a:pt x="821" y="223"/>
                    </a:cubicBezTo>
                    <a:cubicBezTo>
                      <a:pt x="821" y="224"/>
                      <a:pt x="822" y="226"/>
                      <a:pt x="822" y="227"/>
                    </a:cubicBezTo>
                    <a:cubicBezTo>
                      <a:pt x="822" y="228"/>
                      <a:pt x="822" y="228"/>
                      <a:pt x="822" y="228"/>
                    </a:cubicBezTo>
                    <a:cubicBezTo>
                      <a:pt x="824" y="218"/>
                      <a:pt x="823" y="213"/>
                      <a:pt x="812" y="209"/>
                    </a:cubicBezTo>
                    <a:cubicBezTo>
                      <a:pt x="807" y="207"/>
                      <a:pt x="798" y="204"/>
                      <a:pt x="791" y="204"/>
                    </a:cubicBezTo>
                    <a:moveTo>
                      <a:pt x="621" y="190"/>
                    </a:moveTo>
                    <a:cubicBezTo>
                      <a:pt x="620" y="190"/>
                      <a:pt x="618" y="190"/>
                      <a:pt x="617" y="191"/>
                    </a:cubicBezTo>
                    <a:cubicBezTo>
                      <a:pt x="616" y="192"/>
                      <a:pt x="616" y="192"/>
                      <a:pt x="615" y="193"/>
                    </a:cubicBezTo>
                    <a:cubicBezTo>
                      <a:pt x="616" y="194"/>
                      <a:pt x="616" y="194"/>
                      <a:pt x="617" y="194"/>
                    </a:cubicBezTo>
                    <a:cubicBezTo>
                      <a:pt x="618" y="195"/>
                      <a:pt x="619" y="196"/>
                      <a:pt x="620" y="197"/>
                    </a:cubicBezTo>
                    <a:cubicBezTo>
                      <a:pt x="622" y="197"/>
                      <a:pt x="624" y="198"/>
                      <a:pt x="625" y="200"/>
                    </a:cubicBezTo>
                    <a:cubicBezTo>
                      <a:pt x="627" y="198"/>
                      <a:pt x="628" y="196"/>
                      <a:pt x="629" y="195"/>
                    </a:cubicBezTo>
                    <a:cubicBezTo>
                      <a:pt x="629" y="194"/>
                      <a:pt x="630" y="194"/>
                      <a:pt x="630" y="194"/>
                    </a:cubicBezTo>
                    <a:cubicBezTo>
                      <a:pt x="628" y="191"/>
                      <a:pt x="625" y="190"/>
                      <a:pt x="621" y="190"/>
                    </a:cubicBezTo>
                    <a:moveTo>
                      <a:pt x="545" y="178"/>
                    </a:moveTo>
                    <a:cubicBezTo>
                      <a:pt x="542" y="178"/>
                      <a:pt x="541" y="180"/>
                      <a:pt x="541" y="183"/>
                    </a:cubicBezTo>
                    <a:cubicBezTo>
                      <a:pt x="541" y="183"/>
                      <a:pt x="541" y="183"/>
                      <a:pt x="542" y="184"/>
                    </a:cubicBezTo>
                    <a:cubicBezTo>
                      <a:pt x="542" y="184"/>
                      <a:pt x="542" y="185"/>
                      <a:pt x="542" y="186"/>
                    </a:cubicBezTo>
                    <a:cubicBezTo>
                      <a:pt x="543" y="187"/>
                      <a:pt x="544" y="188"/>
                      <a:pt x="544" y="190"/>
                    </a:cubicBezTo>
                    <a:cubicBezTo>
                      <a:pt x="544" y="190"/>
                      <a:pt x="544" y="190"/>
                      <a:pt x="544" y="190"/>
                    </a:cubicBezTo>
                    <a:cubicBezTo>
                      <a:pt x="545" y="190"/>
                      <a:pt x="545" y="190"/>
                      <a:pt x="545" y="190"/>
                    </a:cubicBezTo>
                    <a:cubicBezTo>
                      <a:pt x="548" y="189"/>
                      <a:pt x="547" y="185"/>
                      <a:pt x="548" y="183"/>
                    </a:cubicBezTo>
                    <a:cubicBezTo>
                      <a:pt x="548" y="182"/>
                      <a:pt x="549" y="181"/>
                      <a:pt x="550" y="181"/>
                    </a:cubicBezTo>
                    <a:cubicBezTo>
                      <a:pt x="551" y="181"/>
                      <a:pt x="552" y="181"/>
                      <a:pt x="552" y="182"/>
                    </a:cubicBezTo>
                    <a:cubicBezTo>
                      <a:pt x="551" y="180"/>
                      <a:pt x="549" y="179"/>
                      <a:pt x="547" y="178"/>
                    </a:cubicBezTo>
                    <a:cubicBezTo>
                      <a:pt x="546" y="178"/>
                      <a:pt x="546" y="178"/>
                      <a:pt x="545" y="178"/>
                    </a:cubicBezTo>
                    <a:moveTo>
                      <a:pt x="467" y="162"/>
                    </a:moveTo>
                    <a:cubicBezTo>
                      <a:pt x="465" y="162"/>
                      <a:pt x="463" y="163"/>
                      <a:pt x="462" y="165"/>
                    </a:cubicBezTo>
                    <a:cubicBezTo>
                      <a:pt x="461" y="166"/>
                      <a:pt x="461" y="166"/>
                      <a:pt x="461" y="166"/>
                    </a:cubicBezTo>
                    <a:cubicBezTo>
                      <a:pt x="461" y="167"/>
                      <a:pt x="461" y="167"/>
                      <a:pt x="461" y="167"/>
                    </a:cubicBezTo>
                    <a:cubicBezTo>
                      <a:pt x="462" y="167"/>
                      <a:pt x="462" y="167"/>
                      <a:pt x="462" y="167"/>
                    </a:cubicBezTo>
                    <a:cubicBezTo>
                      <a:pt x="463" y="167"/>
                      <a:pt x="463" y="167"/>
                      <a:pt x="464" y="167"/>
                    </a:cubicBezTo>
                    <a:cubicBezTo>
                      <a:pt x="467" y="167"/>
                      <a:pt x="470" y="169"/>
                      <a:pt x="471" y="172"/>
                    </a:cubicBezTo>
                    <a:cubicBezTo>
                      <a:pt x="472" y="172"/>
                      <a:pt x="472" y="171"/>
                      <a:pt x="473" y="171"/>
                    </a:cubicBezTo>
                    <a:cubicBezTo>
                      <a:pt x="473" y="168"/>
                      <a:pt x="471" y="164"/>
                      <a:pt x="469" y="163"/>
                    </a:cubicBezTo>
                    <a:cubicBezTo>
                      <a:pt x="469" y="162"/>
                      <a:pt x="468" y="162"/>
                      <a:pt x="467" y="162"/>
                    </a:cubicBezTo>
                    <a:moveTo>
                      <a:pt x="232" y="89"/>
                    </a:moveTo>
                    <a:cubicBezTo>
                      <a:pt x="232" y="91"/>
                      <a:pt x="231" y="93"/>
                      <a:pt x="229" y="93"/>
                    </a:cubicBezTo>
                    <a:cubicBezTo>
                      <a:pt x="229" y="93"/>
                      <a:pt x="229" y="93"/>
                      <a:pt x="228" y="93"/>
                    </a:cubicBezTo>
                    <a:cubicBezTo>
                      <a:pt x="225" y="92"/>
                      <a:pt x="221" y="92"/>
                      <a:pt x="218" y="92"/>
                    </a:cubicBezTo>
                    <a:cubicBezTo>
                      <a:pt x="213" y="92"/>
                      <a:pt x="209" y="93"/>
                      <a:pt x="205" y="95"/>
                    </a:cubicBezTo>
                    <a:cubicBezTo>
                      <a:pt x="206" y="95"/>
                      <a:pt x="207" y="95"/>
                      <a:pt x="208" y="95"/>
                    </a:cubicBezTo>
                    <a:cubicBezTo>
                      <a:pt x="212" y="95"/>
                      <a:pt x="216" y="96"/>
                      <a:pt x="219" y="96"/>
                    </a:cubicBezTo>
                    <a:cubicBezTo>
                      <a:pt x="223" y="96"/>
                      <a:pt x="223" y="96"/>
                      <a:pt x="223" y="96"/>
                    </a:cubicBezTo>
                    <a:cubicBezTo>
                      <a:pt x="231" y="96"/>
                      <a:pt x="234" y="97"/>
                      <a:pt x="239" y="100"/>
                    </a:cubicBezTo>
                    <a:cubicBezTo>
                      <a:pt x="247" y="108"/>
                      <a:pt x="252" y="117"/>
                      <a:pt x="253" y="127"/>
                    </a:cubicBezTo>
                    <a:cubicBezTo>
                      <a:pt x="254" y="129"/>
                      <a:pt x="254" y="131"/>
                      <a:pt x="254" y="132"/>
                    </a:cubicBezTo>
                    <a:cubicBezTo>
                      <a:pt x="254" y="135"/>
                      <a:pt x="253" y="138"/>
                      <a:pt x="253" y="140"/>
                    </a:cubicBezTo>
                    <a:cubicBezTo>
                      <a:pt x="262" y="122"/>
                      <a:pt x="255" y="94"/>
                      <a:pt x="232" y="89"/>
                    </a:cubicBezTo>
                    <a:moveTo>
                      <a:pt x="776" y="414"/>
                    </a:moveTo>
                    <a:cubicBezTo>
                      <a:pt x="774" y="414"/>
                      <a:pt x="773" y="412"/>
                      <a:pt x="774" y="411"/>
                    </a:cubicBezTo>
                    <a:cubicBezTo>
                      <a:pt x="777" y="410"/>
                      <a:pt x="779" y="408"/>
                      <a:pt x="781" y="407"/>
                    </a:cubicBezTo>
                    <a:cubicBezTo>
                      <a:pt x="782" y="407"/>
                      <a:pt x="782" y="407"/>
                      <a:pt x="782" y="407"/>
                    </a:cubicBezTo>
                    <a:cubicBezTo>
                      <a:pt x="784" y="407"/>
                      <a:pt x="785" y="409"/>
                      <a:pt x="783" y="410"/>
                    </a:cubicBezTo>
                    <a:cubicBezTo>
                      <a:pt x="781" y="412"/>
                      <a:pt x="779" y="413"/>
                      <a:pt x="776" y="414"/>
                    </a:cubicBezTo>
                    <a:cubicBezTo>
                      <a:pt x="776" y="414"/>
                      <a:pt x="776" y="414"/>
                      <a:pt x="776" y="414"/>
                    </a:cubicBezTo>
                    <a:moveTo>
                      <a:pt x="795" y="420"/>
                    </a:moveTo>
                    <a:cubicBezTo>
                      <a:pt x="794" y="420"/>
                      <a:pt x="793" y="418"/>
                      <a:pt x="794" y="417"/>
                    </a:cubicBezTo>
                    <a:cubicBezTo>
                      <a:pt x="800" y="412"/>
                      <a:pt x="805" y="408"/>
                      <a:pt x="809" y="402"/>
                    </a:cubicBezTo>
                    <a:cubicBezTo>
                      <a:pt x="810" y="401"/>
                      <a:pt x="810" y="401"/>
                      <a:pt x="811" y="401"/>
                    </a:cubicBezTo>
                    <a:cubicBezTo>
                      <a:pt x="812" y="401"/>
                      <a:pt x="814" y="402"/>
                      <a:pt x="813" y="404"/>
                    </a:cubicBezTo>
                    <a:cubicBezTo>
                      <a:pt x="809" y="411"/>
                      <a:pt x="803" y="417"/>
                      <a:pt x="796" y="420"/>
                    </a:cubicBezTo>
                    <a:cubicBezTo>
                      <a:pt x="796" y="420"/>
                      <a:pt x="795" y="420"/>
                      <a:pt x="795" y="420"/>
                    </a:cubicBezTo>
                    <a:moveTo>
                      <a:pt x="216" y="391"/>
                    </a:moveTo>
                    <a:cubicBezTo>
                      <a:pt x="213" y="391"/>
                      <a:pt x="210" y="391"/>
                      <a:pt x="207" y="390"/>
                    </a:cubicBezTo>
                    <a:cubicBezTo>
                      <a:pt x="207" y="390"/>
                      <a:pt x="207" y="389"/>
                      <a:pt x="207" y="389"/>
                    </a:cubicBezTo>
                    <a:cubicBezTo>
                      <a:pt x="207" y="389"/>
                      <a:pt x="207" y="389"/>
                      <a:pt x="207" y="389"/>
                    </a:cubicBezTo>
                    <a:cubicBezTo>
                      <a:pt x="211" y="390"/>
                      <a:pt x="214" y="390"/>
                      <a:pt x="217" y="390"/>
                    </a:cubicBezTo>
                    <a:cubicBezTo>
                      <a:pt x="219" y="390"/>
                      <a:pt x="221" y="390"/>
                      <a:pt x="223" y="390"/>
                    </a:cubicBezTo>
                    <a:cubicBezTo>
                      <a:pt x="225" y="390"/>
                      <a:pt x="227" y="390"/>
                      <a:pt x="230" y="390"/>
                    </a:cubicBezTo>
                    <a:cubicBezTo>
                      <a:pt x="230" y="390"/>
                      <a:pt x="230" y="390"/>
                      <a:pt x="230" y="390"/>
                    </a:cubicBezTo>
                    <a:cubicBezTo>
                      <a:pt x="230" y="390"/>
                      <a:pt x="230" y="390"/>
                      <a:pt x="230" y="390"/>
                    </a:cubicBezTo>
                    <a:cubicBezTo>
                      <a:pt x="226" y="390"/>
                      <a:pt x="221" y="391"/>
                      <a:pt x="216" y="391"/>
                    </a:cubicBezTo>
                    <a:moveTo>
                      <a:pt x="127" y="366"/>
                    </a:moveTo>
                    <a:cubicBezTo>
                      <a:pt x="119" y="362"/>
                      <a:pt x="112" y="357"/>
                      <a:pt x="106" y="351"/>
                    </a:cubicBezTo>
                    <a:cubicBezTo>
                      <a:pt x="106" y="351"/>
                      <a:pt x="106" y="351"/>
                      <a:pt x="106" y="351"/>
                    </a:cubicBezTo>
                    <a:cubicBezTo>
                      <a:pt x="113" y="356"/>
                      <a:pt x="119" y="362"/>
                      <a:pt x="127" y="366"/>
                    </a:cubicBezTo>
                    <a:cubicBezTo>
                      <a:pt x="127" y="366"/>
                      <a:pt x="127" y="366"/>
                      <a:pt x="127" y="366"/>
                    </a:cubicBezTo>
                    <a:moveTo>
                      <a:pt x="349" y="350"/>
                    </a:moveTo>
                    <a:cubicBezTo>
                      <a:pt x="349" y="350"/>
                      <a:pt x="349" y="349"/>
                      <a:pt x="349" y="349"/>
                    </a:cubicBezTo>
                    <a:cubicBezTo>
                      <a:pt x="359" y="338"/>
                      <a:pt x="369" y="330"/>
                      <a:pt x="377" y="318"/>
                    </a:cubicBezTo>
                    <a:cubicBezTo>
                      <a:pt x="385" y="305"/>
                      <a:pt x="393" y="291"/>
                      <a:pt x="401" y="278"/>
                    </a:cubicBezTo>
                    <a:cubicBezTo>
                      <a:pt x="401" y="278"/>
                      <a:pt x="401" y="278"/>
                      <a:pt x="401" y="278"/>
                    </a:cubicBezTo>
                    <a:cubicBezTo>
                      <a:pt x="402" y="278"/>
                      <a:pt x="403" y="278"/>
                      <a:pt x="402" y="279"/>
                    </a:cubicBezTo>
                    <a:cubicBezTo>
                      <a:pt x="394" y="293"/>
                      <a:pt x="388" y="307"/>
                      <a:pt x="379" y="321"/>
                    </a:cubicBezTo>
                    <a:cubicBezTo>
                      <a:pt x="371" y="333"/>
                      <a:pt x="360" y="340"/>
                      <a:pt x="350" y="350"/>
                    </a:cubicBezTo>
                    <a:cubicBezTo>
                      <a:pt x="350" y="350"/>
                      <a:pt x="350" y="350"/>
                      <a:pt x="349" y="350"/>
                    </a:cubicBezTo>
                    <a:moveTo>
                      <a:pt x="564" y="269"/>
                    </a:moveTo>
                    <a:cubicBezTo>
                      <a:pt x="564" y="265"/>
                      <a:pt x="565" y="259"/>
                      <a:pt x="569" y="258"/>
                    </a:cubicBezTo>
                    <a:cubicBezTo>
                      <a:pt x="570" y="257"/>
                      <a:pt x="571" y="257"/>
                      <a:pt x="571" y="257"/>
                    </a:cubicBezTo>
                    <a:cubicBezTo>
                      <a:pt x="575" y="257"/>
                      <a:pt x="579" y="262"/>
                      <a:pt x="582" y="264"/>
                    </a:cubicBezTo>
                    <a:cubicBezTo>
                      <a:pt x="600" y="275"/>
                      <a:pt x="624" y="285"/>
                      <a:pt x="633" y="305"/>
                    </a:cubicBezTo>
                    <a:cubicBezTo>
                      <a:pt x="636" y="311"/>
                      <a:pt x="637" y="317"/>
                      <a:pt x="632" y="322"/>
                    </a:cubicBezTo>
                    <a:cubicBezTo>
                      <a:pt x="629" y="324"/>
                      <a:pt x="627" y="325"/>
                      <a:pt x="624" y="325"/>
                    </a:cubicBezTo>
                    <a:cubicBezTo>
                      <a:pt x="623" y="325"/>
                      <a:pt x="622" y="324"/>
                      <a:pt x="621" y="324"/>
                    </a:cubicBezTo>
                    <a:cubicBezTo>
                      <a:pt x="620" y="325"/>
                      <a:pt x="620" y="325"/>
                      <a:pt x="619" y="325"/>
                    </a:cubicBezTo>
                    <a:cubicBezTo>
                      <a:pt x="618" y="325"/>
                      <a:pt x="617" y="324"/>
                      <a:pt x="616" y="323"/>
                    </a:cubicBezTo>
                    <a:cubicBezTo>
                      <a:pt x="615" y="324"/>
                      <a:pt x="614" y="324"/>
                      <a:pt x="613" y="324"/>
                    </a:cubicBezTo>
                    <a:cubicBezTo>
                      <a:pt x="612" y="324"/>
                      <a:pt x="610" y="324"/>
                      <a:pt x="609" y="322"/>
                    </a:cubicBezTo>
                    <a:cubicBezTo>
                      <a:pt x="609" y="322"/>
                      <a:pt x="608" y="322"/>
                      <a:pt x="608" y="321"/>
                    </a:cubicBezTo>
                    <a:cubicBezTo>
                      <a:pt x="593" y="306"/>
                      <a:pt x="573" y="297"/>
                      <a:pt x="559" y="280"/>
                    </a:cubicBezTo>
                    <a:cubicBezTo>
                      <a:pt x="555" y="276"/>
                      <a:pt x="559" y="270"/>
                      <a:pt x="564" y="269"/>
                    </a:cubicBezTo>
                    <a:moveTo>
                      <a:pt x="459" y="252"/>
                    </a:moveTo>
                    <a:cubicBezTo>
                      <a:pt x="457" y="244"/>
                      <a:pt x="463" y="240"/>
                      <a:pt x="470" y="240"/>
                    </a:cubicBezTo>
                    <a:cubicBezTo>
                      <a:pt x="473" y="240"/>
                      <a:pt x="476" y="241"/>
                      <a:pt x="479" y="242"/>
                    </a:cubicBezTo>
                    <a:cubicBezTo>
                      <a:pt x="497" y="249"/>
                      <a:pt x="518" y="271"/>
                      <a:pt x="526" y="288"/>
                    </a:cubicBezTo>
                    <a:cubicBezTo>
                      <a:pt x="529" y="293"/>
                      <a:pt x="530" y="299"/>
                      <a:pt x="527" y="303"/>
                    </a:cubicBezTo>
                    <a:cubicBezTo>
                      <a:pt x="526" y="307"/>
                      <a:pt x="523" y="308"/>
                      <a:pt x="519" y="308"/>
                    </a:cubicBezTo>
                    <a:cubicBezTo>
                      <a:pt x="519" y="311"/>
                      <a:pt x="516" y="314"/>
                      <a:pt x="511" y="314"/>
                    </a:cubicBezTo>
                    <a:cubicBezTo>
                      <a:pt x="508" y="315"/>
                      <a:pt x="506" y="315"/>
                      <a:pt x="503" y="315"/>
                    </a:cubicBezTo>
                    <a:cubicBezTo>
                      <a:pt x="503" y="311"/>
                      <a:pt x="503" y="311"/>
                      <a:pt x="503" y="311"/>
                    </a:cubicBezTo>
                    <a:cubicBezTo>
                      <a:pt x="502" y="311"/>
                      <a:pt x="502" y="311"/>
                      <a:pt x="502" y="310"/>
                    </a:cubicBezTo>
                    <a:cubicBezTo>
                      <a:pt x="502" y="310"/>
                      <a:pt x="502" y="310"/>
                      <a:pt x="502" y="310"/>
                    </a:cubicBezTo>
                    <a:cubicBezTo>
                      <a:pt x="502" y="310"/>
                      <a:pt x="501" y="310"/>
                      <a:pt x="500" y="310"/>
                    </a:cubicBezTo>
                    <a:cubicBezTo>
                      <a:pt x="499" y="310"/>
                      <a:pt x="498" y="310"/>
                      <a:pt x="497" y="309"/>
                    </a:cubicBezTo>
                    <a:cubicBezTo>
                      <a:pt x="492" y="306"/>
                      <a:pt x="488" y="301"/>
                      <a:pt x="484" y="296"/>
                    </a:cubicBezTo>
                    <a:cubicBezTo>
                      <a:pt x="479" y="292"/>
                      <a:pt x="475" y="287"/>
                      <a:pt x="470" y="281"/>
                    </a:cubicBezTo>
                    <a:cubicBezTo>
                      <a:pt x="464" y="276"/>
                      <a:pt x="457" y="270"/>
                      <a:pt x="450" y="265"/>
                    </a:cubicBezTo>
                    <a:cubicBezTo>
                      <a:pt x="444" y="260"/>
                      <a:pt x="449" y="251"/>
                      <a:pt x="455" y="251"/>
                    </a:cubicBezTo>
                    <a:cubicBezTo>
                      <a:pt x="456" y="251"/>
                      <a:pt x="457" y="251"/>
                      <a:pt x="458" y="252"/>
                    </a:cubicBezTo>
                    <a:cubicBezTo>
                      <a:pt x="458" y="252"/>
                      <a:pt x="459" y="252"/>
                      <a:pt x="459" y="252"/>
                    </a:cubicBezTo>
                    <a:moveTo>
                      <a:pt x="178" y="263"/>
                    </a:moveTo>
                    <a:cubicBezTo>
                      <a:pt x="178" y="262"/>
                      <a:pt x="178" y="262"/>
                      <a:pt x="178" y="261"/>
                    </a:cubicBezTo>
                    <a:cubicBezTo>
                      <a:pt x="182" y="241"/>
                      <a:pt x="199" y="231"/>
                      <a:pt x="217" y="231"/>
                    </a:cubicBezTo>
                    <a:cubicBezTo>
                      <a:pt x="222" y="231"/>
                      <a:pt x="227" y="232"/>
                      <a:pt x="232" y="234"/>
                    </a:cubicBezTo>
                    <a:cubicBezTo>
                      <a:pt x="233" y="234"/>
                      <a:pt x="233" y="234"/>
                      <a:pt x="233" y="234"/>
                    </a:cubicBezTo>
                    <a:cubicBezTo>
                      <a:pt x="253" y="236"/>
                      <a:pt x="266" y="247"/>
                      <a:pt x="264" y="270"/>
                    </a:cubicBezTo>
                    <a:cubicBezTo>
                      <a:pt x="263" y="286"/>
                      <a:pt x="254" y="301"/>
                      <a:pt x="240" y="307"/>
                    </a:cubicBezTo>
                    <a:cubicBezTo>
                      <a:pt x="240" y="307"/>
                      <a:pt x="239" y="308"/>
                      <a:pt x="239" y="308"/>
                    </a:cubicBezTo>
                    <a:cubicBezTo>
                      <a:pt x="232" y="313"/>
                      <a:pt x="226" y="315"/>
                      <a:pt x="220" y="315"/>
                    </a:cubicBezTo>
                    <a:cubicBezTo>
                      <a:pt x="217" y="315"/>
                      <a:pt x="214" y="315"/>
                      <a:pt x="210" y="314"/>
                    </a:cubicBezTo>
                    <a:cubicBezTo>
                      <a:pt x="203" y="312"/>
                      <a:pt x="196" y="310"/>
                      <a:pt x="190" y="305"/>
                    </a:cubicBezTo>
                    <a:cubicBezTo>
                      <a:pt x="181" y="297"/>
                      <a:pt x="175" y="285"/>
                      <a:pt x="175" y="275"/>
                    </a:cubicBezTo>
                    <a:cubicBezTo>
                      <a:pt x="175" y="274"/>
                      <a:pt x="175" y="273"/>
                      <a:pt x="176" y="272"/>
                    </a:cubicBezTo>
                    <a:cubicBezTo>
                      <a:pt x="176" y="269"/>
                      <a:pt x="177" y="266"/>
                      <a:pt x="178" y="263"/>
                    </a:cubicBezTo>
                    <a:moveTo>
                      <a:pt x="769" y="218"/>
                    </a:moveTo>
                    <a:cubicBezTo>
                      <a:pt x="770" y="212"/>
                      <a:pt x="771" y="205"/>
                      <a:pt x="775" y="201"/>
                    </a:cubicBezTo>
                    <a:cubicBezTo>
                      <a:pt x="779" y="197"/>
                      <a:pt x="784" y="196"/>
                      <a:pt x="789" y="196"/>
                    </a:cubicBezTo>
                    <a:cubicBezTo>
                      <a:pt x="794" y="196"/>
                      <a:pt x="798" y="197"/>
                      <a:pt x="803" y="198"/>
                    </a:cubicBezTo>
                    <a:cubicBezTo>
                      <a:pt x="812" y="200"/>
                      <a:pt x="827" y="203"/>
                      <a:pt x="831" y="214"/>
                    </a:cubicBezTo>
                    <a:cubicBezTo>
                      <a:pt x="834" y="221"/>
                      <a:pt x="829" y="229"/>
                      <a:pt x="828" y="236"/>
                    </a:cubicBezTo>
                    <a:cubicBezTo>
                      <a:pt x="828" y="240"/>
                      <a:pt x="827" y="244"/>
                      <a:pt x="827" y="248"/>
                    </a:cubicBezTo>
                    <a:cubicBezTo>
                      <a:pt x="827" y="248"/>
                      <a:pt x="827" y="248"/>
                      <a:pt x="827" y="248"/>
                    </a:cubicBezTo>
                    <a:cubicBezTo>
                      <a:pt x="827" y="248"/>
                      <a:pt x="827" y="260"/>
                      <a:pt x="827" y="260"/>
                    </a:cubicBezTo>
                    <a:cubicBezTo>
                      <a:pt x="828" y="260"/>
                      <a:pt x="828" y="261"/>
                      <a:pt x="828" y="261"/>
                    </a:cubicBezTo>
                    <a:cubicBezTo>
                      <a:pt x="828" y="261"/>
                      <a:pt x="828" y="261"/>
                      <a:pt x="828" y="261"/>
                    </a:cubicBezTo>
                    <a:cubicBezTo>
                      <a:pt x="829" y="261"/>
                      <a:pt x="829" y="261"/>
                      <a:pt x="830" y="261"/>
                    </a:cubicBezTo>
                    <a:cubicBezTo>
                      <a:pt x="830" y="261"/>
                      <a:pt x="831" y="261"/>
                      <a:pt x="832" y="261"/>
                    </a:cubicBezTo>
                    <a:cubicBezTo>
                      <a:pt x="832" y="261"/>
                      <a:pt x="833" y="261"/>
                      <a:pt x="834" y="261"/>
                    </a:cubicBezTo>
                    <a:cubicBezTo>
                      <a:pt x="839" y="261"/>
                      <a:pt x="844" y="263"/>
                      <a:pt x="849" y="264"/>
                    </a:cubicBezTo>
                    <a:cubicBezTo>
                      <a:pt x="857" y="265"/>
                      <a:pt x="864" y="266"/>
                      <a:pt x="872" y="268"/>
                    </a:cubicBezTo>
                    <a:cubicBezTo>
                      <a:pt x="884" y="273"/>
                      <a:pt x="885" y="286"/>
                      <a:pt x="884" y="298"/>
                    </a:cubicBezTo>
                    <a:cubicBezTo>
                      <a:pt x="883" y="309"/>
                      <a:pt x="884" y="324"/>
                      <a:pt x="872" y="329"/>
                    </a:cubicBezTo>
                    <a:cubicBezTo>
                      <a:pt x="871" y="329"/>
                      <a:pt x="871" y="329"/>
                      <a:pt x="870" y="329"/>
                    </a:cubicBezTo>
                    <a:cubicBezTo>
                      <a:pt x="870" y="330"/>
                      <a:pt x="869" y="330"/>
                      <a:pt x="869" y="330"/>
                    </a:cubicBezTo>
                    <a:cubicBezTo>
                      <a:pt x="866" y="333"/>
                      <a:pt x="861" y="334"/>
                      <a:pt x="856" y="334"/>
                    </a:cubicBezTo>
                    <a:cubicBezTo>
                      <a:pt x="850" y="334"/>
                      <a:pt x="843" y="333"/>
                      <a:pt x="840" y="332"/>
                    </a:cubicBezTo>
                    <a:cubicBezTo>
                      <a:pt x="834" y="332"/>
                      <a:pt x="829" y="332"/>
                      <a:pt x="824" y="332"/>
                    </a:cubicBezTo>
                    <a:cubicBezTo>
                      <a:pt x="822" y="344"/>
                      <a:pt x="827" y="356"/>
                      <a:pt x="822" y="368"/>
                    </a:cubicBezTo>
                    <a:cubicBezTo>
                      <a:pt x="819" y="373"/>
                      <a:pt x="816" y="376"/>
                      <a:pt x="811" y="377"/>
                    </a:cubicBezTo>
                    <a:cubicBezTo>
                      <a:pt x="810" y="379"/>
                      <a:pt x="809" y="380"/>
                      <a:pt x="807" y="381"/>
                    </a:cubicBezTo>
                    <a:cubicBezTo>
                      <a:pt x="806" y="382"/>
                      <a:pt x="803" y="382"/>
                      <a:pt x="801" y="382"/>
                    </a:cubicBezTo>
                    <a:cubicBezTo>
                      <a:pt x="798" y="382"/>
                      <a:pt x="795" y="382"/>
                      <a:pt x="793" y="381"/>
                    </a:cubicBezTo>
                    <a:cubicBezTo>
                      <a:pt x="793" y="381"/>
                      <a:pt x="792" y="381"/>
                      <a:pt x="791" y="381"/>
                    </a:cubicBezTo>
                    <a:cubicBezTo>
                      <a:pt x="787" y="381"/>
                      <a:pt x="783" y="380"/>
                      <a:pt x="779" y="379"/>
                    </a:cubicBezTo>
                    <a:cubicBezTo>
                      <a:pt x="772" y="375"/>
                      <a:pt x="765" y="374"/>
                      <a:pt x="759" y="372"/>
                    </a:cubicBezTo>
                    <a:cubicBezTo>
                      <a:pt x="755" y="369"/>
                      <a:pt x="754" y="365"/>
                      <a:pt x="754" y="361"/>
                    </a:cubicBezTo>
                    <a:cubicBezTo>
                      <a:pt x="754" y="357"/>
                      <a:pt x="755" y="354"/>
                      <a:pt x="756" y="351"/>
                    </a:cubicBezTo>
                    <a:cubicBezTo>
                      <a:pt x="756" y="348"/>
                      <a:pt x="756" y="346"/>
                      <a:pt x="757" y="343"/>
                    </a:cubicBezTo>
                    <a:cubicBezTo>
                      <a:pt x="758" y="338"/>
                      <a:pt x="759" y="332"/>
                      <a:pt x="761" y="327"/>
                    </a:cubicBezTo>
                    <a:cubicBezTo>
                      <a:pt x="761" y="326"/>
                      <a:pt x="761" y="325"/>
                      <a:pt x="761" y="324"/>
                    </a:cubicBezTo>
                    <a:cubicBezTo>
                      <a:pt x="761" y="324"/>
                      <a:pt x="761" y="324"/>
                      <a:pt x="761" y="324"/>
                    </a:cubicBezTo>
                    <a:cubicBezTo>
                      <a:pt x="760" y="320"/>
                      <a:pt x="760" y="320"/>
                      <a:pt x="760" y="320"/>
                    </a:cubicBezTo>
                    <a:cubicBezTo>
                      <a:pt x="758" y="320"/>
                      <a:pt x="757" y="320"/>
                      <a:pt x="756" y="320"/>
                    </a:cubicBezTo>
                    <a:cubicBezTo>
                      <a:pt x="742" y="320"/>
                      <a:pt x="729" y="314"/>
                      <a:pt x="715" y="314"/>
                    </a:cubicBezTo>
                    <a:cubicBezTo>
                      <a:pt x="708" y="312"/>
                      <a:pt x="705" y="309"/>
                      <a:pt x="705" y="302"/>
                    </a:cubicBezTo>
                    <a:cubicBezTo>
                      <a:pt x="705" y="302"/>
                      <a:pt x="705" y="302"/>
                      <a:pt x="705" y="301"/>
                    </a:cubicBezTo>
                    <a:cubicBezTo>
                      <a:pt x="705" y="301"/>
                      <a:pt x="705" y="301"/>
                      <a:pt x="705" y="301"/>
                    </a:cubicBezTo>
                    <a:cubicBezTo>
                      <a:pt x="704" y="296"/>
                      <a:pt x="704" y="290"/>
                      <a:pt x="704" y="285"/>
                    </a:cubicBezTo>
                    <a:cubicBezTo>
                      <a:pt x="704" y="282"/>
                      <a:pt x="704" y="280"/>
                      <a:pt x="704" y="278"/>
                    </a:cubicBezTo>
                    <a:cubicBezTo>
                      <a:pt x="704" y="278"/>
                      <a:pt x="704" y="278"/>
                      <a:pt x="704" y="278"/>
                    </a:cubicBezTo>
                    <a:cubicBezTo>
                      <a:pt x="704" y="276"/>
                      <a:pt x="704" y="274"/>
                      <a:pt x="704" y="271"/>
                    </a:cubicBezTo>
                    <a:cubicBezTo>
                      <a:pt x="704" y="267"/>
                      <a:pt x="704" y="261"/>
                      <a:pt x="707" y="258"/>
                    </a:cubicBezTo>
                    <a:cubicBezTo>
                      <a:pt x="708" y="251"/>
                      <a:pt x="710" y="245"/>
                      <a:pt x="718" y="243"/>
                    </a:cubicBezTo>
                    <a:cubicBezTo>
                      <a:pt x="719" y="243"/>
                      <a:pt x="720" y="243"/>
                      <a:pt x="722" y="243"/>
                    </a:cubicBezTo>
                    <a:cubicBezTo>
                      <a:pt x="727" y="243"/>
                      <a:pt x="735" y="244"/>
                      <a:pt x="740" y="245"/>
                    </a:cubicBezTo>
                    <a:cubicBezTo>
                      <a:pt x="742" y="245"/>
                      <a:pt x="745" y="246"/>
                      <a:pt x="747" y="247"/>
                    </a:cubicBezTo>
                    <a:cubicBezTo>
                      <a:pt x="751" y="248"/>
                      <a:pt x="755" y="249"/>
                      <a:pt x="759" y="249"/>
                    </a:cubicBezTo>
                    <a:cubicBezTo>
                      <a:pt x="760" y="249"/>
                      <a:pt x="760" y="249"/>
                      <a:pt x="760" y="249"/>
                    </a:cubicBezTo>
                    <a:cubicBezTo>
                      <a:pt x="761" y="249"/>
                      <a:pt x="762" y="248"/>
                      <a:pt x="763" y="248"/>
                    </a:cubicBezTo>
                    <a:cubicBezTo>
                      <a:pt x="762" y="247"/>
                      <a:pt x="762" y="246"/>
                      <a:pt x="762" y="245"/>
                    </a:cubicBezTo>
                    <a:cubicBezTo>
                      <a:pt x="762" y="245"/>
                      <a:pt x="763" y="245"/>
                      <a:pt x="763" y="244"/>
                    </a:cubicBezTo>
                    <a:cubicBezTo>
                      <a:pt x="764" y="241"/>
                      <a:pt x="764" y="238"/>
                      <a:pt x="765" y="235"/>
                    </a:cubicBezTo>
                    <a:cubicBezTo>
                      <a:pt x="766" y="230"/>
                      <a:pt x="766" y="225"/>
                      <a:pt x="768" y="220"/>
                    </a:cubicBezTo>
                    <a:cubicBezTo>
                      <a:pt x="768" y="219"/>
                      <a:pt x="768" y="218"/>
                      <a:pt x="769" y="218"/>
                    </a:cubicBezTo>
                    <a:moveTo>
                      <a:pt x="611" y="193"/>
                    </a:moveTo>
                    <a:cubicBezTo>
                      <a:pt x="611" y="191"/>
                      <a:pt x="612" y="190"/>
                      <a:pt x="613" y="188"/>
                    </a:cubicBezTo>
                    <a:cubicBezTo>
                      <a:pt x="615" y="186"/>
                      <a:pt x="618" y="185"/>
                      <a:pt x="621" y="185"/>
                    </a:cubicBezTo>
                    <a:cubicBezTo>
                      <a:pt x="630" y="185"/>
                      <a:pt x="640" y="192"/>
                      <a:pt x="635" y="200"/>
                    </a:cubicBezTo>
                    <a:cubicBezTo>
                      <a:pt x="634" y="200"/>
                      <a:pt x="634" y="200"/>
                      <a:pt x="633" y="200"/>
                    </a:cubicBezTo>
                    <a:cubicBezTo>
                      <a:pt x="633" y="200"/>
                      <a:pt x="633" y="200"/>
                      <a:pt x="633" y="200"/>
                    </a:cubicBezTo>
                    <a:cubicBezTo>
                      <a:pt x="631" y="202"/>
                      <a:pt x="629" y="203"/>
                      <a:pt x="627" y="204"/>
                    </a:cubicBezTo>
                    <a:cubicBezTo>
                      <a:pt x="627" y="205"/>
                      <a:pt x="627" y="205"/>
                      <a:pt x="627" y="205"/>
                    </a:cubicBezTo>
                    <a:cubicBezTo>
                      <a:pt x="626" y="205"/>
                      <a:pt x="626" y="205"/>
                      <a:pt x="626" y="205"/>
                    </a:cubicBezTo>
                    <a:cubicBezTo>
                      <a:pt x="626" y="205"/>
                      <a:pt x="626" y="205"/>
                      <a:pt x="625" y="205"/>
                    </a:cubicBezTo>
                    <a:cubicBezTo>
                      <a:pt x="625" y="205"/>
                      <a:pt x="625" y="205"/>
                      <a:pt x="625" y="205"/>
                    </a:cubicBezTo>
                    <a:cubicBezTo>
                      <a:pt x="625" y="208"/>
                      <a:pt x="625" y="210"/>
                      <a:pt x="623" y="212"/>
                    </a:cubicBezTo>
                    <a:cubicBezTo>
                      <a:pt x="622" y="213"/>
                      <a:pt x="620" y="213"/>
                      <a:pt x="619" y="213"/>
                    </a:cubicBezTo>
                    <a:cubicBezTo>
                      <a:pt x="618" y="213"/>
                      <a:pt x="617" y="213"/>
                      <a:pt x="617" y="213"/>
                    </a:cubicBezTo>
                    <a:cubicBezTo>
                      <a:pt x="616" y="213"/>
                      <a:pt x="614" y="212"/>
                      <a:pt x="613" y="212"/>
                    </a:cubicBezTo>
                    <a:cubicBezTo>
                      <a:pt x="611" y="211"/>
                      <a:pt x="608" y="210"/>
                      <a:pt x="607" y="206"/>
                    </a:cubicBezTo>
                    <a:cubicBezTo>
                      <a:pt x="605" y="204"/>
                      <a:pt x="604" y="201"/>
                      <a:pt x="605" y="198"/>
                    </a:cubicBezTo>
                    <a:cubicBezTo>
                      <a:pt x="605" y="195"/>
                      <a:pt x="608" y="193"/>
                      <a:pt x="611" y="193"/>
                    </a:cubicBezTo>
                    <a:moveTo>
                      <a:pt x="321" y="185"/>
                    </a:moveTo>
                    <a:cubicBezTo>
                      <a:pt x="320" y="185"/>
                      <a:pt x="319" y="183"/>
                      <a:pt x="320" y="182"/>
                    </a:cubicBezTo>
                    <a:cubicBezTo>
                      <a:pt x="326" y="180"/>
                      <a:pt x="329" y="177"/>
                      <a:pt x="334" y="177"/>
                    </a:cubicBezTo>
                    <a:cubicBezTo>
                      <a:pt x="336" y="177"/>
                      <a:pt x="338" y="177"/>
                      <a:pt x="340" y="179"/>
                    </a:cubicBezTo>
                    <a:cubicBezTo>
                      <a:pt x="348" y="183"/>
                      <a:pt x="353" y="192"/>
                      <a:pt x="356" y="200"/>
                    </a:cubicBezTo>
                    <a:cubicBezTo>
                      <a:pt x="362" y="217"/>
                      <a:pt x="355" y="234"/>
                      <a:pt x="340" y="242"/>
                    </a:cubicBezTo>
                    <a:cubicBezTo>
                      <a:pt x="336" y="246"/>
                      <a:pt x="330" y="249"/>
                      <a:pt x="324" y="250"/>
                    </a:cubicBezTo>
                    <a:cubicBezTo>
                      <a:pt x="322" y="251"/>
                      <a:pt x="319" y="251"/>
                      <a:pt x="317" y="251"/>
                    </a:cubicBezTo>
                    <a:cubicBezTo>
                      <a:pt x="305" y="251"/>
                      <a:pt x="294" y="246"/>
                      <a:pt x="287" y="236"/>
                    </a:cubicBezTo>
                    <a:cubicBezTo>
                      <a:pt x="283" y="231"/>
                      <a:pt x="282" y="225"/>
                      <a:pt x="282" y="219"/>
                    </a:cubicBezTo>
                    <a:cubicBezTo>
                      <a:pt x="282" y="215"/>
                      <a:pt x="283" y="210"/>
                      <a:pt x="284" y="207"/>
                    </a:cubicBezTo>
                    <a:cubicBezTo>
                      <a:pt x="284" y="206"/>
                      <a:pt x="285" y="205"/>
                      <a:pt x="285" y="204"/>
                    </a:cubicBezTo>
                    <a:cubicBezTo>
                      <a:pt x="288" y="190"/>
                      <a:pt x="298" y="179"/>
                      <a:pt x="314" y="178"/>
                    </a:cubicBezTo>
                    <a:cubicBezTo>
                      <a:pt x="314" y="178"/>
                      <a:pt x="314" y="178"/>
                      <a:pt x="314" y="178"/>
                    </a:cubicBezTo>
                    <a:cubicBezTo>
                      <a:pt x="318" y="178"/>
                      <a:pt x="318" y="184"/>
                      <a:pt x="315" y="185"/>
                    </a:cubicBezTo>
                    <a:cubicBezTo>
                      <a:pt x="309" y="186"/>
                      <a:pt x="303" y="188"/>
                      <a:pt x="299" y="192"/>
                    </a:cubicBezTo>
                    <a:cubicBezTo>
                      <a:pt x="302" y="191"/>
                      <a:pt x="304" y="190"/>
                      <a:pt x="308" y="190"/>
                    </a:cubicBezTo>
                    <a:cubicBezTo>
                      <a:pt x="323" y="188"/>
                      <a:pt x="323" y="188"/>
                      <a:pt x="323" y="188"/>
                    </a:cubicBezTo>
                    <a:cubicBezTo>
                      <a:pt x="324" y="188"/>
                      <a:pt x="325" y="187"/>
                      <a:pt x="326" y="187"/>
                    </a:cubicBezTo>
                    <a:cubicBezTo>
                      <a:pt x="333" y="187"/>
                      <a:pt x="340" y="197"/>
                      <a:pt x="344" y="204"/>
                    </a:cubicBezTo>
                    <a:cubicBezTo>
                      <a:pt x="347" y="209"/>
                      <a:pt x="349" y="215"/>
                      <a:pt x="349" y="220"/>
                    </a:cubicBezTo>
                    <a:cubicBezTo>
                      <a:pt x="349" y="222"/>
                      <a:pt x="349" y="224"/>
                      <a:pt x="348" y="225"/>
                    </a:cubicBezTo>
                    <a:cubicBezTo>
                      <a:pt x="353" y="217"/>
                      <a:pt x="353" y="207"/>
                      <a:pt x="349" y="198"/>
                    </a:cubicBezTo>
                    <a:cubicBezTo>
                      <a:pt x="346" y="193"/>
                      <a:pt x="340" y="183"/>
                      <a:pt x="334" y="182"/>
                    </a:cubicBezTo>
                    <a:cubicBezTo>
                      <a:pt x="333" y="182"/>
                      <a:pt x="333" y="182"/>
                      <a:pt x="332" y="182"/>
                    </a:cubicBezTo>
                    <a:cubicBezTo>
                      <a:pt x="329" y="182"/>
                      <a:pt x="325" y="184"/>
                      <a:pt x="321" y="185"/>
                    </a:cubicBezTo>
                    <a:cubicBezTo>
                      <a:pt x="321" y="185"/>
                      <a:pt x="321" y="185"/>
                      <a:pt x="321" y="185"/>
                    </a:cubicBezTo>
                    <a:moveTo>
                      <a:pt x="537" y="181"/>
                    </a:moveTo>
                    <a:cubicBezTo>
                      <a:pt x="538" y="177"/>
                      <a:pt x="540" y="174"/>
                      <a:pt x="545" y="174"/>
                    </a:cubicBezTo>
                    <a:cubicBezTo>
                      <a:pt x="545" y="174"/>
                      <a:pt x="545" y="174"/>
                      <a:pt x="546" y="174"/>
                    </a:cubicBezTo>
                    <a:cubicBezTo>
                      <a:pt x="548" y="174"/>
                      <a:pt x="551" y="176"/>
                      <a:pt x="553" y="177"/>
                    </a:cubicBezTo>
                    <a:cubicBezTo>
                      <a:pt x="556" y="180"/>
                      <a:pt x="557" y="184"/>
                      <a:pt x="558" y="187"/>
                    </a:cubicBezTo>
                    <a:cubicBezTo>
                      <a:pt x="559" y="188"/>
                      <a:pt x="558" y="189"/>
                      <a:pt x="557" y="189"/>
                    </a:cubicBezTo>
                    <a:cubicBezTo>
                      <a:pt x="557" y="189"/>
                      <a:pt x="556" y="189"/>
                      <a:pt x="556" y="188"/>
                    </a:cubicBezTo>
                    <a:cubicBezTo>
                      <a:pt x="555" y="187"/>
                      <a:pt x="554" y="185"/>
                      <a:pt x="554" y="184"/>
                    </a:cubicBezTo>
                    <a:cubicBezTo>
                      <a:pt x="555" y="188"/>
                      <a:pt x="553" y="193"/>
                      <a:pt x="548" y="195"/>
                    </a:cubicBezTo>
                    <a:cubicBezTo>
                      <a:pt x="547" y="195"/>
                      <a:pt x="547" y="195"/>
                      <a:pt x="546" y="195"/>
                    </a:cubicBezTo>
                    <a:cubicBezTo>
                      <a:pt x="545" y="195"/>
                      <a:pt x="544" y="195"/>
                      <a:pt x="543" y="194"/>
                    </a:cubicBezTo>
                    <a:cubicBezTo>
                      <a:pt x="542" y="194"/>
                      <a:pt x="542" y="194"/>
                      <a:pt x="542" y="194"/>
                    </a:cubicBezTo>
                    <a:cubicBezTo>
                      <a:pt x="542" y="195"/>
                      <a:pt x="541" y="196"/>
                      <a:pt x="539" y="196"/>
                    </a:cubicBezTo>
                    <a:cubicBezTo>
                      <a:pt x="538" y="197"/>
                      <a:pt x="537" y="197"/>
                      <a:pt x="536" y="197"/>
                    </a:cubicBezTo>
                    <a:cubicBezTo>
                      <a:pt x="536" y="197"/>
                      <a:pt x="536" y="197"/>
                      <a:pt x="536" y="197"/>
                    </a:cubicBezTo>
                    <a:cubicBezTo>
                      <a:pt x="534" y="197"/>
                      <a:pt x="532" y="196"/>
                      <a:pt x="531" y="194"/>
                    </a:cubicBezTo>
                    <a:cubicBezTo>
                      <a:pt x="530" y="192"/>
                      <a:pt x="530" y="189"/>
                      <a:pt x="532" y="188"/>
                    </a:cubicBezTo>
                    <a:cubicBezTo>
                      <a:pt x="532" y="188"/>
                      <a:pt x="532" y="188"/>
                      <a:pt x="532" y="188"/>
                    </a:cubicBezTo>
                    <a:cubicBezTo>
                      <a:pt x="532" y="187"/>
                      <a:pt x="532" y="187"/>
                      <a:pt x="532" y="187"/>
                    </a:cubicBezTo>
                    <a:cubicBezTo>
                      <a:pt x="532" y="187"/>
                      <a:pt x="532" y="186"/>
                      <a:pt x="532" y="185"/>
                    </a:cubicBezTo>
                    <a:cubicBezTo>
                      <a:pt x="532" y="185"/>
                      <a:pt x="532" y="185"/>
                      <a:pt x="532" y="185"/>
                    </a:cubicBezTo>
                    <a:cubicBezTo>
                      <a:pt x="532" y="184"/>
                      <a:pt x="533" y="183"/>
                      <a:pt x="533" y="182"/>
                    </a:cubicBezTo>
                    <a:cubicBezTo>
                      <a:pt x="534" y="181"/>
                      <a:pt x="536" y="181"/>
                      <a:pt x="537" y="181"/>
                    </a:cubicBezTo>
                    <a:cubicBezTo>
                      <a:pt x="537" y="181"/>
                      <a:pt x="537" y="181"/>
                      <a:pt x="537" y="181"/>
                    </a:cubicBezTo>
                    <a:moveTo>
                      <a:pt x="799" y="173"/>
                    </a:moveTo>
                    <a:cubicBezTo>
                      <a:pt x="797" y="173"/>
                      <a:pt x="796" y="171"/>
                      <a:pt x="798" y="171"/>
                    </a:cubicBezTo>
                    <a:cubicBezTo>
                      <a:pt x="803" y="169"/>
                      <a:pt x="807" y="169"/>
                      <a:pt x="812" y="169"/>
                    </a:cubicBezTo>
                    <a:cubicBezTo>
                      <a:pt x="850" y="169"/>
                      <a:pt x="887" y="216"/>
                      <a:pt x="899" y="246"/>
                    </a:cubicBezTo>
                    <a:cubicBezTo>
                      <a:pt x="907" y="267"/>
                      <a:pt x="905" y="290"/>
                      <a:pt x="904" y="312"/>
                    </a:cubicBezTo>
                    <a:cubicBezTo>
                      <a:pt x="901" y="344"/>
                      <a:pt x="890" y="366"/>
                      <a:pt x="864" y="385"/>
                    </a:cubicBezTo>
                    <a:cubicBezTo>
                      <a:pt x="864" y="384"/>
                      <a:pt x="864" y="384"/>
                      <a:pt x="864" y="384"/>
                    </a:cubicBezTo>
                    <a:cubicBezTo>
                      <a:pt x="889" y="365"/>
                      <a:pt x="897" y="344"/>
                      <a:pt x="899" y="311"/>
                    </a:cubicBezTo>
                    <a:cubicBezTo>
                      <a:pt x="900" y="288"/>
                      <a:pt x="900" y="265"/>
                      <a:pt x="890" y="244"/>
                    </a:cubicBezTo>
                    <a:cubicBezTo>
                      <a:pt x="874" y="208"/>
                      <a:pt x="840" y="173"/>
                      <a:pt x="799" y="173"/>
                    </a:cubicBezTo>
                    <a:cubicBezTo>
                      <a:pt x="799" y="173"/>
                      <a:pt x="799" y="173"/>
                      <a:pt x="799" y="173"/>
                    </a:cubicBezTo>
                    <a:cubicBezTo>
                      <a:pt x="799" y="173"/>
                      <a:pt x="799" y="173"/>
                      <a:pt x="799" y="173"/>
                    </a:cubicBezTo>
                    <a:moveTo>
                      <a:pt x="749" y="397"/>
                    </a:moveTo>
                    <a:cubicBezTo>
                      <a:pt x="749" y="397"/>
                      <a:pt x="749" y="397"/>
                      <a:pt x="749" y="397"/>
                    </a:cubicBezTo>
                    <a:cubicBezTo>
                      <a:pt x="693" y="385"/>
                      <a:pt x="674" y="325"/>
                      <a:pt x="674" y="274"/>
                    </a:cubicBezTo>
                    <a:cubicBezTo>
                      <a:pt x="674" y="247"/>
                      <a:pt x="683" y="222"/>
                      <a:pt x="699" y="201"/>
                    </a:cubicBezTo>
                    <a:cubicBezTo>
                      <a:pt x="719" y="177"/>
                      <a:pt x="744" y="169"/>
                      <a:pt x="774" y="163"/>
                    </a:cubicBezTo>
                    <a:cubicBezTo>
                      <a:pt x="775" y="163"/>
                      <a:pt x="775" y="163"/>
                      <a:pt x="775" y="163"/>
                    </a:cubicBezTo>
                    <a:cubicBezTo>
                      <a:pt x="778" y="163"/>
                      <a:pt x="779" y="168"/>
                      <a:pt x="776" y="169"/>
                    </a:cubicBezTo>
                    <a:cubicBezTo>
                      <a:pt x="746" y="178"/>
                      <a:pt x="720" y="184"/>
                      <a:pt x="701" y="211"/>
                    </a:cubicBezTo>
                    <a:cubicBezTo>
                      <a:pt x="684" y="233"/>
                      <a:pt x="680" y="259"/>
                      <a:pt x="681" y="287"/>
                    </a:cubicBezTo>
                    <a:cubicBezTo>
                      <a:pt x="682" y="333"/>
                      <a:pt x="701" y="382"/>
                      <a:pt x="750" y="395"/>
                    </a:cubicBezTo>
                    <a:cubicBezTo>
                      <a:pt x="751" y="395"/>
                      <a:pt x="751" y="397"/>
                      <a:pt x="749" y="397"/>
                    </a:cubicBezTo>
                    <a:moveTo>
                      <a:pt x="455" y="165"/>
                    </a:moveTo>
                    <a:cubicBezTo>
                      <a:pt x="456" y="161"/>
                      <a:pt x="459" y="157"/>
                      <a:pt x="464" y="155"/>
                    </a:cubicBezTo>
                    <a:cubicBezTo>
                      <a:pt x="465" y="155"/>
                      <a:pt x="466" y="155"/>
                      <a:pt x="467" y="155"/>
                    </a:cubicBezTo>
                    <a:cubicBezTo>
                      <a:pt x="474" y="155"/>
                      <a:pt x="479" y="163"/>
                      <a:pt x="479" y="169"/>
                    </a:cubicBezTo>
                    <a:cubicBezTo>
                      <a:pt x="480" y="170"/>
                      <a:pt x="480" y="172"/>
                      <a:pt x="479" y="173"/>
                    </a:cubicBezTo>
                    <a:cubicBezTo>
                      <a:pt x="477" y="177"/>
                      <a:pt x="474" y="179"/>
                      <a:pt x="469" y="180"/>
                    </a:cubicBezTo>
                    <a:cubicBezTo>
                      <a:pt x="469" y="180"/>
                      <a:pt x="469" y="180"/>
                      <a:pt x="469" y="181"/>
                    </a:cubicBezTo>
                    <a:cubicBezTo>
                      <a:pt x="469" y="181"/>
                      <a:pt x="469" y="181"/>
                      <a:pt x="469" y="181"/>
                    </a:cubicBezTo>
                    <a:cubicBezTo>
                      <a:pt x="469" y="181"/>
                      <a:pt x="468" y="182"/>
                      <a:pt x="468" y="182"/>
                    </a:cubicBezTo>
                    <a:cubicBezTo>
                      <a:pt x="466" y="184"/>
                      <a:pt x="464" y="185"/>
                      <a:pt x="462" y="185"/>
                    </a:cubicBezTo>
                    <a:cubicBezTo>
                      <a:pt x="460" y="185"/>
                      <a:pt x="459" y="185"/>
                      <a:pt x="457" y="184"/>
                    </a:cubicBezTo>
                    <a:cubicBezTo>
                      <a:pt x="456" y="182"/>
                      <a:pt x="453" y="181"/>
                      <a:pt x="452" y="178"/>
                    </a:cubicBezTo>
                    <a:cubicBezTo>
                      <a:pt x="451" y="177"/>
                      <a:pt x="449" y="176"/>
                      <a:pt x="449" y="174"/>
                    </a:cubicBezTo>
                    <a:cubicBezTo>
                      <a:pt x="447" y="170"/>
                      <a:pt x="451" y="166"/>
                      <a:pt x="455" y="165"/>
                    </a:cubicBezTo>
                    <a:moveTo>
                      <a:pt x="90" y="174"/>
                    </a:moveTo>
                    <a:cubicBezTo>
                      <a:pt x="96" y="154"/>
                      <a:pt x="112" y="142"/>
                      <a:pt x="133" y="139"/>
                    </a:cubicBezTo>
                    <a:cubicBezTo>
                      <a:pt x="134" y="139"/>
                      <a:pt x="134" y="139"/>
                      <a:pt x="134" y="139"/>
                    </a:cubicBezTo>
                    <a:cubicBezTo>
                      <a:pt x="137" y="139"/>
                      <a:pt x="138" y="145"/>
                      <a:pt x="135" y="146"/>
                    </a:cubicBezTo>
                    <a:cubicBezTo>
                      <a:pt x="126" y="148"/>
                      <a:pt x="118" y="151"/>
                      <a:pt x="111" y="156"/>
                    </a:cubicBezTo>
                    <a:cubicBezTo>
                      <a:pt x="116" y="153"/>
                      <a:pt x="122" y="152"/>
                      <a:pt x="127" y="151"/>
                    </a:cubicBezTo>
                    <a:cubicBezTo>
                      <a:pt x="133" y="152"/>
                      <a:pt x="133" y="152"/>
                      <a:pt x="133" y="152"/>
                    </a:cubicBezTo>
                    <a:cubicBezTo>
                      <a:pt x="148" y="158"/>
                      <a:pt x="160" y="171"/>
                      <a:pt x="163" y="189"/>
                    </a:cubicBezTo>
                    <a:cubicBezTo>
                      <a:pt x="163" y="190"/>
                      <a:pt x="163" y="192"/>
                      <a:pt x="163" y="193"/>
                    </a:cubicBezTo>
                    <a:cubicBezTo>
                      <a:pt x="163" y="195"/>
                      <a:pt x="163" y="198"/>
                      <a:pt x="162" y="201"/>
                    </a:cubicBezTo>
                    <a:cubicBezTo>
                      <a:pt x="168" y="193"/>
                      <a:pt x="168" y="182"/>
                      <a:pt x="166" y="173"/>
                    </a:cubicBezTo>
                    <a:cubicBezTo>
                      <a:pt x="162" y="160"/>
                      <a:pt x="151" y="150"/>
                      <a:pt x="139" y="145"/>
                    </a:cubicBezTo>
                    <a:cubicBezTo>
                      <a:pt x="137" y="144"/>
                      <a:pt x="138" y="143"/>
                      <a:pt x="139" y="143"/>
                    </a:cubicBezTo>
                    <a:cubicBezTo>
                      <a:pt x="139" y="143"/>
                      <a:pt x="139" y="143"/>
                      <a:pt x="140" y="143"/>
                    </a:cubicBezTo>
                    <a:cubicBezTo>
                      <a:pt x="158" y="151"/>
                      <a:pt x="176" y="170"/>
                      <a:pt x="171" y="192"/>
                    </a:cubicBezTo>
                    <a:cubicBezTo>
                      <a:pt x="168" y="203"/>
                      <a:pt x="162" y="210"/>
                      <a:pt x="155" y="214"/>
                    </a:cubicBezTo>
                    <a:cubicBezTo>
                      <a:pt x="155" y="215"/>
                      <a:pt x="154" y="215"/>
                      <a:pt x="154" y="216"/>
                    </a:cubicBezTo>
                    <a:cubicBezTo>
                      <a:pt x="148" y="222"/>
                      <a:pt x="141" y="224"/>
                      <a:pt x="134" y="224"/>
                    </a:cubicBezTo>
                    <a:cubicBezTo>
                      <a:pt x="130" y="224"/>
                      <a:pt x="127" y="224"/>
                      <a:pt x="123" y="223"/>
                    </a:cubicBezTo>
                    <a:cubicBezTo>
                      <a:pt x="116" y="223"/>
                      <a:pt x="106" y="222"/>
                      <a:pt x="99" y="218"/>
                    </a:cubicBezTo>
                    <a:cubicBezTo>
                      <a:pt x="93" y="215"/>
                      <a:pt x="89" y="208"/>
                      <a:pt x="87" y="201"/>
                    </a:cubicBezTo>
                    <a:cubicBezTo>
                      <a:pt x="86" y="199"/>
                      <a:pt x="85" y="197"/>
                      <a:pt x="85" y="194"/>
                    </a:cubicBezTo>
                    <a:cubicBezTo>
                      <a:pt x="85" y="188"/>
                      <a:pt x="88" y="182"/>
                      <a:pt x="90" y="175"/>
                    </a:cubicBezTo>
                    <a:cubicBezTo>
                      <a:pt x="90" y="175"/>
                      <a:pt x="90" y="175"/>
                      <a:pt x="90" y="174"/>
                    </a:cubicBezTo>
                    <a:moveTo>
                      <a:pt x="186" y="115"/>
                    </a:moveTo>
                    <a:cubicBezTo>
                      <a:pt x="186" y="115"/>
                      <a:pt x="186" y="115"/>
                      <a:pt x="186" y="114"/>
                    </a:cubicBezTo>
                    <a:cubicBezTo>
                      <a:pt x="189" y="96"/>
                      <a:pt x="201" y="83"/>
                      <a:pt x="217" y="83"/>
                    </a:cubicBezTo>
                    <a:cubicBezTo>
                      <a:pt x="221" y="83"/>
                      <a:pt x="226" y="84"/>
                      <a:pt x="231" y="86"/>
                    </a:cubicBezTo>
                    <a:cubicBezTo>
                      <a:pt x="231" y="86"/>
                      <a:pt x="231" y="86"/>
                      <a:pt x="231" y="86"/>
                    </a:cubicBezTo>
                    <a:cubicBezTo>
                      <a:pt x="254" y="86"/>
                      <a:pt x="263" y="106"/>
                      <a:pt x="262" y="125"/>
                    </a:cubicBezTo>
                    <a:cubicBezTo>
                      <a:pt x="260" y="139"/>
                      <a:pt x="253" y="153"/>
                      <a:pt x="241" y="160"/>
                    </a:cubicBezTo>
                    <a:cubicBezTo>
                      <a:pt x="235" y="165"/>
                      <a:pt x="227" y="169"/>
                      <a:pt x="218" y="169"/>
                    </a:cubicBezTo>
                    <a:cubicBezTo>
                      <a:pt x="217" y="169"/>
                      <a:pt x="216" y="169"/>
                      <a:pt x="215" y="169"/>
                    </a:cubicBezTo>
                    <a:cubicBezTo>
                      <a:pt x="195" y="165"/>
                      <a:pt x="182" y="148"/>
                      <a:pt x="182" y="130"/>
                    </a:cubicBezTo>
                    <a:cubicBezTo>
                      <a:pt x="182" y="128"/>
                      <a:pt x="183" y="126"/>
                      <a:pt x="183" y="123"/>
                    </a:cubicBezTo>
                    <a:cubicBezTo>
                      <a:pt x="184" y="121"/>
                      <a:pt x="185" y="118"/>
                      <a:pt x="186" y="115"/>
                    </a:cubicBezTo>
                    <a:moveTo>
                      <a:pt x="49" y="265"/>
                    </a:moveTo>
                    <a:cubicBezTo>
                      <a:pt x="48" y="265"/>
                      <a:pt x="48" y="265"/>
                      <a:pt x="48" y="264"/>
                    </a:cubicBezTo>
                    <a:cubicBezTo>
                      <a:pt x="29" y="218"/>
                      <a:pt x="17" y="164"/>
                      <a:pt x="38" y="116"/>
                    </a:cubicBezTo>
                    <a:cubicBezTo>
                      <a:pt x="57" y="73"/>
                      <a:pt x="93" y="39"/>
                      <a:pt x="136" y="22"/>
                    </a:cubicBezTo>
                    <a:cubicBezTo>
                      <a:pt x="137" y="22"/>
                      <a:pt x="137" y="22"/>
                      <a:pt x="137" y="22"/>
                    </a:cubicBezTo>
                    <a:cubicBezTo>
                      <a:pt x="139" y="22"/>
                      <a:pt x="139" y="25"/>
                      <a:pt x="138" y="25"/>
                    </a:cubicBezTo>
                    <a:cubicBezTo>
                      <a:pt x="113" y="37"/>
                      <a:pt x="94" y="47"/>
                      <a:pt x="77" y="68"/>
                    </a:cubicBezTo>
                    <a:cubicBezTo>
                      <a:pt x="62" y="87"/>
                      <a:pt x="47" y="104"/>
                      <a:pt x="39" y="126"/>
                    </a:cubicBezTo>
                    <a:cubicBezTo>
                      <a:pt x="24" y="170"/>
                      <a:pt x="36" y="221"/>
                      <a:pt x="50" y="264"/>
                    </a:cubicBezTo>
                    <a:cubicBezTo>
                      <a:pt x="50" y="264"/>
                      <a:pt x="49" y="265"/>
                      <a:pt x="49" y="265"/>
                    </a:cubicBezTo>
                    <a:moveTo>
                      <a:pt x="408" y="176"/>
                    </a:moveTo>
                    <a:cubicBezTo>
                      <a:pt x="408" y="176"/>
                      <a:pt x="407" y="175"/>
                      <a:pt x="407" y="175"/>
                    </a:cubicBezTo>
                    <a:cubicBezTo>
                      <a:pt x="396" y="125"/>
                      <a:pt x="362" y="84"/>
                      <a:pt x="321" y="57"/>
                    </a:cubicBezTo>
                    <a:cubicBezTo>
                      <a:pt x="301" y="43"/>
                      <a:pt x="280" y="33"/>
                      <a:pt x="257" y="26"/>
                    </a:cubicBezTo>
                    <a:cubicBezTo>
                      <a:pt x="236" y="19"/>
                      <a:pt x="215" y="20"/>
                      <a:pt x="193" y="15"/>
                    </a:cubicBezTo>
                    <a:cubicBezTo>
                      <a:pt x="192" y="15"/>
                      <a:pt x="193" y="13"/>
                      <a:pt x="194" y="13"/>
                    </a:cubicBezTo>
                    <a:cubicBezTo>
                      <a:pt x="194" y="13"/>
                      <a:pt x="194" y="13"/>
                      <a:pt x="194" y="13"/>
                    </a:cubicBezTo>
                    <a:cubicBezTo>
                      <a:pt x="210" y="15"/>
                      <a:pt x="225" y="14"/>
                      <a:pt x="241" y="17"/>
                    </a:cubicBezTo>
                    <a:cubicBezTo>
                      <a:pt x="252" y="20"/>
                      <a:pt x="264" y="23"/>
                      <a:pt x="274" y="27"/>
                    </a:cubicBezTo>
                    <a:cubicBezTo>
                      <a:pt x="299" y="36"/>
                      <a:pt x="320" y="50"/>
                      <a:pt x="341" y="66"/>
                    </a:cubicBezTo>
                    <a:cubicBezTo>
                      <a:pt x="374" y="91"/>
                      <a:pt x="402" y="134"/>
                      <a:pt x="410" y="174"/>
                    </a:cubicBezTo>
                    <a:cubicBezTo>
                      <a:pt x="410" y="175"/>
                      <a:pt x="409" y="176"/>
                      <a:pt x="408" y="176"/>
                    </a:cubicBezTo>
                    <a:moveTo>
                      <a:pt x="157" y="0"/>
                    </a:moveTo>
                    <a:cubicBezTo>
                      <a:pt x="146" y="0"/>
                      <a:pt x="135" y="1"/>
                      <a:pt x="125" y="4"/>
                    </a:cubicBezTo>
                    <a:cubicBezTo>
                      <a:pt x="119" y="5"/>
                      <a:pt x="113" y="8"/>
                      <a:pt x="107" y="10"/>
                    </a:cubicBezTo>
                    <a:cubicBezTo>
                      <a:pt x="100" y="14"/>
                      <a:pt x="93" y="19"/>
                      <a:pt x="86" y="25"/>
                    </a:cubicBezTo>
                    <a:cubicBezTo>
                      <a:pt x="53" y="53"/>
                      <a:pt x="29" y="91"/>
                      <a:pt x="17" y="133"/>
                    </a:cubicBezTo>
                    <a:cubicBezTo>
                      <a:pt x="31" y="133"/>
                      <a:pt x="31" y="133"/>
                      <a:pt x="31" y="133"/>
                    </a:cubicBezTo>
                    <a:cubicBezTo>
                      <a:pt x="31" y="133"/>
                      <a:pt x="31" y="133"/>
                      <a:pt x="31" y="133"/>
                    </a:cubicBezTo>
                    <a:cubicBezTo>
                      <a:pt x="28" y="141"/>
                      <a:pt x="26" y="149"/>
                      <a:pt x="25" y="158"/>
                    </a:cubicBezTo>
                    <a:cubicBezTo>
                      <a:pt x="24" y="165"/>
                      <a:pt x="23" y="173"/>
                      <a:pt x="23" y="181"/>
                    </a:cubicBezTo>
                    <a:cubicBezTo>
                      <a:pt x="23" y="190"/>
                      <a:pt x="24" y="200"/>
                      <a:pt x="26" y="210"/>
                    </a:cubicBezTo>
                    <a:cubicBezTo>
                      <a:pt x="26" y="210"/>
                      <a:pt x="26" y="210"/>
                      <a:pt x="26" y="210"/>
                    </a:cubicBezTo>
                    <a:cubicBezTo>
                      <a:pt x="7" y="212"/>
                      <a:pt x="7" y="212"/>
                      <a:pt x="7" y="212"/>
                    </a:cubicBezTo>
                    <a:cubicBezTo>
                      <a:pt x="4" y="214"/>
                      <a:pt x="2" y="215"/>
                      <a:pt x="0" y="216"/>
                    </a:cubicBezTo>
                    <a:cubicBezTo>
                      <a:pt x="0" y="216"/>
                      <a:pt x="0" y="216"/>
                      <a:pt x="0" y="216"/>
                    </a:cubicBezTo>
                    <a:cubicBezTo>
                      <a:pt x="5" y="228"/>
                      <a:pt x="5" y="228"/>
                      <a:pt x="5" y="228"/>
                    </a:cubicBezTo>
                    <a:cubicBezTo>
                      <a:pt x="6" y="228"/>
                      <a:pt x="6" y="228"/>
                      <a:pt x="6" y="228"/>
                    </a:cubicBezTo>
                    <a:cubicBezTo>
                      <a:pt x="8" y="225"/>
                      <a:pt x="11" y="224"/>
                      <a:pt x="14" y="223"/>
                    </a:cubicBezTo>
                    <a:cubicBezTo>
                      <a:pt x="14" y="223"/>
                      <a:pt x="15" y="223"/>
                      <a:pt x="15" y="223"/>
                    </a:cubicBezTo>
                    <a:cubicBezTo>
                      <a:pt x="18" y="223"/>
                      <a:pt x="19" y="228"/>
                      <a:pt x="15" y="229"/>
                    </a:cubicBezTo>
                    <a:cubicBezTo>
                      <a:pt x="13" y="229"/>
                      <a:pt x="12" y="231"/>
                      <a:pt x="9" y="232"/>
                    </a:cubicBezTo>
                    <a:cubicBezTo>
                      <a:pt x="9" y="232"/>
                      <a:pt x="8" y="233"/>
                      <a:pt x="8" y="233"/>
                    </a:cubicBezTo>
                    <a:cubicBezTo>
                      <a:pt x="8" y="233"/>
                      <a:pt x="8" y="232"/>
                      <a:pt x="7" y="232"/>
                    </a:cubicBezTo>
                    <a:cubicBezTo>
                      <a:pt x="8" y="234"/>
                      <a:pt x="8" y="234"/>
                      <a:pt x="8" y="234"/>
                    </a:cubicBezTo>
                    <a:cubicBezTo>
                      <a:pt x="10" y="238"/>
                      <a:pt x="10" y="238"/>
                      <a:pt x="10" y="238"/>
                    </a:cubicBezTo>
                    <a:cubicBezTo>
                      <a:pt x="12" y="236"/>
                      <a:pt x="14" y="234"/>
                      <a:pt x="17" y="233"/>
                    </a:cubicBezTo>
                    <a:cubicBezTo>
                      <a:pt x="17" y="232"/>
                      <a:pt x="18" y="232"/>
                      <a:pt x="18" y="232"/>
                    </a:cubicBezTo>
                    <a:cubicBezTo>
                      <a:pt x="20" y="232"/>
                      <a:pt x="22" y="235"/>
                      <a:pt x="20" y="236"/>
                    </a:cubicBezTo>
                    <a:cubicBezTo>
                      <a:pt x="17" y="238"/>
                      <a:pt x="15" y="241"/>
                      <a:pt x="12" y="243"/>
                    </a:cubicBezTo>
                    <a:cubicBezTo>
                      <a:pt x="12" y="244"/>
                      <a:pt x="11" y="244"/>
                      <a:pt x="10" y="244"/>
                    </a:cubicBezTo>
                    <a:cubicBezTo>
                      <a:pt x="10" y="244"/>
                      <a:pt x="10" y="244"/>
                      <a:pt x="10" y="244"/>
                    </a:cubicBezTo>
                    <a:cubicBezTo>
                      <a:pt x="8" y="246"/>
                      <a:pt x="6" y="248"/>
                      <a:pt x="4" y="250"/>
                    </a:cubicBezTo>
                    <a:cubicBezTo>
                      <a:pt x="4" y="250"/>
                      <a:pt x="4" y="250"/>
                      <a:pt x="4" y="250"/>
                    </a:cubicBezTo>
                    <a:cubicBezTo>
                      <a:pt x="13" y="268"/>
                      <a:pt x="13" y="268"/>
                      <a:pt x="13" y="268"/>
                    </a:cubicBezTo>
                    <a:cubicBezTo>
                      <a:pt x="19" y="287"/>
                      <a:pt x="28" y="305"/>
                      <a:pt x="39" y="321"/>
                    </a:cubicBezTo>
                    <a:cubicBezTo>
                      <a:pt x="51" y="338"/>
                      <a:pt x="69" y="353"/>
                      <a:pt x="85" y="365"/>
                    </a:cubicBezTo>
                    <a:cubicBezTo>
                      <a:pt x="98" y="374"/>
                      <a:pt x="110" y="385"/>
                      <a:pt x="124" y="391"/>
                    </a:cubicBezTo>
                    <a:cubicBezTo>
                      <a:pt x="139" y="399"/>
                      <a:pt x="157" y="405"/>
                      <a:pt x="172" y="412"/>
                    </a:cubicBezTo>
                    <a:cubicBezTo>
                      <a:pt x="187" y="415"/>
                      <a:pt x="204" y="422"/>
                      <a:pt x="219" y="422"/>
                    </a:cubicBezTo>
                    <a:cubicBezTo>
                      <a:pt x="239" y="422"/>
                      <a:pt x="259" y="418"/>
                      <a:pt x="277" y="411"/>
                    </a:cubicBezTo>
                    <a:cubicBezTo>
                      <a:pt x="296" y="405"/>
                      <a:pt x="316" y="395"/>
                      <a:pt x="337" y="393"/>
                    </a:cubicBezTo>
                    <a:cubicBezTo>
                      <a:pt x="341" y="392"/>
                      <a:pt x="344" y="392"/>
                      <a:pt x="348" y="392"/>
                    </a:cubicBezTo>
                    <a:cubicBezTo>
                      <a:pt x="364" y="392"/>
                      <a:pt x="380" y="396"/>
                      <a:pt x="396" y="399"/>
                    </a:cubicBezTo>
                    <a:cubicBezTo>
                      <a:pt x="429" y="402"/>
                      <a:pt x="465" y="406"/>
                      <a:pt x="499" y="409"/>
                    </a:cubicBezTo>
                    <a:cubicBezTo>
                      <a:pt x="537" y="412"/>
                      <a:pt x="572" y="420"/>
                      <a:pt x="610" y="425"/>
                    </a:cubicBezTo>
                    <a:cubicBezTo>
                      <a:pt x="610" y="425"/>
                      <a:pt x="610" y="425"/>
                      <a:pt x="610" y="425"/>
                    </a:cubicBezTo>
                    <a:cubicBezTo>
                      <a:pt x="610" y="426"/>
                      <a:pt x="610" y="426"/>
                      <a:pt x="610" y="426"/>
                    </a:cubicBezTo>
                    <a:cubicBezTo>
                      <a:pt x="610" y="426"/>
                      <a:pt x="610" y="426"/>
                      <a:pt x="610" y="426"/>
                    </a:cubicBezTo>
                    <a:cubicBezTo>
                      <a:pt x="641" y="440"/>
                      <a:pt x="665" y="464"/>
                      <a:pt x="694" y="480"/>
                    </a:cubicBezTo>
                    <a:cubicBezTo>
                      <a:pt x="728" y="501"/>
                      <a:pt x="772" y="503"/>
                      <a:pt x="812" y="504"/>
                    </a:cubicBezTo>
                    <a:cubicBezTo>
                      <a:pt x="815" y="504"/>
                      <a:pt x="817" y="504"/>
                      <a:pt x="819" y="504"/>
                    </a:cubicBezTo>
                    <a:cubicBezTo>
                      <a:pt x="840" y="504"/>
                      <a:pt x="861" y="502"/>
                      <a:pt x="879" y="491"/>
                    </a:cubicBezTo>
                    <a:cubicBezTo>
                      <a:pt x="886" y="488"/>
                      <a:pt x="892" y="485"/>
                      <a:pt x="897" y="480"/>
                    </a:cubicBezTo>
                    <a:cubicBezTo>
                      <a:pt x="890" y="485"/>
                      <a:pt x="882" y="489"/>
                      <a:pt x="874" y="492"/>
                    </a:cubicBezTo>
                    <a:cubicBezTo>
                      <a:pt x="858" y="498"/>
                      <a:pt x="841" y="500"/>
                      <a:pt x="824" y="500"/>
                    </a:cubicBezTo>
                    <a:cubicBezTo>
                      <a:pt x="809" y="500"/>
                      <a:pt x="794" y="498"/>
                      <a:pt x="780" y="497"/>
                    </a:cubicBezTo>
                    <a:cubicBezTo>
                      <a:pt x="751" y="494"/>
                      <a:pt x="724" y="488"/>
                      <a:pt x="699" y="474"/>
                    </a:cubicBezTo>
                    <a:cubicBezTo>
                      <a:pt x="671" y="459"/>
                      <a:pt x="646" y="439"/>
                      <a:pt x="619" y="422"/>
                    </a:cubicBezTo>
                    <a:cubicBezTo>
                      <a:pt x="588" y="419"/>
                      <a:pt x="558" y="412"/>
                      <a:pt x="527" y="409"/>
                    </a:cubicBezTo>
                    <a:cubicBezTo>
                      <a:pt x="496" y="405"/>
                      <a:pt x="466" y="402"/>
                      <a:pt x="435" y="399"/>
                    </a:cubicBezTo>
                    <a:cubicBezTo>
                      <a:pt x="409" y="397"/>
                      <a:pt x="382" y="389"/>
                      <a:pt x="356" y="389"/>
                    </a:cubicBezTo>
                    <a:cubicBezTo>
                      <a:pt x="352" y="389"/>
                      <a:pt x="348" y="389"/>
                      <a:pt x="344" y="390"/>
                    </a:cubicBezTo>
                    <a:cubicBezTo>
                      <a:pt x="313" y="393"/>
                      <a:pt x="286" y="410"/>
                      <a:pt x="257" y="416"/>
                    </a:cubicBezTo>
                    <a:cubicBezTo>
                      <a:pt x="248" y="418"/>
                      <a:pt x="240" y="418"/>
                      <a:pt x="231" y="418"/>
                    </a:cubicBezTo>
                    <a:cubicBezTo>
                      <a:pt x="189" y="418"/>
                      <a:pt x="144" y="400"/>
                      <a:pt x="111" y="377"/>
                    </a:cubicBezTo>
                    <a:cubicBezTo>
                      <a:pt x="92" y="363"/>
                      <a:pt x="72" y="347"/>
                      <a:pt x="55" y="330"/>
                    </a:cubicBezTo>
                    <a:cubicBezTo>
                      <a:pt x="37" y="310"/>
                      <a:pt x="26" y="286"/>
                      <a:pt x="17" y="260"/>
                    </a:cubicBezTo>
                    <a:cubicBezTo>
                      <a:pt x="17" y="259"/>
                      <a:pt x="18" y="258"/>
                      <a:pt x="19" y="258"/>
                    </a:cubicBezTo>
                    <a:cubicBezTo>
                      <a:pt x="20" y="258"/>
                      <a:pt x="20" y="258"/>
                      <a:pt x="21" y="259"/>
                    </a:cubicBezTo>
                    <a:cubicBezTo>
                      <a:pt x="38" y="305"/>
                      <a:pt x="59" y="329"/>
                      <a:pt x="96" y="355"/>
                    </a:cubicBezTo>
                    <a:cubicBezTo>
                      <a:pt x="116" y="370"/>
                      <a:pt x="136" y="380"/>
                      <a:pt x="159" y="390"/>
                    </a:cubicBezTo>
                    <a:cubicBezTo>
                      <a:pt x="180" y="398"/>
                      <a:pt x="205" y="408"/>
                      <a:pt x="228" y="408"/>
                    </a:cubicBezTo>
                    <a:cubicBezTo>
                      <a:pt x="231" y="408"/>
                      <a:pt x="233" y="408"/>
                      <a:pt x="236" y="408"/>
                    </a:cubicBezTo>
                    <a:cubicBezTo>
                      <a:pt x="262" y="406"/>
                      <a:pt x="286" y="395"/>
                      <a:pt x="311" y="386"/>
                    </a:cubicBezTo>
                    <a:cubicBezTo>
                      <a:pt x="326" y="381"/>
                      <a:pt x="340" y="379"/>
                      <a:pt x="355" y="379"/>
                    </a:cubicBezTo>
                    <a:cubicBezTo>
                      <a:pt x="364" y="379"/>
                      <a:pt x="373" y="380"/>
                      <a:pt x="382" y="381"/>
                    </a:cubicBezTo>
                    <a:cubicBezTo>
                      <a:pt x="411" y="386"/>
                      <a:pt x="440" y="389"/>
                      <a:pt x="468" y="392"/>
                    </a:cubicBezTo>
                    <a:cubicBezTo>
                      <a:pt x="519" y="397"/>
                      <a:pt x="570" y="404"/>
                      <a:pt x="621" y="412"/>
                    </a:cubicBezTo>
                    <a:cubicBezTo>
                      <a:pt x="625" y="412"/>
                      <a:pt x="626" y="416"/>
                      <a:pt x="625" y="419"/>
                    </a:cubicBezTo>
                    <a:cubicBezTo>
                      <a:pt x="650" y="430"/>
                      <a:pt x="670" y="449"/>
                      <a:pt x="693" y="463"/>
                    </a:cubicBezTo>
                    <a:cubicBezTo>
                      <a:pt x="717" y="478"/>
                      <a:pt x="743" y="486"/>
                      <a:pt x="771" y="489"/>
                    </a:cubicBezTo>
                    <a:cubicBezTo>
                      <a:pt x="787" y="491"/>
                      <a:pt x="805" y="493"/>
                      <a:pt x="822" y="493"/>
                    </a:cubicBezTo>
                    <a:cubicBezTo>
                      <a:pt x="836" y="493"/>
                      <a:pt x="849" y="492"/>
                      <a:pt x="862" y="489"/>
                    </a:cubicBezTo>
                    <a:cubicBezTo>
                      <a:pt x="892" y="481"/>
                      <a:pt x="918" y="459"/>
                      <a:pt x="939" y="437"/>
                    </a:cubicBezTo>
                    <a:cubicBezTo>
                      <a:pt x="955" y="420"/>
                      <a:pt x="968" y="403"/>
                      <a:pt x="976" y="382"/>
                    </a:cubicBezTo>
                    <a:cubicBezTo>
                      <a:pt x="978" y="373"/>
                      <a:pt x="979" y="365"/>
                      <a:pt x="980" y="356"/>
                    </a:cubicBezTo>
                    <a:cubicBezTo>
                      <a:pt x="981" y="343"/>
                      <a:pt x="981" y="330"/>
                      <a:pt x="980" y="318"/>
                    </a:cubicBezTo>
                    <a:cubicBezTo>
                      <a:pt x="979" y="289"/>
                      <a:pt x="977" y="259"/>
                      <a:pt x="965" y="231"/>
                    </a:cubicBezTo>
                    <a:cubicBezTo>
                      <a:pt x="949" y="192"/>
                      <a:pt x="917" y="163"/>
                      <a:pt x="888" y="134"/>
                    </a:cubicBezTo>
                    <a:cubicBezTo>
                      <a:pt x="887" y="135"/>
                      <a:pt x="887" y="135"/>
                      <a:pt x="887" y="135"/>
                    </a:cubicBezTo>
                    <a:cubicBezTo>
                      <a:pt x="864" y="123"/>
                      <a:pt x="839" y="112"/>
                      <a:pt x="814" y="107"/>
                    </a:cubicBezTo>
                    <a:cubicBezTo>
                      <a:pt x="777" y="99"/>
                      <a:pt x="739" y="91"/>
                      <a:pt x="702" y="85"/>
                    </a:cubicBezTo>
                    <a:cubicBezTo>
                      <a:pt x="616" y="69"/>
                      <a:pt x="529" y="61"/>
                      <a:pt x="443" y="45"/>
                    </a:cubicBezTo>
                    <a:cubicBezTo>
                      <a:pt x="363" y="33"/>
                      <a:pt x="284" y="14"/>
                      <a:pt x="204" y="4"/>
                    </a:cubicBezTo>
                    <a:cubicBezTo>
                      <a:pt x="188" y="2"/>
                      <a:pt x="172" y="0"/>
                      <a:pt x="157" y="0"/>
                    </a:cubicBezTo>
                  </a:path>
                </a:pathLst>
              </a:custGeom>
              <a:solidFill>
                <a:srgbClr val="6F686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101" name="Freeform 13">
                <a:extLst>
                  <a:ext uri="{FF2B5EF4-FFF2-40B4-BE49-F238E27FC236}">
                    <a16:creationId xmlns:a16="http://schemas.microsoft.com/office/drawing/2014/main" id="{744A6D60-ADC1-47EB-8253-2A402284E4B4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6782" y="1916"/>
                <a:ext cx="73" cy="59"/>
              </a:xfrm>
              <a:custGeom>
                <a:avLst/>
                <a:gdLst>
                  <a:gd name="T0" fmla="*/ 15 w 68"/>
                  <a:gd name="T1" fmla="*/ 1 h 56"/>
                  <a:gd name="T2" fmla="*/ 16 w 68"/>
                  <a:gd name="T3" fmla="*/ 4 h 56"/>
                  <a:gd name="T4" fmla="*/ 30 w 68"/>
                  <a:gd name="T5" fmla="*/ 18 h 56"/>
                  <a:gd name="T6" fmla="*/ 63 w 68"/>
                  <a:gd name="T7" fmla="*/ 43 h 56"/>
                  <a:gd name="T8" fmla="*/ 64 w 68"/>
                  <a:gd name="T9" fmla="*/ 50 h 56"/>
                  <a:gd name="T10" fmla="*/ 66 w 68"/>
                  <a:gd name="T11" fmla="*/ 51 h 56"/>
                  <a:gd name="T12" fmla="*/ 68 w 68"/>
                  <a:gd name="T13" fmla="*/ 50 h 56"/>
                  <a:gd name="T14" fmla="*/ 40 w 68"/>
                  <a:gd name="T15" fmla="*/ 21 h 56"/>
                  <a:gd name="T16" fmla="*/ 15 w 68"/>
                  <a:gd name="T17" fmla="*/ 1 h 56"/>
                  <a:gd name="T18" fmla="*/ 9 w 68"/>
                  <a:gd name="T19" fmla="*/ 0 h 56"/>
                  <a:gd name="T20" fmla="*/ 4 w 68"/>
                  <a:gd name="T21" fmla="*/ 11 h 56"/>
                  <a:gd name="T22" fmla="*/ 53 w 68"/>
                  <a:gd name="T23" fmla="*/ 52 h 56"/>
                  <a:gd name="T24" fmla="*/ 54 w 68"/>
                  <a:gd name="T25" fmla="*/ 53 h 56"/>
                  <a:gd name="T26" fmla="*/ 58 w 68"/>
                  <a:gd name="T27" fmla="*/ 55 h 56"/>
                  <a:gd name="T28" fmla="*/ 61 w 68"/>
                  <a:gd name="T29" fmla="*/ 54 h 56"/>
                  <a:gd name="T30" fmla="*/ 64 w 68"/>
                  <a:gd name="T31" fmla="*/ 56 h 56"/>
                  <a:gd name="T32" fmla="*/ 66 w 68"/>
                  <a:gd name="T33" fmla="*/ 55 h 56"/>
                  <a:gd name="T34" fmla="*/ 60 w 68"/>
                  <a:gd name="T35" fmla="*/ 51 h 56"/>
                  <a:gd name="T36" fmla="*/ 59 w 68"/>
                  <a:gd name="T37" fmla="*/ 50 h 56"/>
                  <a:gd name="T38" fmla="*/ 29 w 68"/>
                  <a:gd name="T39" fmla="*/ 27 h 56"/>
                  <a:gd name="T40" fmla="*/ 9 w 68"/>
                  <a:gd name="T41" fmla="*/ 4 h 56"/>
                  <a:gd name="T42" fmla="*/ 9 w 68"/>
                  <a:gd name="T43" fmla="*/ 0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68" h="56">
                    <a:moveTo>
                      <a:pt x="15" y="1"/>
                    </a:moveTo>
                    <a:cubicBezTo>
                      <a:pt x="15" y="2"/>
                      <a:pt x="16" y="3"/>
                      <a:pt x="16" y="4"/>
                    </a:cubicBezTo>
                    <a:cubicBezTo>
                      <a:pt x="19" y="10"/>
                      <a:pt x="26" y="14"/>
                      <a:pt x="30" y="18"/>
                    </a:cubicBezTo>
                    <a:cubicBezTo>
                      <a:pt x="41" y="27"/>
                      <a:pt x="50" y="38"/>
                      <a:pt x="63" y="43"/>
                    </a:cubicBezTo>
                    <a:cubicBezTo>
                      <a:pt x="67" y="44"/>
                      <a:pt x="66" y="48"/>
                      <a:pt x="64" y="50"/>
                    </a:cubicBezTo>
                    <a:cubicBezTo>
                      <a:pt x="65" y="50"/>
                      <a:pt x="66" y="51"/>
                      <a:pt x="66" y="51"/>
                    </a:cubicBezTo>
                    <a:cubicBezTo>
                      <a:pt x="67" y="51"/>
                      <a:pt x="67" y="51"/>
                      <a:pt x="68" y="50"/>
                    </a:cubicBezTo>
                    <a:cubicBezTo>
                      <a:pt x="66" y="37"/>
                      <a:pt x="50" y="28"/>
                      <a:pt x="40" y="21"/>
                    </a:cubicBezTo>
                    <a:cubicBezTo>
                      <a:pt x="34" y="16"/>
                      <a:pt x="24" y="2"/>
                      <a:pt x="15" y="1"/>
                    </a:cubicBezTo>
                    <a:moveTo>
                      <a:pt x="9" y="0"/>
                    </a:moveTo>
                    <a:cubicBezTo>
                      <a:pt x="4" y="1"/>
                      <a:pt x="0" y="7"/>
                      <a:pt x="4" y="11"/>
                    </a:cubicBezTo>
                    <a:cubicBezTo>
                      <a:pt x="18" y="28"/>
                      <a:pt x="38" y="37"/>
                      <a:pt x="53" y="52"/>
                    </a:cubicBezTo>
                    <a:cubicBezTo>
                      <a:pt x="53" y="53"/>
                      <a:pt x="54" y="53"/>
                      <a:pt x="54" y="53"/>
                    </a:cubicBezTo>
                    <a:cubicBezTo>
                      <a:pt x="55" y="55"/>
                      <a:pt x="57" y="55"/>
                      <a:pt x="58" y="55"/>
                    </a:cubicBezTo>
                    <a:cubicBezTo>
                      <a:pt x="59" y="55"/>
                      <a:pt x="60" y="55"/>
                      <a:pt x="61" y="54"/>
                    </a:cubicBezTo>
                    <a:cubicBezTo>
                      <a:pt x="62" y="55"/>
                      <a:pt x="63" y="56"/>
                      <a:pt x="64" y="56"/>
                    </a:cubicBezTo>
                    <a:cubicBezTo>
                      <a:pt x="65" y="56"/>
                      <a:pt x="65" y="56"/>
                      <a:pt x="66" y="55"/>
                    </a:cubicBezTo>
                    <a:cubicBezTo>
                      <a:pt x="64" y="55"/>
                      <a:pt x="61" y="53"/>
                      <a:pt x="60" y="51"/>
                    </a:cubicBezTo>
                    <a:cubicBezTo>
                      <a:pt x="59" y="51"/>
                      <a:pt x="59" y="50"/>
                      <a:pt x="59" y="50"/>
                    </a:cubicBezTo>
                    <a:cubicBezTo>
                      <a:pt x="47" y="46"/>
                      <a:pt x="38" y="35"/>
                      <a:pt x="29" y="27"/>
                    </a:cubicBezTo>
                    <a:cubicBezTo>
                      <a:pt x="22" y="20"/>
                      <a:pt x="12" y="14"/>
                      <a:pt x="9" y="4"/>
                    </a:cubicBezTo>
                    <a:cubicBezTo>
                      <a:pt x="9" y="3"/>
                      <a:pt x="9" y="2"/>
                      <a:pt x="9" y="0"/>
                    </a:cubicBezTo>
                  </a:path>
                </a:pathLst>
              </a:custGeom>
              <a:solidFill>
                <a:srgbClr val="EF827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102" name="Freeform 14">
                <a:extLst>
                  <a:ext uri="{FF2B5EF4-FFF2-40B4-BE49-F238E27FC236}">
                    <a16:creationId xmlns:a16="http://schemas.microsoft.com/office/drawing/2014/main" id="{39F7DB01-91C4-4CAB-9698-245880CC7B6A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6756" y="1823"/>
                <a:ext cx="15" cy="17"/>
              </a:xfrm>
              <a:custGeom>
                <a:avLst/>
                <a:gdLst>
                  <a:gd name="T0" fmla="*/ 11 w 14"/>
                  <a:gd name="T1" fmla="*/ 2 h 16"/>
                  <a:gd name="T2" fmla="*/ 11 w 14"/>
                  <a:gd name="T3" fmla="*/ 3 h 16"/>
                  <a:gd name="T4" fmla="*/ 14 w 14"/>
                  <a:gd name="T5" fmla="*/ 9 h 16"/>
                  <a:gd name="T6" fmla="*/ 12 w 14"/>
                  <a:gd name="T7" fmla="*/ 5 h 16"/>
                  <a:gd name="T8" fmla="*/ 12 w 14"/>
                  <a:gd name="T9" fmla="*/ 3 h 16"/>
                  <a:gd name="T10" fmla="*/ 11 w 14"/>
                  <a:gd name="T11" fmla="*/ 2 h 16"/>
                  <a:gd name="T12" fmla="*/ 7 w 14"/>
                  <a:gd name="T13" fmla="*/ 0 h 16"/>
                  <a:gd name="T14" fmla="*/ 3 w 14"/>
                  <a:gd name="T15" fmla="*/ 1 h 16"/>
                  <a:gd name="T16" fmla="*/ 2 w 14"/>
                  <a:gd name="T17" fmla="*/ 4 h 16"/>
                  <a:gd name="T18" fmla="*/ 2 w 14"/>
                  <a:gd name="T19" fmla="*/ 4 h 16"/>
                  <a:gd name="T20" fmla="*/ 2 w 14"/>
                  <a:gd name="T21" fmla="*/ 6 h 16"/>
                  <a:gd name="T22" fmla="*/ 2 w 14"/>
                  <a:gd name="T23" fmla="*/ 7 h 16"/>
                  <a:gd name="T24" fmla="*/ 2 w 14"/>
                  <a:gd name="T25" fmla="*/ 7 h 16"/>
                  <a:gd name="T26" fmla="*/ 1 w 14"/>
                  <a:gd name="T27" fmla="*/ 13 h 16"/>
                  <a:gd name="T28" fmla="*/ 6 w 14"/>
                  <a:gd name="T29" fmla="*/ 16 h 16"/>
                  <a:gd name="T30" fmla="*/ 6 w 14"/>
                  <a:gd name="T31" fmla="*/ 16 h 16"/>
                  <a:gd name="T32" fmla="*/ 9 w 14"/>
                  <a:gd name="T33" fmla="*/ 15 h 16"/>
                  <a:gd name="T34" fmla="*/ 12 w 14"/>
                  <a:gd name="T35" fmla="*/ 13 h 16"/>
                  <a:gd name="T36" fmla="*/ 13 w 14"/>
                  <a:gd name="T37" fmla="*/ 13 h 16"/>
                  <a:gd name="T38" fmla="*/ 7 w 14"/>
                  <a:gd name="T39" fmla="*/ 4 h 16"/>
                  <a:gd name="T40" fmla="*/ 7 w 14"/>
                  <a:gd name="T41" fmla="*/ 0 h 16"/>
                  <a:gd name="T42" fmla="*/ 7 w 14"/>
                  <a:gd name="T43" fmla="*/ 0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4" h="16">
                    <a:moveTo>
                      <a:pt x="11" y="2"/>
                    </a:moveTo>
                    <a:cubicBezTo>
                      <a:pt x="11" y="2"/>
                      <a:pt x="11" y="3"/>
                      <a:pt x="11" y="3"/>
                    </a:cubicBezTo>
                    <a:cubicBezTo>
                      <a:pt x="11" y="5"/>
                      <a:pt x="12" y="8"/>
                      <a:pt x="14" y="9"/>
                    </a:cubicBezTo>
                    <a:cubicBezTo>
                      <a:pt x="14" y="7"/>
                      <a:pt x="13" y="6"/>
                      <a:pt x="12" y="5"/>
                    </a:cubicBezTo>
                    <a:cubicBezTo>
                      <a:pt x="12" y="4"/>
                      <a:pt x="12" y="3"/>
                      <a:pt x="12" y="3"/>
                    </a:cubicBezTo>
                    <a:cubicBezTo>
                      <a:pt x="11" y="2"/>
                      <a:pt x="11" y="2"/>
                      <a:pt x="11" y="2"/>
                    </a:cubicBezTo>
                    <a:moveTo>
                      <a:pt x="7" y="0"/>
                    </a:moveTo>
                    <a:cubicBezTo>
                      <a:pt x="6" y="0"/>
                      <a:pt x="4" y="0"/>
                      <a:pt x="3" y="1"/>
                    </a:cubicBezTo>
                    <a:cubicBezTo>
                      <a:pt x="3" y="2"/>
                      <a:pt x="2" y="3"/>
                      <a:pt x="2" y="4"/>
                    </a:cubicBezTo>
                    <a:cubicBezTo>
                      <a:pt x="2" y="4"/>
                      <a:pt x="2" y="4"/>
                      <a:pt x="2" y="4"/>
                    </a:cubicBezTo>
                    <a:cubicBezTo>
                      <a:pt x="2" y="5"/>
                      <a:pt x="2" y="6"/>
                      <a:pt x="2" y="6"/>
                    </a:cubicBezTo>
                    <a:cubicBezTo>
                      <a:pt x="2" y="6"/>
                      <a:pt x="2" y="6"/>
                      <a:pt x="2" y="7"/>
                    </a:cubicBezTo>
                    <a:cubicBezTo>
                      <a:pt x="2" y="7"/>
                      <a:pt x="2" y="7"/>
                      <a:pt x="2" y="7"/>
                    </a:cubicBezTo>
                    <a:cubicBezTo>
                      <a:pt x="0" y="8"/>
                      <a:pt x="0" y="11"/>
                      <a:pt x="1" y="13"/>
                    </a:cubicBezTo>
                    <a:cubicBezTo>
                      <a:pt x="2" y="15"/>
                      <a:pt x="4" y="16"/>
                      <a:pt x="6" y="16"/>
                    </a:cubicBezTo>
                    <a:cubicBezTo>
                      <a:pt x="6" y="16"/>
                      <a:pt x="6" y="16"/>
                      <a:pt x="6" y="16"/>
                    </a:cubicBezTo>
                    <a:cubicBezTo>
                      <a:pt x="7" y="16"/>
                      <a:pt x="8" y="16"/>
                      <a:pt x="9" y="15"/>
                    </a:cubicBezTo>
                    <a:cubicBezTo>
                      <a:pt x="11" y="15"/>
                      <a:pt x="12" y="14"/>
                      <a:pt x="12" y="13"/>
                    </a:cubicBezTo>
                    <a:cubicBezTo>
                      <a:pt x="12" y="13"/>
                      <a:pt x="12" y="13"/>
                      <a:pt x="13" y="13"/>
                    </a:cubicBezTo>
                    <a:cubicBezTo>
                      <a:pt x="9" y="12"/>
                      <a:pt x="7" y="8"/>
                      <a:pt x="7" y="4"/>
                    </a:cubicBezTo>
                    <a:cubicBezTo>
                      <a:pt x="7" y="3"/>
                      <a:pt x="7" y="1"/>
                      <a:pt x="7" y="0"/>
                    </a:cubicBezTo>
                    <a:cubicBezTo>
                      <a:pt x="7" y="0"/>
                      <a:pt x="7" y="0"/>
                      <a:pt x="7" y="0"/>
                    </a:cubicBezTo>
                  </a:path>
                </a:pathLst>
              </a:custGeom>
              <a:solidFill>
                <a:srgbClr val="EF827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103" name="Freeform 15">
                <a:extLst>
                  <a:ext uri="{FF2B5EF4-FFF2-40B4-BE49-F238E27FC236}">
                    <a16:creationId xmlns:a16="http://schemas.microsoft.com/office/drawing/2014/main" id="{59B5193C-F359-45E7-88A0-93350F1E71B8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6668" y="1806"/>
                <a:ext cx="25" cy="19"/>
              </a:xfrm>
              <a:custGeom>
                <a:avLst/>
                <a:gdLst>
                  <a:gd name="T0" fmla="*/ 14 w 24"/>
                  <a:gd name="T1" fmla="*/ 1 h 18"/>
                  <a:gd name="T2" fmla="*/ 18 w 24"/>
                  <a:gd name="T3" fmla="*/ 8 h 18"/>
                  <a:gd name="T4" fmla="*/ 20 w 24"/>
                  <a:gd name="T5" fmla="*/ 8 h 18"/>
                  <a:gd name="T6" fmla="*/ 24 w 24"/>
                  <a:gd name="T7" fmla="*/ 7 h 18"/>
                  <a:gd name="T8" fmla="*/ 17 w 24"/>
                  <a:gd name="T9" fmla="*/ 2 h 18"/>
                  <a:gd name="T10" fmla="*/ 15 w 24"/>
                  <a:gd name="T11" fmla="*/ 2 h 18"/>
                  <a:gd name="T12" fmla="*/ 15 w 24"/>
                  <a:gd name="T13" fmla="*/ 2 h 18"/>
                  <a:gd name="T14" fmla="*/ 14 w 24"/>
                  <a:gd name="T15" fmla="*/ 2 h 18"/>
                  <a:gd name="T16" fmla="*/ 14 w 24"/>
                  <a:gd name="T17" fmla="*/ 1 h 18"/>
                  <a:gd name="T18" fmla="*/ 7 w 24"/>
                  <a:gd name="T19" fmla="*/ 10 h 18"/>
                  <a:gd name="T20" fmla="*/ 7 w 24"/>
                  <a:gd name="T21" fmla="*/ 10 h 18"/>
                  <a:gd name="T22" fmla="*/ 7 w 24"/>
                  <a:gd name="T23" fmla="*/ 10 h 18"/>
                  <a:gd name="T24" fmla="*/ 7 w 24"/>
                  <a:gd name="T25" fmla="*/ 10 h 18"/>
                  <a:gd name="T26" fmla="*/ 7 w 24"/>
                  <a:gd name="T27" fmla="*/ 10 h 18"/>
                  <a:gd name="T28" fmla="*/ 7 w 24"/>
                  <a:gd name="T29" fmla="*/ 10 h 18"/>
                  <a:gd name="T30" fmla="*/ 7 w 24"/>
                  <a:gd name="T31" fmla="*/ 10 h 18"/>
                  <a:gd name="T32" fmla="*/ 7 w 24"/>
                  <a:gd name="T33" fmla="*/ 10 h 18"/>
                  <a:gd name="T34" fmla="*/ 7 w 24"/>
                  <a:gd name="T35" fmla="*/ 10 h 18"/>
                  <a:gd name="T36" fmla="*/ 7 w 24"/>
                  <a:gd name="T37" fmla="*/ 10 h 18"/>
                  <a:gd name="T38" fmla="*/ 7 w 24"/>
                  <a:gd name="T39" fmla="*/ 10 h 18"/>
                  <a:gd name="T40" fmla="*/ 7 w 24"/>
                  <a:gd name="T41" fmla="*/ 10 h 18"/>
                  <a:gd name="T42" fmla="*/ 8 w 24"/>
                  <a:gd name="T43" fmla="*/ 0 h 18"/>
                  <a:gd name="T44" fmla="*/ 2 w 24"/>
                  <a:gd name="T45" fmla="*/ 9 h 18"/>
                  <a:gd name="T46" fmla="*/ 5 w 24"/>
                  <a:gd name="T47" fmla="*/ 13 h 18"/>
                  <a:gd name="T48" fmla="*/ 8 w 24"/>
                  <a:gd name="T49" fmla="*/ 15 h 18"/>
                  <a:gd name="T50" fmla="*/ 13 w 24"/>
                  <a:gd name="T51" fmla="*/ 18 h 18"/>
                  <a:gd name="T52" fmla="*/ 14 w 24"/>
                  <a:gd name="T53" fmla="*/ 18 h 18"/>
                  <a:gd name="T54" fmla="*/ 17 w 24"/>
                  <a:gd name="T55" fmla="*/ 18 h 18"/>
                  <a:gd name="T56" fmla="*/ 17 w 24"/>
                  <a:gd name="T57" fmla="*/ 18 h 18"/>
                  <a:gd name="T58" fmla="*/ 22 w 24"/>
                  <a:gd name="T59" fmla="*/ 16 h 18"/>
                  <a:gd name="T60" fmla="*/ 22 w 24"/>
                  <a:gd name="T61" fmla="*/ 16 h 18"/>
                  <a:gd name="T62" fmla="*/ 22 w 24"/>
                  <a:gd name="T63" fmla="*/ 15 h 18"/>
                  <a:gd name="T64" fmla="*/ 22 w 24"/>
                  <a:gd name="T65" fmla="*/ 15 h 18"/>
                  <a:gd name="T66" fmla="*/ 21 w 24"/>
                  <a:gd name="T67" fmla="*/ 15 h 18"/>
                  <a:gd name="T68" fmla="*/ 15 w 24"/>
                  <a:gd name="T69" fmla="*/ 13 h 18"/>
                  <a:gd name="T70" fmla="*/ 11 w 24"/>
                  <a:gd name="T71" fmla="*/ 10 h 18"/>
                  <a:gd name="T72" fmla="*/ 8 w 24"/>
                  <a:gd name="T73" fmla="*/ 0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24" h="18">
                    <a:moveTo>
                      <a:pt x="14" y="1"/>
                    </a:moveTo>
                    <a:cubicBezTo>
                      <a:pt x="14" y="4"/>
                      <a:pt x="16" y="6"/>
                      <a:pt x="18" y="8"/>
                    </a:cubicBezTo>
                    <a:cubicBezTo>
                      <a:pt x="19" y="8"/>
                      <a:pt x="20" y="8"/>
                      <a:pt x="20" y="8"/>
                    </a:cubicBezTo>
                    <a:cubicBezTo>
                      <a:pt x="22" y="8"/>
                      <a:pt x="23" y="8"/>
                      <a:pt x="24" y="7"/>
                    </a:cubicBezTo>
                    <a:cubicBezTo>
                      <a:pt x="23" y="4"/>
                      <a:pt x="20" y="2"/>
                      <a:pt x="17" y="2"/>
                    </a:cubicBezTo>
                    <a:cubicBezTo>
                      <a:pt x="16" y="2"/>
                      <a:pt x="16" y="2"/>
                      <a:pt x="15" y="2"/>
                    </a:cubicBezTo>
                    <a:cubicBezTo>
                      <a:pt x="15" y="2"/>
                      <a:pt x="15" y="2"/>
                      <a:pt x="15" y="2"/>
                    </a:cubicBezTo>
                    <a:cubicBezTo>
                      <a:pt x="15" y="2"/>
                      <a:pt x="15" y="2"/>
                      <a:pt x="14" y="2"/>
                    </a:cubicBezTo>
                    <a:cubicBezTo>
                      <a:pt x="14" y="2"/>
                      <a:pt x="14" y="2"/>
                      <a:pt x="14" y="1"/>
                    </a:cubicBezTo>
                    <a:moveTo>
                      <a:pt x="7" y="10"/>
                    </a:moveTo>
                    <a:cubicBezTo>
                      <a:pt x="7" y="10"/>
                      <a:pt x="7" y="10"/>
                      <a:pt x="7" y="10"/>
                    </a:cubicBezTo>
                    <a:cubicBezTo>
                      <a:pt x="7" y="10"/>
                      <a:pt x="7" y="10"/>
                      <a:pt x="7" y="10"/>
                    </a:cubicBezTo>
                    <a:cubicBezTo>
                      <a:pt x="7" y="10"/>
                      <a:pt x="7" y="10"/>
                      <a:pt x="7" y="10"/>
                    </a:cubicBezTo>
                    <a:moveTo>
                      <a:pt x="7" y="10"/>
                    </a:moveTo>
                    <a:cubicBezTo>
                      <a:pt x="7" y="10"/>
                      <a:pt x="7" y="10"/>
                      <a:pt x="7" y="10"/>
                    </a:cubicBezTo>
                    <a:cubicBezTo>
                      <a:pt x="7" y="10"/>
                      <a:pt x="7" y="10"/>
                      <a:pt x="7" y="10"/>
                    </a:cubicBezTo>
                    <a:cubicBezTo>
                      <a:pt x="7" y="10"/>
                      <a:pt x="7" y="10"/>
                      <a:pt x="7" y="10"/>
                    </a:cubicBezTo>
                    <a:cubicBezTo>
                      <a:pt x="7" y="10"/>
                      <a:pt x="7" y="10"/>
                      <a:pt x="7" y="10"/>
                    </a:cubicBezTo>
                    <a:moveTo>
                      <a:pt x="7" y="10"/>
                    </a:moveTo>
                    <a:cubicBezTo>
                      <a:pt x="7" y="10"/>
                      <a:pt x="7" y="10"/>
                      <a:pt x="7" y="10"/>
                    </a:cubicBezTo>
                    <a:cubicBezTo>
                      <a:pt x="7" y="10"/>
                      <a:pt x="7" y="10"/>
                      <a:pt x="7" y="10"/>
                    </a:cubicBezTo>
                    <a:moveTo>
                      <a:pt x="8" y="0"/>
                    </a:moveTo>
                    <a:cubicBezTo>
                      <a:pt x="4" y="1"/>
                      <a:pt x="0" y="5"/>
                      <a:pt x="2" y="9"/>
                    </a:cubicBezTo>
                    <a:cubicBezTo>
                      <a:pt x="2" y="11"/>
                      <a:pt x="4" y="12"/>
                      <a:pt x="5" y="13"/>
                    </a:cubicBezTo>
                    <a:cubicBezTo>
                      <a:pt x="6" y="14"/>
                      <a:pt x="7" y="14"/>
                      <a:pt x="8" y="15"/>
                    </a:cubicBezTo>
                    <a:cubicBezTo>
                      <a:pt x="9" y="17"/>
                      <a:pt x="11" y="18"/>
                      <a:pt x="13" y="18"/>
                    </a:cubicBezTo>
                    <a:cubicBezTo>
                      <a:pt x="13" y="18"/>
                      <a:pt x="13" y="18"/>
                      <a:pt x="14" y="18"/>
                    </a:cubicBezTo>
                    <a:cubicBezTo>
                      <a:pt x="15" y="18"/>
                      <a:pt x="16" y="18"/>
                      <a:pt x="17" y="18"/>
                    </a:cubicBezTo>
                    <a:cubicBezTo>
                      <a:pt x="17" y="18"/>
                      <a:pt x="17" y="18"/>
                      <a:pt x="17" y="18"/>
                    </a:cubicBezTo>
                    <a:cubicBezTo>
                      <a:pt x="19" y="18"/>
                      <a:pt x="21" y="17"/>
                      <a:pt x="22" y="16"/>
                    </a:cubicBezTo>
                    <a:cubicBezTo>
                      <a:pt x="22" y="16"/>
                      <a:pt x="22" y="16"/>
                      <a:pt x="22" y="16"/>
                    </a:cubicBezTo>
                    <a:cubicBezTo>
                      <a:pt x="22" y="15"/>
                      <a:pt x="22" y="15"/>
                      <a:pt x="22" y="15"/>
                    </a:cubicBezTo>
                    <a:cubicBezTo>
                      <a:pt x="22" y="15"/>
                      <a:pt x="22" y="15"/>
                      <a:pt x="22" y="15"/>
                    </a:cubicBezTo>
                    <a:cubicBezTo>
                      <a:pt x="21" y="15"/>
                      <a:pt x="21" y="15"/>
                      <a:pt x="21" y="15"/>
                    </a:cubicBezTo>
                    <a:cubicBezTo>
                      <a:pt x="19" y="15"/>
                      <a:pt x="16" y="14"/>
                      <a:pt x="15" y="13"/>
                    </a:cubicBezTo>
                    <a:cubicBezTo>
                      <a:pt x="14" y="12"/>
                      <a:pt x="12" y="11"/>
                      <a:pt x="11" y="10"/>
                    </a:cubicBezTo>
                    <a:cubicBezTo>
                      <a:pt x="9" y="7"/>
                      <a:pt x="8" y="4"/>
                      <a:pt x="8" y="0"/>
                    </a:cubicBezTo>
                  </a:path>
                </a:pathLst>
              </a:custGeom>
              <a:solidFill>
                <a:srgbClr val="EF827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104" name="Freeform 16">
                <a:extLst>
                  <a:ext uri="{FF2B5EF4-FFF2-40B4-BE49-F238E27FC236}">
                    <a16:creationId xmlns:a16="http://schemas.microsoft.com/office/drawing/2014/main" id="{EE2AAA59-A831-4E8A-BCFB-10CFE08B13E9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6665" y="1897"/>
                <a:ext cx="77" cy="68"/>
              </a:xfrm>
              <a:custGeom>
                <a:avLst/>
                <a:gdLst>
                  <a:gd name="T0" fmla="*/ 22 w 73"/>
                  <a:gd name="T1" fmla="*/ 2 h 64"/>
                  <a:gd name="T2" fmla="*/ 22 w 73"/>
                  <a:gd name="T3" fmla="*/ 2 h 64"/>
                  <a:gd name="T4" fmla="*/ 21 w 73"/>
                  <a:gd name="T5" fmla="*/ 2 h 64"/>
                  <a:gd name="T6" fmla="*/ 27 w 73"/>
                  <a:gd name="T7" fmla="*/ 11 h 64"/>
                  <a:gd name="T8" fmla="*/ 31 w 73"/>
                  <a:gd name="T9" fmla="*/ 16 h 64"/>
                  <a:gd name="T10" fmla="*/ 66 w 73"/>
                  <a:gd name="T11" fmla="*/ 48 h 64"/>
                  <a:gd name="T12" fmla="*/ 67 w 73"/>
                  <a:gd name="T13" fmla="*/ 54 h 64"/>
                  <a:gd name="T14" fmla="*/ 73 w 73"/>
                  <a:gd name="T15" fmla="*/ 51 h 64"/>
                  <a:gd name="T16" fmla="*/ 70 w 73"/>
                  <a:gd name="T17" fmla="*/ 43 h 64"/>
                  <a:gd name="T18" fmla="*/ 63 w 73"/>
                  <a:gd name="T19" fmla="*/ 31 h 64"/>
                  <a:gd name="T20" fmla="*/ 44 w 73"/>
                  <a:gd name="T21" fmla="*/ 12 h 64"/>
                  <a:gd name="T22" fmla="*/ 25 w 73"/>
                  <a:gd name="T23" fmla="*/ 2 h 64"/>
                  <a:gd name="T24" fmla="*/ 22 w 73"/>
                  <a:gd name="T25" fmla="*/ 2 h 64"/>
                  <a:gd name="T26" fmla="*/ 11 w 73"/>
                  <a:gd name="T27" fmla="*/ 0 h 64"/>
                  <a:gd name="T28" fmla="*/ 6 w 73"/>
                  <a:gd name="T29" fmla="*/ 14 h 64"/>
                  <a:gd name="T30" fmla="*/ 26 w 73"/>
                  <a:gd name="T31" fmla="*/ 30 h 64"/>
                  <a:gd name="T32" fmla="*/ 36 w 73"/>
                  <a:gd name="T33" fmla="*/ 38 h 64"/>
                  <a:gd name="T34" fmla="*/ 40 w 73"/>
                  <a:gd name="T35" fmla="*/ 45 h 64"/>
                  <a:gd name="T36" fmla="*/ 53 w 73"/>
                  <a:gd name="T37" fmla="*/ 58 h 64"/>
                  <a:gd name="T38" fmla="*/ 56 w 73"/>
                  <a:gd name="T39" fmla="*/ 59 h 64"/>
                  <a:gd name="T40" fmla="*/ 58 w 73"/>
                  <a:gd name="T41" fmla="*/ 59 h 64"/>
                  <a:gd name="T42" fmla="*/ 58 w 73"/>
                  <a:gd name="T43" fmla="*/ 59 h 64"/>
                  <a:gd name="T44" fmla="*/ 58 w 73"/>
                  <a:gd name="T45" fmla="*/ 59 h 64"/>
                  <a:gd name="T46" fmla="*/ 59 w 73"/>
                  <a:gd name="T47" fmla="*/ 60 h 64"/>
                  <a:gd name="T48" fmla="*/ 63 w 73"/>
                  <a:gd name="T49" fmla="*/ 64 h 64"/>
                  <a:gd name="T50" fmla="*/ 63 w 73"/>
                  <a:gd name="T51" fmla="*/ 63 h 64"/>
                  <a:gd name="T52" fmla="*/ 73 w 73"/>
                  <a:gd name="T53" fmla="*/ 58 h 64"/>
                  <a:gd name="T54" fmla="*/ 61 w 73"/>
                  <a:gd name="T55" fmla="*/ 59 h 64"/>
                  <a:gd name="T56" fmla="*/ 61 w 73"/>
                  <a:gd name="T57" fmla="*/ 59 h 64"/>
                  <a:gd name="T58" fmla="*/ 61 w 73"/>
                  <a:gd name="T59" fmla="*/ 56 h 64"/>
                  <a:gd name="T60" fmla="*/ 65 w 73"/>
                  <a:gd name="T61" fmla="*/ 54 h 64"/>
                  <a:gd name="T62" fmla="*/ 63 w 73"/>
                  <a:gd name="T63" fmla="*/ 54 h 64"/>
                  <a:gd name="T64" fmla="*/ 35 w 73"/>
                  <a:gd name="T65" fmla="*/ 29 h 64"/>
                  <a:gd name="T66" fmla="*/ 17 w 73"/>
                  <a:gd name="T67" fmla="*/ 6 h 64"/>
                  <a:gd name="T68" fmla="*/ 15 w 73"/>
                  <a:gd name="T69" fmla="*/ 1 h 64"/>
                  <a:gd name="T70" fmla="*/ 14 w 73"/>
                  <a:gd name="T71" fmla="*/ 1 h 64"/>
                  <a:gd name="T72" fmla="*/ 11 w 73"/>
                  <a:gd name="T73" fmla="*/ 0 h 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73" h="64">
                    <a:moveTo>
                      <a:pt x="22" y="2"/>
                    </a:moveTo>
                    <a:cubicBezTo>
                      <a:pt x="22" y="2"/>
                      <a:pt x="22" y="2"/>
                      <a:pt x="22" y="2"/>
                    </a:cubicBezTo>
                    <a:cubicBezTo>
                      <a:pt x="22" y="2"/>
                      <a:pt x="21" y="2"/>
                      <a:pt x="21" y="2"/>
                    </a:cubicBezTo>
                    <a:cubicBezTo>
                      <a:pt x="22" y="5"/>
                      <a:pt x="25" y="9"/>
                      <a:pt x="27" y="11"/>
                    </a:cubicBezTo>
                    <a:cubicBezTo>
                      <a:pt x="28" y="13"/>
                      <a:pt x="30" y="14"/>
                      <a:pt x="31" y="16"/>
                    </a:cubicBezTo>
                    <a:cubicBezTo>
                      <a:pt x="42" y="28"/>
                      <a:pt x="52" y="39"/>
                      <a:pt x="66" y="48"/>
                    </a:cubicBezTo>
                    <a:cubicBezTo>
                      <a:pt x="69" y="49"/>
                      <a:pt x="68" y="52"/>
                      <a:pt x="67" y="54"/>
                    </a:cubicBezTo>
                    <a:cubicBezTo>
                      <a:pt x="69" y="53"/>
                      <a:pt x="71" y="52"/>
                      <a:pt x="73" y="51"/>
                    </a:cubicBezTo>
                    <a:cubicBezTo>
                      <a:pt x="73" y="48"/>
                      <a:pt x="72" y="45"/>
                      <a:pt x="70" y="43"/>
                    </a:cubicBezTo>
                    <a:cubicBezTo>
                      <a:pt x="68" y="38"/>
                      <a:pt x="66" y="34"/>
                      <a:pt x="63" y="31"/>
                    </a:cubicBezTo>
                    <a:cubicBezTo>
                      <a:pt x="58" y="24"/>
                      <a:pt x="50" y="18"/>
                      <a:pt x="44" y="12"/>
                    </a:cubicBezTo>
                    <a:cubicBezTo>
                      <a:pt x="38" y="7"/>
                      <a:pt x="32" y="2"/>
                      <a:pt x="25" y="2"/>
                    </a:cubicBezTo>
                    <a:cubicBezTo>
                      <a:pt x="24" y="2"/>
                      <a:pt x="23" y="2"/>
                      <a:pt x="22" y="2"/>
                    </a:cubicBezTo>
                    <a:moveTo>
                      <a:pt x="11" y="0"/>
                    </a:moveTo>
                    <a:cubicBezTo>
                      <a:pt x="5" y="0"/>
                      <a:pt x="0" y="9"/>
                      <a:pt x="6" y="14"/>
                    </a:cubicBezTo>
                    <a:cubicBezTo>
                      <a:pt x="13" y="19"/>
                      <a:pt x="20" y="25"/>
                      <a:pt x="26" y="30"/>
                    </a:cubicBezTo>
                    <a:cubicBezTo>
                      <a:pt x="29" y="33"/>
                      <a:pt x="32" y="36"/>
                      <a:pt x="36" y="38"/>
                    </a:cubicBezTo>
                    <a:cubicBezTo>
                      <a:pt x="37" y="41"/>
                      <a:pt x="39" y="43"/>
                      <a:pt x="40" y="45"/>
                    </a:cubicBezTo>
                    <a:cubicBezTo>
                      <a:pt x="44" y="50"/>
                      <a:pt x="48" y="55"/>
                      <a:pt x="53" y="58"/>
                    </a:cubicBezTo>
                    <a:cubicBezTo>
                      <a:pt x="54" y="59"/>
                      <a:pt x="55" y="59"/>
                      <a:pt x="56" y="59"/>
                    </a:cubicBezTo>
                    <a:cubicBezTo>
                      <a:pt x="57" y="59"/>
                      <a:pt x="58" y="59"/>
                      <a:pt x="58" y="59"/>
                    </a:cubicBezTo>
                    <a:cubicBezTo>
                      <a:pt x="58" y="59"/>
                      <a:pt x="58" y="59"/>
                      <a:pt x="58" y="59"/>
                    </a:cubicBezTo>
                    <a:cubicBezTo>
                      <a:pt x="58" y="59"/>
                      <a:pt x="58" y="59"/>
                      <a:pt x="58" y="59"/>
                    </a:cubicBezTo>
                    <a:cubicBezTo>
                      <a:pt x="58" y="60"/>
                      <a:pt x="58" y="60"/>
                      <a:pt x="59" y="60"/>
                    </a:cubicBezTo>
                    <a:cubicBezTo>
                      <a:pt x="59" y="62"/>
                      <a:pt x="61" y="64"/>
                      <a:pt x="63" y="64"/>
                    </a:cubicBezTo>
                    <a:cubicBezTo>
                      <a:pt x="63" y="64"/>
                      <a:pt x="63" y="63"/>
                      <a:pt x="63" y="63"/>
                    </a:cubicBezTo>
                    <a:cubicBezTo>
                      <a:pt x="68" y="63"/>
                      <a:pt x="71" y="61"/>
                      <a:pt x="73" y="58"/>
                    </a:cubicBezTo>
                    <a:cubicBezTo>
                      <a:pt x="69" y="58"/>
                      <a:pt x="65" y="58"/>
                      <a:pt x="61" y="59"/>
                    </a:cubicBezTo>
                    <a:cubicBezTo>
                      <a:pt x="61" y="59"/>
                      <a:pt x="61" y="59"/>
                      <a:pt x="61" y="59"/>
                    </a:cubicBezTo>
                    <a:cubicBezTo>
                      <a:pt x="60" y="59"/>
                      <a:pt x="59" y="57"/>
                      <a:pt x="61" y="56"/>
                    </a:cubicBezTo>
                    <a:cubicBezTo>
                      <a:pt x="62" y="55"/>
                      <a:pt x="63" y="55"/>
                      <a:pt x="65" y="54"/>
                    </a:cubicBezTo>
                    <a:cubicBezTo>
                      <a:pt x="64" y="54"/>
                      <a:pt x="64" y="54"/>
                      <a:pt x="63" y="54"/>
                    </a:cubicBezTo>
                    <a:cubicBezTo>
                      <a:pt x="53" y="48"/>
                      <a:pt x="43" y="39"/>
                      <a:pt x="35" y="29"/>
                    </a:cubicBezTo>
                    <a:cubicBezTo>
                      <a:pt x="29" y="22"/>
                      <a:pt x="21" y="15"/>
                      <a:pt x="17" y="6"/>
                    </a:cubicBezTo>
                    <a:cubicBezTo>
                      <a:pt x="16" y="4"/>
                      <a:pt x="15" y="3"/>
                      <a:pt x="15" y="1"/>
                    </a:cubicBezTo>
                    <a:cubicBezTo>
                      <a:pt x="15" y="1"/>
                      <a:pt x="14" y="1"/>
                      <a:pt x="14" y="1"/>
                    </a:cubicBezTo>
                    <a:cubicBezTo>
                      <a:pt x="13" y="0"/>
                      <a:pt x="12" y="0"/>
                      <a:pt x="11" y="0"/>
                    </a:cubicBezTo>
                  </a:path>
                </a:pathLst>
              </a:custGeom>
              <a:solidFill>
                <a:srgbClr val="EF827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105" name="Freeform 17">
                <a:extLst>
                  <a:ext uri="{FF2B5EF4-FFF2-40B4-BE49-F238E27FC236}">
                    <a16:creationId xmlns:a16="http://schemas.microsoft.com/office/drawing/2014/main" id="{8205AE93-5BB2-47B7-9BED-E46E95034C61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6834" y="1836"/>
                <a:ext cx="23" cy="21"/>
              </a:xfrm>
              <a:custGeom>
                <a:avLst/>
                <a:gdLst>
                  <a:gd name="T0" fmla="*/ 11 w 21"/>
                  <a:gd name="T1" fmla="*/ 0 h 20"/>
                  <a:gd name="T2" fmla="*/ 15 w 21"/>
                  <a:gd name="T3" fmla="*/ 8 h 20"/>
                  <a:gd name="T4" fmla="*/ 16 w 21"/>
                  <a:gd name="T5" fmla="*/ 8 h 20"/>
                  <a:gd name="T6" fmla="*/ 19 w 21"/>
                  <a:gd name="T7" fmla="*/ 8 h 20"/>
                  <a:gd name="T8" fmla="*/ 19 w 21"/>
                  <a:gd name="T9" fmla="*/ 7 h 20"/>
                  <a:gd name="T10" fmla="*/ 18 w 21"/>
                  <a:gd name="T11" fmla="*/ 6 h 20"/>
                  <a:gd name="T12" fmla="*/ 16 w 21"/>
                  <a:gd name="T13" fmla="*/ 4 h 20"/>
                  <a:gd name="T14" fmla="*/ 13 w 21"/>
                  <a:gd name="T15" fmla="*/ 1 h 20"/>
                  <a:gd name="T16" fmla="*/ 11 w 21"/>
                  <a:gd name="T17" fmla="*/ 0 h 20"/>
                  <a:gd name="T18" fmla="*/ 8 w 21"/>
                  <a:gd name="T19" fmla="*/ 12 h 20"/>
                  <a:gd name="T20" fmla="*/ 8 w 21"/>
                  <a:gd name="T21" fmla="*/ 11 h 20"/>
                  <a:gd name="T22" fmla="*/ 8 w 21"/>
                  <a:gd name="T23" fmla="*/ 11 h 20"/>
                  <a:gd name="T24" fmla="*/ 8 w 21"/>
                  <a:gd name="T25" fmla="*/ 12 h 20"/>
                  <a:gd name="T26" fmla="*/ 7 w 21"/>
                  <a:gd name="T27" fmla="*/ 0 h 20"/>
                  <a:gd name="T28" fmla="*/ 1 w 21"/>
                  <a:gd name="T29" fmla="*/ 5 h 20"/>
                  <a:gd name="T30" fmla="*/ 3 w 21"/>
                  <a:gd name="T31" fmla="*/ 13 h 20"/>
                  <a:gd name="T32" fmla="*/ 6 w 21"/>
                  <a:gd name="T33" fmla="*/ 16 h 20"/>
                  <a:gd name="T34" fmla="*/ 9 w 21"/>
                  <a:gd name="T35" fmla="*/ 19 h 20"/>
                  <a:gd name="T36" fmla="*/ 13 w 21"/>
                  <a:gd name="T37" fmla="*/ 20 h 20"/>
                  <a:gd name="T38" fmla="*/ 15 w 21"/>
                  <a:gd name="T39" fmla="*/ 20 h 20"/>
                  <a:gd name="T40" fmla="*/ 19 w 21"/>
                  <a:gd name="T41" fmla="*/ 19 h 20"/>
                  <a:gd name="T42" fmla="*/ 21 w 21"/>
                  <a:gd name="T43" fmla="*/ 12 h 20"/>
                  <a:gd name="T44" fmla="*/ 21 w 21"/>
                  <a:gd name="T45" fmla="*/ 12 h 20"/>
                  <a:gd name="T46" fmla="*/ 18 w 21"/>
                  <a:gd name="T47" fmla="*/ 13 h 20"/>
                  <a:gd name="T48" fmla="*/ 12 w 21"/>
                  <a:gd name="T49" fmla="*/ 11 h 20"/>
                  <a:gd name="T50" fmla="*/ 7 w 21"/>
                  <a:gd name="T51" fmla="*/ 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1" h="20">
                    <a:moveTo>
                      <a:pt x="11" y="0"/>
                    </a:moveTo>
                    <a:cubicBezTo>
                      <a:pt x="10" y="3"/>
                      <a:pt x="12" y="7"/>
                      <a:pt x="15" y="8"/>
                    </a:cubicBezTo>
                    <a:cubicBezTo>
                      <a:pt x="15" y="8"/>
                      <a:pt x="16" y="8"/>
                      <a:pt x="16" y="8"/>
                    </a:cubicBezTo>
                    <a:cubicBezTo>
                      <a:pt x="17" y="8"/>
                      <a:pt x="18" y="8"/>
                      <a:pt x="19" y="8"/>
                    </a:cubicBezTo>
                    <a:cubicBezTo>
                      <a:pt x="19" y="8"/>
                      <a:pt x="19" y="7"/>
                      <a:pt x="19" y="7"/>
                    </a:cubicBezTo>
                    <a:cubicBezTo>
                      <a:pt x="18" y="7"/>
                      <a:pt x="18" y="6"/>
                      <a:pt x="18" y="6"/>
                    </a:cubicBezTo>
                    <a:cubicBezTo>
                      <a:pt x="17" y="5"/>
                      <a:pt x="17" y="4"/>
                      <a:pt x="16" y="4"/>
                    </a:cubicBezTo>
                    <a:cubicBezTo>
                      <a:pt x="15" y="3"/>
                      <a:pt x="14" y="2"/>
                      <a:pt x="13" y="1"/>
                    </a:cubicBezTo>
                    <a:cubicBezTo>
                      <a:pt x="12" y="1"/>
                      <a:pt x="12" y="1"/>
                      <a:pt x="11" y="0"/>
                    </a:cubicBezTo>
                    <a:moveTo>
                      <a:pt x="8" y="12"/>
                    </a:moveTo>
                    <a:cubicBezTo>
                      <a:pt x="8" y="11"/>
                      <a:pt x="8" y="11"/>
                      <a:pt x="8" y="11"/>
                    </a:cubicBezTo>
                    <a:cubicBezTo>
                      <a:pt x="8" y="11"/>
                      <a:pt x="8" y="11"/>
                      <a:pt x="8" y="11"/>
                    </a:cubicBezTo>
                    <a:cubicBezTo>
                      <a:pt x="8" y="11"/>
                      <a:pt x="8" y="11"/>
                      <a:pt x="8" y="12"/>
                    </a:cubicBezTo>
                    <a:moveTo>
                      <a:pt x="7" y="0"/>
                    </a:moveTo>
                    <a:cubicBezTo>
                      <a:pt x="4" y="0"/>
                      <a:pt x="1" y="2"/>
                      <a:pt x="1" y="5"/>
                    </a:cubicBezTo>
                    <a:cubicBezTo>
                      <a:pt x="0" y="8"/>
                      <a:pt x="1" y="11"/>
                      <a:pt x="3" y="13"/>
                    </a:cubicBezTo>
                    <a:cubicBezTo>
                      <a:pt x="4" y="14"/>
                      <a:pt x="5" y="15"/>
                      <a:pt x="6" y="16"/>
                    </a:cubicBezTo>
                    <a:cubicBezTo>
                      <a:pt x="7" y="17"/>
                      <a:pt x="8" y="18"/>
                      <a:pt x="9" y="19"/>
                    </a:cubicBezTo>
                    <a:cubicBezTo>
                      <a:pt x="10" y="19"/>
                      <a:pt x="12" y="20"/>
                      <a:pt x="13" y="20"/>
                    </a:cubicBezTo>
                    <a:cubicBezTo>
                      <a:pt x="13" y="20"/>
                      <a:pt x="14" y="20"/>
                      <a:pt x="15" y="20"/>
                    </a:cubicBezTo>
                    <a:cubicBezTo>
                      <a:pt x="16" y="20"/>
                      <a:pt x="18" y="20"/>
                      <a:pt x="19" y="19"/>
                    </a:cubicBezTo>
                    <a:cubicBezTo>
                      <a:pt x="21" y="17"/>
                      <a:pt x="21" y="15"/>
                      <a:pt x="21" y="12"/>
                    </a:cubicBezTo>
                    <a:cubicBezTo>
                      <a:pt x="21" y="12"/>
                      <a:pt x="21" y="12"/>
                      <a:pt x="21" y="12"/>
                    </a:cubicBezTo>
                    <a:cubicBezTo>
                      <a:pt x="20" y="12"/>
                      <a:pt x="19" y="13"/>
                      <a:pt x="18" y="13"/>
                    </a:cubicBezTo>
                    <a:cubicBezTo>
                      <a:pt x="16" y="13"/>
                      <a:pt x="14" y="12"/>
                      <a:pt x="12" y="11"/>
                    </a:cubicBezTo>
                    <a:cubicBezTo>
                      <a:pt x="8" y="9"/>
                      <a:pt x="6" y="4"/>
                      <a:pt x="7" y="0"/>
                    </a:cubicBezTo>
                  </a:path>
                </a:pathLst>
              </a:custGeom>
              <a:solidFill>
                <a:srgbClr val="EF827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106" name="Freeform 18">
                <a:extLst>
                  <a:ext uri="{FF2B5EF4-FFF2-40B4-BE49-F238E27FC236}">
                    <a16:creationId xmlns:a16="http://schemas.microsoft.com/office/drawing/2014/main" id="{578EC07E-E6B7-40B9-B1F0-E94146B4A25F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212" y="1904"/>
                <a:ext cx="646" cy="174"/>
              </a:xfrm>
              <a:custGeom>
                <a:avLst/>
                <a:gdLst>
                  <a:gd name="T0" fmla="*/ 2 w 609"/>
                  <a:gd name="T1" fmla="*/ 0 h 164"/>
                  <a:gd name="T2" fmla="*/ 0 w 609"/>
                  <a:gd name="T3" fmla="*/ 2 h 164"/>
                  <a:gd name="T4" fmla="*/ 38 w 609"/>
                  <a:gd name="T5" fmla="*/ 72 h 164"/>
                  <a:gd name="T6" fmla="*/ 94 w 609"/>
                  <a:gd name="T7" fmla="*/ 119 h 164"/>
                  <a:gd name="T8" fmla="*/ 214 w 609"/>
                  <a:gd name="T9" fmla="*/ 160 h 164"/>
                  <a:gd name="T10" fmla="*/ 240 w 609"/>
                  <a:gd name="T11" fmla="*/ 158 h 164"/>
                  <a:gd name="T12" fmla="*/ 327 w 609"/>
                  <a:gd name="T13" fmla="*/ 132 h 164"/>
                  <a:gd name="T14" fmla="*/ 339 w 609"/>
                  <a:gd name="T15" fmla="*/ 131 h 164"/>
                  <a:gd name="T16" fmla="*/ 418 w 609"/>
                  <a:gd name="T17" fmla="*/ 141 h 164"/>
                  <a:gd name="T18" fmla="*/ 510 w 609"/>
                  <a:gd name="T19" fmla="*/ 151 h 164"/>
                  <a:gd name="T20" fmla="*/ 602 w 609"/>
                  <a:gd name="T21" fmla="*/ 164 h 164"/>
                  <a:gd name="T22" fmla="*/ 598 w 609"/>
                  <a:gd name="T23" fmla="*/ 162 h 164"/>
                  <a:gd name="T24" fmla="*/ 599 w 609"/>
                  <a:gd name="T25" fmla="*/ 158 h 164"/>
                  <a:gd name="T26" fmla="*/ 600 w 609"/>
                  <a:gd name="T27" fmla="*/ 158 h 164"/>
                  <a:gd name="T28" fmla="*/ 608 w 609"/>
                  <a:gd name="T29" fmla="*/ 161 h 164"/>
                  <a:gd name="T30" fmla="*/ 604 w 609"/>
                  <a:gd name="T31" fmla="*/ 154 h 164"/>
                  <a:gd name="T32" fmla="*/ 451 w 609"/>
                  <a:gd name="T33" fmla="*/ 134 h 164"/>
                  <a:gd name="T34" fmla="*/ 365 w 609"/>
                  <a:gd name="T35" fmla="*/ 123 h 164"/>
                  <a:gd name="T36" fmla="*/ 338 w 609"/>
                  <a:gd name="T37" fmla="*/ 121 h 164"/>
                  <a:gd name="T38" fmla="*/ 294 w 609"/>
                  <a:gd name="T39" fmla="*/ 128 h 164"/>
                  <a:gd name="T40" fmla="*/ 219 w 609"/>
                  <a:gd name="T41" fmla="*/ 150 h 164"/>
                  <a:gd name="T42" fmla="*/ 211 w 609"/>
                  <a:gd name="T43" fmla="*/ 150 h 164"/>
                  <a:gd name="T44" fmla="*/ 142 w 609"/>
                  <a:gd name="T45" fmla="*/ 132 h 164"/>
                  <a:gd name="T46" fmla="*/ 79 w 609"/>
                  <a:gd name="T47" fmla="*/ 97 h 164"/>
                  <a:gd name="T48" fmla="*/ 4 w 609"/>
                  <a:gd name="T49" fmla="*/ 1 h 164"/>
                  <a:gd name="T50" fmla="*/ 2 w 609"/>
                  <a:gd name="T51" fmla="*/ 0 h 1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609" h="164">
                    <a:moveTo>
                      <a:pt x="2" y="0"/>
                    </a:moveTo>
                    <a:cubicBezTo>
                      <a:pt x="1" y="0"/>
                      <a:pt x="0" y="1"/>
                      <a:pt x="0" y="2"/>
                    </a:cubicBezTo>
                    <a:cubicBezTo>
                      <a:pt x="9" y="28"/>
                      <a:pt x="20" y="52"/>
                      <a:pt x="38" y="72"/>
                    </a:cubicBezTo>
                    <a:cubicBezTo>
                      <a:pt x="55" y="89"/>
                      <a:pt x="75" y="105"/>
                      <a:pt x="94" y="119"/>
                    </a:cubicBezTo>
                    <a:cubicBezTo>
                      <a:pt x="127" y="142"/>
                      <a:pt x="172" y="160"/>
                      <a:pt x="214" y="160"/>
                    </a:cubicBezTo>
                    <a:cubicBezTo>
                      <a:pt x="223" y="160"/>
                      <a:pt x="231" y="160"/>
                      <a:pt x="240" y="158"/>
                    </a:cubicBezTo>
                    <a:cubicBezTo>
                      <a:pt x="269" y="152"/>
                      <a:pt x="296" y="135"/>
                      <a:pt x="327" y="132"/>
                    </a:cubicBezTo>
                    <a:cubicBezTo>
                      <a:pt x="331" y="131"/>
                      <a:pt x="335" y="131"/>
                      <a:pt x="339" y="131"/>
                    </a:cubicBezTo>
                    <a:cubicBezTo>
                      <a:pt x="365" y="131"/>
                      <a:pt x="392" y="139"/>
                      <a:pt x="418" y="141"/>
                    </a:cubicBezTo>
                    <a:cubicBezTo>
                      <a:pt x="449" y="144"/>
                      <a:pt x="479" y="147"/>
                      <a:pt x="510" y="151"/>
                    </a:cubicBezTo>
                    <a:cubicBezTo>
                      <a:pt x="541" y="154"/>
                      <a:pt x="571" y="161"/>
                      <a:pt x="602" y="164"/>
                    </a:cubicBezTo>
                    <a:cubicBezTo>
                      <a:pt x="601" y="163"/>
                      <a:pt x="600" y="162"/>
                      <a:pt x="598" y="162"/>
                    </a:cubicBezTo>
                    <a:cubicBezTo>
                      <a:pt x="596" y="160"/>
                      <a:pt x="597" y="158"/>
                      <a:pt x="599" y="158"/>
                    </a:cubicBezTo>
                    <a:cubicBezTo>
                      <a:pt x="600" y="158"/>
                      <a:pt x="600" y="158"/>
                      <a:pt x="600" y="158"/>
                    </a:cubicBezTo>
                    <a:cubicBezTo>
                      <a:pt x="603" y="159"/>
                      <a:pt x="605" y="160"/>
                      <a:pt x="608" y="161"/>
                    </a:cubicBezTo>
                    <a:cubicBezTo>
                      <a:pt x="609" y="158"/>
                      <a:pt x="608" y="154"/>
                      <a:pt x="604" y="154"/>
                    </a:cubicBezTo>
                    <a:cubicBezTo>
                      <a:pt x="553" y="146"/>
                      <a:pt x="502" y="139"/>
                      <a:pt x="451" y="134"/>
                    </a:cubicBezTo>
                    <a:cubicBezTo>
                      <a:pt x="423" y="131"/>
                      <a:pt x="394" y="128"/>
                      <a:pt x="365" y="123"/>
                    </a:cubicBezTo>
                    <a:cubicBezTo>
                      <a:pt x="356" y="122"/>
                      <a:pt x="347" y="121"/>
                      <a:pt x="338" y="121"/>
                    </a:cubicBezTo>
                    <a:cubicBezTo>
                      <a:pt x="323" y="121"/>
                      <a:pt x="309" y="123"/>
                      <a:pt x="294" y="128"/>
                    </a:cubicBezTo>
                    <a:cubicBezTo>
                      <a:pt x="269" y="137"/>
                      <a:pt x="245" y="148"/>
                      <a:pt x="219" y="150"/>
                    </a:cubicBezTo>
                    <a:cubicBezTo>
                      <a:pt x="216" y="150"/>
                      <a:pt x="214" y="150"/>
                      <a:pt x="211" y="150"/>
                    </a:cubicBezTo>
                    <a:cubicBezTo>
                      <a:pt x="188" y="150"/>
                      <a:pt x="163" y="140"/>
                      <a:pt x="142" y="132"/>
                    </a:cubicBezTo>
                    <a:cubicBezTo>
                      <a:pt x="119" y="122"/>
                      <a:pt x="99" y="112"/>
                      <a:pt x="79" y="97"/>
                    </a:cubicBezTo>
                    <a:cubicBezTo>
                      <a:pt x="42" y="71"/>
                      <a:pt x="21" y="47"/>
                      <a:pt x="4" y="1"/>
                    </a:cubicBezTo>
                    <a:cubicBezTo>
                      <a:pt x="3" y="0"/>
                      <a:pt x="3" y="0"/>
                      <a:pt x="2" y="0"/>
                    </a:cubicBezTo>
                  </a:path>
                </a:pathLst>
              </a:custGeom>
              <a:solidFill>
                <a:srgbClr val="544D4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107" name="Freeform 19">
                <a:extLst>
                  <a:ext uri="{FF2B5EF4-FFF2-40B4-BE49-F238E27FC236}">
                    <a16:creationId xmlns:a16="http://schemas.microsoft.com/office/drawing/2014/main" id="{53FCE5AC-524A-4E12-B8DE-7D66EF2CEF18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6844" y="1758"/>
                <a:ext cx="405" cy="403"/>
              </a:xfrm>
              <a:custGeom>
                <a:avLst/>
                <a:gdLst>
                  <a:gd name="T0" fmla="*/ 363 w 382"/>
                  <a:gd name="T1" fmla="*/ 262 h 380"/>
                  <a:gd name="T2" fmla="*/ 326 w 382"/>
                  <a:gd name="T3" fmla="*/ 317 h 380"/>
                  <a:gd name="T4" fmla="*/ 249 w 382"/>
                  <a:gd name="T5" fmla="*/ 369 h 380"/>
                  <a:gd name="T6" fmla="*/ 209 w 382"/>
                  <a:gd name="T7" fmla="*/ 373 h 380"/>
                  <a:gd name="T8" fmla="*/ 158 w 382"/>
                  <a:gd name="T9" fmla="*/ 369 h 380"/>
                  <a:gd name="T10" fmla="*/ 80 w 382"/>
                  <a:gd name="T11" fmla="*/ 343 h 380"/>
                  <a:gd name="T12" fmla="*/ 12 w 382"/>
                  <a:gd name="T13" fmla="*/ 299 h 380"/>
                  <a:gd name="T14" fmla="*/ 4 w 382"/>
                  <a:gd name="T15" fmla="*/ 296 h 380"/>
                  <a:gd name="T16" fmla="*/ 3 w 382"/>
                  <a:gd name="T17" fmla="*/ 296 h 380"/>
                  <a:gd name="T18" fmla="*/ 2 w 382"/>
                  <a:gd name="T19" fmla="*/ 300 h 380"/>
                  <a:gd name="T20" fmla="*/ 6 w 382"/>
                  <a:gd name="T21" fmla="*/ 302 h 380"/>
                  <a:gd name="T22" fmla="*/ 86 w 382"/>
                  <a:gd name="T23" fmla="*/ 354 h 380"/>
                  <a:gd name="T24" fmla="*/ 167 w 382"/>
                  <a:gd name="T25" fmla="*/ 377 h 380"/>
                  <a:gd name="T26" fmla="*/ 211 w 382"/>
                  <a:gd name="T27" fmla="*/ 380 h 380"/>
                  <a:gd name="T28" fmla="*/ 261 w 382"/>
                  <a:gd name="T29" fmla="*/ 372 h 380"/>
                  <a:gd name="T30" fmla="*/ 284 w 382"/>
                  <a:gd name="T31" fmla="*/ 360 h 380"/>
                  <a:gd name="T32" fmla="*/ 284 w 382"/>
                  <a:gd name="T33" fmla="*/ 360 h 380"/>
                  <a:gd name="T34" fmla="*/ 333 w 382"/>
                  <a:gd name="T35" fmla="*/ 319 h 380"/>
                  <a:gd name="T36" fmla="*/ 355 w 382"/>
                  <a:gd name="T37" fmla="*/ 293 h 380"/>
                  <a:gd name="T38" fmla="*/ 363 w 382"/>
                  <a:gd name="T39" fmla="*/ 262 h 380"/>
                  <a:gd name="T40" fmla="*/ 281 w 382"/>
                  <a:gd name="T41" fmla="*/ 0 h 380"/>
                  <a:gd name="T42" fmla="*/ 279 w 382"/>
                  <a:gd name="T43" fmla="*/ 1 h 380"/>
                  <a:gd name="T44" fmla="*/ 283 w 382"/>
                  <a:gd name="T45" fmla="*/ 3 h 380"/>
                  <a:gd name="T46" fmla="*/ 281 w 382"/>
                  <a:gd name="T47" fmla="*/ 11 h 380"/>
                  <a:gd name="T48" fmla="*/ 329 w 382"/>
                  <a:gd name="T49" fmla="*/ 62 h 380"/>
                  <a:gd name="T50" fmla="*/ 366 w 382"/>
                  <a:gd name="T51" fmla="*/ 153 h 380"/>
                  <a:gd name="T52" fmla="*/ 370 w 382"/>
                  <a:gd name="T53" fmla="*/ 229 h 380"/>
                  <a:gd name="T54" fmla="*/ 372 w 382"/>
                  <a:gd name="T55" fmla="*/ 228 h 380"/>
                  <a:gd name="T56" fmla="*/ 375 w 382"/>
                  <a:gd name="T57" fmla="*/ 231 h 380"/>
                  <a:gd name="T58" fmla="*/ 375 w 382"/>
                  <a:gd name="T59" fmla="*/ 250 h 380"/>
                  <a:gd name="T60" fmla="*/ 375 w 382"/>
                  <a:gd name="T61" fmla="*/ 153 h 380"/>
                  <a:gd name="T62" fmla="*/ 283 w 382"/>
                  <a:gd name="T63" fmla="*/ 1 h 380"/>
                  <a:gd name="T64" fmla="*/ 281 w 382"/>
                  <a:gd name="T65" fmla="*/ 0 h 3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382" h="380">
                    <a:moveTo>
                      <a:pt x="363" y="262"/>
                    </a:moveTo>
                    <a:cubicBezTo>
                      <a:pt x="355" y="283"/>
                      <a:pt x="342" y="300"/>
                      <a:pt x="326" y="317"/>
                    </a:cubicBezTo>
                    <a:cubicBezTo>
                      <a:pt x="305" y="339"/>
                      <a:pt x="279" y="361"/>
                      <a:pt x="249" y="369"/>
                    </a:cubicBezTo>
                    <a:cubicBezTo>
                      <a:pt x="236" y="372"/>
                      <a:pt x="223" y="373"/>
                      <a:pt x="209" y="373"/>
                    </a:cubicBezTo>
                    <a:cubicBezTo>
                      <a:pt x="192" y="373"/>
                      <a:pt x="174" y="371"/>
                      <a:pt x="158" y="369"/>
                    </a:cubicBezTo>
                    <a:cubicBezTo>
                      <a:pt x="130" y="366"/>
                      <a:pt x="104" y="358"/>
                      <a:pt x="80" y="343"/>
                    </a:cubicBezTo>
                    <a:cubicBezTo>
                      <a:pt x="57" y="329"/>
                      <a:pt x="37" y="310"/>
                      <a:pt x="12" y="299"/>
                    </a:cubicBezTo>
                    <a:cubicBezTo>
                      <a:pt x="9" y="298"/>
                      <a:pt x="7" y="297"/>
                      <a:pt x="4" y="296"/>
                    </a:cubicBezTo>
                    <a:cubicBezTo>
                      <a:pt x="4" y="296"/>
                      <a:pt x="4" y="296"/>
                      <a:pt x="3" y="296"/>
                    </a:cubicBezTo>
                    <a:cubicBezTo>
                      <a:pt x="1" y="296"/>
                      <a:pt x="0" y="298"/>
                      <a:pt x="2" y="300"/>
                    </a:cubicBezTo>
                    <a:cubicBezTo>
                      <a:pt x="4" y="300"/>
                      <a:pt x="5" y="301"/>
                      <a:pt x="6" y="302"/>
                    </a:cubicBezTo>
                    <a:cubicBezTo>
                      <a:pt x="33" y="319"/>
                      <a:pt x="58" y="339"/>
                      <a:pt x="86" y="354"/>
                    </a:cubicBezTo>
                    <a:cubicBezTo>
                      <a:pt x="111" y="368"/>
                      <a:pt x="138" y="374"/>
                      <a:pt x="167" y="377"/>
                    </a:cubicBezTo>
                    <a:cubicBezTo>
                      <a:pt x="181" y="378"/>
                      <a:pt x="196" y="380"/>
                      <a:pt x="211" y="380"/>
                    </a:cubicBezTo>
                    <a:cubicBezTo>
                      <a:pt x="228" y="380"/>
                      <a:pt x="245" y="378"/>
                      <a:pt x="261" y="372"/>
                    </a:cubicBezTo>
                    <a:cubicBezTo>
                      <a:pt x="269" y="369"/>
                      <a:pt x="277" y="365"/>
                      <a:pt x="284" y="360"/>
                    </a:cubicBezTo>
                    <a:cubicBezTo>
                      <a:pt x="284" y="360"/>
                      <a:pt x="284" y="360"/>
                      <a:pt x="284" y="360"/>
                    </a:cubicBezTo>
                    <a:cubicBezTo>
                      <a:pt x="303" y="349"/>
                      <a:pt x="319" y="334"/>
                      <a:pt x="333" y="319"/>
                    </a:cubicBezTo>
                    <a:cubicBezTo>
                      <a:pt x="341" y="311"/>
                      <a:pt x="349" y="302"/>
                      <a:pt x="355" y="293"/>
                    </a:cubicBezTo>
                    <a:cubicBezTo>
                      <a:pt x="359" y="283"/>
                      <a:pt x="361" y="273"/>
                      <a:pt x="363" y="262"/>
                    </a:cubicBezTo>
                    <a:moveTo>
                      <a:pt x="281" y="0"/>
                    </a:moveTo>
                    <a:cubicBezTo>
                      <a:pt x="280" y="0"/>
                      <a:pt x="280" y="1"/>
                      <a:pt x="279" y="1"/>
                    </a:cubicBezTo>
                    <a:cubicBezTo>
                      <a:pt x="280" y="2"/>
                      <a:pt x="282" y="2"/>
                      <a:pt x="283" y="3"/>
                    </a:cubicBezTo>
                    <a:cubicBezTo>
                      <a:pt x="287" y="5"/>
                      <a:pt x="285" y="10"/>
                      <a:pt x="281" y="11"/>
                    </a:cubicBezTo>
                    <a:cubicBezTo>
                      <a:pt x="296" y="29"/>
                      <a:pt x="314" y="44"/>
                      <a:pt x="329" y="62"/>
                    </a:cubicBezTo>
                    <a:cubicBezTo>
                      <a:pt x="350" y="90"/>
                      <a:pt x="362" y="119"/>
                      <a:pt x="366" y="153"/>
                    </a:cubicBezTo>
                    <a:cubicBezTo>
                      <a:pt x="369" y="178"/>
                      <a:pt x="372" y="204"/>
                      <a:pt x="370" y="229"/>
                    </a:cubicBezTo>
                    <a:cubicBezTo>
                      <a:pt x="370" y="229"/>
                      <a:pt x="371" y="228"/>
                      <a:pt x="372" y="228"/>
                    </a:cubicBezTo>
                    <a:cubicBezTo>
                      <a:pt x="374" y="228"/>
                      <a:pt x="375" y="229"/>
                      <a:pt x="375" y="231"/>
                    </a:cubicBezTo>
                    <a:cubicBezTo>
                      <a:pt x="376" y="238"/>
                      <a:pt x="375" y="244"/>
                      <a:pt x="375" y="250"/>
                    </a:cubicBezTo>
                    <a:cubicBezTo>
                      <a:pt x="382" y="219"/>
                      <a:pt x="379" y="184"/>
                      <a:pt x="375" y="153"/>
                    </a:cubicBezTo>
                    <a:cubicBezTo>
                      <a:pt x="368" y="91"/>
                      <a:pt x="331" y="40"/>
                      <a:pt x="283" y="1"/>
                    </a:cubicBezTo>
                    <a:cubicBezTo>
                      <a:pt x="283" y="1"/>
                      <a:pt x="282" y="0"/>
                      <a:pt x="281" y="0"/>
                    </a:cubicBezTo>
                  </a:path>
                </a:pathLst>
              </a:custGeom>
              <a:solidFill>
                <a:srgbClr val="544D4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108" name="Freeform 20">
                <a:extLst>
                  <a:ext uri="{FF2B5EF4-FFF2-40B4-BE49-F238E27FC236}">
                    <a16:creationId xmlns:a16="http://schemas.microsoft.com/office/drawing/2014/main" id="{8EE2BDD8-24D1-4D93-8FD5-920CDA91CBEB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202" y="1877"/>
                <a:ext cx="16" cy="13"/>
              </a:xfrm>
              <a:custGeom>
                <a:avLst/>
                <a:gdLst>
                  <a:gd name="T0" fmla="*/ 11 w 15"/>
                  <a:gd name="T1" fmla="*/ 0 h 12"/>
                  <a:gd name="T2" fmla="*/ 10 w 15"/>
                  <a:gd name="T3" fmla="*/ 1 h 12"/>
                  <a:gd name="T4" fmla="*/ 3 w 15"/>
                  <a:gd name="T5" fmla="*/ 6 h 12"/>
                  <a:gd name="T6" fmla="*/ 3 w 15"/>
                  <a:gd name="T7" fmla="*/ 6 h 12"/>
                  <a:gd name="T8" fmla="*/ 1 w 15"/>
                  <a:gd name="T9" fmla="*/ 8 h 12"/>
                  <a:gd name="T10" fmla="*/ 3 w 15"/>
                  <a:gd name="T11" fmla="*/ 12 h 12"/>
                  <a:gd name="T12" fmla="*/ 3 w 15"/>
                  <a:gd name="T13" fmla="*/ 12 h 12"/>
                  <a:gd name="T14" fmla="*/ 5 w 15"/>
                  <a:gd name="T15" fmla="*/ 11 h 12"/>
                  <a:gd name="T16" fmla="*/ 13 w 15"/>
                  <a:gd name="T17" fmla="*/ 4 h 12"/>
                  <a:gd name="T18" fmla="*/ 11 w 15"/>
                  <a:gd name="T19" fmla="*/ 0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5" h="12">
                    <a:moveTo>
                      <a:pt x="11" y="0"/>
                    </a:moveTo>
                    <a:cubicBezTo>
                      <a:pt x="11" y="0"/>
                      <a:pt x="10" y="0"/>
                      <a:pt x="10" y="1"/>
                    </a:cubicBezTo>
                    <a:cubicBezTo>
                      <a:pt x="7" y="2"/>
                      <a:pt x="5" y="4"/>
                      <a:pt x="3" y="6"/>
                    </a:cubicBezTo>
                    <a:cubicBezTo>
                      <a:pt x="3" y="6"/>
                      <a:pt x="3" y="6"/>
                      <a:pt x="3" y="6"/>
                    </a:cubicBezTo>
                    <a:cubicBezTo>
                      <a:pt x="2" y="7"/>
                      <a:pt x="2" y="8"/>
                      <a:pt x="1" y="8"/>
                    </a:cubicBezTo>
                    <a:cubicBezTo>
                      <a:pt x="0" y="10"/>
                      <a:pt x="1" y="12"/>
                      <a:pt x="3" y="12"/>
                    </a:cubicBezTo>
                    <a:cubicBezTo>
                      <a:pt x="3" y="12"/>
                      <a:pt x="3" y="12"/>
                      <a:pt x="3" y="12"/>
                    </a:cubicBezTo>
                    <a:cubicBezTo>
                      <a:pt x="4" y="12"/>
                      <a:pt x="5" y="12"/>
                      <a:pt x="5" y="11"/>
                    </a:cubicBezTo>
                    <a:cubicBezTo>
                      <a:pt x="8" y="9"/>
                      <a:pt x="10" y="6"/>
                      <a:pt x="13" y="4"/>
                    </a:cubicBezTo>
                    <a:cubicBezTo>
                      <a:pt x="15" y="3"/>
                      <a:pt x="13" y="0"/>
                      <a:pt x="11" y="0"/>
                    </a:cubicBezTo>
                  </a:path>
                </a:pathLst>
              </a:custGeom>
              <a:solidFill>
                <a:srgbClr val="544D4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109" name="Freeform 21">
                <a:extLst>
                  <a:ext uri="{FF2B5EF4-FFF2-40B4-BE49-F238E27FC236}">
                    <a16:creationId xmlns:a16="http://schemas.microsoft.com/office/drawing/2014/main" id="{8C98BE77-08D0-45D7-8EA4-546245731F0A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199" y="1867"/>
                <a:ext cx="16" cy="11"/>
              </a:xfrm>
              <a:custGeom>
                <a:avLst/>
                <a:gdLst>
                  <a:gd name="T0" fmla="*/ 11 w 15"/>
                  <a:gd name="T1" fmla="*/ 0 h 10"/>
                  <a:gd name="T2" fmla="*/ 10 w 15"/>
                  <a:gd name="T3" fmla="*/ 0 h 10"/>
                  <a:gd name="T4" fmla="*/ 2 w 15"/>
                  <a:gd name="T5" fmla="*/ 5 h 10"/>
                  <a:gd name="T6" fmla="*/ 1 w 15"/>
                  <a:gd name="T7" fmla="*/ 5 h 10"/>
                  <a:gd name="T8" fmla="*/ 1 w 15"/>
                  <a:gd name="T9" fmla="*/ 5 h 10"/>
                  <a:gd name="T10" fmla="*/ 3 w 15"/>
                  <a:gd name="T11" fmla="*/ 9 h 10"/>
                  <a:gd name="T12" fmla="*/ 3 w 15"/>
                  <a:gd name="T13" fmla="*/ 9 h 10"/>
                  <a:gd name="T14" fmla="*/ 4 w 15"/>
                  <a:gd name="T15" fmla="*/ 10 h 10"/>
                  <a:gd name="T16" fmla="*/ 5 w 15"/>
                  <a:gd name="T17" fmla="*/ 9 h 10"/>
                  <a:gd name="T18" fmla="*/ 11 w 15"/>
                  <a:gd name="T19" fmla="*/ 6 h 10"/>
                  <a:gd name="T20" fmla="*/ 11 w 15"/>
                  <a:gd name="T21" fmla="*/ 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5" h="10">
                    <a:moveTo>
                      <a:pt x="11" y="0"/>
                    </a:moveTo>
                    <a:cubicBezTo>
                      <a:pt x="11" y="0"/>
                      <a:pt x="10" y="0"/>
                      <a:pt x="10" y="0"/>
                    </a:cubicBezTo>
                    <a:cubicBezTo>
                      <a:pt x="7" y="1"/>
                      <a:pt x="4" y="2"/>
                      <a:pt x="2" y="5"/>
                    </a:cubicBezTo>
                    <a:cubicBezTo>
                      <a:pt x="2" y="5"/>
                      <a:pt x="2" y="5"/>
                      <a:pt x="1" y="5"/>
                    </a:cubicBezTo>
                    <a:cubicBezTo>
                      <a:pt x="1" y="5"/>
                      <a:pt x="1" y="5"/>
                      <a:pt x="1" y="5"/>
                    </a:cubicBezTo>
                    <a:cubicBezTo>
                      <a:pt x="0" y="7"/>
                      <a:pt x="2" y="9"/>
                      <a:pt x="3" y="9"/>
                    </a:cubicBezTo>
                    <a:cubicBezTo>
                      <a:pt x="3" y="9"/>
                      <a:pt x="3" y="9"/>
                      <a:pt x="3" y="9"/>
                    </a:cubicBezTo>
                    <a:cubicBezTo>
                      <a:pt x="4" y="9"/>
                      <a:pt x="4" y="10"/>
                      <a:pt x="4" y="10"/>
                    </a:cubicBezTo>
                    <a:cubicBezTo>
                      <a:pt x="4" y="10"/>
                      <a:pt x="5" y="9"/>
                      <a:pt x="5" y="9"/>
                    </a:cubicBezTo>
                    <a:cubicBezTo>
                      <a:pt x="8" y="8"/>
                      <a:pt x="9" y="6"/>
                      <a:pt x="11" y="6"/>
                    </a:cubicBezTo>
                    <a:cubicBezTo>
                      <a:pt x="15" y="5"/>
                      <a:pt x="14" y="0"/>
                      <a:pt x="11" y="0"/>
                    </a:cubicBezTo>
                  </a:path>
                </a:pathLst>
              </a:custGeom>
              <a:solidFill>
                <a:srgbClr val="544D4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110" name="Freeform 22">
                <a:extLst>
                  <a:ext uri="{FF2B5EF4-FFF2-40B4-BE49-F238E27FC236}">
                    <a16:creationId xmlns:a16="http://schemas.microsoft.com/office/drawing/2014/main" id="{37A26CA5-0D20-44D9-8BB3-39F8FE38404C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199" y="1845"/>
                <a:ext cx="11" cy="7"/>
              </a:xfrm>
              <a:custGeom>
                <a:avLst/>
                <a:gdLst>
                  <a:gd name="T0" fmla="*/ 9 w 11"/>
                  <a:gd name="T1" fmla="*/ 0 h 7"/>
                  <a:gd name="T2" fmla="*/ 8 w 11"/>
                  <a:gd name="T3" fmla="*/ 1 h 7"/>
                  <a:gd name="T4" fmla="*/ 1 w 11"/>
                  <a:gd name="T5" fmla="*/ 5 h 7"/>
                  <a:gd name="T6" fmla="*/ 2 w 11"/>
                  <a:gd name="T7" fmla="*/ 7 h 7"/>
                  <a:gd name="T8" fmla="*/ 3 w 11"/>
                  <a:gd name="T9" fmla="*/ 7 h 7"/>
                  <a:gd name="T10" fmla="*/ 10 w 11"/>
                  <a:gd name="T11" fmla="*/ 3 h 7"/>
                  <a:gd name="T12" fmla="*/ 9 w 11"/>
                  <a:gd name="T13" fmla="*/ 0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1" h="7">
                    <a:moveTo>
                      <a:pt x="9" y="0"/>
                    </a:moveTo>
                    <a:cubicBezTo>
                      <a:pt x="9" y="0"/>
                      <a:pt x="8" y="1"/>
                      <a:pt x="8" y="1"/>
                    </a:cubicBezTo>
                    <a:cubicBezTo>
                      <a:pt x="6" y="2"/>
                      <a:pt x="3" y="3"/>
                      <a:pt x="1" y="5"/>
                    </a:cubicBezTo>
                    <a:cubicBezTo>
                      <a:pt x="0" y="6"/>
                      <a:pt x="1" y="7"/>
                      <a:pt x="2" y="7"/>
                    </a:cubicBezTo>
                    <a:cubicBezTo>
                      <a:pt x="2" y="7"/>
                      <a:pt x="2" y="7"/>
                      <a:pt x="3" y="7"/>
                    </a:cubicBezTo>
                    <a:cubicBezTo>
                      <a:pt x="5" y="6"/>
                      <a:pt x="7" y="5"/>
                      <a:pt x="10" y="3"/>
                    </a:cubicBezTo>
                    <a:cubicBezTo>
                      <a:pt x="11" y="3"/>
                      <a:pt x="10" y="0"/>
                      <a:pt x="9" y="0"/>
                    </a:cubicBezTo>
                  </a:path>
                </a:pathLst>
              </a:custGeom>
              <a:solidFill>
                <a:srgbClr val="544D4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111" name="Freeform 23">
                <a:extLst>
                  <a:ext uri="{FF2B5EF4-FFF2-40B4-BE49-F238E27FC236}">
                    <a16:creationId xmlns:a16="http://schemas.microsoft.com/office/drawing/2014/main" id="{26C37089-80A2-4771-82D0-A638900BA292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195" y="1617"/>
                <a:ext cx="953" cy="213"/>
              </a:xfrm>
              <a:custGeom>
                <a:avLst/>
                <a:gdLst>
                  <a:gd name="T0" fmla="*/ 165 w 899"/>
                  <a:gd name="T1" fmla="*/ 0 h 201"/>
                  <a:gd name="T2" fmla="*/ 151 w 899"/>
                  <a:gd name="T3" fmla="*/ 1 h 201"/>
                  <a:gd name="T4" fmla="*/ 102 w 899"/>
                  <a:gd name="T5" fmla="*/ 17 h 201"/>
                  <a:gd name="T6" fmla="*/ 109 w 899"/>
                  <a:gd name="T7" fmla="*/ 14 h 201"/>
                  <a:gd name="T8" fmla="*/ 109 w 899"/>
                  <a:gd name="T9" fmla="*/ 14 h 201"/>
                  <a:gd name="T10" fmla="*/ 110 w 899"/>
                  <a:gd name="T11" fmla="*/ 15 h 201"/>
                  <a:gd name="T12" fmla="*/ 55 w 899"/>
                  <a:gd name="T13" fmla="*/ 56 h 201"/>
                  <a:gd name="T14" fmla="*/ 25 w 899"/>
                  <a:gd name="T15" fmla="*/ 103 h 201"/>
                  <a:gd name="T16" fmla="*/ 6 w 899"/>
                  <a:gd name="T17" fmla="*/ 200 h 201"/>
                  <a:gd name="T18" fmla="*/ 7 w 899"/>
                  <a:gd name="T19" fmla="*/ 201 h 201"/>
                  <a:gd name="T20" fmla="*/ 8 w 899"/>
                  <a:gd name="T21" fmla="*/ 200 h 201"/>
                  <a:gd name="T22" fmla="*/ 16 w 899"/>
                  <a:gd name="T23" fmla="*/ 146 h 201"/>
                  <a:gd name="T24" fmla="*/ 16 w 899"/>
                  <a:gd name="T25" fmla="*/ 146 h 201"/>
                  <a:gd name="T26" fmla="*/ 85 w 899"/>
                  <a:gd name="T27" fmla="*/ 38 h 201"/>
                  <a:gd name="T28" fmla="*/ 106 w 899"/>
                  <a:gd name="T29" fmla="*/ 23 h 201"/>
                  <a:gd name="T30" fmla="*/ 166 w 899"/>
                  <a:gd name="T31" fmla="*/ 9 h 201"/>
                  <a:gd name="T32" fmla="*/ 180 w 899"/>
                  <a:gd name="T33" fmla="*/ 9 h 201"/>
                  <a:gd name="T34" fmla="*/ 278 w 899"/>
                  <a:gd name="T35" fmla="*/ 23 h 201"/>
                  <a:gd name="T36" fmla="*/ 479 w 899"/>
                  <a:gd name="T37" fmla="*/ 60 h 201"/>
                  <a:gd name="T38" fmla="*/ 675 w 899"/>
                  <a:gd name="T39" fmla="*/ 88 h 201"/>
                  <a:gd name="T40" fmla="*/ 890 w 899"/>
                  <a:gd name="T41" fmla="*/ 143 h 201"/>
                  <a:gd name="T42" fmla="*/ 893 w 899"/>
                  <a:gd name="T43" fmla="*/ 144 h 201"/>
                  <a:gd name="T44" fmla="*/ 893 w 899"/>
                  <a:gd name="T45" fmla="*/ 144 h 201"/>
                  <a:gd name="T46" fmla="*/ 895 w 899"/>
                  <a:gd name="T47" fmla="*/ 136 h 201"/>
                  <a:gd name="T48" fmla="*/ 891 w 899"/>
                  <a:gd name="T49" fmla="*/ 134 h 201"/>
                  <a:gd name="T50" fmla="*/ 697 w 899"/>
                  <a:gd name="T51" fmla="*/ 83 h 201"/>
                  <a:gd name="T52" fmla="*/ 473 w 899"/>
                  <a:gd name="T53" fmla="*/ 50 h 201"/>
                  <a:gd name="T54" fmla="*/ 426 w 899"/>
                  <a:gd name="T55" fmla="*/ 42 h 201"/>
                  <a:gd name="T56" fmla="*/ 421 w 899"/>
                  <a:gd name="T57" fmla="*/ 44 h 201"/>
                  <a:gd name="T58" fmla="*/ 415 w 899"/>
                  <a:gd name="T59" fmla="*/ 40 h 201"/>
                  <a:gd name="T60" fmla="*/ 256 w 899"/>
                  <a:gd name="T61" fmla="*/ 11 h 201"/>
                  <a:gd name="T62" fmla="*/ 165 w 899"/>
                  <a:gd name="T63" fmla="*/ 0 h 2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899" h="201">
                    <a:moveTo>
                      <a:pt x="165" y="0"/>
                    </a:moveTo>
                    <a:cubicBezTo>
                      <a:pt x="161" y="0"/>
                      <a:pt x="156" y="1"/>
                      <a:pt x="151" y="1"/>
                    </a:cubicBezTo>
                    <a:cubicBezTo>
                      <a:pt x="133" y="2"/>
                      <a:pt x="117" y="8"/>
                      <a:pt x="102" y="17"/>
                    </a:cubicBezTo>
                    <a:cubicBezTo>
                      <a:pt x="104" y="15"/>
                      <a:pt x="107" y="14"/>
                      <a:pt x="109" y="14"/>
                    </a:cubicBezTo>
                    <a:cubicBezTo>
                      <a:pt x="109" y="14"/>
                      <a:pt x="109" y="14"/>
                      <a:pt x="109" y="14"/>
                    </a:cubicBezTo>
                    <a:cubicBezTo>
                      <a:pt x="110" y="14"/>
                      <a:pt x="110" y="14"/>
                      <a:pt x="110" y="15"/>
                    </a:cubicBezTo>
                    <a:cubicBezTo>
                      <a:pt x="94" y="31"/>
                      <a:pt x="74" y="42"/>
                      <a:pt x="55" y="56"/>
                    </a:cubicBezTo>
                    <a:cubicBezTo>
                      <a:pt x="43" y="70"/>
                      <a:pt x="32" y="86"/>
                      <a:pt x="25" y="103"/>
                    </a:cubicBezTo>
                    <a:cubicBezTo>
                      <a:pt x="12" y="132"/>
                      <a:pt x="0" y="169"/>
                      <a:pt x="6" y="200"/>
                    </a:cubicBezTo>
                    <a:cubicBezTo>
                      <a:pt x="6" y="201"/>
                      <a:pt x="6" y="201"/>
                      <a:pt x="7" y="201"/>
                    </a:cubicBezTo>
                    <a:cubicBezTo>
                      <a:pt x="7" y="201"/>
                      <a:pt x="8" y="201"/>
                      <a:pt x="8" y="200"/>
                    </a:cubicBezTo>
                    <a:cubicBezTo>
                      <a:pt x="8" y="182"/>
                      <a:pt x="11" y="164"/>
                      <a:pt x="16" y="146"/>
                    </a:cubicBezTo>
                    <a:cubicBezTo>
                      <a:pt x="16" y="146"/>
                      <a:pt x="16" y="146"/>
                      <a:pt x="16" y="146"/>
                    </a:cubicBezTo>
                    <a:cubicBezTo>
                      <a:pt x="28" y="104"/>
                      <a:pt x="52" y="66"/>
                      <a:pt x="85" y="38"/>
                    </a:cubicBezTo>
                    <a:cubicBezTo>
                      <a:pt x="92" y="32"/>
                      <a:pt x="99" y="27"/>
                      <a:pt x="106" y="23"/>
                    </a:cubicBezTo>
                    <a:cubicBezTo>
                      <a:pt x="124" y="13"/>
                      <a:pt x="144" y="9"/>
                      <a:pt x="166" y="9"/>
                    </a:cubicBezTo>
                    <a:cubicBezTo>
                      <a:pt x="171" y="9"/>
                      <a:pt x="175" y="9"/>
                      <a:pt x="180" y="9"/>
                    </a:cubicBezTo>
                    <a:cubicBezTo>
                      <a:pt x="213" y="12"/>
                      <a:pt x="246" y="17"/>
                      <a:pt x="278" y="23"/>
                    </a:cubicBezTo>
                    <a:cubicBezTo>
                      <a:pt x="345" y="35"/>
                      <a:pt x="412" y="49"/>
                      <a:pt x="479" y="60"/>
                    </a:cubicBezTo>
                    <a:cubicBezTo>
                      <a:pt x="544" y="70"/>
                      <a:pt x="610" y="78"/>
                      <a:pt x="675" y="88"/>
                    </a:cubicBezTo>
                    <a:cubicBezTo>
                      <a:pt x="747" y="100"/>
                      <a:pt x="825" y="110"/>
                      <a:pt x="890" y="143"/>
                    </a:cubicBezTo>
                    <a:cubicBezTo>
                      <a:pt x="891" y="144"/>
                      <a:pt x="892" y="144"/>
                      <a:pt x="893" y="144"/>
                    </a:cubicBezTo>
                    <a:cubicBezTo>
                      <a:pt x="893" y="144"/>
                      <a:pt x="893" y="144"/>
                      <a:pt x="893" y="144"/>
                    </a:cubicBezTo>
                    <a:cubicBezTo>
                      <a:pt x="897" y="143"/>
                      <a:pt x="899" y="138"/>
                      <a:pt x="895" y="136"/>
                    </a:cubicBezTo>
                    <a:cubicBezTo>
                      <a:pt x="894" y="135"/>
                      <a:pt x="892" y="135"/>
                      <a:pt x="891" y="134"/>
                    </a:cubicBezTo>
                    <a:cubicBezTo>
                      <a:pt x="831" y="104"/>
                      <a:pt x="763" y="94"/>
                      <a:pt x="697" y="83"/>
                    </a:cubicBezTo>
                    <a:cubicBezTo>
                      <a:pt x="623" y="70"/>
                      <a:pt x="547" y="62"/>
                      <a:pt x="473" y="50"/>
                    </a:cubicBezTo>
                    <a:cubicBezTo>
                      <a:pt x="457" y="47"/>
                      <a:pt x="442" y="45"/>
                      <a:pt x="426" y="42"/>
                    </a:cubicBezTo>
                    <a:cubicBezTo>
                      <a:pt x="425" y="43"/>
                      <a:pt x="423" y="44"/>
                      <a:pt x="421" y="44"/>
                    </a:cubicBezTo>
                    <a:cubicBezTo>
                      <a:pt x="419" y="44"/>
                      <a:pt x="416" y="42"/>
                      <a:pt x="415" y="40"/>
                    </a:cubicBezTo>
                    <a:cubicBezTo>
                      <a:pt x="362" y="30"/>
                      <a:pt x="309" y="20"/>
                      <a:pt x="256" y="11"/>
                    </a:cubicBezTo>
                    <a:cubicBezTo>
                      <a:pt x="226" y="6"/>
                      <a:pt x="196" y="0"/>
                      <a:pt x="165" y="0"/>
                    </a:cubicBezTo>
                  </a:path>
                </a:pathLst>
              </a:custGeom>
              <a:solidFill>
                <a:srgbClr val="544D4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112" name="Freeform 24">
                <a:extLst>
                  <a:ext uri="{FF2B5EF4-FFF2-40B4-BE49-F238E27FC236}">
                    <a16:creationId xmlns:a16="http://schemas.microsoft.com/office/drawing/2014/main" id="{5110F677-6602-4B36-9EAC-C8680F167BE2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635" y="1660"/>
                <a:ext cx="12" cy="4"/>
              </a:xfrm>
              <a:custGeom>
                <a:avLst/>
                <a:gdLst>
                  <a:gd name="T0" fmla="*/ 0 w 11"/>
                  <a:gd name="T1" fmla="*/ 0 h 4"/>
                  <a:gd name="T2" fmla="*/ 6 w 11"/>
                  <a:gd name="T3" fmla="*/ 4 h 4"/>
                  <a:gd name="T4" fmla="*/ 11 w 11"/>
                  <a:gd name="T5" fmla="*/ 2 h 4"/>
                  <a:gd name="T6" fmla="*/ 0 w 11"/>
                  <a:gd name="T7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1" h="4">
                    <a:moveTo>
                      <a:pt x="0" y="0"/>
                    </a:moveTo>
                    <a:cubicBezTo>
                      <a:pt x="1" y="2"/>
                      <a:pt x="4" y="4"/>
                      <a:pt x="6" y="4"/>
                    </a:cubicBezTo>
                    <a:cubicBezTo>
                      <a:pt x="8" y="4"/>
                      <a:pt x="10" y="3"/>
                      <a:pt x="11" y="2"/>
                    </a:cubicBezTo>
                    <a:cubicBezTo>
                      <a:pt x="8" y="1"/>
                      <a:pt x="4" y="1"/>
                      <a:pt x="0" y="0"/>
                    </a:cubicBezTo>
                  </a:path>
                </a:pathLst>
              </a:custGeom>
              <a:solidFill>
                <a:srgbClr val="14161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113" name="Freeform 25">
                <a:extLst>
                  <a:ext uri="{FF2B5EF4-FFF2-40B4-BE49-F238E27FC236}">
                    <a16:creationId xmlns:a16="http://schemas.microsoft.com/office/drawing/2014/main" id="{204F8D2A-BF37-4D81-A2C1-51496B5CB381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159" y="1632"/>
                <a:ext cx="690" cy="483"/>
              </a:xfrm>
              <a:custGeom>
                <a:avLst/>
                <a:gdLst>
                  <a:gd name="T0" fmla="*/ 143 w 651"/>
                  <a:gd name="T1" fmla="*/ 0 h 456"/>
                  <a:gd name="T2" fmla="*/ 143 w 651"/>
                  <a:gd name="T3" fmla="*/ 0 h 456"/>
                  <a:gd name="T4" fmla="*/ 136 w 651"/>
                  <a:gd name="T5" fmla="*/ 3 h 456"/>
                  <a:gd name="T6" fmla="*/ 61 w 651"/>
                  <a:gd name="T7" fmla="*/ 56 h 456"/>
                  <a:gd name="T8" fmla="*/ 19 w 651"/>
                  <a:gd name="T9" fmla="*/ 130 h 456"/>
                  <a:gd name="T10" fmla="*/ 15 w 651"/>
                  <a:gd name="T11" fmla="*/ 144 h 456"/>
                  <a:gd name="T12" fmla="*/ 31 w 651"/>
                  <a:gd name="T13" fmla="*/ 315 h 456"/>
                  <a:gd name="T14" fmla="*/ 178 w 651"/>
                  <a:gd name="T15" fmla="*/ 434 h 456"/>
                  <a:gd name="T16" fmla="*/ 250 w 651"/>
                  <a:gd name="T17" fmla="*/ 447 h 456"/>
                  <a:gd name="T18" fmla="*/ 276 w 651"/>
                  <a:gd name="T19" fmla="*/ 445 h 456"/>
                  <a:gd name="T20" fmla="*/ 379 w 651"/>
                  <a:gd name="T21" fmla="*/ 420 h 456"/>
                  <a:gd name="T22" fmla="*/ 385 w 651"/>
                  <a:gd name="T23" fmla="*/ 420 h 456"/>
                  <a:gd name="T24" fmla="*/ 445 w 651"/>
                  <a:gd name="T25" fmla="*/ 427 h 456"/>
                  <a:gd name="T26" fmla="*/ 510 w 651"/>
                  <a:gd name="T27" fmla="*/ 436 h 456"/>
                  <a:gd name="T28" fmla="*/ 643 w 651"/>
                  <a:gd name="T29" fmla="*/ 456 h 456"/>
                  <a:gd name="T30" fmla="*/ 646 w 651"/>
                  <a:gd name="T31" fmla="*/ 453 h 456"/>
                  <a:gd name="T32" fmla="*/ 648 w 651"/>
                  <a:gd name="T33" fmla="*/ 454 h 456"/>
                  <a:gd name="T34" fmla="*/ 650 w 651"/>
                  <a:gd name="T35" fmla="*/ 455 h 456"/>
                  <a:gd name="T36" fmla="*/ 648 w 651"/>
                  <a:gd name="T37" fmla="*/ 449 h 456"/>
                  <a:gd name="T38" fmla="*/ 438 w 651"/>
                  <a:gd name="T39" fmla="*/ 419 h 456"/>
                  <a:gd name="T40" fmla="*/ 385 w 651"/>
                  <a:gd name="T41" fmla="*/ 413 h 456"/>
                  <a:gd name="T42" fmla="*/ 350 w 651"/>
                  <a:gd name="T43" fmla="*/ 418 h 456"/>
                  <a:gd name="T44" fmla="*/ 249 w 651"/>
                  <a:gd name="T45" fmla="*/ 440 h 456"/>
                  <a:gd name="T46" fmla="*/ 246 w 651"/>
                  <a:gd name="T47" fmla="*/ 440 h 456"/>
                  <a:gd name="T48" fmla="*/ 66 w 651"/>
                  <a:gd name="T49" fmla="*/ 351 h 456"/>
                  <a:gd name="T50" fmla="*/ 21 w 651"/>
                  <a:gd name="T51" fmla="*/ 153 h 456"/>
                  <a:gd name="T52" fmla="*/ 64 w 651"/>
                  <a:gd name="T53" fmla="*/ 64 h 456"/>
                  <a:gd name="T54" fmla="*/ 89 w 651"/>
                  <a:gd name="T55" fmla="*/ 42 h 456"/>
                  <a:gd name="T56" fmla="*/ 144 w 651"/>
                  <a:gd name="T57" fmla="*/ 1 h 456"/>
                  <a:gd name="T58" fmla="*/ 143 w 651"/>
                  <a:gd name="T59" fmla="*/ 0 h 4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651" h="456">
                    <a:moveTo>
                      <a:pt x="143" y="0"/>
                    </a:moveTo>
                    <a:cubicBezTo>
                      <a:pt x="143" y="0"/>
                      <a:pt x="143" y="0"/>
                      <a:pt x="143" y="0"/>
                    </a:cubicBezTo>
                    <a:cubicBezTo>
                      <a:pt x="141" y="0"/>
                      <a:pt x="138" y="1"/>
                      <a:pt x="136" y="3"/>
                    </a:cubicBezTo>
                    <a:cubicBezTo>
                      <a:pt x="108" y="14"/>
                      <a:pt x="81" y="36"/>
                      <a:pt x="61" y="56"/>
                    </a:cubicBezTo>
                    <a:cubicBezTo>
                      <a:pt x="40" y="78"/>
                      <a:pt x="28" y="102"/>
                      <a:pt x="19" y="130"/>
                    </a:cubicBezTo>
                    <a:cubicBezTo>
                      <a:pt x="18" y="135"/>
                      <a:pt x="16" y="140"/>
                      <a:pt x="15" y="144"/>
                    </a:cubicBezTo>
                    <a:cubicBezTo>
                      <a:pt x="0" y="202"/>
                      <a:pt x="3" y="261"/>
                      <a:pt x="31" y="315"/>
                    </a:cubicBezTo>
                    <a:cubicBezTo>
                      <a:pt x="62" y="375"/>
                      <a:pt x="116" y="412"/>
                      <a:pt x="178" y="434"/>
                    </a:cubicBezTo>
                    <a:cubicBezTo>
                      <a:pt x="201" y="442"/>
                      <a:pt x="225" y="447"/>
                      <a:pt x="250" y="447"/>
                    </a:cubicBezTo>
                    <a:cubicBezTo>
                      <a:pt x="258" y="447"/>
                      <a:pt x="267" y="446"/>
                      <a:pt x="276" y="445"/>
                    </a:cubicBezTo>
                    <a:cubicBezTo>
                      <a:pt x="311" y="440"/>
                      <a:pt x="344" y="422"/>
                      <a:pt x="379" y="420"/>
                    </a:cubicBezTo>
                    <a:cubicBezTo>
                      <a:pt x="381" y="420"/>
                      <a:pt x="383" y="420"/>
                      <a:pt x="385" y="420"/>
                    </a:cubicBezTo>
                    <a:cubicBezTo>
                      <a:pt x="405" y="420"/>
                      <a:pt x="425" y="424"/>
                      <a:pt x="445" y="427"/>
                    </a:cubicBezTo>
                    <a:cubicBezTo>
                      <a:pt x="467" y="430"/>
                      <a:pt x="488" y="433"/>
                      <a:pt x="510" y="436"/>
                    </a:cubicBezTo>
                    <a:cubicBezTo>
                      <a:pt x="554" y="442"/>
                      <a:pt x="599" y="448"/>
                      <a:pt x="643" y="456"/>
                    </a:cubicBezTo>
                    <a:cubicBezTo>
                      <a:pt x="643" y="454"/>
                      <a:pt x="645" y="453"/>
                      <a:pt x="646" y="453"/>
                    </a:cubicBezTo>
                    <a:cubicBezTo>
                      <a:pt x="647" y="453"/>
                      <a:pt x="647" y="453"/>
                      <a:pt x="648" y="454"/>
                    </a:cubicBezTo>
                    <a:cubicBezTo>
                      <a:pt x="649" y="454"/>
                      <a:pt x="649" y="455"/>
                      <a:pt x="650" y="455"/>
                    </a:cubicBezTo>
                    <a:cubicBezTo>
                      <a:pt x="651" y="453"/>
                      <a:pt x="651" y="449"/>
                      <a:pt x="648" y="449"/>
                    </a:cubicBezTo>
                    <a:cubicBezTo>
                      <a:pt x="578" y="437"/>
                      <a:pt x="508" y="429"/>
                      <a:pt x="438" y="419"/>
                    </a:cubicBezTo>
                    <a:cubicBezTo>
                      <a:pt x="420" y="416"/>
                      <a:pt x="403" y="413"/>
                      <a:pt x="385" y="413"/>
                    </a:cubicBezTo>
                    <a:cubicBezTo>
                      <a:pt x="374" y="413"/>
                      <a:pt x="362" y="415"/>
                      <a:pt x="350" y="418"/>
                    </a:cubicBezTo>
                    <a:cubicBezTo>
                      <a:pt x="316" y="427"/>
                      <a:pt x="284" y="440"/>
                      <a:pt x="249" y="440"/>
                    </a:cubicBezTo>
                    <a:cubicBezTo>
                      <a:pt x="248" y="440"/>
                      <a:pt x="247" y="440"/>
                      <a:pt x="246" y="440"/>
                    </a:cubicBezTo>
                    <a:cubicBezTo>
                      <a:pt x="180" y="439"/>
                      <a:pt x="108" y="402"/>
                      <a:pt x="66" y="351"/>
                    </a:cubicBezTo>
                    <a:cubicBezTo>
                      <a:pt x="19" y="295"/>
                      <a:pt x="4" y="224"/>
                      <a:pt x="21" y="153"/>
                    </a:cubicBezTo>
                    <a:cubicBezTo>
                      <a:pt x="29" y="120"/>
                      <a:pt x="42" y="89"/>
                      <a:pt x="64" y="64"/>
                    </a:cubicBezTo>
                    <a:cubicBezTo>
                      <a:pt x="72" y="56"/>
                      <a:pt x="80" y="49"/>
                      <a:pt x="89" y="42"/>
                    </a:cubicBezTo>
                    <a:cubicBezTo>
                      <a:pt x="108" y="28"/>
                      <a:pt x="128" y="17"/>
                      <a:pt x="144" y="1"/>
                    </a:cubicBezTo>
                    <a:cubicBezTo>
                      <a:pt x="144" y="0"/>
                      <a:pt x="144" y="0"/>
                      <a:pt x="143" y="0"/>
                    </a:cubicBezTo>
                  </a:path>
                </a:pathLst>
              </a:custGeom>
              <a:solidFill>
                <a:srgbClr val="544D4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114" name="Freeform 26">
                <a:extLst>
                  <a:ext uri="{FF2B5EF4-FFF2-40B4-BE49-F238E27FC236}">
                    <a16:creationId xmlns:a16="http://schemas.microsoft.com/office/drawing/2014/main" id="{F73C6EBB-6710-4ACF-BA73-05BE7B7256A6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841" y="2000"/>
                <a:ext cx="401" cy="193"/>
              </a:xfrm>
              <a:custGeom>
                <a:avLst/>
                <a:gdLst>
                  <a:gd name="T0" fmla="*/ 375 w 379"/>
                  <a:gd name="T1" fmla="*/ 0 h 183"/>
                  <a:gd name="T2" fmla="*/ 373 w 379"/>
                  <a:gd name="T3" fmla="*/ 1 h 183"/>
                  <a:gd name="T4" fmla="*/ 371 w 379"/>
                  <a:gd name="T5" fmla="*/ 3 h 183"/>
                  <a:gd name="T6" fmla="*/ 370 w 379"/>
                  <a:gd name="T7" fmla="*/ 8 h 183"/>
                  <a:gd name="T8" fmla="*/ 366 w 379"/>
                  <a:gd name="T9" fmla="*/ 34 h 183"/>
                  <a:gd name="T10" fmla="*/ 358 w 379"/>
                  <a:gd name="T11" fmla="*/ 65 h 183"/>
                  <a:gd name="T12" fmla="*/ 336 w 379"/>
                  <a:gd name="T13" fmla="*/ 105 h 183"/>
                  <a:gd name="T14" fmla="*/ 239 w 379"/>
                  <a:gd name="T15" fmla="*/ 166 h 183"/>
                  <a:gd name="T16" fmla="*/ 181 w 379"/>
                  <a:gd name="T17" fmla="*/ 173 h 183"/>
                  <a:gd name="T18" fmla="*/ 124 w 379"/>
                  <a:gd name="T19" fmla="*/ 166 h 183"/>
                  <a:gd name="T20" fmla="*/ 7 w 379"/>
                  <a:gd name="T21" fmla="*/ 108 h 183"/>
                  <a:gd name="T22" fmla="*/ 5 w 379"/>
                  <a:gd name="T23" fmla="*/ 107 h 183"/>
                  <a:gd name="T24" fmla="*/ 3 w 379"/>
                  <a:gd name="T25" fmla="*/ 106 h 183"/>
                  <a:gd name="T26" fmla="*/ 0 w 379"/>
                  <a:gd name="T27" fmla="*/ 109 h 183"/>
                  <a:gd name="T28" fmla="*/ 1 w 379"/>
                  <a:gd name="T29" fmla="*/ 111 h 183"/>
                  <a:gd name="T30" fmla="*/ 53 w 379"/>
                  <a:gd name="T31" fmla="*/ 147 h 183"/>
                  <a:gd name="T32" fmla="*/ 113 w 379"/>
                  <a:gd name="T33" fmla="*/ 173 h 183"/>
                  <a:gd name="T34" fmla="*/ 182 w 379"/>
                  <a:gd name="T35" fmla="*/ 183 h 183"/>
                  <a:gd name="T36" fmla="*/ 243 w 379"/>
                  <a:gd name="T37" fmla="*/ 175 h 183"/>
                  <a:gd name="T38" fmla="*/ 279 w 379"/>
                  <a:gd name="T39" fmla="*/ 161 h 183"/>
                  <a:gd name="T40" fmla="*/ 378 w 379"/>
                  <a:gd name="T41" fmla="*/ 22 h 183"/>
                  <a:gd name="T42" fmla="*/ 378 w 379"/>
                  <a:gd name="T43" fmla="*/ 3 h 183"/>
                  <a:gd name="T44" fmla="*/ 375 w 379"/>
                  <a:gd name="T45" fmla="*/ 0 h 1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379" h="183">
                    <a:moveTo>
                      <a:pt x="375" y="0"/>
                    </a:moveTo>
                    <a:cubicBezTo>
                      <a:pt x="374" y="0"/>
                      <a:pt x="373" y="1"/>
                      <a:pt x="373" y="1"/>
                    </a:cubicBezTo>
                    <a:cubicBezTo>
                      <a:pt x="372" y="1"/>
                      <a:pt x="372" y="2"/>
                      <a:pt x="371" y="3"/>
                    </a:cubicBezTo>
                    <a:cubicBezTo>
                      <a:pt x="371" y="5"/>
                      <a:pt x="371" y="7"/>
                      <a:pt x="370" y="8"/>
                    </a:cubicBezTo>
                    <a:cubicBezTo>
                      <a:pt x="369" y="17"/>
                      <a:pt x="368" y="25"/>
                      <a:pt x="366" y="34"/>
                    </a:cubicBezTo>
                    <a:cubicBezTo>
                      <a:pt x="364" y="45"/>
                      <a:pt x="362" y="55"/>
                      <a:pt x="358" y="65"/>
                    </a:cubicBezTo>
                    <a:cubicBezTo>
                      <a:pt x="353" y="79"/>
                      <a:pt x="346" y="92"/>
                      <a:pt x="336" y="105"/>
                    </a:cubicBezTo>
                    <a:cubicBezTo>
                      <a:pt x="310" y="134"/>
                      <a:pt x="277" y="156"/>
                      <a:pt x="239" y="166"/>
                    </a:cubicBezTo>
                    <a:cubicBezTo>
                      <a:pt x="220" y="171"/>
                      <a:pt x="201" y="173"/>
                      <a:pt x="181" y="173"/>
                    </a:cubicBezTo>
                    <a:cubicBezTo>
                      <a:pt x="162" y="173"/>
                      <a:pt x="143" y="171"/>
                      <a:pt x="124" y="166"/>
                    </a:cubicBezTo>
                    <a:cubicBezTo>
                      <a:pt x="80" y="154"/>
                      <a:pt x="46" y="129"/>
                      <a:pt x="7" y="108"/>
                    </a:cubicBezTo>
                    <a:cubicBezTo>
                      <a:pt x="6" y="108"/>
                      <a:pt x="6" y="107"/>
                      <a:pt x="5" y="107"/>
                    </a:cubicBezTo>
                    <a:cubicBezTo>
                      <a:pt x="4" y="106"/>
                      <a:pt x="4" y="106"/>
                      <a:pt x="3" y="106"/>
                    </a:cubicBezTo>
                    <a:cubicBezTo>
                      <a:pt x="2" y="106"/>
                      <a:pt x="0" y="107"/>
                      <a:pt x="0" y="109"/>
                    </a:cubicBezTo>
                    <a:cubicBezTo>
                      <a:pt x="0" y="110"/>
                      <a:pt x="0" y="111"/>
                      <a:pt x="1" y="111"/>
                    </a:cubicBezTo>
                    <a:cubicBezTo>
                      <a:pt x="14" y="126"/>
                      <a:pt x="36" y="137"/>
                      <a:pt x="53" y="147"/>
                    </a:cubicBezTo>
                    <a:cubicBezTo>
                      <a:pt x="72" y="158"/>
                      <a:pt x="92" y="167"/>
                      <a:pt x="113" y="173"/>
                    </a:cubicBezTo>
                    <a:cubicBezTo>
                      <a:pt x="136" y="179"/>
                      <a:pt x="159" y="183"/>
                      <a:pt x="182" y="183"/>
                    </a:cubicBezTo>
                    <a:cubicBezTo>
                      <a:pt x="202" y="183"/>
                      <a:pt x="222" y="180"/>
                      <a:pt x="243" y="175"/>
                    </a:cubicBezTo>
                    <a:cubicBezTo>
                      <a:pt x="255" y="171"/>
                      <a:pt x="267" y="167"/>
                      <a:pt x="279" y="161"/>
                    </a:cubicBezTo>
                    <a:cubicBezTo>
                      <a:pt x="333" y="134"/>
                      <a:pt x="373" y="83"/>
                      <a:pt x="378" y="22"/>
                    </a:cubicBezTo>
                    <a:cubicBezTo>
                      <a:pt x="378" y="16"/>
                      <a:pt x="379" y="10"/>
                      <a:pt x="378" y="3"/>
                    </a:cubicBezTo>
                    <a:cubicBezTo>
                      <a:pt x="378" y="1"/>
                      <a:pt x="377" y="0"/>
                      <a:pt x="375" y="0"/>
                    </a:cubicBezTo>
                  </a:path>
                </a:pathLst>
              </a:custGeom>
              <a:solidFill>
                <a:srgbClr val="544D4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115" name="Freeform 27">
                <a:extLst>
                  <a:ext uri="{FF2B5EF4-FFF2-40B4-BE49-F238E27FC236}">
                    <a16:creationId xmlns:a16="http://schemas.microsoft.com/office/drawing/2014/main" id="{18DD8B87-00EB-4419-8DDE-B3467DB6406D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7002" y="1839"/>
                <a:ext cx="76" cy="70"/>
              </a:xfrm>
              <a:custGeom>
                <a:avLst/>
                <a:gdLst>
                  <a:gd name="T0" fmla="*/ 0 w 72"/>
                  <a:gd name="T1" fmla="*/ 49 h 66"/>
                  <a:gd name="T2" fmla="*/ 1 w 72"/>
                  <a:gd name="T3" fmla="*/ 52 h 66"/>
                  <a:gd name="T4" fmla="*/ 1 w 72"/>
                  <a:gd name="T5" fmla="*/ 52 h 66"/>
                  <a:gd name="T6" fmla="*/ 1 w 72"/>
                  <a:gd name="T7" fmla="*/ 52 h 66"/>
                  <a:gd name="T8" fmla="*/ 0 w 72"/>
                  <a:gd name="T9" fmla="*/ 49 h 66"/>
                  <a:gd name="T10" fmla="*/ 27 w 72"/>
                  <a:gd name="T11" fmla="*/ 0 h 66"/>
                  <a:gd name="T12" fmla="*/ 13 w 72"/>
                  <a:gd name="T13" fmla="*/ 5 h 66"/>
                  <a:gd name="T14" fmla="*/ 7 w 72"/>
                  <a:gd name="T15" fmla="*/ 22 h 66"/>
                  <a:gd name="T16" fmla="*/ 7 w 72"/>
                  <a:gd name="T17" fmla="*/ 22 h 66"/>
                  <a:gd name="T18" fmla="*/ 6 w 72"/>
                  <a:gd name="T19" fmla="*/ 22 h 66"/>
                  <a:gd name="T20" fmla="*/ 3 w 72"/>
                  <a:gd name="T21" fmla="*/ 39 h 66"/>
                  <a:gd name="T22" fmla="*/ 3 w 72"/>
                  <a:gd name="T23" fmla="*/ 39 h 66"/>
                  <a:gd name="T24" fmla="*/ 1 w 72"/>
                  <a:gd name="T25" fmla="*/ 48 h 66"/>
                  <a:gd name="T26" fmla="*/ 3 w 72"/>
                  <a:gd name="T27" fmla="*/ 47 h 66"/>
                  <a:gd name="T28" fmla="*/ 4 w 72"/>
                  <a:gd name="T29" fmla="*/ 47 h 66"/>
                  <a:gd name="T30" fmla="*/ 6 w 72"/>
                  <a:gd name="T31" fmla="*/ 48 h 66"/>
                  <a:gd name="T32" fmla="*/ 7 w 72"/>
                  <a:gd name="T33" fmla="*/ 51 h 66"/>
                  <a:gd name="T34" fmla="*/ 7 w 72"/>
                  <a:gd name="T35" fmla="*/ 54 h 66"/>
                  <a:gd name="T36" fmla="*/ 9 w 72"/>
                  <a:gd name="T37" fmla="*/ 52 h 66"/>
                  <a:gd name="T38" fmla="*/ 18 w 72"/>
                  <a:gd name="T39" fmla="*/ 12 h 66"/>
                  <a:gd name="T40" fmla="*/ 18 w 72"/>
                  <a:gd name="T41" fmla="*/ 12 h 66"/>
                  <a:gd name="T42" fmla="*/ 18 w 72"/>
                  <a:gd name="T43" fmla="*/ 12 h 66"/>
                  <a:gd name="T44" fmla="*/ 29 w 72"/>
                  <a:gd name="T45" fmla="*/ 8 h 66"/>
                  <a:gd name="T46" fmla="*/ 50 w 72"/>
                  <a:gd name="T47" fmla="*/ 13 h 66"/>
                  <a:gd name="T48" fmla="*/ 60 w 72"/>
                  <a:gd name="T49" fmla="*/ 32 h 66"/>
                  <a:gd name="T50" fmla="*/ 60 w 72"/>
                  <a:gd name="T51" fmla="*/ 32 h 66"/>
                  <a:gd name="T52" fmla="*/ 59 w 72"/>
                  <a:gd name="T53" fmla="*/ 37 h 66"/>
                  <a:gd name="T54" fmla="*/ 58 w 72"/>
                  <a:gd name="T55" fmla="*/ 51 h 66"/>
                  <a:gd name="T56" fmla="*/ 59 w 72"/>
                  <a:gd name="T57" fmla="*/ 66 h 66"/>
                  <a:gd name="T58" fmla="*/ 60 w 72"/>
                  <a:gd name="T59" fmla="*/ 64 h 66"/>
                  <a:gd name="T60" fmla="*/ 61 w 72"/>
                  <a:gd name="T61" fmla="*/ 64 h 66"/>
                  <a:gd name="T62" fmla="*/ 66 w 72"/>
                  <a:gd name="T63" fmla="*/ 65 h 66"/>
                  <a:gd name="T64" fmla="*/ 65 w 72"/>
                  <a:gd name="T65" fmla="*/ 64 h 66"/>
                  <a:gd name="T66" fmla="*/ 65 w 72"/>
                  <a:gd name="T67" fmla="*/ 52 h 66"/>
                  <a:gd name="T68" fmla="*/ 65 w 72"/>
                  <a:gd name="T69" fmla="*/ 52 h 66"/>
                  <a:gd name="T70" fmla="*/ 66 w 72"/>
                  <a:gd name="T71" fmla="*/ 40 h 66"/>
                  <a:gd name="T72" fmla="*/ 69 w 72"/>
                  <a:gd name="T73" fmla="*/ 18 h 66"/>
                  <a:gd name="T74" fmla="*/ 41 w 72"/>
                  <a:gd name="T75" fmla="*/ 2 h 66"/>
                  <a:gd name="T76" fmla="*/ 27 w 72"/>
                  <a:gd name="T77" fmla="*/ 0 h 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72" h="66">
                    <a:moveTo>
                      <a:pt x="0" y="49"/>
                    </a:moveTo>
                    <a:cubicBezTo>
                      <a:pt x="0" y="50"/>
                      <a:pt x="0" y="51"/>
                      <a:pt x="1" y="52"/>
                    </a:cubicBezTo>
                    <a:cubicBezTo>
                      <a:pt x="1" y="52"/>
                      <a:pt x="1" y="52"/>
                      <a:pt x="1" y="52"/>
                    </a:cubicBezTo>
                    <a:cubicBezTo>
                      <a:pt x="1" y="52"/>
                      <a:pt x="1" y="52"/>
                      <a:pt x="1" y="52"/>
                    </a:cubicBezTo>
                    <a:cubicBezTo>
                      <a:pt x="1" y="51"/>
                      <a:pt x="0" y="50"/>
                      <a:pt x="0" y="49"/>
                    </a:cubicBezTo>
                    <a:moveTo>
                      <a:pt x="27" y="0"/>
                    </a:moveTo>
                    <a:cubicBezTo>
                      <a:pt x="22" y="0"/>
                      <a:pt x="17" y="1"/>
                      <a:pt x="13" y="5"/>
                    </a:cubicBezTo>
                    <a:cubicBezTo>
                      <a:pt x="9" y="9"/>
                      <a:pt x="8" y="16"/>
                      <a:pt x="7" y="22"/>
                    </a:cubicBezTo>
                    <a:cubicBezTo>
                      <a:pt x="7" y="22"/>
                      <a:pt x="7" y="22"/>
                      <a:pt x="7" y="22"/>
                    </a:cubicBezTo>
                    <a:cubicBezTo>
                      <a:pt x="7" y="22"/>
                      <a:pt x="7" y="22"/>
                      <a:pt x="6" y="22"/>
                    </a:cubicBezTo>
                    <a:cubicBezTo>
                      <a:pt x="5" y="28"/>
                      <a:pt x="4" y="34"/>
                      <a:pt x="3" y="39"/>
                    </a:cubicBezTo>
                    <a:cubicBezTo>
                      <a:pt x="3" y="39"/>
                      <a:pt x="3" y="39"/>
                      <a:pt x="3" y="39"/>
                    </a:cubicBezTo>
                    <a:cubicBezTo>
                      <a:pt x="2" y="42"/>
                      <a:pt x="2" y="45"/>
                      <a:pt x="1" y="48"/>
                    </a:cubicBezTo>
                    <a:cubicBezTo>
                      <a:pt x="1" y="48"/>
                      <a:pt x="2" y="47"/>
                      <a:pt x="3" y="47"/>
                    </a:cubicBezTo>
                    <a:cubicBezTo>
                      <a:pt x="3" y="47"/>
                      <a:pt x="3" y="47"/>
                      <a:pt x="4" y="47"/>
                    </a:cubicBezTo>
                    <a:cubicBezTo>
                      <a:pt x="5" y="48"/>
                      <a:pt x="5" y="48"/>
                      <a:pt x="6" y="48"/>
                    </a:cubicBezTo>
                    <a:cubicBezTo>
                      <a:pt x="7" y="49"/>
                      <a:pt x="7" y="50"/>
                      <a:pt x="7" y="51"/>
                    </a:cubicBezTo>
                    <a:cubicBezTo>
                      <a:pt x="7" y="52"/>
                      <a:pt x="7" y="53"/>
                      <a:pt x="7" y="54"/>
                    </a:cubicBezTo>
                    <a:cubicBezTo>
                      <a:pt x="7" y="54"/>
                      <a:pt x="8" y="53"/>
                      <a:pt x="9" y="52"/>
                    </a:cubicBezTo>
                    <a:cubicBezTo>
                      <a:pt x="14" y="41"/>
                      <a:pt x="11" y="23"/>
                      <a:pt x="18" y="12"/>
                    </a:cubicBezTo>
                    <a:cubicBezTo>
                      <a:pt x="18" y="12"/>
                      <a:pt x="18" y="12"/>
                      <a:pt x="18" y="12"/>
                    </a:cubicBezTo>
                    <a:cubicBezTo>
                      <a:pt x="18" y="12"/>
                      <a:pt x="18" y="12"/>
                      <a:pt x="18" y="12"/>
                    </a:cubicBezTo>
                    <a:cubicBezTo>
                      <a:pt x="20" y="9"/>
                      <a:pt x="24" y="8"/>
                      <a:pt x="29" y="8"/>
                    </a:cubicBezTo>
                    <a:cubicBezTo>
                      <a:pt x="36" y="8"/>
                      <a:pt x="45" y="11"/>
                      <a:pt x="50" y="13"/>
                    </a:cubicBezTo>
                    <a:cubicBezTo>
                      <a:pt x="61" y="17"/>
                      <a:pt x="62" y="22"/>
                      <a:pt x="60" y="32"/>
                    </a:cubicBezTo>
                    <a:cubicBezTo>
                      <a:pt x="60" y="32"/>
                      <a:pt x="60" y="32"/>
                      <a:pt x="60" y="32"/>
                    </a:cubicBezTo>
                    <a:cubicBezTo>
                      <a:pt x="59" y="34"/>
                      <a:pt x="59" y="35"/>
                      <a:pt x="59" y="37"/>
                    </a:cubicBezTo>
                    <a:cubicBezTo>
                      <a:pt x="58" y="42"/>
                      <a:pt x="58" y="47"/>
                      <a:pt x="58" y="51"/>
                    </a:cubicBezTo>
                    <a:cubicBezTo>
                      <a:pt x="57" y="56"/>
                      <a:pt x="56" y="62"/>
                      <a:pt x="59" y="66"/>
                    </a:cubicBezTo>
                    <a:cubicBezTo>
                      <a:pt x="59" y="65"/>
                      <a:pt x="59" y="64"/>
                      <a:pt x="60" y="64"/>
                    </a:cubicBezTo>
                    <a:cubicBezTo>
                      <a:pt x="61" y="64"/>
                      <a:pt x="61" y="64"/>
                      <a:pt x="61" y="64"/>
                    </a:cubicBezTo>
                    <a:cubicBezTo>
                      <a:pt x="63" y="65"/>
                      <a:pt x="65" y="65"/>
                      <a:pt x="66" y="65"/>
                    </a:cubicBezTo>
                    <a:cubicBezTo>
                      <a:pt x="66" y="65"/>
                      <a:pt x="66" y="64"/>
                      <a:pt x="65" y="64"/>
                    </a:cubicBezTo>
                    <a:cubicBezTo>
                      <a:pt x="65" y="64"/>
                      <a:pt x="65" y="52"/>
                      <a:pt x="65" y="52"/>
                    </a:cubicBezTo>
                    <a:cubicBezTo>
                      <a:pt x="65" y="52"/>
                      <a:pt x="65" y="52"/>
                      <a:pt x="65" y="52"/>
                    </a:cubicBezTo>
                    <a:cubicBezTo>
                      <a:pt x="65" y="48"/>
                      <a:pt x="66" y="44"/>
                      <a:pt x="66" y="40"/>
                    </a:cubicBezTo>
                    <a:cubicBezTo>
                      <a:pt x="67" y="33"/>
                      <a:pt x="72" y="25"/>
                      <a:pt x="69" y="18"/>
                    </a:cubicBezTo>
                    <a:cubicBezTo>
                      <a:pt x="65" y="7"/>
                      <a:pt x="50" y="4"/>
                      <a:pt x="41" y="2"/>
                    </a:cubicBezTo>
                    <a:cubicBezTo>
                      <a:pt x="36" y="1"/>
                      <a:pt x="32" y="0"/>
                      <a:pt x="27" y="0"/>
                    </a:cubicBezTo>
                  </a:path>
                </a:pathLst>
              </a:custGeom>
              <a:solidFill>
                <a:srgbClr val="544D4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116" name="Freeform 28">
                <a:extLst>
                  <a:ext uri="{FF2B5EF4-FFF2-40B4-BE49-F238E27FC236}">
                    <a16:creationId xmlns:a16="http://schemas.microsoft.com/office/drawing/2014/main" id="{3E45294A-B1E9-4760-8F48-EEDDBCF92C76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939" y="1888"/>
                <a:ext cx="72" cy="78"/>
              </a:xfrm>
              <a:custGeom>
                <a:avLst/>
                <a:gdLst>
                  <a:gd name="T0" fmla="*/ 19 w 68"/>
                  <a:gd name="T1" fmla="*/ 0 h 73"/>
                  <a:gd name="T2" fmla="*/ 15 w 68"/>
                  <a:gd name="T3" fmla="*/ 0 h 73"/>
                  <a:gd name="T4" fmla="*/ 4 w 68"/>
                  <a:gd name="T5" fmla="*/ 15 h 73"/>
                  <a:gd name="T6" fmla="*/ 4 w 68"/>
                  <a:gd name="T7" fmla="*/ 15 h 73"/>
                  <a:gd name="T8" fmla="*/ 3 w 68"/>
                  <a:gd name="T9" fmla="*/ 22 h 73"/>
                  <a:gd name="T10" fmla="*/ 10 w 68"/>
                  <a:gd name="T11" fmla="*/ 62 h 73"/>
                  <a:gd name="T12" fmla="*/ 33 w 68"/>
                  <a:gd name="T13" fmla="*/ 69 h 73"/>
                  <a:gd name="T14" fmla="*/ 60 w 68"/>
                  <a:gd name="T15" fmla="*/ 73 h 73"/>
                  <a:gd name="T16" fmla="*/ 60 w 68"/>
                  <a:gd name="T17" fmla="*/ 72 h 73"/>
                  <a:gd name="T18" fmla="*/ 64 w 68"/>
                  <a:gd name="T19" fmla="*/ 69 h 73"/>
                  <a:gd name="T20" fmla="*/ 67 w 68"/>
                  <a:gd name="T21" fmla="*/ 70 h 73"/>
                  <a:gd name="T22" fmla="*/ 64 w 68"/>
                  <a:gd name="T23" fmla="*/ 65 h 73"/>
                  <a:gd name="T24" fmla="*/ 63 w 68"/>
                  <a:gd name="T25" fmla="*/ 65 h 73"/>
                  <a:gd name="T26" fmla="*/ 61 w 68"/>
                  <a:gd name="T27" fmla="*/ 65 h 73"/>
                  <a:gd name="T28" fmla="*/ 36 w 68"/>
                  <a:gd name="T29" fmla="*/ 61 h 73"/>
                  <a:gd name="T30" fmla="*/ 12 w 68"/>
                  <a:gd name="T31" fmla="*/ 50 h 73"/>
                  <a:gd name="T32" fmla="*/ 11 w 68"/>
                  <a:gd name="T33" fmla="*/ 24 h 73"/>
                  <a:gd name="T34" fmla="*/ 12 w 68"/>
                  <a:gd name="T35" fmla="*/ 13 h 73"/>
                  <a:gd name="T36" fmla="*/ 12 w 68"/>
                  <a:gd name="T37" fmla="*/ 13 h 73"/>
                  <a:gd name="T38" fmla="*/ 20 w 68"/>
                  <a:gd name="T39" fmla="*/ 8 h 73"/>
                  <a:gd name="T40" fmla="*/ 24 w 68"/>
                  <a:gd name="T41" fmla="*/ 8 h 73"/>
                  <a:gd name="T42" fmla="*/ 54 w 68"/>
                  <a:gd name="T43" fmla="*/ 13 h 73"/>
                  <a:gd name="T44" fmla="*/ 54 w 68"/>
                  <a:gd name="T45" fmla="*/ 13 h 73"/>
                  <a:gd name="T46" fmla="*/ 57 w 68"/>
                  <a:gd name="T47" fmla="*/ 13 h 73"/>
                  <a:gd name="T48" fmla="*/ 57 w 68"/>
                  <a:gd name="T49" fmla="*/ 13 h 73"/>
                  <a:gd name="T50" fmla="*/ 66 w 68"/>
                  <a:gd name="T51" fmla="*/ 7 h 73"/>
                  <a:gd name="T52" fmla="*/ 66 w 68"/>
                  <a:gd name="T53" fmla="*/ 4 h 73"/>
                  <a:gd name="T54" fmla="*/ 65 w 68"/>
                  <a:gd name="T55" fmla="*/ 1 h 73"/>
                  <a:gd name="T56" fmla="*/ 63 w 68"/>
                  <a:gd name="T57" fmla="*/ 0 h 73"/>
                  <a:gd name="T58" fmla="*/ 62 w 68"/>
                  <a:gd name="T59" fmla="*/ 0 h 73"/>
                  <a:gd name="T60" fmla="*/ 60 w 68"/>
                  <a:gd name="T61" fmla="*/ 1 h 73"/>
                  <a:gd name="T62" fmla="*/ 59 w 68"/>
                  <a:gd name="T63" fmla="*/ 2 h 73"/>
                  <a:gd name="T64" fmla="*/ 60 w 68"/>
                  <a:gd name="T65" fmla="*/ 5 h 73"/>
                  <a:gd name="T66" fmla="*/ 60 w 68"/>
                  <a:gd name="T67" fmla="*/ 5 h 73"/>
                  <a:gd name="T68" fmla="*/ 60 w 68"/>
                  <a:gd name="T69" fmla="*/ 5 h 73"/>
                  <a:gd name="T70" fmla="*/ 57 w 68"/>
                  <a:gd name="T71" fmla="*/ 6 h 73"/>
                  <a:gd name="T72" fmla="*/ 56 w 68"/>
                  <a:gd name="T73" fmla="*/ 6 h 73"/>
                  <a:gd name="T74" fmla="*/ 44 w 68"/>
                  <a:gd name="T75" fmla="*/ 4 h 73"/>
                  <a:gd name="T76" fmla="*/ 37 w 68"/>
                  <a:gd name="T77" fmla="*/ 2 h 73"/>
                  <a:gd name="T78" fmla="*/ 19 w 68"/>
                  <a:gd name="T79" fmla="*/ 0 h 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</a:cxnLst>
                <a:rect l="0" t="0" r="r" b="b"/>
                <a:pathLst>
                  <a:path w="68" h="73">
                    <a:moveTo>
                      <a:pt x="19" y="0"/>
                    </a:moveTo>
                    <a:cubicBezTo>
                      <a:pt x="17" y="0"/>
                      <a:pt x="16" y="0"/>
                      <a:pt x="15" y="0"/>
                    </a:cubicBezTo>
                    <a:cubicBezTo>
                      <a:pt x="7" y="2"/>
                      <a:pt x="5" y="8"/>
                      <a:pt x="4" y="15"/>
                    </a:cubicBezTo>
                    <a:cubicBezTo>
                      <a:pt x="4" y="15"/>
                      <a:pt x="4" y="15"/>
                      <a:pt x="4" y="15"/>
                    </a:cubicBezTo>
                    <a:cubicBezTo>
                      <a:pt x="3" y="17"/>
                      <a:pt x="3" y="20"/>
                      <a:pt x="3" y="22"/>
                    </a:cubicBezTo>
                    <a:cubicBezTo>
                      <a:pt x="3" y="33"/>
                      <a:pt x="0" y="54"/>
                      <a:pt x="10" y="62"/>
                    </a:cubicBezTo>
                    <a:cubicBezTo>
                      <a:pt x="16" y="68"/>
                      <a:pt x="26" y="67"/>
                      <a:pt x="33" y="69"/>
                    </a:cubicBezTo>
                    <a:cubicBezTo>
                      <a:pt x="42" y="71"/>
                      <a:pt x="51" y="73"/>
                      <a:pt x="60" y="73"/>
                    </a:cubicBezTo>
                    <a:cubicBezTo>
                      <a:pt x="60" y="73"/>
                      <a:pt x="60" y="72"/>
                      <a:pt x="60" y="72"/>
                    </a:cubicBezTo>
                    <a:cubicBezTo>
                      <a:pt x="61" y="70"/>
                      <a:pt x="62" y="69"/>
                      <a:pt x="64" y="69"/>
                    </a:cubicBezTo>
                    <a:cubicBezTo>
                      <a:pt x="65" y="69"/>
                      <a:pt x="66" y="69"/>
                      <a:pt x="67" y="70"/>
                    </a:cubicBezTo>
                    <a:cubicBezTo>
                      <a:pt x="68" y="68"/>
                      <a:pt x="67" y="65"/>
                      <a:pt x="64" y="65"/>
                    </a:cubicBezTo>
                    <a:cubicBezTo>
                      <a:pt x="64" y="65"/>
                      <a:pt x="63" y="65"/>
                      <a:pt x="63" y="65"/>
                    </a:cubicBezTo>
                    <a:cubicBezTo>
                      <a:pt x="63" y="65"/>
                      <a:pt x="62" y="65"/>
                      <a:pt x="61" y="65"/>
                    </a:cubicBezTo>
                    <a:cubicBezTo>
                      <a:pt x="52" y="65"/>
                      <a:pt x="44" y="63"/>
                      <a:pt x="36" y="61"/>
                    </a:cubicBezTo>
                    <a:cubicBezTo>
                      <a:pt x="26" y="59"/>
                      <a:pt x="16" y="61"/>
                      <a:pt x="12" y="50"/>
                    </a:cubicBezTo>
                    <a:cubicBezTo>
                      <a:pt x="10" y="42"/>
                      <a:pt x="11" y="32"/>
                      <a:pt x="11" y="24"/>
                    </a:cubicBezTo>
                    <a:cubicBezTo>
                      <a:pt x="11" y="19"/>
                      <a:pt x="10" y="16"/>
                      <a:pt x="12" y="13"/>
                    </a:cubicBezTo>
                    <a:cubicBezTo>
                      <a:pt x="12" y="13"/>
                      <a:pt x="12" y="13"/>
                      <a:pt x="12" y="13"/>
                    </a:cubicBezTo>
                    <a:cubicBezTo>
                      <a:pt x="13" y="11"/>
                      <a:pt x="15" y="9"/>
                      <a:pt x="20" y="8"/>
                    </a:cubicBezTo>
                    <a:cubicBezTo>
                      <a:pt x="22" y="8"/>
                      <a:pt x="23" y="8"/>
                      <a:pt x="24" y="8"/>
                    </a:cubicBezTo>
                    <a:cubicBezTo>
                      <a:pt x="35" y="8"/>
                      <a:pt x="44" y="13"/>
                      <a:pt x="54" y="13"/>
                    </a:cubicBezTo>
                    <a:cubicBezTo>
                      <a:pt x="54" y="13"/>
                      <a:pt x="54" y="13"/>
                      <a:pt x="54" y="13"/>
                    </a:cubicBezTo>
                    <a:cubicBezTo>
                      <a:pt x="55" y="13"/>
                      <a:pt x="56" y="13"/>
                      <a:pt x="57" y="13"/>
                    </a:cubicBezTo>
                    <a:cubicBezTo>
                      <a:pt x="57" y="13"/>
                      <a:pt x="57" y="13"/>
                      <a:pt x="57" y="13"/>
                    </a:cubicBezTo>
                    <a:cubicBezTo>
                      <a:pt x="61" y="12"/>
                      <a:pt x="64" y="10"/>
                      <a:pt x="66" y="7"/>
                    </a:cubicBezTo>
                    <a:cubicBezTo>
                      <a:pt x="66" y="6"/>
                      <a:pt x="66" y="5"/>
                      <a:pt x="66" y="4"/>
                    </a:cubicBezTo>
                    <a:cubicBezTo>
                      <a:pt x="66" y="3"/>
                      <a:pt x="66" y="2"/>
                      <a:pt x="65" y="1"/>
                    </a:cubicBezTo>
                    <a:cubicBezTo>
                      <a:pt x="64" y="1"/>
                      <a:pt x="64" y="1"/>
                      <a:pt x="63" y="0"/>
                    </a:cubicBezTo>
                    <a:cubicBezTo>
                      <a:pt x="62" y="0"/>
                      <a:pt x="62" y="0"/>
                      <a:pt x="62" y="0"/>
                    </a:cubicBezTo>
                    <a:cubicBezTo>
                      <a:pt x="61" y="0"/>
                      <a:pt x="60" y="1"/>
                      <a:pt x="60" y="1"/>
                    </a:cubicBezTo>
                    <a:cubicBezTo>
                      <a:pt x="60" y="2"/>
                      <a:pt x="59" y="2"/>
                      <a:pt x="59" y="2"/>
                    </a:cubicBezTo>
                    <a:cubicBezTo>
                      <a:pt x="59" y="3"/>
                      <a:pt x="60" y="4"/>
                      <a:pt x="60" y="5"/>
                    </a:cubicBezTo>
                    <a:cubicBezTo>
                      <a:pt x="60" y="5"/>
                      <a:pt x="60" y="5"/>
                      <a:pt x="60" y="5"/>
                    </a:cubicBezTo>
                    <a:cubicBezTo>
                      <a:pt x="60" y="5"/>
                      <a:pt x="60" y="5"/>
                      <a:pt x="60" y="5"/>
                    </a:cubicBezTo>
                    <a:cubicBezTo>
                      <a:pt x="59" y="5"/>
                      <a:pt x="58" y="6"/>
                      <a:pt x="57" y="6"/>
                    </a:cubicBezTo>
                    <a:cubicBezTo>
                      <a:pt x="57" y="6"/>
                      <a:pt x="57" y="6"/>
                      <a:pt x="56" y="6"/>
                    </a:cubicBezTo>
                    <a:cubicBezTo>
                      <a:pt x="52" y="6"/>
                      <a:pt x="48" y="5"/>
                      <a:pt x="44" y="4"/>
                    </a:cubicBezTo>
                    <a:cubicBezTo>
                      <a:pt x="42" y="3"/>
                      <a:pt x="39" y="2"/>
                      <a:pt x="37" y="2"/>
                    </a:cubicBezTo>
                    <a:cubicBezTo>
                      <a:pt x="32" y="1"/>
                      <a:pt x="24" y="0"/>
                      <a:pt x="19" y="0"/>
                    </a:cubicBezTo>
                  </a:path>
                </a:pathLst>
              </a:custGeom>
              <a:solidFill>
                <a:srgbClr val="544D4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117" name="Freeform 29">
                <a:extLst>
                  <a:ext uri="{FF2B5EF4-FFF2-40B4-BE49-F238E27FC236}">
                    <a16:creationId xmlns:a16="http://schemas.microsoft.com/office/drawing/2014/main" id="{B998D157-99AC-41DA-8F58-ED8F6E22F7D7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7061" y="1906"/>
                <a:ext cx="71" cy="75"/>
              </a:xfrm>
              <a:custGeom>
                <a:avLst/>
                <a:gdLst>
                  <a:gd name="T0" fmla="*/ 4 w 67"/>
                  <a:gd name="T1" fmla="*/ 0 h 70"/>
                  <a:gd name="T2" fmla="*/ 3 w 67"/>
                  <a:gd name="T3" fmla="*/ 2 h 70"/>
                  <a:gd name="T4" fmla="*/ 3 w 67"/>
                  <a:gd name="T5" fmla="*/ 3 h 70"/>
                  <a:gd name="T6" fmla="*/ 58 w 67"/>
                  <a:gd name="T7" fmla="*/ 27 h 70"/>
                  <a:gd name="T8" fmla="*/ 58 w 67"/>
                  <a:gd name="T9" fmla="*/ 43 h 70"/>
                  <a:gd name="T10" fmla="*/ 55 w 67"/>
                  <a:gd name="T11" fmla="*/ 56 h 70"/>
                  <a:gd name="T12" fmla="*/ 45 w 67"/>
                  <a:gd name="T13" fmla="*/ 62 h 70"/>
                  <a:gd name="T14" fmla="*/ 43 w 67"/>
                  <a:gd name="T15" fmla="*/ 62 h 70"/>
                  <a:gd name="T16" fmla="*/ 29 w 67"/>
                  <a:gd name="T17" fmla="*/ 60 h 70"/>
                  <a:gd name="T18" fmla="*/ 17 w 67"/>
                  <a:gd name="T19" fmla="*/ 59 h 70"/>
                  <a:gd name="T20" fmla="*/ 5 w 67"/>
                  <a:gd name="T21" fmla="*/ 60 h 70"/>
                  <a:gd name="T22" fmla="*/ 3 w 67"/>
                  <a:gd name="T23" fmla="*/ 66 h 70"/>
                  <a:gd name="T24" fmla="*/ 5 w 67"/>
                  <a:gd name="T25" fmla="*/ 63 h 70"/>
                  <a:gd name="T26" fmla="*/ 7 w 67"/>
                  <a:gd name="T27" fmla="*/ 62 h 70"/>
                  <a:gd name="T28" fmla="*/ 8 w 67"/>
                  <a:gd name="T29" fmla="*/ 65 h 70"/>
                  <a:gd name="T30" fmla="*/ 7 w 67"/>
                  <a:gd name="T31" fmla="*/ 67 h 70"/>
                  <a:gd name="T32" fmla="*/ 35 w 67"/>
                  <a:gd name="T33" fmla="*/ 69 h 70"/>
                  <a:gd name="T34" fmla="*/ 44 w 67"/>
                  <a:gd name="T35" fmla="*/ 70 h 70"/>
                  <a:gd name="T36" fmla="*/ 52 w 67"/>
                  <a:gd name="T37" fmla="*/ 69 h 70"/>
                  <a:gd name="T38" fmla="*/ 54 w 67"/>
                  <a:gd name="T39" fmla="*/ 69 h 70"/>
                  <a:gd name="T40" fmla="*/ 66 w 67"/>
                  <a:gd name="T41" fmla="*/ 38 h 70"/>
                  <a:gd name="T42" fmla="*/ 54 w 67"/>
                  <a:gd name="T43" fmla="*/ 8 h 70"/>
                  <a:gd name="T44" fmla="*/ 31 w 67"/>
                  <a:gd name="T45" fmla="*/ 4 h 70"/>
                  <a:gd name="T46" fmla="*/ 16 w 67"/>
                  <a:gd name="T47" fmla="*/ 1 h 70"/>
                  <a:gd name="T48" fmla="*/ 14 w 67"/>
                  <a:gd name="T49" fmla="*/ 1 h 70"/>
                  <a:gd name="T50" fmla="*/ 12 w 67"/>
                  <a:gd name="T51" fmla="*/ 1 h 70"/>
                  <a:gd name="T52" fmla="*/ 10 w 67"/>
                  <a:gd name="T53" fmla="*/ 1 h 70"/>
                  <a:gd name="T54" fmla="*/ 10 w 67"/>
                  <a:gd name="T55" fmla="*/ 1 h 70"/>
                  <a:gd name="T56" fmla="*/ 5 w 67"/>
                  <a:gd name="T57" fmla="*/ 0 h 70"/>
                  <a:gd name="T58" fmla="*/ 4 w 67"/>
                  <a:gd name="T59" fmla="*/ 0 h 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67" h="70">
                    <a:moveTo>
                      <a:pt x="4" y="0"/>
                    </a:moveTo>
                    <a:cubicBezTo>
                      <a:pt x="3" y="0"/>
                      <a:pt x="3" y="1"/>
                      <a:pt x="3" y="2"/>
                    </a:cubicBezTo>
                    <a:cubicBezTo>
                      <a:pt x="3" y="2"/>
                      <a:pt x="3" y="2"/>
                      <a:pt x="3" y="3"/>
                    </a:cubicBezTo>
                    <a:cubicBezTo>
                      <a:pt x="16" y="18"/>
                      <a:pt x="55" y="3"/>
                      <a:pt x="58" y="27"/>
                    </a:cubicBezTo>
                    <a:cubicBezTo>
                      <a:pt x="59" y="33"/>
                      <a:pt x="58" y="38"/>
                      <a:pt x="58" y="43"/>
                    </a:cubicBezTo>
                    <a:cubicBezTo>
                      <a:pt x="57" y="48"/>
                      <a:pt x="57" y="53"/>
                      <a:pt x="55" y="56"/>
                    </a:cubicBezTo>
                    <a:cubicBezTo>
                      <a:pt x="53" y="59"/>
                      <a:pt x="50" y="61"/>
                      <a:pt x="45" y="62"/>
                    </a:cubicBezTo>
                    <a:cubicBezTo>
                      <a:pt x="44" y="62"/>
                      <a:pt x="44" y="62"/>
                      <a:pt x="43" y="62"/>
                    </a:cubicBezTo>
                    <a:cubicBezTo>
                      <a:pt x="38" y="62"/>
                      <a:pt x="34" y="60"/>
                      <a:pt x="29" y="60"/>
                    </a:cubicBezTo>
                    <a:cubicBezTo>
                      <a:pt x="25" y="59"/>
                      <a:pt x="21" y="59"/>
                      <a:pt x="17" y="59"/>
                    </a:cubicBezTo>
                    <a:cubicBezTo>
                      <a:pt x="13" y="59"/>
                      <a:pt x="8" y="59"/>
                      <a:pt x="5" y="60"/>
                    </a:cubicBezTo>
                    <a:cubicBezTo>
                      <a:pt x="1" y="60"/>
                      <a:pt x="0" y="65"/>
                      <a:pt x="3" y="66"/>
                    </a:cubicBezTo>
                    <a:cubicBezTo>
                      <a:pt x="4" y="65"/>
                      <a:pt x="4" y="64"/>
                      <a:pt x="5" y="63"/>
                    </a:cubicBezTo>
                    <a:cubicBezTo>
                      <a:pt x="5" y="62"/>
                      <a:pt x="6" y="62"/>
                      <a:pt x="7" y="62"/>
                    </a:cubicBezTo>
                    <a:cubicBezTo>
                      <a:pt x="8" y="62"/>
                      <a:pt x="9" y="63"/>
                      <a:pt x="8" y="65"/>
                    </a:cubicBezTo>
                    <a:cubicBezTo>
                      <a:pt x="8" y="66"/>
                      <a:pt x="8" y="66"/>
                      <a:pt x="7" y="67"/>
                    </a:cubicBezTo>
                    <a:cubicBezTo>
                      <a:pt x="17" y="68"/>
                      <a:pt x="26" y="68"/>
                      <a:pt x="35" y="69"/>
                    </a:cubicBezTo>
                    <a:cubicBezTo>
                      <a:pt x="38" y="70"/>
                      <a:pt x="41" y="70"/>
                      <a:pt x="44" y="70"/>
                    </a:cubicBezTo>
                    <a:cubicBezTo>
                      <a:pt x="47" y="70"/>
                      <a:pt x="49" y="70"/>
                      <a:pt x="52" y="69"/>
                    </a:cubicBezTo>
                    <a:cubicBezTo>
                      <a:pt x="53" y="69"/>
                      <a:pt x="53" y="69"/>
                      <a:pt x="54" y="69"/>
                    </a:cubicBezTo>
                    <a:cubicBezTo>
                      <a:pt x="66" y="64"/>
                      <a:pt x="65" y="49"/>
                      <a:pt x="66" y="38"/>
                    </a:cubicBezTo>
                    <a:cubicBezTo>
                      <a:pt x="67" y="26"/>
                      <a:pt x="66" y="13"/>
                      <a:pt x="54" y="8"/>
                    </a:cubicBezTo>
                    <a:cubicBezTo>
                      <a:pt x="46" y="6"/>
                      <a:pt x="39" y="5"/>
                      <a:pt x="31" y="4"/>
                    </a:cubicBezTo>
                    <a:cubicBezTo>
                      <a:pt x="26" y="3"/>
                      <a:pt x="21" y="1"/>
                      <a:pt x="16" y="1"/>
                    </a:cubicBezTo>
                    <a:cubicBezTo>
                      <a:pt x="15" y="1"/>
                      <a:pt x="14" y="1"/>
                      <a:pt x="14" y="1"/>
                    </a:cubicBezTo>
                    <a:cubicBezTo>
                      <a:pt x="13" y="1"/>
                      <a:pt x="12" y="1"/>
                      <a:pt x="12" y="1"/>
                    </a:cubicBezTo>
                    <a:cubicBezTo>
                      <a:pt x="11" y="1"/>
                      <a:pt x="11" y="1"/>
                      <a:pt x="10" y="1"/>
                    </a:cubicBezTo>
                    <a:cubicBezTo>
                      <a:pt x="10" y="1"/>
                      <a:pt x="10" y="1"/>
                      <a:pt x="10" y="1"/>
                    </a:cubicBezTo>
                    <a:cubicBezTo>
                      <a:pt x="9" y="1"/>
                      <a:pt x="7" y="1"/>
                      <a:pt x="5" y="0"/>
                    </a:cubicBezTo>
                    <a:cubicBezTo>
                      <a:pt x="5" y="0"/>
                      <a:pt x="5" y="0"/>
                      <a:pt x="4" y="0"/>
                    </a:cubicBezTo>
                  </a:path>
                </a:pathLst>
              </a:custGeom>
              <a:solidFill>
                <a:srgbClr val="544D4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118" name="Freeform 30">
                <a:extLst>
                  <a:ext uri="{FF2B5EF4-FFF2-40B4-BE49-F238E27FC236}">
                    <a16:creationId xmlns:a16="http://schemas.microsoft.com/office/drawing/2014/main" id="{BEF7EB94-1492-46EB-B912-2A5E7FFAA8EB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994" y="1962"/>
                <a:ext cx="77" cy="69"/>
              </a:xfrm>
              <a:custGeom>
                <a:avLst/>
                <a:gdLst>
                  <a:gd name="T0" fmla="*/ 12 w 72"/>
                  <a:gd name="T1" fmla="*/ 0 h 66"/>
                  <a:gd name="T2" fmla="*/ 8 w 72"/>
                  <a:gd name="T3" fmla="*/ 3 h 66"/>
                  <a:gd name="T4" fmla="*/ 8 w 72"/>
                  <a:gd name="T5" fmla="*/ 4 h 66"/>
                  <a:gd name="T6" fmla="*/ 6 w 72"/>
                  <a:gd name="T7" fmla="*/ 15 h 66"/>
                  <a:gd name="T8" fmla="*/ 6 w 72"/>
                  <a:gd name="T9" fmla="*/ 15 h 66"/>
                  <a:gd name="T10" fmla="*/ 2 w 72"/>
                  <a:gd name="T11" fmla="*/ 31 h 66"/>
                  <a:gd name="T12" fmla="*/ 1 w 72"/>
                  <a:gd name="T13" fmla="*/ 39 h 66"/>
                  <a:gd name="T14" fmla="*/ 1 w 72"/>
                  <a:gd name="T15" fmla="*/ 39 h 66"/>
                  <a:gd name="T16" fmla="*/ 2 w 72"/>
                  <a:gd name="T17" fmla="*/ 48 h 66"/>
                  <a:gd name="T18" fmla="*/ 10 w 72"/>
                  <a:gd name="T19" fmla="*/ 56 h 66"/>
                  <a:gd name="T20" fmla="*/ 36 w 72"/>
                  <a:gd name="T21" fmla="*/ 65 h 66"/>
                  <a:gd name="T22" fmla="*/ 48 w 72"/>
                  <a:gd name="T23" fmla="*/ 66 h 66"/>
                  <a:gd name="T24" fmla="*/ 56 w 72"/>
                  <a:gd name="T25" fmla="*/ 65 h 66"/>
                  <a:gd name="T26" fmla="*/ 67 w 72"/>
                  <a:gd name="T27" fmla="*/ 56 h 66"/>
                  <a:gd name="T28" fmla="*/ 69 w 72"/>
                  <a:gd name="T29" fmla="*/ 20 h 66"/>
                  <a:gd name="T30" fmla="*/ 70 w 72"/>
                  <a:gd name="T31" fmla="*/ 15 h 66"/>
                  <a:gd name="T32" fmla="*/ 71 w 72"/>
                  <a:gd name="T33" fmla="*/ 13 h 66"/>
                  <a:gd name="T34" fmla="*/ 70 w 72"/>
                  <a:gd name="T35" fmla="*/ 10 h 66"/>
                  <a:gd name="T36" fmla="*/ 68 w 72"/>
                  <a:gd name="T37" fmla="*/ 11 h 66"/>
                  <a:gd name="T38" fmla="*/ 66 w 72"/>
                  <a:gd name="T39" fmla="*/ 14 h 66"/>
                  <a:gd name="T40" fmla="*/ 64 w 72"/>
                  <a:gd name="T41" fmla="*/ 20 h 66"/>
                  <a:gd name="T42" fmla="*/ 63 w 72"/>
                  <a:gd name="T43" fmla="*/ 35 h 66"/>
                  <a:gd name="T44" fmla="*/ 59 w 72"/>
                  <a:gd name="T45" fmla="*/ 54 h 66"/>
                  <a:gd name="T46" fmla="*/ 59 w 72"/>
                  <a:gd name="T47" fmla="*/ 54 h 66"/>
                  <a:gd name="T48" fmla="*/ 52 w 72"/>
                  <a:gd name="T49" fmla="*/ 58 h 66"/>
                  <a:gd name="T50" fmla="*/ 45 w 72"/>
                  <a:gd name="T51" fmla="*/ 57 h 66"/>
                  <a:gd name="T52" fmla="*/ 24 w 72"/>
                  <a:gd name="T53" fmla="*/ 51 h 66"/>
                  <a:gd name="T54" fmla="*/ 10 w 72"/>
                  <a:gd name="T55" fmla="*/ 38 h 66"/>
                  <a:gd name="T56" fmla="*/ 16 w 72"/>
                  <a:gd name="T57" fmla="*/ 4 h 66"/>
                  <a:gd name="T58" fmla="*/ 15 w 72"/>
                  <a:gd name="T59" fmla="*/ 1 h 66"/>
                  <a:gd name="T60" fmla="*/ 12 w 72"/>
                  <a:gd name="T61" fmla="*/ 0 h 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72" h="66">
                    <a:moveTo>
                      <a:pt x="12" y="0"/>
                    </a:moveTo>
                    <a:cubicBezTo>
                      <a:pt x="10" y="0"/>
                      <a:pt x="9" y="1"/>
                      <a:pt x="8" y="3"/>
                    </a:cubicBezTo>
                    <a:cubicBezTo>
                      <a:pt x="8" y="3"/>
                      <a:pt x="8" y="4"/>
                      <a:pt x="8" y="4"/>
                    </a:cubicBezTo>
                    <a:cubicBezTo>
                      <a:pt x="7" y="8"/>
                      <a:pt x="6" y="11"/>
                      <a:pt x="6" y="15"/>
                    </a:cubicBezTo>
                    <a:cubicBezTo>
                      <a:pt x="6" y="15"/>
                      <a:pt x="6" y="15"/>
                      <a:pt x="6" y="15"/>
                    </a:cubicBezTo>
                    <a:cubicBezTo>
                      <a:pt x="4" y="20"/>
                      <a:pt x="3" y="26"/>
                      <a:pt x="2" y="31"/>
                    </a:cubicBezTo>
                    <a:cubicBezTo>
                      <a:pt x="1" y="34"/>
                      <a:pt x="1" y="36"/>
                      <a:pt x="1" y="39"/>
                    </a:cubicBezTo>
                    <a:cubicBezTo>
                      <a:pt x="1" y="39"/>
                      <a:pt x="1" y="39"/>
                      <a:pt x="1" y="39"/>
                    </a:cubicBezTo>
                    <a:cubicBezTo>
                      <a:pt x="0" y="42"/>
                      <a:pt x="1" y="45"/>
                      <a:pt x="2" y="48"/>
                    </a:cubicBezTo>
                    <a:cubicBezTo>
                      <a:pt x="4" y="52"/>
                      <a:pt x="6" y="55"/>
                      <a:pt x="10" y="56"/>
                    </a:cubicBezTo>
                    <a:cubicBezTo>
                      <a:pt x="18" y="60"/>
                      <a:pt x="28" y="64"/>
                      <a:pt x="36" y="65"/>
                    </a:cubicBezTo>
                    <a:cubicBezTo>
                      <a:pt x="40" y="66"/>
                      <a:pt x="44" y="66"/>
                      <a:pt x="48" y="66"/>
                    </a:cubicBezTo>
                    <a:cubicBezTo>
                      <a:pt x="51" y="66"/>
                      <a:pt x="54" y="66"/>
                      <a:pt x="56" y="65"/>
                    </a:cubicBezTo>
                    <a:cubicBezTo>
                      <a:pt x="61" y="64"/>
                      <a:pt x="64" y="61"/>
                      <a:pt x="67" y="56"/>
                    </a:cubicBezTo>
                    <a:cubicBezTo>
                      <a:pt x="72" y="44"/>
                      <a:pt x="67" y="32"/>
                      <a:pt x="69" y="20"/>
                    </a:cubicBezTo>
                    <a:cubicBezTo>
                      <a:pt x="70" y="18"/>
                      <a:pt x="70" y="17"/>
                      <a:pt x="70" y="15"/>
                    </a:cubicBezTo>
                    <a:cubicBezTo>
                      <a:pt x="71" y="14"/>
                      <a:pt x="71" y="14"/>
                      <a:pt x="71" y="13"/>
                    </a:cubicBezTo>
                    <a:cubicBezTo>
                      <a:pt x="72" y="11"/>
                      <a:pt x="71" y="10"/>
                      <a:pt x="70" y="10"/>
                    </a:cubicBezTo>
                    <a:cubicBezTo>
                      <a:pt x="69" y="10"/>
                      <a:pt x="68" y="10"/>
                      <a:pt x="68" y="11"/>
                    </a:cubicBezTo>
                    <a:cubicBezTo>
                      <a:pt x="67" y="12"/>
                      <a:pt x="67" y="13"/>
                      <a:pt x="66" y="14"/>
                    </a:cubicBezTo>
                    <a:cubicBezTo>
                      <a:pt x="65" y="16"/>
                      <a:pt x="65" y="18"/>
                      <a:pt x="64" y="20"/>
                    </a:cubicBezTo>
                    <a:cubicBezTo>
                      <a:pt x="63" y="25"/>
                      <a:pt x="63" y="30"/>
                      <a:pt x="63" y="35"/>
                    </a:cubicBezTo>
                    <a:cubicBezTo>
                      <a:pt x="63" y="42"/>
                      <a:pt x="64" y="49"/>
                      <a:pt x="59" y="54"/>
                    </a:cubicBezTo>
                    <a:cubicBezTo>
                      <a:pt x="59" y="54"/>
                      <a:pt x="59" y="54"/>
                      <a:pt x="59" y="54"/>
                    </a:cubicBezTo>
                    <a:cubicBezTo>
                      <a:pt x="56" y="57"/>
                      <a:pt x="54" y="58"/>
                      <a:pt x="52" y="58"/>
                    </a:cubicBezTo>
                    <a:cubicBezTo>
                      <a:pt x="50" y="58"/>
                      <a:pt x="48" y="57"/>
                      <a:pt x="45" y="57"/>
                    </a:cubicBezTo>
                    <a:cubicBezTo>
                      <a:pt x="37" y="56"/>
                      <a:pt x="31" y="53"/>
                      <a:pt x="24" y="51"/>
                    </a:cubicBezTo>
                    <a:cubicBezTo>
                      <a:pt x="17" y="48"/>
                      <a:pt x="11" y="47"/>
                      <a:pt x="10" y="38"/>
                    </a:cubicBezTo>
                    <a:cubicBezTo>
                      <a:pt x="10" y="27"/>
                      <a:pt x="17" y="16"/>
                      <a:pt x="16" y="4"/>
                    </a:cubicBezTo>
                    <a:cubicBezTo>
                      <a:pt x="16" y="3"/>
                      <a:pt x="16" y="2"/>
                      <a:pt x="15" y="1"/>
                    </a:cubicBezTo>
                    <a:cubicBezTo>
                      <a:pt x="14" y="0"/>
                      <a:pt x="13" y="0"/>
                      <a:pt x="12" y="0"/>
                    </a:cubicBezTo>
                  </a:path>
                </a:pathLst>
              </a:custGeom>
              <a:solidFill>
                <a:srgbClr val="544D4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119" name="Freeform 31">
                <a:extLst>
                  <a:ext uri="{FF2B5EF4-FFF2-40B4-BE49-F238E27FC236}">
                    <a16:creationId xmlns:a16="http://schemas.microsoft.com/office/drawing/2014/main" id="{571D9521-E0D3-43D9-99A3-6ACC3F02D2DC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7033" y="1918"/>
                <a:ext cx="30" cy="34"/>
              </a:xfrm>
              <a:custGeom>
                <a:avLst/>
                <a:gdLst>
                  <a:gd name="T0" fmla="*/ 11 w 29"/>
                  <a:gd name="T1" fmla="*/ 0 h 32"/>
                  <a:gd name="T2" fmla="*/ 10 w 29"/>
                  <a:gd name="T3" fmla="*/ 4 h 32"/>
                  <a:gd name="T4" fmla="*/ 15 w 29"/>
                  <a:gd name="T5" fmla="*/ 18 h 32"/>
                  <a:gd name="T6" fmla="*/ 7 w 29"/>
                  <a:gd name="T7" fmla="*/ 25 h 32"/>
                  <a:gd name="T8" fmla="*/ 3 w 29"/>
                  <a:gd name="T9" fmla="*/ 25 h 32"/>
                  <a:gd name="T10" fmla="*/ 2 w 29"/>
                  <a:gd name="T11" fmla="*/ 25 h 32"/>
                  <a:gd name="T12" fmla="*/ 1 w 29"/>
                  <a:gd name="T13" fmla="*/ 28 h 32"/>
                  <a:gd name="T14" fmla="*/ 8 w 29"/>
                  <a:gd name="T15" fmla="*/ 32 h 32"/>
                  <a:gd name="T16" fmla="*/ 11 w 29"/>
                  <a:gd name="T17" fmla="*/ 0 h 32"/>
                  <a:gd name="T18" fmla="*/ 11 w 29"/>
                  <a:gd name="T19" fmla="*/ 0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9" h="32">
                    <a:moveTo>
                      <a:pt x="11" y="0"/>
                    </a:moveTo>
                    <a:cubicBezTo>
                      <a:pt x="9" y="0"/>
                      <a:pt x="8" y="3"/>
                      <a:pt x="10" y="4"/>
                    </a:cubicBezTo>
                    <a:cubicBezTo>
                      <a:pt x="16" y="6"/>
                      <a:pt x="16" y="13"/>
                      <a:pt x="15" y="18"/>
                    </a:cubicBezTo>
                    <a:cubicBezTo>
                      <a:pt x="13" y="23"/>
                      <a:pt x="11" y="25"/>
                      <a:pt x="7" y="25"/>
                    </a:cubicBezTo>
                    <a:cubicBezTo>
                      <a:pt x="5" y="25"/>
                      <a:pt x="4" y="25"/>
                      <a:pt x="3" y="25"/>
                    </a:cubicBezTo>
                    <a:cubicBezTo>
                      <a:pt x="2" y="25"/>
                      <a:pt x="2" y="25"/>
                      <a:pt x="2" y="25"/>
                    </a:cubicBezTo>
                    <a:cubicBezTo>
                      <a:pt x="0" y="25"/>
                      <a:pt x="0" y="27"/>
                      <a:pt x="1" y="28"/>
                    </a:cubicBezTo>
                    <a:cubicBezTo>
                      <a:pt x="3" y="31"/>
                      <a:pt x="6" y="32"/>
                      <a:pt x="8" y="32"/>
                    </a:cubicBezTo>
                    <a:cubicBezTo>
                      <a:pt x="20" y="32"/>
                      <a:pt x="29" y="2"/>
                      <a:pt x="11" y="0"/>
                    </a:cubicBezTo>
                    <a:cubicBezTo>
                      <a:pt x="11" y="0"/>
                      <a:pt x="11" y="0"/>
                      <a:pt x="11" y="0"/>
                    </a:cubicBezTo>
                  </a:path>
                </a:pathLst>
              </a:custGeom>
              <a:solidFill>
                <a:srgbClr val="544D4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120" name="Freeform 32">
                <a:extLst>
                  <a:ext uri="{FF2B5EF4-FFF2-40B4-BE49-F238E27FC236}">
                    <a16:creationId xmlns:a16="http://schemas.microsoft.com/office/drawing/2014/main" id="{67DB7532-A809-449D-8B14-70BE5851591F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7038" y="1810"/>
                <a:ext cx="117" cy="229"/>
              </a:xfrm>
              <a:custGeom>
                <a:avLst/>
                <a:gdLst>
                  <a:gd name="T0" fmla="*/ 16 w 111"/>
                  <a:gd name="T1" fmla="*/ 0 h 216"/>
                  <a:gd name="T2" fmla="*/ 2 w 111"/>
                  <a:gd name="T3" fmla="*/ 2 h 216"/>
                  <a:gd name="T4" fmla="*/ 3 w 111"/>
                  <a:gd name="T5" fmla="*/ 4 h 216"/>
                  <a:gd name="T6" fmla="*/ 3 w 111"/>
                  <a:gd name="T7" fmla="*/ 4 h 216"/>
                  <a:gd name="T8" fmla="*/ 3 w 111"/>
                  <a:gd name="T9" fmla="*/ 4 h 216"/>
                  <a:gd name="T10" fmla="*/ 94 w 111"/>
                  <a:gd name="T11" fmla="*/ 75 h 216"/>
                  <a:gd name="T12" fmla="*/ 103 w 111"/>
                  <a:gd name="T13" fmla="*/ 142 h 216"/>
                  <a:gd name="T14" fmla="*/ 68 w 111"/>
                  <a:gd name="T15" fmla="*/ 215 h 216"/>
                  <a:gd name="T16" fmla="*/ 68 w 111"/>
                  <a:gd name="T17" fmla="*/ 216 h 216"/>
                  <a:gd name="T18" fmla="*/ 108 w 111"/>
                  <a:gd name="T19" fmla="*/ 143 h 216"/>
                  <a:gd name="T20" fmla="*/ 103 w 111"/>
                  <a:gd name="T21" fmla="*/ 77 h 216"/>
                  <a:gd name="T22" fmla="*/ 16 w 111"/>
                  <a:gd name="T23" fmla="*/ 0 h 2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11" h="216">
                    <a:moveTo>
                      <a:pt x="16" y="0"/>
                    </a:moveTo>
                    <a:cubicBezTo>
                      <a:pt x="11" y="0"/>
                      <a:pt x="7" y="0"/>
                      <a:pt x="2" y="2"/>
                    </a:cubicBezTo>
                    <a:cubicBezTo>
                      <a:pt x="0" y="2"/>
                      <a:pt x="1" y="4"/>
                      <a:pt x="3" y="4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44" y="4"/>
                      <a:pt x="78" y="39"/>
                      <a:pt x="94" y="75"/>
                    </a:cubicBezTo>
                    <a:cubicBezTo>
                      <a:pt x="104" y="96"/>
                      <a:pt x="104" y="119"/>
                      <a:pt x="103" y="142"/>
                    </a:cubicBezTo>
                    <a:cubicBezTo>
                      <a:pt x="101" y="175"/>
                      <a:pt x="93" y="196"/>
                      <a:pt x="68" y="215"/>
                    </a:cubicBezTo>
                    <a:cubicBezTo>
                      <a:pt x="68" y="216"/>
                      <a:pt x="68" y="216"/>
                      <a:pt x="68" y="216"/>
                    </a:cubicBezTo>
                    <a:cubicBezTo>
                      <a:pt x="94" y="197"/>
                      <a:pt x="105" y="175"/>
                      <a:pt x="108" y="143"/>
                    </a:cubicBezTo>
                    <a:cubicBezTo>
                      <a:pt x="109" y="121"/>
                      <a:pt x="111" y="98"/>
                      <a:pt x="103" y="77"/>
                    </a:cubicBezTo>
                    <a:cubicBezTo>
                      <a:pt x="91" y="47"/>
                      <a:pt x="54" y="0"/>
                      <a:pt x="16" y="0"/>
                    </a:cubicBezTo>
                  </a:path>
                </a:pathLst>
              </a:custGeom>
              <a:solidFill>
                <a:srgbClr val="544D4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121" name="Freeform 33">
                <a:extLst>
                  <a:ext uri="{FF2B5EF4-FFF2-40B4-BE49-F238E27FC236}">
                    <a16:creationId xmlns:a16="http://schemas.microsoft.com/office/drawing/2014/main" id="{092DD35C-93AC-40D3-B898-C3F46AD5DCCD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7035" y="2056"/>
                <a:ext cx="22" cy="20"/>
              </a:xfrm>
              <a:custGeom>
                <a:avLst/>
                <a:gdLst>
                  <a:gd name="T0" fmla="*/ 18 w 21"/>
                  <a:gd name="T1" fmla="*/ 0 h 19"/>
                  <a:gd name="T2" fmla="*/ 16 w 21"/>
                  <a:gd name="T3" fmla="*/ 1 h 19"/>
                  <a:gd name="T4" fmla="*/ 1 w 21"/>
                  <a:gd name="T5" fmla="*/ 16 h 19"/>
                  <a:gd name="T6" fmla="*/ 2 w 21"/>
                  <a:gd name="T7" fmla="*/ 19 h 19"/>
                  <a:gd name="T8" fmla="*/ 3 w 21"/>
                  <a:gd name="T9" fmla="*/ 19 h 19"/>
                  <a:gd name="T10" fmla="*/ 20 w 21"/>
                  <a:gd name="T11" fmla="*/ 3 h 19"/>
                  <a:gd name="T12" fmla="*/ 18 w 21"/>
                  <a:gd name="T13" fmla="*/ 0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1" h="19">
                    <a:moveTo>
                      <a:pt x="18" y="0"/>
                    </a:moveTo>
                    <a:cubicBezTo>
                      <a:pt x="17" y="0"/>
                      <a:pt x="17" y="0"/>
                      <a:pt x="16" y="1"/>
                    </a:cubicBezTo>
                    <a:cubicBezTo>
                      <a:pt x="12" y="7"/>
                      <a:pt x="7" y="11"/>
                      <a:pt x="1" y="16"/>
                    </a:cubicBezTo>
                    <a:cubicBezTo>
                      <a:pt x="0" y="17"/>
                      <a:pt x="1" y="19"/>
                      <a:pt x="2" y="19"/>
                    </a:cubicBezTo>
                    <a:cubicBezTo>
                      <a:pt x="2" y="19"/>
                      <a:pt x="3" y="19"/>
                      <a:pt x="3" y="19"/>
                    </a:cubicBezTo>
                    <a:cubicBezTo>
                      <a:pt x="10" y="16"/>
                      <a:pt x="16" y="10"/>
                      <a:pt x="20" y="3"/>
                    </a:cubicBezTo>
                    <a:cubicBezTo>
                      <a:pt x="21" y="1"/>
                      <a:pt x="19" y="0"/>
                      <a:pt x="18" y="0"/>
                    </a:cubicBezTo>
                  </a:path>
                </a:pathLst>
              </a:custGeom>
              <a:solidFill>
                <a:srgbClr val="544D4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122" name="Freeform 34">
                <a:extLst>
                  <a:ext uri="{FF2B5EF4-FFF2-40B4-BE49-F238E27FC236}">
                    <a16:creationId xmlns:a16="http://schemas.microsoft.com/office/drawing/2014/main" id="{42C7200B-FC3E-45FB-B677-803DC4182367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7013" y="2062"/>
                <a:ext cx="13" cy="7"/>
              </a:xfrm>
              <a:custGeom>
                <a:avLst/>
                <a:gdLst>
                  <a:gd name="T0" fmla="*/ 9 w 12"/>
                  <a:gd name="T1" fmla="*/ 0 h 7"/>
                  <a:gd name="T2" fmla="*/ 8 w 12"/>
                  <a:gd name="T3" fmla="*/ 0 h 7"/>
                  <a:gd name="T4" fmla="*/ 1 w 12"/>
                  <a:gd name="T5" fmla="*/ 4 h 7"/>
                  <a:gd name="T6" fmla="*/ 3 w 12"/>
                  <a:gd name="T7" fmla="*/ 7 h 7"/>
                  <a:gd name="T8" fmla="*/ 3 w 12"/>
                  <a:gd name="T9" fmla="*/ 7 h 7"/>
                  <a:gd name="T10" fmla="*/ 10 w 12"/>
                  <a:gd name="T11" fmla="*/ 3 h 7"/>
                  <a:gd name="T12" fmla="*/ 9 w 12"/>
                  <a:gd name="T13" fmla="*/ 0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2" h="7">
                    <a:moveTo>
                      <a:pt x="9" y="0"/>
                    </a:moveTo>
                    <a:cubicBezTo>
                      <a:pt x="9" y="0"/>
                      <a:pt x="9" y="0"/>
                      <a:pt x="8" y="0"/>
                    </a:cubicBezTo>
                    <a:cubicBezTo>
                      <a:pt x="6" y="1"/>
                      <a:pt x="4" y="3"/>
                      <a:pt x="1" y="4"/>
                    </a:cubicBezTo>
                    <a:cubicBezTo>
                      <a:pt x="0" y="5"/>
                      <a:pt x="1" y="7"/>
                      <a:pt x="3" y="7"/>
                    </a:cubicBezTo>
                    <a:cubicBezTo>
                      <a:pt x="3" y="7"/>
                      <a:pt x="3" y="7"/>
                      <a:pt x="3" y="7"/>
                    </a:cubicBezTo>
                    <a:cubicBezTo>
                      <a:pt x="6" y="6"/>
                      <a:pt x="8" y="5"/>
                      <a:pt x="10" y="3"/>
                    </a:cubicBezTo>
                    <a:cubicBezTo>
                      <a:pt x="12" y="2"/>
                      <a:pt x="11" y="0"/>
                      <a:pt x="9" y="0"/>
                    </a:cubicBezTo>
                  </a:path>
                </a:pathLst>
              </a:custGeom>
              <a:solidFill>
                <a:srgbClr val="544D4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123" name="Freeform 35">
                <a:extLst>
                  <a:ext uri="{FF2B5EF4-FFF2-40B4-BE49-F238E27FC236}">
                    <a16:creationId xmlns:a16="http://schemas.microsoft.com/office/drawing/2014/main" id="{AF381383-5F93-4DBE-845F-04DCF2CA554A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909" y="1804"/>
                <a:ext cx="111" cy="247"/>
              </a:xfrm>
              <a:custGeom>
                <a:avLst/>
                <a:gdLst>
                  <a:gd name="T0" fmla="*/ 101 w 105"/>
                  <a:gd name="T1" fmla="*/ 0 h 234"/>
                  <a:gd name="T2" fmla="*/ 100 w 105"/>
                  <a:gd name="T3" fmla="*/ 0 h 234"/>
                  <a:gd name="T4" fmla="*/ 25 w 105"/>
                  <a:gd name="T5" fmla="*/ 38 h 234"/>
                  <a:gd name="T6" fmla="*/ 0 w 105"/>
                  <a:gd name="T7" fmla="*/ 111 h 234"/>
                  <a:gd name="T8" fmla="*/ 75 w 105"/>
                  <a:gd name="T9" fmla="*/ 234 h 234"/>
                  <a:gd name="T10" fmla="*/ 75 w 105"/>
                  <a:gd name="T11" fmla="*/ 234 h 234"/>
                  <a:gd name="T12" fmla="*/ 76 w 105"/>
                  <a:gd name="T13" fmla="*/ 232 h 234"/>
                  <a:gd name="T14" fmla="*/ 7 w 105"/>
                  <a:gd name="T15" fmla="*/ 124 h 234"/>
                  <a:gd name="T16" fmla="*/ 27 w 105"/>
                  <a:gd name="T17" fmla="*/ 48 h 234"/>
                  <a:gd name="T18" fmla="*/ 102 w 105"/>
                  <a:gd name="T19" fmla="*/ 6 h 234"/>
                  <a:gd name="T20" fmla="*/ 101 w 105"/>
                  <a:gd name="T21" fmla="*/ 0 h 2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05" h="234">
                    <a:moveTo>
                      <a:pt x="101" y="0"/>
                    </a:moveTo>
                    <a:cubicBezTo>
                      <a:pt x="101" y="0"/>
                      <a:pt x="101" y="0"/>
                      <a:pt x="100" y="0"/>
                    </a:cubicBezTo>
                    <a:cubicBezTo>
                      <a:pt x="70" y="6"/>
                      <a:pt x="45" y="14"/>
                      <a:pt x="25" y="38"/>
                    </a:cubicBezTo>
                    <a:cubicBezTo>
                      <a:pt x="9" y="59"/>
                      <a:pt x="0" y="84"/>
                      <a:pt x="0" y="111"/>
                    </a:cubicBezTo>
                    <a:cubicBezTo>
                      <a:pt x="0" y="162"/>
                      <a:pt x="19" y="222"/>
                      <a:pt x="75" y="234"/>
                    </a:cubicBezTo>
                    <a:cubicBezTo>
                      <a:pt x="75" y="234"/>
                      <a:pt x="75" y="234"/>
                      <a:pt x="75" y="234"/>
                    </a:cubicBezTo>
                    <a:cubicBezTo>
                      <a:pt x="77" y="234"/>
                      <a:pt x="77" y="232"/>
                      <a:pt x="76" y="232"/>
                    </a:cubicBezTo>
                    <a:cubicBezTo>
                      <a:pt x="27" y="219"/>
                      <a:pt x="8" y="170"/>
                      <a:pt x="7" y="124"/>
                    </a:cubicBezTo>
                    <a:cubicBezTo>
                      <a:pt x="6" y="96"/>
                      <a:pt x="10" y="70"/>
                      <a:pt x="27" y="48"/>
                    </a:cubicBezTo>
                    <a:cubicBezTo>
                      <a:pt x="46" y="21"/>
                      <a:pt x="72" y="15"/>
                      <a:pt x="102" y="6"/>
                    </a:cubicBezTo>
                    <a:cubicBezTo>
                      <a:pt x="105" y="5"/>
                      <a:pt x="104" y="0"/>
                      <a:pt x="101" y="0"/>
                    </a:cubicBezTo>
                  </a:path>
                </a:pathLst>
              </a:custGeom>
              <a:solidFill>
                <a:srgbClr val="544D4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124" name="Freeform 36">
                <a:extLst>
                  <a:ext uri="{FF2B5EF4-FFF2-40B4-BE49-F238E27FC236}">
                    <a16:creationId xmlns:a16="http://schemas.microsoft.com/office/drawing/2014/main" id="{ADC59EEC-116C-41DC-9A73-201667B11E2B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398" y="1645"/>
                <a:ext cx="231" cy="173"/>
              </a:xfrm>
              <a:custGeom>
                <a:avLst/>
                <a:gdLst>
                  <a:gd name="T0" fmla="*/ 2 w 218"/>
                  <a:gd name="T1" fmla="*/ 0 h 163"/>
                  <a:gd name="T2" fmla="*/ 1 w 218"/>
                  <a:gd name="T3" fmla="*/ 2 h 163"/>
                  <a:gd name="T4" fmla="*/ 65 w 218"/>
                  <a:gd name="T5" fmla="*/ 13 h 163"/>
                  <a:gd name="T6" fmla="*/ 129 w 218"/>
                  <a:gd name="T7" fmla="*/ 44 h 163"/>
                  <a:gd name="T8" fmla="*/ 215 w 218"/>
                  <a:gd name="T9" fmla="*/ 162 h 163"/>
                  <a:gd name="T10" fmla="*/ 216 w 218"/>
                  <a:gd name="T11" fmla="*/ 163 h 163"/>
                  <a:gd name="T12" fmla="*/ 218 w 218"/>
                  <a:gd name="T13" fmla="*/ 161 h 163"/>
                  <a:gd name="T14" fmla="*/ 149 w 218"/>
                  <a:gd name="T15" fmla="*/ 53 h 163"/>
                  <a:gd name="T16" fmla="*/ 82 w 218"/>
                  <a:gd name="T17" fmla="*/ 14 h 163"/>
                  <a:gd name="T18" fmla="*/ 49 w 218"/>
                  <a:gd name="T19" fmla="*/ 4 h 163"/>
                  <a:gd name="T20" fmla="*/ 2 w 218"/>
                  <a:gd name="T21" fmla="*/ 0 h 163"/>
                  <a:gd name="T22" fmla="*/ 2 w 218"/>
                  <a:gd name="T23" fmla="*/ 0 h 1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218" h="163">
                    <a:moveTo>
                      <a:pt x="2" y="0"/>
                    </a:moveTo>
                    <a:cubicBezTo>
                      <a:pt x="1" y="0"/>
                      <a:pt x="0" y="2"/>
                      <a:pt x="1" y="2"/>
                    </a:cubicBezTo>
                    <a:cubicBezTo>
                      <a:pt x="23" y="7"/>
                      <a:pt x="44" y="6"/>
                      <a:pt x="65" y="13"/>
                    </a:cubicBezTo>
                    <a:cubicBezTo>
                      <a:pt x="88" y="20"/>
                      <a:pt x="109" y="30"/>
                      <a:pt x="129" y="44"/>
                    </a:cubicBezTo>
                    <a:cubicBezTo>
                      <a:pt x="170" y="71"/>
                      <a:pt x="204" y="112"/>
                      <a:pt x="215" y="162"/>
                    </a:cubicBezTo>
                    <a:cubicBezTo>
                      <a:pt x="215" y="162"/>
                      <a:pt x="216" y="163"/>
                      <a:pt x="216" y="163"/>
                    </a:cubicBezTo>
                    <a:cubicBezTo>
                      <a:pt x="217" y="163"/>
                      <a:pt x="218" y="162"/>
                      <a:pt x="218" y="161"/>
                    </a:cubicBezTo>
                    <a:cubicBezTo>
                      <a:pt x="210" y="121"/>
                      <a:pt x="182" y="78"/>
                      <a:pt x="149" y="53"/>
                    </a:cubicBezTo>
                    <a:cubicBezTo>
                      <a:pt x="128" y="37"/>
                      <a:pt x="107" y="23"/>
                      <a:pt x="82" y="14"/>
                    </a:cubicBezTo>
                    <a:cubicBezTo>
                      <a:pt x="72" y="10"/>
                      <a:pt x="60" y="7"/>
                      <a:pt x="49" y="4"/>
                    </a:cubicBezTo>
                    <a:cubicBezTo>
                      <a:pt x="33" y="1"/>
                      <a:pt x="18" y="2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544D4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125" name="Freeform 37">
                <a:extLst>
                  <a:ext uri="{FF2B5EF4-FFF2-40B4-BE49-F238E27FC236}">
                    <a16:creationId xmlns:a16="http://schemas.microsoft.com/office/drawing/2014/main" id="{FFDDF0D1-A748-4C6B-84B5-869982689A31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564" y="1926"/>
                <a:ext cx="57" cy="76"/>
              </a:xfrm>
              <a:custGeom>
                <a:avLst/>
                <a:gdLst>
                  <a:gd name="T0" fmla="*/ 52 w 54"/>
                  <a:gd name="T1" fmla="*/ 0 h 72"/>
                  <a:gd name="T2" fmla="*/ 52 w 54"/>
                  <a:gd name="T3" fmla="*/ 0 h 72"/>
                  <a:gd name="T4" fmla="*/ 28 w 54"/>
                  <a:gd name="T5" fmla="*/ 40 h 72"/>
                  <a:gd name="T6" fmla="*/ 0 w 54"/>
                  <a:gd name="T7" fmla="*/ 71 h 72"/>
                  <a:gd name="T8" fmla="*/ 0 w 54"/>
                  <a:gd name="T9" fmla="*/ 72 h 72"/>
                  <a:gd name="T10" fmla="*/ 1 w 54"/>
                  <a:gd name="T11" fmla="*/ 72 h 72"/>
                  <a:gd name="T12" fmla="*/ 30 w 54"/>
                  <a:gd name="T13" fmla="*/ 43 h 72"/>
                  <a:gd name="T14" fmla="*/ 53 w 54"/>
                  <a:gd name="T15" fmla="*/ 1 h 72"/>
                  <a:gd name="T16" fmla="*/ 52 w 54"/>
                  <a:gd name="T17" fmla="*/ 0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4" h="72">
                    <a:moveTo>
                      <a:pt x="52" y="0"/>
                    </a:moveTo>
                    <a:cubicBezTo>
                      <a:pt x="52" y="0"/>
                      <a:pt x="52" y="0"/>
                      <a:pt x="52" y="0"/>
                    </a:cubicBezTo>
                    <a:cubicBezTo>
                      <a:pt x="44" y="13"/>
                      <a:pt x="36" y="27"/>
                      <a:pt x="28" y="40"/>
                    </a:cubicBezTo>
                    <a:cubicBezTo>
                      <a:pt x="20" y="52"/>
                      <a:pt x="10" y="60"/>
                      <a:pt x="0" y="71"/>
                    </a:cubicBezTo>
                    <a:cubicBezTo>
                      <a:pt x="0" y="71"/>
                      <a:pt x="0" y="72"/>
                      <a:pt x="0" y="72"/>
                    </a:cubicBezTo>
                    <a:cubicBezTo>
                      <a:pt x="1" y="72"/>
                      <a:pt x="1" y="72"/>
                      <a:pt x="1" y="72"/>
                    </a:cubicBezTo>
                    <a:cubicBezTo>
                      <a:pt x="11" y="62"/>
                      <a:pt x="22" y="55"/>
                      <a:pt x="30" y="43"/>
                    </a:cubicBezTo>
                    <a:cubicBezTo>
                      <a:pt x="39" y="29"/>
                      <a:pt x="45" y="15"/>
                      <a:pt x="53" y="1"/>
                    </a:cubicBezTo>
                    <a:cubicBezTo>
                      <a:pt x="54" y="0"/>
                      <a:pt x="53" y="0"/>
                      <a:pt x="52" y="0"/>
                    </a:cubicBezTo>
                  </a:path>
                </a:pathLst>
              </a:custGeom>
              <a:solidFill>
                <a:srgbClr val="544D4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126" name="Freeform 38">
                <a:extLst>
                  <a:ext uri="{FF2B5EF4-FFF2-40B4-BE49-F238E27FC236}">
                    <a16:creationId xmlns:a16="http://schemas.microsoft.com/office/drawing/2014/main" id="{6A0D4EF3-2EAB-4080-AEF8-D7F9F1AE7669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414" y="2043"/>
                <a:ext cx="24" cy="2"/>
              </a:xfrm>
              <a:custGeom>
                <a:avLst/>
                <a:gdLst>
                  <a:gd name="T0" fmla="*/ 0 w 23"/>
                  <a:gd name="T1" fmla="*/ 0 h 2"/>
                  <a:gd name="T2" fmla="*/ 0 w 23"/>
                  <a:gd name="T3" fmla="*/ 1 h 2"/>
                  <a:gd name="T4" fmla="*/ 9 w 23"/>
                  <a:gd name="T5" fmla="*/ 2 h 2"/>
                  <a:gd name="T6" fmla="*/ 23 w 23"/>
                  <a:gd name="T7" fmla="*/ 1 h 2"/>
                  <a:gd name="T8" fmla="*/ 23 w 23"/>
                  <a:gd name="T9" fmla="*/ 1 h 2"/>
                  <a:gd name="T10" fmla="*/ 23 w 23"/>
                  <a:gd name="T11" fmla="*/ 1 h 2"/>
                  <a:gd name="T12" fmla="*/ 16 w 23"/>
                  <a:gd name="T13" fmla="*/ 1 h 2"/>
                  <a:gd name="T14" fmla="*/ 10 w 23"/>
                  <a:gd name="T15" fmla="*/ 1 h 2"/>
                  <a:gd name="T16" fmla="*/ 0 w 23"/>
                  <a:gd name="T17" fmla="*/ 0 h 2"/>
                  <a:gd name="T18" fmla="*/ 0 w 23"/>
                  <a:gd name="T19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3" h="2">
                    <a:moveTo>
                      <a:pt x="0" y="0"/>
                    </a:moveTo>
                    <a:cubicBezTo>
                      <a:pt x="0" y="0"/>
                      <a:pt x="0" y="1"/>
                      <a:pt x="0" y="1"/>
                    </a:cubicBezTo>
                    <a:cubicBezTo>
                      <a:pt x="3" y="2"/>
                      <a:pt x="6" y="2"/>
                      <a:pt x="9" y="2"/>
                    </a:cubicBezTo>
                    <a:cubicBezTo>
                      <a:pt x="14" y="2"/>
                      <a:pt x="19" y="1"/>
                      <a:pt x="23" y="1"/>
                    </a:cubicBezTo>
                    <a:cubicBezTo>
                      <a:pt x="23" y="1"/>
                      <a:pt x="23" y="1"/>
                      <a:pt x="23" y="1"/>
                    </a:cubicBezTo>
                    <a:cubicBezTo>
                      <a:pt x="23" y="1"/>
                      <a:pt x="23" y="1"/>
                      <a:pt x="23" y="1"/>
                    </a:cubicBezTo>
                    <a:cubicBezTo>
                      <a:pt x="20" y="1"/>
                      <a:pt x="18" y="1"/>
                      <a:pt x="16" y="1"/>
                    </a:cubicBezTo>
                    <a:cubicBezTo>
                      <a:pt x="14" y="1"/>
                      <a:pt x="12" y="1"/>
                      <a:pt x="10" y="1"/>
                    </a:cubicBezTo>
                    <a:cubicBezTo>
                      <a:pt x="7" y="1"/>
                      <a:pt x="4" y="1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solidFill>
                <a:srgbClr val="544D4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127" name="Freeform 39">
                <a:extLst>
                  <a:ext uri="{FF2B5EF4-FFF2-40B4-BE49-F238E27FC236}">
                    <a16:creationId xmlns:a16="http://schemas.microsoft.com/office/drawing/2014/main" id="{BDD4E817-1BDC-43C8-9EC5-F746A8A02C47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307" y="2003"/>
                <a:ext cx="22" cy="16"/>
              </a:xfrm>
              <a:custGeom>
                <a:avLst/>
                <a:gdLst>
                  <a:gd name="T0" fmla="*/ 0 w 21"/>
                  <a:gd name="T1" fmla="*/ 0 h 15"/>
                  <a:gd name="T2" fmla="*/ 0 w 21"/>
                  <a:gd name="T3" fmla="*/ 0 h 15"/>
                  <a:gd name="T4" fmla="*/ 21 w 21"/>
                  <a:gd name="T5" fmla="*/ 15 h 15"/>
                  <a:gd name="T6" fmla="*/ 21 w 21"/>
                  <a:gd name="T7" fmla="*/ 15 h 15"/>
                  <a:gd name="T8" fmla="*/ 0 w 21"/>
                  <a:gd name="T9" fmla="*/ 0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1" h="15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6" y="6"/>
                      <a:pt x="13" y="11"/>
                      <a:pt x="21" y="15"/>
                    </a:cubicBezTo>
                    <a:cubicBezTo>
                      <a:pt x="21" y="15"/>
                      <a:pt x="21" y="15"/>
                      <a:pt x="21" y="15"/>
                    </a:cubicBezTo>
                    <a:cubicBezTo>
                      <a:pt x="13" y="11"/>
                      <a:pt x="7" y="5"/>
                      <a:pt x="0" y="0"/>
                    </a:cubicBezTo>
                  </a:path>
                </a:pathLst>
              </a:custGeom>
              <a:solidFill>
                <a:srgbClr val="544D4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128" name="Freeform 40">
                <a:extLst>
                  <a:ext uri="{FF2B5EF4-FFF2-40B4-BE49-F238E27FC236}">
                    <a16:creationId xmlns:a16="http://schemas.microsoft.com/office/drawing/2014/main" id="{3A2318E1-2CF8-4C4B-BB30-0A6345E87C4B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212" y="1655"/>
                <a:ext cx="130" cy="257"/>
              </a:xfrm>
              <a:custGeom>
                <a:avLst/>
                <a:gdLst>
                  <a:gd name="T0" fmla="*/ 120 w 122"/>
                  <a:gd name="T1" fmla="*/ 0 h 243"/>
                  <a:gd name="T2" fmla="*/ 119 w 122"/>
                  <a:gd name="T3" fmla="*/ 0 h 243"/>
                  <a:gd name="T4" fmla="*/ 21 w 122"/>
                  <a:gd name="T5" fmla="*/ 94 h 243"/>
                  <a:gd name="T6" fmla="*/ 31 w 122"/>
                  <a:gd name="T7" fmla="*/ 242 h 243"/>
                  <a:gd name="T8" fmla="*/ 32 w 122"/>
                  <a:gd name="T9" fmla="*/ 243 h 243"/>
                  <a:gd name="T10" fmla="*/ 33 w 122"/>
                  <a:gd name="T11" fmla="*/ 242 h 243"/>
                  <a:gd name="T12" fmla="*/ 22 w 122"/>
                  <a:gd name="T13" fmla="*/ 104 h 243"/>
                  <a:gd name="T14" fmla="*/ 60 w 122"/>
                  <a:gd name="T15" fmla="*/ 46 h 243"/>
                  <a:gd name="T16" fmla="*/ 121 w 122"/>
                  <a:gd name="T17" fmla="*/ 3 h 243"/>
                  <a:gd name="T18" fmla="*/ 120 w 122"/>
                  <a:gd name="T19" fmla="*/ 0 h 2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22" h="243">
                    <a:moveTo>
                      <a:pt x="120" y="0"/>
                    </a:moveTo>
                    <a:cubicBezTo>
                      <a:pt x="120" y="0"/>
                      <a:pt x="120" y="0"/>
                      <a:pt x="119" y="0"/>
                    </a:cubicBezTo>
                    <a:cubicBezTo>
                      <a:pt x="76" y="17"/>
                      <a:pt x="40" y="51"/>
                      <a:pt x="21" y="94"/>
                    </a:cubicBezTo>
                    <a:cubicBezTo>
                      <a:pt x="0" y="142"/>
                      <a:pt x="12" y="196"/>
                      <a:pt x="31" y="242"/>
                    </a:cubicBezTo>
                    <a:cubicBezTo>
                      <a:pt x="31" y="243"/>
                      <a:pt x="31" y="243"/>
                      <a:pt x="32" y="243"/>
                    </a:cubicBezTo>
                    <a:cubicBezTo>
                      <a:pt x="32" y="243"/>
                      <a:pt x="33" y="242"/>
                      <a:pt x="33" y="242"/>
                    </a:cubicBezTo>
                    <a:cubicBezTo>
                      <a:pt x="19" y="199"/>
                      <a:pt x="7" y="148"/>
                      <a:pt x="22" y="104"/>
                    </a:cubicBezTo>
                    <a:cubicBezTo>
                      <a:pt x="30" y="82"/>
                      <a:pt x="45" y="65"/>
                      <a:pt x="60" y="46"/>
                    </a:cubicBezTo>
                    <a:cubicBezTo>
                      <a:pt x="77" y="25"/>
                      <a:pt x="96" y="15"/>
                      <a:pt x="121" y="3"/>
                    </a:cubicBezTo>
                    <a:cubicBezTo>
                      <a:pt x="122" y="3"/>
                      <a:pt x="122" y="0"/>
                      <a:pt x="120" y="0"/>
                    </a:cubicBezTo>
                  </a:path>
                </a:pathLst>
              </a:custGeom>
              <a:solidFill>
                <a:srgbClr val="544D4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129" name="Freeform 41">
                <a:extLst>
                  <a:ext uri="{FF2B5EF4-FFF2-40B4-BE49-F238E27FC236}">
                    <a16:creationId xmlns:a16="http://schemas.microsoft.com/office/drawing/2014/main" id="{B84CB8D6-AB8C-44D8-A6E5-849A0B37F5C0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6387" y="1719"/>
                <a:ext cx="86" cy="86"/>
              </a:xfrm>
              <a:custGeom>
                <a:avLst/>
                <a:gdLst>
                  <a:gd name="T0" fmla="*/ 47 w 81"/>
                  <a:gd name="T1" fmla="*/ 10 h 81"/>
                  <a:gd name="T2" fmla="*/ 50 w 81"/>
                  <a:gd name="T3" fmla="*/ 6 h 81"/>
                  <a:gd name="T4" fmla="*/ 71 w 81"/>
                  <a:gd name="T5" fmla="*/ 57 h 81"/>
                  <a:gd name="T6" fmla="*/ 44 w 81"/>
                  <a:gd name="T7" fmla="*/ 75 h 81"/>
                  <a:gd name="T8" fmla="*/ 43 w 81"/>
                  <a:gd name="T9" fmla="*/ 75 h 81"/>
                  <a:gd name="T10" fmla="*/ 10 w 81"/>
                  <a:gd name="T11" fmla="*/ 43 h 81"/>
                  <a:gd name="T12" fmla="*/ 16 w 81"/>
                  <a:gd name="T13" fmla="*/ 20 h 81"/>
                  <a:gd name="T14" fmla="*/ 23 w 81"/>
                  <a:gd name="T15" fmla="*/ 12 h 81"/>
                  <a:gd name="T16" fmla="*/ 23 w 81"/>
                  <a:gd name="T17" fmla="*/ 12 h 81"/>
                  <a:gd name="T18" fmla="*/ 36 w 81"/>
                  <a:gd name="T19" fmla="*/ 9 h 81"/>
                  <a:gd name="T20" fmla="*/ 46 w 81"/>
                  <a:gd name="T21" fmla="*/ 10 h 81"/>
                  <a:gd name="T22" fmla="*/ 47 w 81"/>
                  <a:gd name="T23" fmla="*/ 10 h 81"/>
                  <a:gd name="T24" fmla="*/ 35 w 81"/>
                  <a:gd name="T25" fmla="*/ 0 h 81"/>
                  <a:gd name="T26" fmla="*/ 4 w 81"/>
                  <a:gd name="T27" fmla="*/ 31 h 81"/>
                  <a:gd name="T28" fmla="*/ 4 w 81"/>
                  <a:gd name="T29" fmla="*/ 32 h 81"/>
                  <a:gd name="T30" fmla="*/ 4 w 81"/>
                  <a:gd name="T31" fmla="*/ 32 h 81"/>
                  <a:gd name="T32" fmla="*/ 34 w 81"/>
                  <a:gd name="T33" fmla="*/ 79 h 81"/>
                  <a:gd name="T34" fmla="*/ 44 w 81"/>
                  <a:gd name="T35" fmla="*/ 81 h 81"/>
                  <a:gd name="T36" fmla="*/ 59 w 81"/>
                  <a:gd name="T37" fmla="*/ 77 h 81"/>
                  <a:gd name="T38" fmla="*/ 80 w 81"/>
                  <a:gd name="T39" fmla="*/ 42 h 81"/>
                  <a:gd name="T40" fmla="*/ 49 w 81"/>
                  <a:gd name="T41" fmla="*/ 3 h 81"/>
                  <a:gd name="T42" fmla="*/ 49 w 81"/>
                  <a:gd name="T43" fmla="*/ 3 h 81"/>
                  <a:gd name="T44" fmla="*/ 35 w 81"/>
                  <a:gd name="T45" fmla="*/ 0 h 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81" h="81">
                    <a:moveTo>
                      <a:pt x="47" y="10"/>
                    </a:moveTo>
                    <a:cubicBezTo>
                      <a:pt x="49" y="10"/>
                      <a:pt x="50" y="8"/>
                      <a:pt x="50" y="6"/>
                    </a:cubicBezTo>
                    <a:cubicBezTo>
                      <a:pt x="73" y="11"/>
                      <a:pt x="80" y="39"/>
                      <a:pt x="71" y="57"/>
                    </a:cubicBezTo>
                    <a:cubicBezTo>
                      <a:pt x="66" y="67"/>
                      <a:pt x="57" y="75"/>
                      <a:pt x="44" y="75"/>
                    </a:cubicBezTo>
                    <a:cubicBezTo>
                      <a:pt x="44" y="75"/>
                      <a:pt x="43" y="75"/>
                      <a:pt x="43" y="75"/>
                    </a:cubicBezTo>
                    <a:cubicBezTo>
                      <a:pt x="27" y="75"/>
                      <a:pt x="12" y="59"/>
                      <a:pt x="10" y="43"/>
                    </a:cubicBezTo>
                    <a:cubicBezTo>
                      <a:pt x="10" y="35"/>
                      <a:pt x="12" y="27"/>
                      <a:pt x="16" y="20"/>
                    </a:cubicBezTo>
                    <a:cubicBezTo>
                      <a:pt x="18" y="16"/>
                      <a:pt x="20" y="14"/>
                      <a:pt x="23" y="12"/>
                    </a:cubicBezTo>
                    <a:cubicBezTo>
                      <a:pt x="23" y="12"/>
                      <a:pt x="23" y="12"/>
                      <a:pt x="23" y="12"/>
                    </a:cubicBezTo>
                    <a:cubicBezTo>
                      <a:pt x="27" y="10"/>
                      <a:pt x="31" y="9"/>
                      <a:pt x="36" y="9"/>
                    </a:cubicBezTo>
                    <a:cubicBezTo>
                      <a:pt x="39" y="9"/>
                      <a:pt x="43" y="9"/>
                      <a:pt x="46" y="10"/>
                    </a:cubicBezTo>
                    <a:cubicBezTo>
                      <a:pt x="47" y="10"/>
                      <a:pt x="47" y="10"/>
                      <a:pt x="47" y="10"/>
                    </a:cubicBezTo>
                    <a:moveTo>
                      <a:pt x="35" y="0"/>
                    </a:moveTo>
                    <a:cubicBezTo>
                      <a:pt x="19" y="0"/>
                      <a:pt x="7" y="13"/>
                      <a:pt x="4" y="31"/>
                    </a:cubicBezTo>
                    <a:cubicBezTo>
                      <a:pt x="4" y="32"/>
                      <a:pt x="4" y="32"/>
                      <a:pt x="4" y="32"/>
                    </a:cubicBezTo>
                    <a:cubicBezTo>
                      <a:pt x="4" y="32"/>
                      <a:pt x="4" y="32"/>
                      <a:pt x="4" y="32"/>
                    </a:cubicBezTo>
                    <a:cubicBezTo>
                      <a:pt x="0" y="53"/>
                      <a:pt x="15" y="74"/>
                      <a:pt x="34" y="79"/>
                    </a:cubicBezTo>
                    <a:cubicBezTo>
                      <a:pt x="38" y="80"/>
                      <a:pt x="41" y="81"/>
                      <a:pt x="44" y="81"/>
                    </a:cubicBezTo>
                    <a:cubicBezTo>
                      <a:pt x="50" y="81"/>
                      <a:pt x="55" y="79"/>
                      <a:pt x="59" y="77"/>
                    </a:cubicBezTo>
                    <a:cubicBezTo>
                      <a:pt x="71" y="70"/>
                      <a:pt x="78" y="56"/>
                      <a:pt x="80" y="42"/>
                    </a:cubicBezTo>
                    <a:cubicBezTo>
                      <a:pt x="81" y="23"/>
                      <a:pt x="72" y="3"/>
                      <a:pt x="49" y="3"/>
                    </a:cubicBezTo>
                    <a:cubicBezTo>
                      <a:pt x="49" y="3"/>
                      <a:pt x="49" y="3"/>
                      <a:pt x="49" y="3"/>
                    </a:cubicBezTo>
                    <a:cubicBezTo>
                      <a:pt x="44" y="1"/>
                      <a:pt x="39" y="0"/>
                      <a:pt x="35" y="0"/>
                    </a:cubicBezTo>
                  </a:path>
                </a:pathLst>
              </a:custGeom>
              <a:solidFill>
                <a:srgbClr val="544D4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130" name="Freeform 42">
                <a:extLst>
                  <a:ext uri="{FF2B5EF4-FFF2-40B4-BE49-F238E27FC236}">
                    <a16:creationId xmlns:a16="http://schemas.microsoft.com/office/drawing/2014/main" id="{F7993B5C-9FB9-474E-87D8-EC00A6AF699E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495" y="1819"/>
                <a:ext cx="83" cy="73"/>
              </a:xfrm>
              <a:custGeom>
                <a:avLst/>
                <a:gdLst>
                  <a:gd name="T0" fmla="*/ 50 w 78"/>
                  <a:gd name="T1" fmla="*/ 0 h 69"/>
                  <a:gd name="T2" fmla="*/ 36 w 78"/>
                  <a:gd name="T3" fmla="*/ 5 h 69"/>
                  <a:gd name="T4" fmla="*/ 37 w 78"/>
                  <a:gd name="T5" fmla="*/ 8 h 69"/>
                  <a:gd name="T6" fmla="*/ 37 w 78"/>
                  <a:gd name="T7" fmla="*/ 8 h 69"/>
                  <a:gd name="T8" fmla="*/ 48 w 78"/>
                  <a:gd name="T9" fmla="*/ 5 h 69"/>
                  <a:gd name="T10" fmla="*/ 50 w 78"/>
                  <a:gd name="T11" fmla="*/ 5 h 69"/>
                  <a:gd name="T12" fmla="*/ 65 w 78"/>
                  <a:gd name="T13" fmla="*/ 21 h 69"/>
                  <a:gd name="T14" fmla="*/ 64 w 78"/>
                  <a:gd name="T15" fmla="*/ 48 h 69"/>
                  <a:gd name="T16" fmla="*/ 56 w 78"/>
                  <a:gd name="T17" fmla="*/ 57 h 69"/>
                  <a:gd name="T18" fmla="*/ 39 w 78"/>
                  <a:gd name="T19" fmla="*/ 62 h 69"/>
                  <a:gd name="T20" fmla="*/ 12 w 78"/>
                  <a:gd name="T21" fmla="*/ 49 h 69"/>
                  <a:gd name="T22" fmla="*/ 14 w 78"/>
                  <a:gd name="T23" fmla="*/ 15 h 69"/>
                  <a:gd name="T24" fmla="*/ 15 w 78"/>
                  <a:gd name="T25" fmla="*/ 15 h 69"/>
                  <a:gd name="T26" fmla="*/ 15 w 78"/>
                  <a:gd name="T27" fmla="*/ 15 h 69"/>
                  <a:gd name="T28" fmla="*/ 31 w 78"/>
                  <a:gd name="T29" fmla="*/ 8 h 69"/>
                  <a:gd name="T30" fmla="*/ 30 w 78"/>
                  <a:gd name="T31" fmla="*/ 1 h 69"/>
                  <a:gd name="T32" fmla="*/ 30 w 78"/>
                  <a:gd name="T33" fmla="*/ 1 h 69"/>
                  <a:gd name="T34" fmla="*/ 1 w 78"/>
                  <a:gd name="T35" fmla="*/ 27 h 69"/>
                  <a:gd name="T36" fmla="*/ 1 w 78"/>
                  <a:gd name="T37" fmla="*/ 27 h 69"/>
                  <a:gd name="T38" fmla="*/ 2 w 78"/>
                  <a:gd name="T39" fmla="*/ 45 h 69"/>
                  <a:gd name="T40" fmla="*/ 39 w 78"/>
                  <a:gd name="T41" fmla="*/ 69 h 69"/>
                  <a:gd name="T42" fmla="*/ 54 w 78"/>
                  <a:gd name="T43" fmla="*/ 66 h 69"/>
                  <a:gd name="T44" fmla="*/ 56 w 78"/>
                  <a:gd name="T45" fmla="*/ 65 h 69"/>
                  <a:gd name="T46" fmla="*/ 72 w 78"/>
                  <a:gd name="T47" fmla="*/ 23 h 69"/>
                  <a:gd name="T48" fmla="*/ 56 w 78"/>
                  <a:gd name="T49" fmla="*/ 2 h 69"/>
                  <a:gd name="T50" fmla="*/ 50 w 78"/>
                  <a:gd name="T51" fmla="*/ 0 h 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78" h="69">
                    <a:moveTo>
                      <a:pt x="50" y="0"/>
                    </a:moveTo>
                    <a:cubicBezTo>
                      <a:pt x="45" y="0"/>
                      <a:pt x="42" y="3"/>
                      <a:pt x="36" y="5"/>
                    </a:cubicBezTo>
                    <a:cubicBezTo>
                      <a:pt x="35" y="6"/>
                      <a:pt x="36" y="8"/>
                      <a:pt x="37" y="8"/>
                    </a:cubicBezTo>
                    <a:cubicBezTo>
                      <a:pt x="37" y="8"/>
                      <a:pt x="37" y="8"/>
                      <a:pt x="37" y="8"/>
                    </a:cubicBezTo>
                    <a:cubicBezTo>
                      <a:pt x="41" y="7"/>
                      <a:pt x="45" y="5"/>
                      <a:pt x="48" y="5"/>
                    </a:cubicBezTo>
                    <a:cubicBezTo>
                      <a:pt x="49" y="5"/>
                      <a:pt x="49" y="5"/>
                      <a:pt x="50" y="5"/>
                    </a:cubicBezTo>
                    <a:cubicBezTo>
                      <a:pt x="56" y="6"/>
                      <a:pt x="62" y="16"/>
                      <a:pt x="65" y="21"/>
                    </a:cubicBezTo>
                    <a:cubicBezTo>
                      <a:pt x="69" y="30"/>
                      <a:pt x="69" y="40"/>
                      <a:pt x="64" y="48"/>
                    </a:cubicBezTo>
                    <a:cubicBezTo>
                      <a:pt x="62" y="52"/>
                      <a:pt x="60" y="55"/>
                      <a:pt x="56" y="57"/>
                    </a:cubicBezTo>
                    <a:cubicBezTo>
                      <a:pt x="51" y="60"/>
                      <a:pt x="45" y="62"/>
                      <a:pt x="39" y="62"/>
                    </a:cubicBezTo>
                    <a:cubicBezTo>
                      <a:pt x="29" y="62"/>
                      <a:pt x="18" y="58"/>
                      <a:pt x="12" y="49"/>
                    </a:cubicBezTo>
                    <a:cubicBezTo>
                      <a:pt x="6" y="39"/>
                      <a:pt x="6" y="24"/>
                      <a:pt x="14" y="15"/>
                    </a:cubicBezTo>
                    <a:cubicBezTo>
                      <a:pt x="14" y="15"/>
                      <a:pt x="15" y="15"/>
                      <a:pt x="15" y="15"/>
                    </a:cubicBezTo>
                    <a:cubicBezTo>
                      <a:pt x="15" y="15"/>
                      <a:pt x="15" y="15"/>
                      <a:pt x="15" y="15"/>
                    </a:cubicBezTo>
                    <a:cubicBezTo>
                      <a:pt x="19" y="11"/>
                      <a:pt x="25" y="9"/>
                      <a:pt x="31" y="8"/>
                    </a:cubicBezTo>
                    <a:cubicBezTo>
                      <a:pt x="34" y="7"/>
                      <a:pt x="34" y="1"/>
                      <a:pt x="30" y="1"/>
                    </a:cubicBezTo>
                    <a:cubicBezTo>
                      <a:pt x="30" y="1"/>
                      <a:pt x="30" y="1"/>
                      <a:pt x="30" y="1"/>
                    </a:cubicBezTo>
                    <a:cubicBezTo>
                      <a:pt x="14" y="2"/>
                      <a:pt x="4" y="13"/>
                      <a:pt x="1" y="27"/>
                    </a:cubicBezTo>
                    <a:cubicBezTo>
                      <a:pt x="1" y="27"/>
                      <a:pt x="1" y="27"/>
                      <a:pt x="1" y="27"/>
                    </a:cubicBezTo>
                    <a:cubicBezTo>
                      <a:pt x="0" y="33"/>
                      <a:pt x="0" y="39"/>
                      <a:pt x="2" y="45"/>
                    </a:cubicBezTo>
                    <a:cubicBezTo>
                      <a:pt x="8" y="60"/>
                      <a:pt x="23" y="69"/>
                      <a:pt x="39" y="69"/>
                    </a:cubicBezTo>
                    <a:cubicBezTo>
                      <a:pt x="44" y="69"/>
                      <a:pt x="49" y="68"/>
                      <a:pt x="54" y="66"/>
                    </a:cubicBezTo>
                    <a:cubicBezTo>
                      <a:pt x="54" y="66"/>
                      <a:pt x="55" y="65"/>
                      <a:pt x="56" y="65"/>
                    </a:cubicBezTo>
                    <a:cubicBezTo>
                      <a:pt x="71" y="57"/>
                      <a:pt x="78" y="40"/>
                      <a:pt x="72" y="23"/>
                    </a:cubicBezTo>
                    <a:cubicBezTo>
                      <a:pt x="69" y="15"/>
                      <a:pt x="64" y="6"/>
                      <a:pt x="56" y="2"/>
                    </a:cubicBezTo>
                    <a:cubicBezTo>
                      <a:pt x="54" y="0"/>
                      <a:pt x="52" y="0"/>
                      <a:pt x="50" y="0"/>
                    </a:cubicBezTo>
                  </a:path>
                </a:pathLst>
              </a:custGeom>
              <a:solidFill>
                <a:srgbClr val="544D4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131" name="Freeform 43">
                <a:extLst>
                  <a:ext uri="{FF2B5EF4-FFF2-40B4-BE49-F238E27FC236}">
                    <a16:creationId xmlns:a16="http://schemas.microsoft.com/office/drawing/2014/main" id="{4CC13CD4-056B-4851-B57E-204CC7CF1C82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6380" y="1876"/>
                <a:ext cx="96" cy="84"/>
              </a:xfrm>
              <a:custGeom>
                <a:avLst/>
                <a:gdLst>
                  <a:gd name="T0" fmla="*/ 22 w 91"/>
                  <a:gd name="T1" fmla="*/ 13 h 80"/>
                  <a:gd name="T2" fmla="*/ 25 w 91"/>
                  <a:gd name="T3" fmla="*/ 11 h 80"/>
                  <a:gd name="T4" fmla="*/ 41 w 91"/>
                  <a:gd name="T5" fmla="*/ 6 h 80"/>
                  <a:gd name="T6" fmla="*/ 56 w 91"/>
                  <a:gd name="T7" fmla="*/ 8 h 80"/>
                  <a:gd name="T8" fmla="*/ 57 w 91"/>
                  <a:gd name="T9" fmla="*/ 8 h 80"/>
                  <a:gd name="T10" fmla="*/ 59 w 91"/>
                  <a:gd name="T11" fmla="*/ 6 h 80"/>
                  <a:gd name="T12" fmla="*/ 83 w 91"/>
                  <a:gd name="T13" fmla="*/ 35 h 80"/>
                  <a:gd name="T14" fmla="*/ 79 w 91"/>
                  <a:gd name="T15" fmla="*/ 52 h 80"/>
                  <a:gd name="T16" fmla="*/ 51 w 91"/>
                  <a:gd name="T17" fmla="*/ 72 h 80"/>
                  <a:gd name="T18" fmla="*/ 47 w 91"/>
                  <a:gd name="T19" fmla="*/ 72 h 80"/>
                  <a:gd name="T20" fmla="*/ 11 w 91"/>
                  <a:gd name="T21" fmla="*/ 33 h 80"/>
                  <a:gd name="T22" fmla="*/ 22 w 91"/>
                  <a:gd name="T23" fmla="*/ 13 h 80"/>
                  <a:gd name="T24" fmla="*/ 22 w 91"/>
                  <a:gd name="T25" fmla="*/ 13 h 80"/>
                  <a:gd name="T26" fmla="*/ 42 w 91"/>
                  <a:gd name="T27" fmla="*/ 0 h 80"/>
                  <a:gd name="T28" fmla="*/ 3 w 91"/>
                  <a:gd name="T29" fmla="*/ 30 h 80"/>
                  <a:gd name="T30" fmla="*/ 3 w 91"/>
                  <a:gd name="T31" fmla="*/ 32 h 80"/>
                  <a:gd name="T32" fmla="*/ 3 w 91"/>
                  <a:gd name="T33" fmla="*/ 32 h 80"/>
                  <a:gd name="T34" fmla="*/ 46 w 91"/>
                  <a:gd name="T35" fmla="*/ 79 h 80"/>
                  <a:gd name="T36" fmla="*/ 50 w 91"/>
                  <a:gd name="T37" fmla="*/ 80 h 80"/>
                  <a:gd name="T38" fmla="*/ 65 w 91"/>
                  <a:gd name="T39" fmla="*/ 76 h 80"/>
                  <a:gd name="T40" fmla="*/ 89 w 91"/>
                  <a:gd name="T41" fmla="*/ 39 h 80"/>
                  <a:gd name="T42" fmla="*/ 58 w 91"/>
                  <a:gd name="T43" fmla="*/ 3 h 80"/>
                  <a:gd name="T44" fmla="*/ 57 w 91"/>
                  <a:gd name="T45" fmla="*/ 3 h 80"/>
                  <a:gd name="T46" fmla="*/ 42 w 91"/>
                  <a:gd name="T47" fmla="*/ 0 h 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91" h="80">
                    <a:moveTo>
                      <a:pt x="22" y="13"/>
                    </a:moveTo>
                    <a:cubicBezTo>
                      <a:pt x="23" y="12"/>
                      <a:pt x="24" y="11"/>
                      <a:pt x="25" y="11"/>
                    </a:cubicBezTo>
                    <a:cubicBezTo>
                      <a:pt x="31" y="7"/>
                      <a:pt x="36" y="6"/>
                      <a:pt x="41" y="6"/>
                    </a:cubicBezTo>
                    <a:cubicBezTo>
                      <a:pt x="46" y="6"/>
                      <a:pt x="51" y="7"/>
                      <a:pt x="56" y="8"/>
                    </a:cubicBezTo>
                    <a:cubicBezTo>
                      <a:pt x="57" y="8"/>
                      <a:pt x="57" y="8"/>
                      <a:pt x="57" y="8"/>
                    </a:cubicBezTo>
                    <a:cubicBezTo>
                      <a:pt x="58" y="8"/>
                      <a:pt x="59" y="7"/>
                      <a:pt x="59" y="6"/>
                    </a:cubicBezTo>
                    <a:cubicBezTo>
                      <a:pt x="73" y="9"/>
                      <a:pt x="82" y="18"/>
                      <a:pt x="83" y="35"/>
                    </a:cubicBezTo>
                    <a:cubicBezTo>
                      <a:pt x="83" y="41"/>
                      <a:pt x="81" y="47"/>
                      <a:pt x="79" y="52"/>
                    </a:cubicBezTo>
                    <a:cubicBezTo>
                      <a:pt x="73" y="64"/>
                      <a:pt x="63" y="72"/>
                      <a:pt x="51" y="72"/>
                    </a:cubicBezTo>
                    <a:cubicBezTo>
                      <a:pt x="49" y="72"/>
                      <a:pt x="48" y="72"/>
                      <a:pt x="47" y="72"/>
                    </a:cubicBezTo>
                    <a:cubicBezTo>
                      <a:pt x="28" y="69"/>
                      <a:pt x="8" y="54"/>
                      <a:pt x="11" y="33"/>
                    </a:cubicBezTo>
                    <a:cubicBezTo>
                      <a:pt x="12" y="26"/>
                      <a:pt x="17" y="18"/>
                      <a:pt x="22" y="13"/>
                    </a:cubicBezTo>
                    <a:cubicBezTo>
                      <a:pt x="22" y="13"/>
                      <a:pt x="22" y="13"/>
                      <a:pt x="22" y="13"/>
                    </a:cubicBezTo>
                    <a:moveTo>
                      <a:pt x="42" y="0"/>
                    </a:moveTo>
                    <a:cubicBezTo>
                      <a:pt x="24" y="0"/>
                      <a:pt x="7" y="10"/>
                      <a:pt x="3" y="30"/>
                    </a:cubicBezTo>
                    <a:cubicBezTo>
                      <a:pt x="3" y="31"/>
                      <a:pt x="3" y="31"/>
                      <a:pt x="3" y="32"/>
                    </a:cubicBezTo>
                    <a:cubicBezTo>
                      <a:pt x="3" y="32"/>
                      <a:pt x="3" y="32"/>
                      <a:pt x="3" y="32"/>
                    </a:cubicBezTo>
                    <a:cubicBezTo>
                      <a:pt x="0" y="57"/>
                      <a:pt x="23" y="76"/>
                      <a:pt x="46" y="79"/>
                    </a:cubicBezTo>
                    <a:cubicBezTo>
                      <a:pt x="47" y="79"/>
                      <a:pt x="49" y="80"/>
                      <a:pt x="50" y="80"/>
                    </a:cubicBezTo>
                    <a:cubicBezTo>
                      <a:pt x="55" y="80"/>
                      <a:pt x="61" y="78"/>
                      <a:pt x="65" y="76"/>
                    </a:cubicBezTo>
                    <a:cubicBezTo>
                      <a:pt x="79" y="70"/>
                      <a:pt x="88" y="55"/>
                      <a:pt x="89" y="39"/>
                    </a:cubicBezTo>
                    <a:cubicBezTo>
                      <a:pt x="91" y="16"/>
                      <a:pt x="78" y="5"/>
                      <a:pt x="58" y="3"/>
                    </a:cubicBezTo>
                    <a:cubicBezTo>
                      <a:pt x="58" y="3"/>
                      <a:pt x="58" y="3"/>
                      <a:pt x="57" y="3"/>
                    </a:cubicBezTo>
                    <a:cubicBezTo>
                      <a:pt x="52" y="1"/>
                      <a:pt x="47" y="0"/>
                      <a:pt x="42" y="0"/>
                    </a:cubicBezTo>
                  </a:path>
                </a:pathLst>
              </a:custGeom>
              <a:solidFill>
                <a:srgbClr val="544D4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132" name="Freeform 44">
                <a:extLst>
                  <a:ext uri="{FF2B5EF4-FFF2-40B4-BE49-F238E27FC236}">
                    <a16:creationId xmlns:a16="http://schemas.microsoft.com/office/drawing/2014/main" id="{CC95BA2A-3A51-4ED5-9CE5-CADAACDC94E4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287" y="1778"/>
                <a:ext cx="94" cy="84"/>
              </a:xfrm>
              <a:custGeom>
                <a:avLst/>
                <a:gdLst>
                  <a:gd name="T0" fmla="*/ 47 w 89"/>
                  <a:gd name="T1" fmla="*/ 0 h 79"/>
                  <a:gd name="T2" fmla="*/ 46 w 89"/>
                  <a:gd name="T3" fmla="*/ 0 h 79"/>
                  <a:gd name="T4" fmla="*/ 3 w 89"/>
                  <a:gd name="T5" fmla="*/ 35 h 79"/>
                  <a:gd name="T6" fmla="*/ 3 w 89"/>
                  <a:gd name="T7" fmla="*/ 35 h 79"/>
                  <a:gd name="T8" fmla="*/ 3 w 89"/>
                  <a:gd name="T9" fmla="*/ 38 h 79"/>
                  <a:gd name="T10" fmla="*/ 9 w 89"/>
                  <a:gd name="T11" fmla="*/ 67 h 79"/>
                  <a:gd name="T12" fmla="*/ 42 w 89"/>
                  <a:gd name="T13" fmla="*/ 79 h 79"/>
                  <a:gd name="T14" fmla="*/ 49 w 89"/>
                  <a:gd name="T15" fmla="*/ 79 h 79"/>
                  <a:gd name="T16" fmla="*/ 68 w 89"/>
                  <a:gd name="T17" fmla="*/ 75 h 79"/>
                  <a:gd name="T18" fmla="*/ 84 w 89"/>
                  <a:gd name="T19" fmla="*/ 53 h 79"/>
                  <a:gd name="T20" fmla="*/ 53 w 89"/>
                  <a:gd name="T21" fmla="*/ 4 h 79"/>
                  <a:gd name="T22" fmla="*/ 52 w 89"/>
                  <a:gd name="T23" fmla="*/ 4 h 79"/>
                  <a:gd name="T24" fmla="*/ 52 w 89"/>
                  <a:gd name="T25" fmla="*/ 6 h 79"/>
                  <a:gd name="T26" fmla="*/ 79 w 89"/>
                  <a:gd name="T27" fmla="*/ 34 h 79"/>
                  <a:gd name="T28" fmla="*/ 75 w 89"/>
                  <a:gd name="T29" fmla="*/ 62 h 79"/>
                  <a:gd name="T30" fmla="*/ 74 w 89"/>
                  <a:gd name="T31" fmla="*/ 63 h 79"/>
                  <a:gd name="T32" fmla="*/ 54 w 89"/>
                  <a:gd name="T33" fmla="*/ 73 h 79"/>
                  <a:gd name="T34" fmla="*/ 45 w 89"/>
                  <a:gd name="T35" fmla="*/ 73 h 79"/>
                  <a:gd name="T36" fmla="*/ 10 w 89"/>
                  <a:gd name="T37" fmla="*/ 37 h 79"/>
                  <a:gd name="T38" fmla="*/ 24 w 89"/>
                  <a:gd name="T39" fmla="*/ 17 h 79"/>
                  <a:gd name="T40" fmla="*/ 24 w 89"/>
                  <a:gd name="T41" fmla="*/ 17 h 79"/>
                  <a:gd name="T42" fmla="*/ 48 w 89"/>
                  <a:gd name="T43" fmla="*/ 7 h 79"/>
                  <a:gd name="T44" fmla="*/ 47 w 89"/>
                  <a:gd name="T45" fmla="*/ 0 h 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89" h="79">
                    <a:moveTo>
                      <a:pt x="47" y="0"/>
                    </a:moveTo>
                    <a:cubicBezTo>
                      <a:pt x="47" y="0"/>
                      <a:pt x="47" y="0"/>
                      <a:pt x="46" y="0"/>
                    </a:cubicBezTo>
                    <a:cubicBezTo>
                      <a:pt x="25" y="3"/>
                      <a:pt x="9" y="15"/>
                      <a:pt x="3" y="35"/>
                    </a:cubicBezTo>
                    <a:cubicBezTo>
                      <a:pt x="3" y="35"/>
                      <a:pt x="3" y="35"/>
                      <a:pt x="3" y="35"/>
                    </a:cubicBezTo>
                    <a:cubicBezTo>
                      <a:pt x="3" y="36"/>
                      <a:pt x="3" y="37"/>
                      <a:pt x="3" y="38"/>
                    </a:cubicBezTo>
                    <a:cubicBezTo>
                      <a:pt x="0" y="48"/>
                      <a:pt x="2" y="59"/>
                      <a:pt x="9" y="67"/>
                    </a:cubicBezTo>
                    <a:cubicBezTo>
                      <a:pt x="18" y="78"/>
                      <a:pt x="30" y="78"/>
                      <a:pt x="42" y="79"/>
                    </a:cubicBezTo>
                    <a:cubicBezTo>
                      <a:pt x="44" y="79"/>
                      <a:pt x="47" y="79"/>
                      <a:pt x="49" y="79"/>
                    </a:cubicBezTo>
                    <a:cubicBezTo>
                      <a:pt x="56" y="79"/>
                      <a:pt x="63" y="78"/>
                      <a:pt x="68" y="75"/>
                    </a:cubicBezTo>
                    <a:cubicBezTo>
                      <a:pt x="75" y="71"/>
                      <a:pt x="81" y="64"/>
                      <a:pt x="84" y="53"/>
                    </a:cubicBezTo>
                    <a:cubicBezTo>
                      <a:pt x="89" y="31"/>
                      <a:pt x="71" y="12"/>
                      <a:pt x="53" y="4"/>
                    </a:cubicBezTo>
                    <a:cubicBezTo>
                      <a:pt x="52" y="4"/>
                      <a:pt x="52" y="4"/>
                      <a:pt x="52" y="4"/>
                    </a:cubicBezTo>
                    <a:cubicBezTo>
                      <a:pt x="51" y="4"/>
                      <a:pt x="50" y="5"/>
                      <a:pt x="52" y="6"/>
                    </a:cubicBezTo>
                    <a:cubicBezTo>
                      <a:pt x="64" y="11"/>
                      <a:pt x="75" y="21"/>
                      <a:pt x="79" y="34"/>
                    </a:cubicBezTo>
                    <a:cubicBezTo>
                      <a:pt x="81" y="43"/>
                      <a:pt x="81" y="54"/>
                      <a:pt x="75" y="62"/>
                    </a:cubicBezTo>
                    <a:cubicBezTo>
                      <a:pt x="75" y="62"/>
                      <a:pt x="75" y="62"/>
                      <a:pt x="74" y="63"/>
                    </a:cubicBezTo>
                    <a:cubicBezTo>
                      <a:pt x="68" y="71"/>
                      <a:pt x="62" y="73"/>
                      <a:pt x="54" y="73"/>
                    </a:cubicBezTo>
                    <a:cubicBezTo>
                      <a:pt x="51" y="73"/>
                      <a:pt x="48" y="73"/>
                      <a:pt x="45" y="73"/>
                    </a:cubicBezTo>
                    <a:cubicBezTo>
                      <a:pt x="24" y="70"/>
                      <a:pt x="3" y="63"/>
                      <a:pt x="10" y="37"/>
                    </a:cubicBezTo>
                    <a:cubicBezTo>
                      <a:pt x="13" y="27"/>
                      <a:pt x="18" y="21"/>
                      <a:pt x="24" y="17"/>
                    </a:cubicBezTo>
                    <a:cubicBezTo>
                      <a:pt x="24" y="17"/>
                      <a:pt x="24" y="17"/>
                      <a:pt x="24" y="17"/>
                    </a:cubicBezTo>
                    <a:cubicBezTo>
                      <a:pt x="31" y="12"/>
                      <a:pt x="39" y="9"/>
                      <a:pt x="48" y="7"/>
                    </a:cubicBezTo>
                    <a:cubicBezTo>
                      <a:pt x="51" y="6"/>
                      <a:pt x="50" y="0"/>
                      <a:pt x="47" y="0"/>
                    </a:cubicBezTo>
                  </a:path>
                </a:pathLst>
              </a:custGeom>
              <a:solidFill>
                <a:srgbClr val="544D4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133" name="Freeform 45">
                <a:extLst>
                  <a:ext uri="{FF2B5EF4-FFF2-40B4-BE49-F238E27FC236}">
                    <a16:creationId xmlns:a16="http://schemas.microsoft.com/office/drawing/2014/main" id="{809833B4-E1BD-4F43-89EA-76E11F0161C3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6679" y="1885"/>
                <a:ext cx="77" cy="74"/>
              </a:xfrm>
              <a:custGeom>
                <a:avLst/>
                <a:gdLst>
                  <a:gd name="T0" fmla="*/ 8 w 73"/>
                  <a:gd name="T1" fmla="*/ 12 h 70"/>
                  <a:gd name="T2" fmla="*/ 14 w 73"/>
                  <a:gd name="T3" fmla="*/ 6 h 70"/>
                  <a:gd name="T4" fmla="*/ 15 w 73"/>
                  <a:gd name="T5" fmla="*/ 6 h 70"/>
                  <a:gd name="T6" fmla="*/ 27 w 73"/>
                  <a:gd name="T7" fmla="*/ 13 h 70"/>
                  <a:gd name="T8" fmla="*/ 59 w 73"/>
                  <a:gd name="T9" fmla="*/ 44 h 70"/>
                  <a:gd name="T10" fmla="*/ 63 w 73"/>
                  <a:gd name="T11" fmla="*/ 59 h 70"/>
                  <a:gd name="T12" fmla="*/ 61 w 73"/>
                  <a:gd name="T13" fmla="*/ 61 h 70"/>
                  <a:gd name="T14" fmla="*/ 60 w 73"/>
                  <a:gd name="T15" fmla="*/ 62 h 70"/>
                  <a:gd name="T16" fmla="*/ 54 w 73"/>
                  <a:gd name="T17" fmla="*/ 65 h 70"/>
                  <a:gd name="T18" fmla="*/ 53 w 73"/>
                  <a:gd name="T19" fmla="*/ 59 h 70"/>
                  <a:gd name="T20" fmla="*/ 18 w 73"/>
                  <a:gd name="T21" fmla="*/ 27 h 70"/>
                  <a:gd name="T22" fmla="*/ 14 w 73"/>
                  <a:gd name="T23" fmla="*/ 22 h 70"/>
                  <a:gd name="T24" fmla="*/ 8 w 73"/>
                  <a:gd name="T25" fmla="*/ 13 h 70"/>
                  <a:gd name="T26" fmla="*/ 8 w 73"/>
                  <a:gd name="T27" fmla="*/ 12 h 70"/>
                  <a:gd name="T28" fmla="*/ 13 w 73"/>
                  <a:gd name="T29" fmla="*/ 0 h 70"/>
                  <a:gd name="T30" fmla="*/ 2 w 73"/>
                  <a:gd name="T31" fmla="*/ 12 h 70"/>
                  <a:gd name="T32" fmla="*/ 2 w 73"/>
                  <a:gd name="T33" fmla="*/ 12 h 70"/>
                  <a:gd name="T34" fmla="*/ 4 w 73"/>
                  <a:gd name="T35" fmla="*/ 17 h 70"/>
                  <a:gd name="T36" fmla="*/ 22 w 73"/>
                  <a:gd name="T37" fmla="*/ 40 h 70"/>
                  <a:gd name="T38" fmla="*/ 50 w 73"/>
                  <a:gd name="T39" fmla="*/ 65 h 70"/>
                  <a:gd name="T40" fmla="*/ 52 w 73"/>
                  <a:gd name="T41" fmla="*/ 65 h 70"/>
                  <a:gd name="T42" fmla="*/ 48 w 73"/>
                  <a:gd name="T43" fmla="*/ 67 h 70"/>
                  <a:gd name="T44" fmla="*/ 48 w 73"/>
                  <a:gd name="T45" fmla="*/ 70 h 70"/>
                  <a:gd name="T46" fmla="*/ 48 w 73"/>
                  <a:gd name="T47" fmla="*/ 70 h 70"/>
                  <a:gd name="T48" fmla="*/ 60 w 73"/>
                  <a:gd name="T49" fmla="*/ 69 h 70"/>
                  <a:gd name="T50" fmla="*/ 62 w 73"/>
                  <a:gd name="T51" fmla="*/ 68 h 70"/>
                  <a:gd name="T52" fmla="*/ 70 w 73"/>
                  <a:gd name="T53" fmla="*/ 63 h 70"/>
                  <a:gd name="T54" fmla="*/ 69 w 73"/>
                  <a:gd name="T55" fmla="*/ 48 h 70"/>
                  <a:gd name="T56" fmla="*/ 22 w 73"/>
                  <a:gd name="T57" fmla="*/ 2 h 70"/>
                  <a:gd name="T58" fmla="*/ 13 w 73"/>
                  <a:gd name="T59" fmla="*/ 0 h 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73" h="70">
                    <a:moveTo>
                      <a:pt x="8" y="12"/>
                    </a:moveTo>
                    <a:cubicBezTo>
                      <a:pt x="8" y="9"/>
                      <a:pt x="9" y="7"/>
                      <a:pt x="14" y="6"/>
                    </a:cubicBezTo>
                    <a:cubicBezTo>
                      <a:pt x="14" y="6"/>
                      <a:pt x="14" y="6"/>
                      <a:pt x="15" y="6"/>
                    </a:cubicBezTo>
                    <a:cubicBezTo>
                      <a:pt x="19" y="6"/>
                      <a:pt x="25" y="11"/>
                      <a:pt x="27" y="13"/>
                    </a:cubicBezTo>
                    <a:cubicBezTo>
                      <a:pt x="39" y="22"/>
                      <a:pt x="50" y="32"/>
                      <a:pt x="59" y="44"/>
                    </a:cubicBezTo>
                    <a:cubicBezTo>
                      <a:pt x="63" y="49"/>
                      <a:pt x="67" y="53"/>
                      <a:pt x="63" y="59"/>
                    </a:cubicBezTo>
                    <a:cubicBezTo>
                      <a:pt x="62" y="60"/>
                      <a:pt x="62" y="60"/>
                      <a:pt x="61" y="61"/>
                    </a:cubicBezTo>
                    <a:cubicBezTo>
                      <a:pt x="61" y="61"/>
                      <a:pt x="61" y="62"/>
                      <a:pt x="60" y="62"/>
                    </a:cubicBezTo>
                    <a:cubicBezTo>
                      <a:pt x="58" y="63"/>
                      <a:pt x="56" y="64"/>
                      <a:pt x="54" y="65"/>
                    </a:cubicBezTo>
                    <a:cubicBezTo>
                      <a:pt x="55" y="63"/>
                      <a:pt x="56" y="60"/>
                      <a:pt x="53" y="59"/>
                    </a:cubicBezTo>
                    <a:cubicBezTo>
                      <a:pt x="39" y="50"/>
                      <a:pt x="29" y="39"/>
                      <a:pt x="18" y="27"/>
                    </a:cubicBezTo>
                    <a:cubicBezTo>
                      <a:pt x="17" y="25"/>
                      <a:pt x="15" y="24"/>
                      <a:pt x="14" y="22"/>
                    </a:cubicBezTo>
                    <a:cubicBezTo>
                      <a:pt x="12" y="20"/>
                      <a:pt x="9" y="16"/>
                      <a:pt x="8" y="13"/>
                    </a:cubicBezTo>
                    <a:cubicBezTo>
                      <a:pt x="8" y="12"/>
                      <a:pt x="8" y="12"/>
                      <a:pt x="8" y="12"/>
                    </a:cubicBezTo>
                    <a:moveTo>
                      <a:pt x="13" y="0"/>
                    </a:moveTo>
                    <a:cubicBezTo>
                      <a:pt x="6" y="0"/>
                      <a:pt x="0" y="4"/>
                      <a:pt x="2" y="12"/>
                    </a:cubicBezTo>
                    <a:cubicBezTo>
                      <a:pt x="2" y="12"/>
                      <a:pt x="2" y="12"/>
                      <a:pt x="2" y="12"/>
                    </a:cubicBezTo>
                    <a:cubicBezTo>
                      <a:pt x="2" y="14"/>
                      <a:pt x="3" y="15"/>
                      <a:pt x="4" y="17"/>
                    </a:cubicBezTo>
                    <a:cubicBezTo>
                      <a:pt x="8" y="26"/>
                      <a:pt x="16" y="33"/>
                      <a:pt x="22" y="40"/>
                    </a:cubicBezTo>
                    <a:cubicBezTo>
                      <a:pt x="30" y="50"/>
                      <a:pt x="40" y="59"/>
                      <a:pt x="50" y="65"/>
                    </a:cubicBezTo>
                    <a:cubicBezTo>
                      <a:pt x="51" y="65"/>
                      <a:pt x="51" y="65"/>
                      <a:pt x="52" y="65"/>
                    </a:cubicBezTo>
                    <a:cubicBezTo>
                      <a:pt x="50" y="66"/>
                      <a:pt x="49" y="66"/>
                      <a:pt x="48" y="67"/>
                    </a:cubicBezTo>
                    <a:cubicBezTo>
                      <a:pt x="46" y="68"/>
                      <a:pt x="47" y="70"/>
                      <a:pt x="48" y="70"/>
                    </a:cubicBezTo>
                    <a:cubicBezTo>
                      <a:pt x="48" y="70"/>
                      <a:pt x="48" y="70"/>
                      <a:pt x="48" y="70"/>
                    </a:cubicBezTo>
                    <a:cubicBezTo>
                      <a:pt x="52" y="69"/>
                      <a:pt x="56" y="69"/>
                      <a:pt x="60" y="69"/>
                    </a:cubicBezTo>
                    <a:cubicBezTo>
                      <a:pt x="60" y="69"/>
                      <a:pt x="61" y="69"/>
                      <a:pt x="62" y="68"/>
                    </a:cubicBezTo>
                    <a:cubicBezTo>
                      <a:pt x="66" y="68"/>
                      <a:pt x="69" y="67"/>
                      <a:pt x="70" y="63"/>
                    </a:cubicBezTo>
                    <a:cubicBezTo>
                      <a:pt x="73" y="59"/>
                      <a:pt x="72" y="53"/>
                      <a:pt x="69" y="48"/>
                    </a:cubicBezTo>
                    <a:cubicBezTo>
                      <a:pt x="61" y="31"/>
                      <a:pt x="40" y="9"/>
                      <a:pt x="22" y="2"/>
                    </a:cubicBezTo>
                    <a:cubicBezTo>
                      <a:pt x="19" y="1"/>
                      <a:pt x="16" y="0"/>
                      <a:pt x="13" y="0"/>
                    </a:cubicBezTo>
                  </a:path>
                </a:pathLst>
              </a:custGeom>
              <a:solidFill>
                <a:srgbClr val="544D4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134" name="Freeform 46">
                <a:extLst>
                  <a:ext uri="{FF2B5EF4-FFF2-40B4-BE49-F238E27FC236}">
                    <a16:creationId xmlns:a16="http://schemas.microsoft.com/office/drawing/2014/main" id="{1A6DC8E8-D540-4AC4-8DDC-EF74ADB0F55B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6792" y="1903"/>
                <a:ext cx="77" cy="72"/>
              </a:xfrm>
              <a:custGeom>
                <a:avLst/>
                <a:gdLst>
                  <a:gd name="T0" fmla="*/ 6 w 73"/>
                  <a:gd name="T1" fmla="*/ 13 h 68"/>
                  <a:gd name="T2" fmla="*/ 9 w 73"/>
                  <a:gd name="T3" fmla="*/ 7 h 68"/>
                  <a:gd name="T4" fmla="*/ 11 w 73"/>
                  <a:gd name="T5" fmla="*/ 6 h 68"/>
                  <a:gd name="T6" fmla="*/ 18 w 73"/>
                  <a:gd name="T7" fmla="*/ 11 h 68"/>
                  <a:gd name="T8" fmla="*/ 44 w 73"/>
                  <a:gd name="T9" fmla="*/ 32 h 68"/>
                  <a:gd name="T10" fmla="*/ 60 w 73"/>
                  <a:gd name="T11" fmla="*/ 47 h 68"/>
                  <a:gd name="T12" fmla="*/ 64 w 73"/>
                  <a:gd name="T13" fmla="*/ 54 h 68"/>
                  <a:gd name="T14" fmla="*/ 59 w 73"/>
                  <a:gd name="T15" fmla="*/ 62 h 68"/>
                  <a:gd name="T16" fmla="*/ 57 w 73"/>
                  <a:gd name="T17" fmla="*/ 63 h 68"/>
                  <a:gd name="T18" fmla="*/ 55 w 73"/>
                  <a:gd name="T19" fmla="*/ 62 h 68"/>
                  <a:gd name="T20" fmla="*/ 54 w 73"/>
                  <a:gd name="T21" fmla="*/ 55 h 68"/>
                  <a:gd name="T22" fmla="*/ 21 w 73"/>
                  <a:gd name="T23" fmla="*/ 30 h 68"/>
                  <a:gd name="T24" fmla="*/ 7 w 73"/>
                  <a:gd name="T25" fmla="*/ 16 h 68"/>
                  <a:gd name="T26" fmla="*/ 6 w 73"/>
                  <a:gd name="T27" fmla="*/ 13 h 68"/>
                  <a:gd name="T28" fmla="*/ 7 w 73"/>
                  <a:gd name="T29" fmla="*/ 0 h 68"/>
                  <a:gd name="T30" fmla="*/ 5 w 73"/>
                  <a:gd name="T31" fmla="*/ 1 h 68"/>
                  <a:gd name="T32" fmla="*/ 0 w 73"/>
                  <a:gd name="T33" fmla="*/ 12 h 68"/>
                  <a:gd name="T34" fmla="*/ 0 w 73"/>
                  <a:gd name="T35" fmla="*/ 16 h 68"/>
                  <a:gd name="T36" fmla="*/ 20 w 73"/>
                  <a:gd name="T37" fmla="*/ 39 h 68"/>
                  <a:gd name="T38" fmla="*/ 50 w 73"/>
                  <a:gd name="T39" fmla="*/ 62 h 68"/>
                  <a:gd name="T40" fmla="*/ 51 w 73"/>
                  <a:gd name="T41" fmla="*/ 63 h 68"/>
                  <a:gd name="T42" fmla="*/ 57 w 73"/>
                  <a:gd name="T43" fmla="*/ 67 h 68"/>
                  <a:gd name="T44" fmla="*/ 60 w 73"/>
                  <a:gd name="T45" fmla="*/ 68 h 68"/>
                  <a:gd name="T46" fmla="*/ 68 w 73"/>
                  <a:gd name="T47" fmla="*/ 65 h 68"/>
                  <a:gd name="T48" fmla="*/ 69 w 73"/>
                  <a:gd name="T49" fmla="*/ 48 h 68"/>
                  <a:gd name="T50" fmla="*/ 18 w 73"/>
                  <a:gd name="T51" fmla="*/ 7 h 68"/>
                  <a:gd name="T52" fmla="*/ 7 w 73"/>
                  <a:gd name="T53" fmla="*/ 0 h 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73" h="68">
                    <a:moveTo>
                      <a:pt x="6" y="13"/>
                    </a:moveTo>
                    <a:cubicBezTo>
                      <a:pt x="5" y="11"/>
                      <a:pt x="5" y="9"/>
                      <a:pt x="9" y="7"/>
                    </a:cubicBezTo>
                    <a:cubicBezTo>
                      <a:pt x="10" y="7"/>
                      <a:pt x="11" y="6"/>
                      <a:pt x="11" y="6"/>
                    </a:cubicBezTo>
                    <a:cubicBezTo>
                      <a:pt x="14" y="6"/>
                      <a:pt x="15" y="9"/>
                      <a:pt x="18" y="11"/>
                    </a:cubicBezTo>
                    <a:cubicBezTo>
                      <a:pt x="27" y="18"/>
                      <a:pt x="36" y="25"/>
                      <a:pt x="44" y="32"/>
                    </a:cubicBezTo>
                    <a:cubicBezTo>
                      <a:pt x="50" y="36"/>
                      <a:pt x="56" y="41"/>
                      <a:pt x="60" y="47"/>
                    </a:cubicBezTo>
                    <a:cubicBezTo>
                      <a:pt x="61" y="49"/>
                      <a:pt x="64" y="52"/>
                      <a:pt x="64" y="54"/>
                    </a:cubicBezTo>
                    <a:cubicBezTo>
                      <a:pt x="65" y="59"/>
                      <a:pt x="62" y="62"/>
                      <a:pt x="59" y="62"/>
                    </a:cubicBezTo>
                    <a:cubicBezTo>
                      <a:pt x="58" y="63"/>
                      <a:pt x="58" y="63"/>
                      <a:pt x="57" y="63"/>
                    </a:cubicBezTo>
                    <a:cubicBezTo>
                      <a:pt x="57" y="63"/>
                      <a:pt x="56" y="62"/>
                      <a:pt x="55" y="62"/>
                    </a:cubicBezTo>
                    <a:cubicBezTo>
                      <a:pt x="57" y="60"/>
                      <a:pt x="58" y="56"/>
                      <a:pt x="54" y="55"/>
                    </a:cubicBezTo>
                    <a:cubicBezTo>
                      <a:pt x="41" y="50"/>
                      <a:pt x="32" y="39"/>
                      <a:pt x="21" y="30"/>
                    </a:cubicBezTo>
                    <a:cubicBezTo>
                      <a:pt x="17" y="26"/>
                      <a:pt x="10" y="22"/>
                      <a:pt x="7" y="16"/>
                    </a:cubicBezTo>
                    <a:cubicBezTo>
                      <a:pt x="7" y="15"/>
                      <a:pt x="6" y="14"/>
                      <a:pt x="6" y="13"/>
                    </a:cubicBezTo>
                    <a:moveTo>
                      <a:pt x="7" y="0"/>
                    </a:moveTo>
                    <a:cubicBezTo>
                      <a:pt x="7" y="0"/>
                      <a:pt x="6" y="0"/>
                      <a:pt x="5" y="1"/>
                    </a:cubicBezTo>
                    <a:cubicBezTo>
                      <a:pt x="1" y="2"/>
                      <a:pt x="0" y="8"/>
                      <a:pt x="0" y="12"/>
                    </a:cubicBezTo>
                    <a:cubicBezTo>
                      <a:pt x="0" y="14"/>
                      <a:pt x="0" y="15"/>
                      <a:pt x="0" y="16"/>
                    </a:cubicBezTo>
                    <a:cubicBezTo>
                      <a:pt x="3" y="26"/>
                      <a:pt x="13" y="32"/>
                      <a:pt x="20" y="39"/>
                    </a:cubicBezTo>
                    <a:cubicBezTo>
                      <a:pt x="29" y="47"/>
                      <a:pt x="38" y="58"/>
                      <a:pt x="50" y="62"/>
                    </a:cubicBezTo>
                    <a:cubicBezTo>
                      <a:pt x="50" y="62"/>
                      <a:pt x="50" y="63"/>
                      <a:pt x="51" y="63"/>
                    </a:cubicBezTo>
                    <a:cubicBezTo>
                      <a:pt x="52" y="65"/>
                      <a:pt x="55" y="67"/>
                      <a:pt x="57" y="67"/>
                    </a:cubicBezTo>
                    <a:cubicBezTo>
                      <a:pt x="58" y="67"/>
                      <a:pt x="59" y="68"/>
                      <a:pt x="60" y="68"/>
                    </a:cubicBezTo>
                    <a:cubicBezTo>
                      <a:pt x="63" y="68"/>
                      <a:pt x="65" y="67"/>
                      <a:pt x="68" y="65"/>
                    </a:cubicBezTo>
                    <a:cubicBezTo>
                      <a:pt x="73" y="60"/>
                      <a:pt x="72" y="54"/>
                      <a:pt x="69" y="48"/>
                    </a:cubicBezTo>
                    <a:cubicBezTo>
                      <a:pt x="60" y="28"/>
                      <a:pt x="36" y="18"/>
                      <a:pt x="18" y="7"/>
                    </a:cubicBezTo>
                    <a:cubicBezTo>
                      <a:pt x="15" y="5"/>
                      <a:pt x="11" y="0"/>
                      <a:pt x="7" y="0"/>
                    </a:cubicBezTo>
                  </a:path>
                </a:pathLst>
              </a:custGeom>
              <a:solidFill>
                <a:srgbClr val="544D4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135" name="Freeform 47">
                <a:extLst>
                  <a:ext uri="{FF2B5EF4-FFF2-40B4-BE49-F238E27FC236}">
                    <a16:creationId xmlns:a16="http://schemas.microsoft.com/office/drawing/2014/main" id="{4F18B259-3A52-446C-9037-669BC4DF97F8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6841" y="1827"/>
                <a:ext cx="32" cy="22"/>
              </a:xfrm>
              <a:custGeom>
                <a:avLst/>
                <a:gdLst>
                  <a:gd name="T0" fmla="*/ 5 w 30"/>
                  <a:gd name="T1" fmla="*/ 8 h 21"/>
                  <a:gd name="T2" fmla="*/ 7 w 30"/>
                  <a:gd name="T3" fmla="*/ 6 h 21"/>
                  <a:gd name="T4" fmla="*/ 11 w 30"/>
                  <a:gd name="T5" fmla="*/ 5 h 21"/>
                  <a:gd name="T6" fmla="*/ 20 w 30"/>
                  <a:gd name="T7" fmla="*/ 9 h 21"/>
                  <a:gd name="T8" fmla="*/ 19 w 30"/>
                  <a:gd name="T9" fmla="*/ 10 h 21"/>
                  <a:gd name="T10" fmla="*/ 15 w 30"/>
                  <a:gd name="T11" fmla="*/ 15 h 21"/>
                  <a:gd name="T12" fmla="*/ 13 w 30"/>
                  <a:gd name="T13" fmla="*/ 16 h 21"/>
                  <a:gd name="T14" fmla="*/ 10 w 30"/>
                  <a:gd name="T15" fmla="*/ 16 h 21"/>
                  <a:gd name="T16" fmla="*/ 9 w 30"/>
                  <a:gd name="T17" fmla="*/ 16 h 21"/>
                  <a:gd name="T18" fmla="*/ 5 w 30"/>
                  <a:gd name="T19" fmla="*/ 8 h 21"/>
                  <a:gd name="T20" fmla="*/ 11 w 30"/>
                  <a:gd name="T21" fmla="*/ 0 h 21"/>
                  <a:gd name="T22" fmla="*/ 3 w 30"/>
                  <a:gd name="T23" fmla="*/ 3 h 21"/>
                  <a:gd name="T24" fmla="*/ 1 w 30"/>
                  <a:gd name="T25" fmla="*/ 8 h 21"/>
                  <a:gd name="T26" fmla="*/ 6 w 30"/>
                  <a:gd name="T27" fmla="*/ 19 h 21"/>
                  <a:gd name="T28" fmla="*/ 12 w 30"/>
                  <a:gd name="T29" fmla="*/ 21 h 21"/>
                  <a:gd name="T30" fmla="*/ 15 w 30"/>
                  <a:gd name="T31" fmla="*/ 20 h 21"/>
                  <a:gd name="T32" fmla="*/ 15 w 30"/>
                  <a:gd name="T33" fmla="*/ 20 h 21"/>
                  <a:gd name="T34" fmla="*/ 16 w 30"/>
                  <a:gd name="T35" fmla="*/ 20 h 21"/>
                  <a:gd name="T36" fmla="*/ 17 w 30"/>
                  <a:gd name="T37" fmla="*/ 19 h 21"/>
                  <a:gd name="T38" fmla="*/ 23 w 30"/>
                  <a:gd name="T39" fmla="*/ 15 h 21"/>
                  <a:gd name="T40" fmla="*/ 23 w 30"/>
                  <a:gd name="T41" fmla="*/ 15 h 21"/>
                  <a:gd name="T42" fmla="*/ 25 w 30"/>
                  <a:gd name="T43" fmla="*/ 15 h 21"/>
                  <a:gd name="T44" fmla="*/ 11 w 30"/>
                  <a:gd name="T45" fmla="*/ 0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30" h="21">
                    <a:moveTo>
                      <a:pt x="5" y="8"/>
                    </a:moveTo>
                    <a:cubicBezTo>
                      <a:pt x="6" y="7"/>
                      <a:pt x="6" y="7"/>
                      <a:pt x="7" y="6"/>
                    </a:cubicBezTo>
                    <a:cubicBezTo>
                      <a:pt x="8" y="5"/>
                      <a:pt x="10" y="5"/>
                      <a:pt x="11" y="5"/>
                    </a:cubicBezTo>
                    <a:cubicBezTo>
                      <a:pt x="15" y="5"/>
                      <a:pt x="18" y="6"/>
                      <a:pt x="20" y="9"/>
                    </a:cubicBezTo>
                    <a:cubicBezTo>
                      <a:pt x="20" y="9"/>
                      <a:pt x="19" y="9"/>
                      <a:pt x="19" y="10"/>
                    </a:cubicBezTo>
                    <a:cubicBezTo>
                      <a:pt x="18" y="11"/>
                      <a:pt x="17" y="13"/>
                      <a:pt x="15" y="15"/>
                    </a:cubicBezTo>
                    <a:cubicBezTo>
                      <a:pt x="14" y="15"/>
                      <a:pt x="14" y="15"/>
                      <a:pt x="13" y="16"/>
                    </a:cubicBezTo>
                    <a:cubicBezTo>
                      <a:pt x="12" y="16"/>
                      <a:pt x="11" y="16"/>
                      <a:pt x="10" y="16"/>
                    </a:cubicBezTo>
                    <a:cubicBezTo>
                      <a:pt x="10" y="16"/>
                      <a:pt x="9" y="16"/>
                      <a:pt x="9" y="16"/>
                    </a:cubicBezTo>
                    <a:cubicBezTo>
                      <a:pt x="6" y="15"/>
                      <a:pt x="4" y="11"/>
                      <a:pt x="5" y="8"/>
                    </a:cubicBezTo>
                    <a:moveTo>
                      <a:pt x="11" y="0"/>
                    </a:moveTo>
                    <a:cubicBezTo>
                      <a:pt x="8" y="0"/>
                      <a:pt x="5" y="1"/>
                      <a:pt x="3" y="3"/>
                    </a:cubicBezTo>
                    <a:cubicBezTo>
                      <a:pt x="2" y="5"/>
                      <a:pt x="1" y="6"/>
                      <a:pt x="1" y="8"/>
                    </a:cubicBezTo>
                    <a:cubicBezTo>
                      <a:pt x="0" y="12"/>
                      <a:pt x="2" y="17"/>
                      <a:pt x="6" y="19"/>
                    </a:cubicBezTo>
                    <a:cubicBezTo>
                      <a:pt x="8" y="20"/>
                      <a:pt x="10" y="21"/>
                      <a:pt x="12" y="21"/>
                    </a:cubicBezTo>
                    <a:cubicBezTo>
                      <a:pt x="13" y="21"/>
                      <a:pt x="14" y="20"/>
                      <a:pt x="15" y="20"/>
                    </a:cubicBezTo>
                    <a:cubicBezTo>
                      <a:pt x="15" y="20"/>
                      <a:pt x="15" y="20"/>
                      <a:pt x="15" y="20"/>
                    </a:cubicBezTo>
                    <a:cubicBezTo>
                      <a:pt x="16" y="20"/>
                      <a:pt x="16" y="20"/>
                      <a:pt x="16" y="20"/>
                    </a:cubicBezTo>
                    <a:cubicBezTo>
                      <a:pt x="17" y="20"/>
                      <a:pt x="17" y="20"/>
                      <a:pt x="17" y="19"/>
                    </a:cubicBezTo>
                    <a:cubicBezTo>
                      <a:pt x="19" y="18"/>
                      <a:pt x="21" y="17"/>
                      <a:pt x="23" y="15"/>
                    </a:cubicBezTo>
                    <a:cubicBezTo>
                      <a:pt x="23" y="15"/>
                      <a:pt x="23" y="15"/>
                      <a:pt x="23" y="15"/>
                    </a:cubicBezTo>
                    <a:cubicBezTo>
                      <a:pt x="24" y="15"/>
                      <a:pt x="24" y="15"/>
                      <a:pt x="25" y="15"/>
                    </a:cubicBezTo>
                    <a:cubicBezTo>
                      <a:pt x="30" y="7"/>
                      <a:pt x="20" y="0"/>
                      <a:pt x="11" y="0"/>
                    </a:cubicBezTo>
                  </a:path>
                </a:pathLst>
              </a:custGeom>
              <a:solidFill>
                <a:srgbClr val="544D4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136" name="Freeform 48">
                <a:extLst>
                  <a:ext uri="{FF2B5EF4-FFF2-40B4-BE49-F238E27FC236}">
                    <a16:creationId xmlns:a16="http://schemas.microsoft.com/office/drawing/2014/main" id="{14377725-7D7C-4E06-A842-B8D6802BBD5A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6763" y="1815"/>
                <a:ext cx="24" cy="23"/>
              </a:xfrm>
              <a:custGeom>
                <a:avLst/>
                <a:gdLst>
                  <a:gd name="T0" fmla="*/ 4 w 22"/>
                  <a:gd name="T1" fmla="*/ 9 h 21"/>
                  <a:gd name="T2" fmla="*/ 8 w 22"/>
                  <a:gd name="T3" fmla="*/ 4 h 21"/>
                  <a:gd name="T4" fmla="*/ 10 w 22"/>
                  <a:gd name="T5" fmla="*/ 4 h 21"/>
                  <a:gd name="T6" fmla="*/ 15 w 22"/>
                  <a:gd name="T7" fmla="*/ 8 h 21"/>
                  <a:gd name="T8" fmla="*/ 13 w 22"/>
                  <a:gd name="T9" fmla="*/ 7 h 21"/>
                  <a:gd name="T10" fmla="*/ 11 w 22"/>
                  <a:gd name="T11" fmla="*/ 9 h 21"/>
                  <a:gd name="T12" fmla="*/ 8 w 22"/>
                  <a:gd name="T13" fmla="*/ 16 h 21"/>
                  <a:gd name="T14" fmla="*/ 7 w 22"/>
                  <a:gd name="T15" fmla="*/ 16 h 21"/>
                  <a:gd name="T16" fmla="*/ 7 w 22"/>
                  <a:gd name="T17" fmla="*/ 16 h 21"/>
                  <a:gd name="T18" fmla="*/ 4 w 22"/>
                  <a:gd name="T19" fmla="*/ 10 h 21"/>
                  <a:gd name="T20" fmla="*/ 4 w 22"/>
                  <a:gd name="T21" fmla="*/ 9 h 21"/>
                  <a:gd name="T22" fmla="*/ 8 w 22"/>
                  <a:gd name="T23" fmla="*/ 0 h 21"/>
                  <a:gd name="T24" fmla="*/ 0 w 22"/>
                  <a:gd name="T25" fmla="*/ 7 h 21"/>
                  <a:gd name="T26" fmla="*/ 0 w 22"/>
                  <a:gd name="T27" fmla="*/ 11 h 21"/>
                  <a:gd name="T28" fmla="*/ 6 w 22"/>
                  <a:gd name="T29" fmla="*/ 20 h 21"/>
                  <a:gd name="T30" fmla="*/ 9 w 22"/>
                  <a:gd name="T31" fmla="*/ 21 h 21"/>
                  <a:gd name="T32" fmla="*/ 11 w 22"/>
                  <a:gd name="T33" fmla="*/ 21 h 21"/>
                  <a:gd name="T34" fmla="*/ 17 w 22"/>
                  <a:gd name="T35" fmla="*/ 10 h 21"/>
                  <a:gd name="T36" fmla="*/ 19 w 22"/>
                  <a:gd name="T37" fmla="*/ 14 h 21"/>
                  <a:gd name="T38" fmla="*/ 20 w 22"/>
                  <a:gd name="T39" fmla="*/ 15 h 21"/>
                  <a:gd name="T40" fmla="*/ 21 w 22"/>
                  <a:gd name="T41" fmla="*/ 13 h 21"/>
                  <a:gd name="T42" fmla="*/ 16 w 22"/>
                  <a:gd name="T43" fmla="*/ 3 h 21"/>
                  <a:gd name="T44" fmla="*/ 9 w 22"/>
                  <a:gd name="T45" fmla="*/ 0 h 21"/>
                  <a:gd name="T46" fmla="*/ 8 w 22"/>
                  <a:gd name="T47" fmla="*/ 0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22" h="21">
                    <a:moveTo>
                      <a:pt x="4" y="9"/>
                    </a:moveTo>
                    <a:cubicBezTo>
                      <a:pt x="4" y="6"/>
                      <a:pt x="5" y="4"/>
                      <a:pt x="8" y="4"/>
                    </a:cubicBezTo>
                    <a:cubicBezTo>
                      <a:pt x="9" y="4"/>
                      <a:pt x="9" y="4"/>
                      <a:pt x="10" y="4"/>
                    </a:cubicBezTo>
                    <a:cubicBezTo>
                      <a:pt x="12" y="5"/>
                      <a:pt x="14" y="6"/>
                      <a:pt x="15" y="8"/>
                    </a:cubicBezTo>
                    <a:cubicBezTo>
                      <a:pt x="15" y="7"/>
                      <a:pt x="14" y="7"/>
                      <a:pt x="13" y="7"/>
                    </a:cubicBezTo>
                    <a:cubicBezTo>
                      <a:pt x="12" y="7"/>
                      <a:pt x="11" y="8"/>
                      <a:pt x="11" y="9"/>
                    </a:cubicBezTo>
                    <a:cubicBezTo>
                      <a:pt x="10" y="11"/>
                      <a:pt x="11" y="15"/>
                      <a:pt x="8" y="16"/>
                    </a:cubicBezTo>
                    <a:cubicBezTo>
                      <a:pt x="8" y="16"/>
                      <a:pt x="8" y="16"/>
                      <a:pt x="7" y="16"/>
                    </a:cubicBezTo>
                    <a:cubicBezTo>
                      <a:pt x="7" y="16"/>
                      <a:pt x="7" y="16"/>
                      <a:pt x="7" y="16"/>
                    </a:cubicBezTo>
                    <a:cubicBezTo>
                      <a:pt x="5" y="15"/>
                      <a:pt x="4" y="12"/>
                      <a:pt x="4" y="10"/>
                    </a:cubicBezTo>
                    <a:cubicBezTo>
                      <a:pt x="4" y="10"/>
                      <a:pt x="4" y="9"/>
                      <a:pt x="4" y="9"/>
                    </a:cubicBezTo>
                    <a:moveTo>
                      <a:pt x="8" y="0"/>
                    </a:moveTo>
                    <a:cubicBezTo>
                      <a:pt x="3" y="0"/>
                      <a:pt x="1" y="3"/>
                      <a:pt x="0" y="7"/>
                    </a:cubicBezTo>
                    <a:cubicBezTo>
                      <a:pt x="0" y="8"/>
                      <a:pt x="0" y="10"/>
                      <a:pt x="0" y="11"/>
                    </a:cubicBezTo>
                    <a:cubicBezTo>
                      <a:pt x="0" y="15"/>
                      <a:pt x="2" y="19"/>
                      <a:pt x="6" y="20"/>
                    </a:cubicBezTo>
                    <a:cubicBezTo>
                      <a:pt x="7" y="21"/>
                      <a:pt x="8" y="21"/>
                      <a:pt x="9" y="21"/>
                    </a:cubicBezTo>
                    <a:cubicBezTo>
                      <a:pt x="10" y="21"/>
                      <a:pt x="10" y="21"/>
                      <a:pt x="11" y="21"/>
                    </a:cubicBezTo>
                    <a:cubicBezTo>
                      <a:pt x="16" y="19"/>
                      <a:pt x="18" y="14"/>
                      <a:pt x="17" y="10"/>
                    </a:cubicBezTo>
                    <a:cubicBezTo>
                      <a:pt x="17" y="11"/>
                      <a:pt x="18" y="13"/>
                      <a:pt x="19" y="14"/>
                    </a:cubicBezTo>
                    <a:cubicBezTo>
                      <a:pt x="19" y="15"/>
                      <a:pt x="20" y="15"/>
                      <a:pt x="20" y="15"/>
                    </a:cubicBezTo>
                    <a:cubicBezTo>
                      <a:pt x="21" y="15"/>
                      <a:pt x="22" y="14"/>
                      <a:pt x="21" y="13"/>
                    </a:cubicBezTo>
                    <a:cubicBezTo>
                      <a:pt x="20" y="10"/>
                      <a:pt x="19" y="6"/>
                      <a:pt x="16" y="3"/>
                    </a:cubicBezTo>
                    <a:cubicBezTo>
                      <a:pt x="14" y="2"/>
                      <a:pt x="11" y="0"/>
                      <a:pt x="9" y="0"/>
                    </a:cubicBezTo>
                    <a:cubicBezTo>
                      <a:pt x="8" y="0"/>
                      <a:pt x="8" y="0"/>
                      <a:pt x="8" y="0"/>
                    </a:cubicBezTo>
                  </a:path>
                </a:pathLst>
              </a:custGeom>
              <a:solidFill>
                <a:srgbClr val="544D4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137" name="Freeform 49">
                <a:extLst>
                  <a:ext uri="{FF2B5EF4-FFF2-40B4-BE49-F238E27FC236}">
                    <a16:creationId xmlns:a16="http://schemas.microsoft.com/office/drawing/2014/main" id="{30C7AA51-6EDE-45E2-BD62-5CFD37AADDE0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6676" y="1795"/>
                <a:ext cx="27" cy="27"/>
              </a:xfrm>
              <a:custGeom>
                <a:avLst/>
                <a:gdLst>
                  <a:gd name="T0" fmla="*/ 6 w 25"/>
                  <a:gd name="T1" fmla="*/ 11 h 25"/>
                  <a:gd name="T2" fmla="*/ 7 w 25"/>
                  <a:gd name="T3" fmla="*/ 10 h 25"/>
                  <a:gd name="T4" fmla="*/ 12 w 25"/>
                  <a:gd name="T5" fmla="*/ 7 h 25"/>
                  <a:gd name="T6" fmla="*/ 14 w 25"/>
                  <a:gd name="T7" fmla="*/ 8 h 25"/>
                  <a:gd name="T8" fmla="*/ 18 w 25"/>
                  <a:gd name="T9" fmla="*/ 16 h 25"/>
                  <a:gd name="T10" fmla="*/ 16 w 25"/>
                  <a:gd name="T11" fmla="*/ 17 h 25"/>
                  <a:gd name="T12" fmla="*/ 12 w 25"/>
                  <a:gd name="T13" fmla="*/ 18 h 25"/>
                  <a:gd name="T14" fmla="*/ 10 w 25"/>
                  <a:gd name="T15" fmla="*/ 18 h 25"/>
                  <a:gd name="T16" fmla="*/ 6 w 25"/>
                  <a:gd name="T17" fmla="*/ 11 h 25"/>
                  <a:gd name="T18" fmla="*/ 12 w 25"/>
                  <a:gd name="T19" fmla="*/ 0 h 25"/>
                  <a:gd name="T20" fmla="*/ 9 w 25"/>
                  <a:gd name="T21" fmla="*/ 0 h 25"/>
                  <a:gd name="T22" fmla="*/ 0 w 25"/>
                  <a:gd name="T23" fmla="*/ 10 h 25"/>
                  <a:gd name="T24" fmla="*/ 3 w 25"/>
                  <a:gd name="T25" fmla="*/ 20 h 25"/>
                  <a:gd name="T26" fmla="*/ 7 w 25"/>
                  <a:gd name="T27" fmla="*/ 23 h 25"/>
                  <a:gd name="T28" fmla="*/ 13 w 25"/>
                  <a:gd name="T29" fmla="*/ 25 h 25"/>
                  <a:gd name="T30" fmla="*/ 14 w 25"/>
                  <a:gd name="T31" fmla="*/ 25 h 25"/>
                  <a:gd name="T32" fmla="*/ 14 w 25"/>
                  <a:gd name="T33" fmla="*/ 25 h 25"/>
                  <a:gd name="T34" fmla="*/ 24 w 25"/>
                  <a:gd name="T35" fmla="*/ 18 h 25"/>
                  <a:gd name="T36" fmla="*/ 24 w 25"/>
                  <a:gd name="T37" fmla="*/ 14 h 25"/>
                  <a:gd name="T38" fmla="*/ 12 w 25"/>
                  <a:gd name="T39" fmla="*/ 0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25" h="25">
                    <a:moveTo>
                      <a:pt x="6" y="11"/>
                    </a:moveTo>
                    <a:cubicBezTo>
                      <a:pt x="6" y="11"/>
                      <a:pt x="6" y="11"/>
                      <a:pt x="7" y="10"/>
                    </a:cubicBezTo>
                    <a:cubicBezTo>
                      <a:pt x="8" y="8"/>
                      <a:pt x="10" y="7"/>
                      <a:pt x="12" y="7"/>
                    </a:cubicBezTo>
                    <a:cubicBezTo>
                      <a:pt x="13" y="7"/>
                      <a:pt x="14" y="7"/>
                      <a:pt x="14" y="8"/>
                    </a:cubicBezTo>
                    <a:cubicBezTo>
                      <a:pt x="16" y="9"/>
                      <a:pt x="18" y="13"/>
                      <a:pt x="18" y="16"/>
                    </a:cubicBezTo>
                    <a:cubicBezTo>
                      <a:pt x="17" y="16"/>
                      <a:pt x="17" y="17"/>
                      <a:pt x="16" y="17"/>
                    </a:cubicBezTo>
                    <a:cubicBezTo>
                      <a:pt x="15" y="18"/>
                      <a:pt x="14" y="18"/>
                      <a:pt x="12" y="18"/>
                    </a:cubicBezTo>
                    <a:cubicBezTo>
                      <a:pt x="12" y="18"/>
                      <a:pt x="11" y="18"/>
                      <a:pt x="10" y="18"/>
                    </a:cubicBezTo>
                    <a:cubicBezTo>
                      <a:pt x="8" y="16"/>
                      <a:pt x="6" y="14"/>
                      <a:pt x="6" y="11"/>
                    </a:cubicBezTo>
                    <a:moveTo>
                      <a:pt x="12" y="0"/>
                    </a:moveTo>
                    <a:cubicBezTo>
                      <a:pt x="11" y="0"/>
                      <a:pt x="10" y="0"/>
                      <a:pt x="9" y="0"/>
                    </a:cubicBezTo>
                    <a:cubicBezTo>
                      <a:pt x="4" y="2"/>
                      <a:pt x="1" y="6"/>
                      <a:pt x="0" y="10"/>
                    </a:cubicBezTo>
                    <a:cubicBezTo>
                      <a:pt x="0" y="14"/>
                      <a:pt x="1" y="17"/>
                      <a:pt x="3" y="20"/>
                    </a:cubicBezTo>
                    <a:cubicBezTo>
                      <a:pt x="4" y="21"/>
                      <a:pt x="6" y="22"/>
                      <a:pt x="7" y="23"/>
                    </a:cubicBezTo>
                    <a:cubicBezTo>
                      <a:pt x="8" y="24"/>
                      <a:pt x="11" y="25"/>
                      <a:pt x="13" y="25"/>
                    </a:cubicBezTo>
                    <a:cubicBezTo>
                      <a:pt x="13" y="25"/>
                      <a:pt x="13" y="25"/>
                      <a:pt x="14" y="25"/>
                    </a:cubicBezTo>
                    <a:cubicBezTo>
                      <a:pt x="14" y="25"/>
                      <a:pt x="14" y="25"/>
                      <a:pt x="14" y="25"/>
                    </a:cubicBezTo>
                    <a:cubicBezTo>
                      <a:pt x="19" y="24"/>
                      <a:pt x="22" y="22"/>
                      <a:pt x="24" y="18"/>
                    </a:cubicBezTo>
                    <a:cubicBezTo>
                      <a:pt x="25" y="17"/>
                      <a:pt x="25" y="15"/>
                      <a:pt x="24" y="14"/>
                    </a:cubicBezTo>
                    <a:cubicBezTo>
                      <a:pt x="24" y="8"/>
                      <a:pt x="19" y="0"/>
                      <a:pt x="12" y="0"/>
                    </a:cubicBezTo>
                  </a:path>
                </a:pathLst>
              </a:custGeom>
              <a:solidFill>
                <a:srgbClr val="544D4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138" name="Freeform 50">
                <a:extLst>
                  <a:ext uri="{FF2B5EF4-FFF2-40B4-BE49-F238E27FC236}">
                    <a16:creationId xmlns:a16="http://schemas.microsoft.com/office/drawing/2014/main" id="{79BC886B-3131-4B26-B352-3094B8E61721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568" y="631"/>
                <a:ext cx="43" cy="1194"/>
              </a:xfrm>
              <a:custGeom>
                <a:avLst/>
                <a:gdLst>
                  <a:gd name="T0" fmla="*/ 24 w 40"/>
                  <a:gd name="T1" fmla="*/ 6 h 1128"/>
                  <a:gd name="T2" fmla="*/ 29 w 40"/>
                  <a:gd name="T3" fmla="*/ 51 h 1128"/>
                  <a:gd name="T4" fmla="*/ 28 w 40"/>
                  <a:gd name="T5" fmla="*/ 100 h 1128"/>
                  <a:gd name="T6" fmla="*/ 28 w 40"/>
                  <a:gd name="T7" fmla="*/ 206 h 1128"/>
                  <a:gd name="T8" fmla="*/ 26 w 40"/>
                  <a:gd name="T9" fmla="*/ 433 h 1128"/>
                  <a:gd name="T10" fmla="*/ 3 w 40"/>
                  <a:gd name="T11" fmla="*/ 871 h 1128"/>
                  <a:gd name="T12" fmla="*/ 1 w 40"/>
                  <a:gd name="T13" fmla="*/ 1122 h 1128"/>
                  <a:gd name="T14" fmla="*/ 11 w 40"/>
                  <a:gd name="T15" fmla="*/ 1121 h 1128"/>
                  <a:gd name="T16" fmla="*/ 15 w 40"/>
                  <a:gd name="T17" fmla="*/ 892 h 1128"/>
                  <a:gd name="T18" fmla="*/ 29 w 40"/>
                  <a:gd name="T19" fmla="*/ 671 h 1128"/>
                  <a:gd name="T20" fmla="*/ 40 w 40"/>
                  <a:gd name="T21" fmla="*/ 224 h 1128"/>
                  <a:gd name="T22" fmla="*/ 40 w 40"/>
                  <a:gd name="T23" fmla="*/ 102 h 1128"/>
                  <a:gd name="T24" fmla="*/ 40 w 40"/>
                  <a:gd name="T25" fmla="*/ 48 h 1128"/>
                  <a:gd name="T26" fmla="*/ 33 w 40"/>
                  <a:gd name="T27" fmla="*/ 6 h 1128"/>
                  <a:gd name="T28" fmla="*/ 24 w 40"/>
                  <a:gd name="T29" fmla="*/ 6 h 11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40" h="1128">
                    <a:moveTo>
                      <a:pt x="24" y="6"/>
                    </a:moveTo>
                    <a:cubicBezTo>
                      <a:pt x="24" y="22"/>
                      <a:pt x="29" y="36"/>
                      <a:pt x="29" y="51"/>
                    </a:cubicBezTo>
                    <a:cubicBezTo>
                      <a:pt x="28" y="67"/>
                      <a:pt x="28" y="84"/>
                      <a:pt x="28" y="100"/>
                    </a:cubicBezTo>
                    <a:cubicBezTo>
                      <a:pt x="28" y="135"/>
                      <a:pt x="28" y="170"/>
                      <a:pt x="28" y="206"/>
                    </a:cubicBezTo>
                    <a:cubicBezTo>
                      <a:pt x="28" y="281"/>
                      <a:pt x="28" y="357"/>
                      <a:pt x="26" y="433"/>
                    </a:cubicBezTo>
                    <a:cubicBezTo>
                      <a:pt x="23" y="579"/>
                      <a:pt x="9" y="725"/>
                      <a:pt x="3" y="871"/>
                    </a:cubicBezTo>
                    <a:cubicBezTo>
                      <a:pt x="0" y="955"/>
                      <a:pt x="0" y="1038"/>
                      <a:pt x="1" y="1122"/>
                    </a:cubicBezTo>
                    <a:cubicBezTo>
                      <a:pt x="1" y="1128"/>
                      <a:pt x="11" y="1127"/>
                      <a:pt x="11" y="1121"/>
                    </a:cubicBezTo>
                    <a:cubicBezTo>
                      <a:pt x="11" y="1045"/>
                      <a:pt x="12" y="968"/>
                      <a:pt x="15" y="892"/>
                    </a:cubicBezTo>
                    <a:cubicBezTo>
                      <a:pt x="17" y="818"/>
                      <a:pt x="24" y="745"/>
                      <a:pt x="29" y="671"/>
                    </a:cubicBezTo>
                    <a:cubicBezTo>
                      <a:pt x="38" y="522"/>
                      <a:pt x="40" y="373"/>
                      <a:pt x="40" y="224"/>
                    </a:cubicBezTo>
                    <a:cubicBezTo>
                      <a:pt x="40" y="183"/>
                      <a:pt x="40" y="143"/>
                      <a:pt x="40" y="102"/>
                    </a:cubicBezTo>
                    <a:cubicBezTo>
                      <a:pt x="40" y="84"/>
                      <a:pt x="40" y="66"/>
                      <a:pt x="40" y="48"/>
                    </a:cubicBezTo>
                    <a:cubicBezTo>
                      <a:pt x="40" y="33"/>
                      <a:pt x="35" y="20"/>
                      <a:pt x="33" y="6"/>
                    </a:cubicBezTo>
                    <a:cubicBezTo>
                      <a:pt x="33" y="0"/>
                      <a:pt x="24" y="0"/>
                      <a:pt x="24" y="6"/>
                    </a:cubicBezTo>
                  </a:path>
                </a:pathLst>
              </a:custGeom>
              <a:solidFill>
                <a:srgbClr val="04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139" name="Freeform 51">
                <a:extLst>
                  <a:ext uri="{FF2B5EF4-FFF2-40B4-BE49-F238E27FC236}">
                    <a16:creationId xmlns:a16="http://schemas.microsoft.com/office/drawing/2014/main" id="{13C65B9C-3EB0-4566-9E37-BE94B4C8CCF1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2062" y="1800"/>
                <a:ext cx="191" cy="154"/>
              </a:xfrm>
              <a:custGeom>
                <a:avLst/>
                <a:gdLst>
                  <a:gd name="T0" fmla="*/ 156 w 180"/>
                  <a:gd name="T1" fmla="*/ 131 h 146"/>
                  <a:gd name="T2" fmla="*/ 156 w 180"/>
                  <a:gd name="T3" fmla="*/ 130 h 146"/>
                  <a:gd name="T4" fmla="*/ 0 w 180"/>
                  <a:gd name="T5" fmla="*/ 93 h 146"/>
                  <a:gd name="T6" fmla="*/ 6 w 180"/>
                  <a:gd name="T7" fmla="*/ 97 h 146"/>
                  <a:gd name="T8" fmla="*/ 20 w 180"/>
                  <a:gd name="T9" fmla="*/ 93 h 146"/>
                  <a:gd name="T10" fmla="*/ 19 w 180"/>
                  <a:gd name="T11" fmla="*/ 93 h 146"/>
                  <a:gd name="T12" fmla="*/ 15 w 180"/>
                  <a:gd name="T13" fmla="*/ 93 h 146"/>
                  <a:gd name="T14" fmla="*/ 15 w 180"/>
                  <a:gd name="T15" fmla="*/ 93 h 146"/>
                  <a:gd name="T16" fmla="*/ 15 w 180"/>
                  <a:gd name="T17" fmla="*/ 93 h 146"/>
                  <a:gd name="T18" fmla="*/ 140 w 180"/>
                  <a:gd name="T19" fmla="*/ 80 h 146"/>
                  <a:gd name="T20" fmla="*/ 162 w 180"/>
                  <a:gd name="T21" fmla="*/ 124 h 146"/>
                  <a:gd name="T22" fmla="*/ 143 w 180"/>
                  <a:gd name="T23" fmla="*/ 97 h 146"/>
                  <a:gd name="T24" fmla="*/ 140 w 180"/>
                  <a:gd name="T25" fmla="*/ 80 h 146"/>
                  <a:gd name="T26" fmla="*/ 49 w 180"/>
                  <a:gd name="T27" fmla="*/ 12 h 146"/>
                  <a:gd name="T28" fmla="*/ 27 w 180"/>
                  <a:gd name="T29" fmla="*/ 31 h 146"/>
                  <a:gd name="T30" fmla="*/ 48 w 180"/>
                  <a:gd name="T31" fmla="*/ 57 h 146"/>
                  <a:gd name="T32" fmla="*/ 41 w 180"/>
                  <a:gd name="T33" fmla="*/ 82 h 146"/>
                  <a:gd name="T34" fmla="*/ 5 w 180"/>
                  <a:gd name="T35" fmla="*/ 105 h 146"/>
                  <a:gd name="T36" fmla="*/ 18 w 180"/>
                  <a:gd name="T37" fmla="*/ 132 h 146"/>
                  <a:gd name="T38" fmla="*/ 48 w 180"/>
                  <a:gd name="T39" fmla="*/ 121 h 146"/>
                  <a:gd name="T40" fmla="*/ 77 w 180"/>
                  <a:gd name="T41" fmla="*/ 114 h 146"/>
                  <a:gd name="T42" fmla="*/ 107 w 180"/>
                  <a:gd name="T43" fmla="*/ 142 h 146"/>
                  <a:gd name="T44" fmla="*/ 107 w 180"/>
                  <a:gd name="T45" fmla="*/ 146 h 146"/>
                  <a:gd name="T46" fmla="*/ 144 w 180"/>
                  <a:gd name="T47" fmla="*/ 139 h 146"/>
                  <a:gd name="T48" fmla="*/ 127 w 180"/>
                  <a:gd name="T49" fmla="*/ 91 h 146"/>
                  <a:gd name="T50" fmla="*/ 169 w 180"/>
                  <a:gd name="T51" fmla="*/ 60 h 146"/>
                  <a:gd name="T52" fmla="*/ 148 w 180"/>
                  <a:gd name="T53" fmla="*/ 31 h 146"/>
                  <a:gd name="T54" fmla="*/ 167 w 180"/>
                  <a:gd name="T55" fmla="*/ 47 h 146"/>
                  <a:gd name="T56" fmla="*/ 177 w 180"/>
                  <a:gd name="T57" fmla="*/ 60 h 146"/>
                  <a:gd name="T58" fmla="*/ 180 w 180"/>
                  <a:gd name="T59" fmla="*/ 57 h 146"/>
                  <a:gd name="T60" fmla="*/ 180 w 180"/>
                  <a:gd name="T61" fmla="*/ 56 h 146"/>
                  <a:gd name="T62" fmla="*/ 180 w 180"/>
                  <a:gd name="T63" fmla="*/ 50 h 146"/>
                  <a:gd name="T64" fmla="*/ 148 w 180"/>
                  <a:gd name="T65" fmla="*/ 23 h 146"/>
                  <a:gd name="T66" fmla="*/ 106 w 180"/>
                  <a:gd name="T67" fmla="*/ 63 h 146"/>
                  <a:gd name="T68" fmla="*/ 64 w 180"/>
                  <a:gd name="T69" fmla="*/ 22 h 146"/>
                  <a:gd name="T70" fmla="*/ 77 w 180"/>
                  <a:gd name="T71" fmla="*/ 9 h 146"/>
                  <a:gd name="T72" fmla="*/ 97 w 180"/>
                  <a:gd name="T73" fmla="*/ 54 h 146"/>
                  <a:gd name="T74" fmla="*/ 124 w 180"/>
                  <a:gd name="T75" fmla="*/ 50 h 146"/>
                  <a:gd name="T76" fmla="*/ 115 w 180"/>
                  <a:gd name="T77" fmla="*/ 51 h 146"/>
                  <a:gd name="T78" fmla="*/ 115 w 180"/>
                  <a:gd name="T79" fmla="*/ 51 h 146"/>
                  <a:gd name="T80" fmla="*/ 76 w 180"/>
                  <a:gd name="T81" fmla="*/ 21 h 146"/>
                  <a:gd name="T82" fmla="*/ 77 w 180"/>
                  <a:gd name="T83" fmla="*/ 9 h 146"/>
                  <a:gd name="T84" fmla="*/ 62 w 180"/>
                  <a:gd name="T85" fmla="*/ 0 h 146"/>
                  <a:gd name="T86" fmla="*/ 43 w 180"/>
                  <a:gd name="T87" fmla="*/ 9 h 146"/>
                  <a:gd name="T88" fmla="*/ 61 w 180"/>
                  <a:gd name="T89" fmla="*/ 7 h 146"/>
                  <a:gd name="T90" fmla="*/ 70 w 180"/>
                  <a:gd name="T91" fmla="*/ 7 h 146"/>
                  <a:gd name="T92" fmla="*/ 75 w 180"/>
                  <a:gd name="T93" fmla="*/ 0 h 146"/>
                  <a:gd name="T94" fmla="*/ 67 w 180"/>
                  <a:gd name="T95" fmla="*/ 0 h 1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180" h="146">
                    <a:moveTo>
                      <a:pt x="156" y="130"/>
                    </a:moveTo>
                    <a:cubicBezTo>
                      <a:pt x="156" y="130"/>
                      <a:pt x="156" y="131"/>
                      <a:pt x="156" y="131"/>
                    </a:cubicBezTo>
                    <a:cubicBezTo>
                      <a:pt x="156" y="131"/>
                      <a:pt x="156" y="130"/>
                      <a:pt x="157" y="130"/>
                    </a:cubicBezTo>
                    <a:cubicBezTo>
                      <a:pt x="157" y="130"/>
                      <a:pt x="156" y="130"/>
                      <a:pt x="156" y="130"/>
                    </a:cubicBezTo>
                    <a:moveTo>
                      <a:pt x="1" y="91"/>
                    </a:moveTo>
                    <a:cubicBezTo>
                      <a:pt x="0" y="93"/>
                      <a:pt x="0" y="93"/>
                      <a:pt x="0" y="93"/>
                    </a:cubicBezTo>
                    <a:cubicBezTo>
                      <a:pt x="0" y="94"/>
                      <a:pt x="0" y="96"/>
                      <a:pt x="0" y="97"/>
                    </a:cubicBezTo>
                    <a:cubicBezTo>
                      <a:pt x="2" y="97"/>
                      <a:pt x="4" y="97"/>
                      <a:pt x="6" y="97"/>
                    </a:cubicBezTo>
                    <a:cubicBezTo>
                      <a:pt x="13" y="97"/>
                      <a:pt x="21" y="96"/>
                      <a:pt x="26" y="91"/>
                    </a:cubicBezTo>
                    <a:cubicBezTo>
                      <a:pt x="24" y="92"/>
                      <a:pt x="22" y="92"/>
                      <a:pt x="20" y="93"/>
                    </a:cubicBezTo>
                    <a:cubicBezTo>
                      <a:pt x="20" y="93"/>
                      <a:pt x="20" y="93"/>
                      <a:pt x="19" y="93"/>
                    </a:cubicBezTo>
                    <a:cubicBezTo>
                      <a:pt x="19" y="93"/>
                      <a:pt x="19" y="93"/>
                      <a:pt x="19" y="93"/>
                    </a:cubicBezTo>
                    <a:cubicBezTo>
                      <a:pt x="19" y="93"/>
                      <a:pt x="19" y="93"/>
                      <a:pt x="19" y="93"/>
                    </a:cubicBezTo>
                    <a:cubicBezTo>
                      <a:pt x="17" y="93"/>
                      <a:pt x="16" y="93"/>
                      <a:pt x="15" y="93"/>
                    </a:cubicBezTo>
                    <a:cubicBezTo>
                      <a:pt x="15" y="93"/>
                      <a:pt x="15" y="93"/>
                      <a:pt x="15" y="93"/>
                    </a:cubicBezTo>
                    <a:cubicBezTo>
                      <a:pt x="15" y="93"/>
                      <a:pt x="15" y="93"/>
                      <a:pt x="15" y="93"/>
                    </a:cubicBezTo>
                    <a:cubicBezTo>
                      <a:pt x="15" y="93"/>
                      <a:pt x="15" y="93"/>
                      <a:pt x="15" y="93"/>
                    </a:cubicBezTo>
                    <a:cubicBezTo>
                      <a:pt x="15" y="93"/>
                      <a:pt x="15" y="93"/>
                      <a:pt x="15" y="93"/>
                    </a:cubicBezTo>
                    <a:cubicBezTo>
                      <a:pt x="10" y="93"/>
                      <a:pt x="5" y="92"/>
                      <a:pt x="1" y="91"/>
                    </a:cubicBezTo>
                    <a:moveTo>
                      <a:pt x="140" y="80"/>
                    </a:moveTo>
                    <a:cubicBezTo>
                      <a:pt x="136" y="84"/>
                      <a:pt x="134" y="89"/>
                      <a:pt x="135" y="97"/>
                    </a:cubicBezTo>
                    <a:cubicBezTo>
                      <a:pt x="138" y="110"/>
                      <a:pt x="149" y="121"/>
                      <a:pt x="162" y="124"/>
                    </a:cubicBezTo>
                    <a:cubicBezTo>
                      <a:pt x="163" y="122"/>
                      <a:pt x="164" y="120"/>
                      <a:pt x="165" y="118"/>
                    </a:cubicBezTo>
                    <a:cubicBezTo>
                      <a:pt x="155" y="114"/>
                      <a:pt x="147" y="106"/>
                      <a:pt x="143" y="97"/>
                    </a:cubicBezTo>
                    <a:cubicBezTo>
                      <a:pt x="141" y="92"/>
                      <a:pt x="140" y="88"/>
                      <a:pt x="140" y="84"/>
                    </a:cubicBezTo>
                    <a:cubicBezTo>
                      <a:pt x="140" y="83"/>
                      <a:pt x="140" y="81"/>
                      <a:pt x="140" y="80"/>
                    </a:cubicBezTo>
                    <a:moveTo>
                      <a:pt x="68" y="10"/>
                    </a:moveTo>
                    <a:cubicBezTo>
                      <a:pt x="62" y="11"/>
                      <a:pt x="55" y="10"/>
                      <a:pt x="49" y="12"/>
                    </a:cubicBezTo>
                    <a:cubicBezTo>
                      <a:pt x="42" y="15"/>
                      <a:pt x="36" y="19"/>
                      <a:pt x="30" y="24"/>
                    </a:cubicBezTo>
                    <a:cubicBezTo>
                      <a:pt x="27" y="31"/>
                      <a:pt x="27" y="31"/>
                      <a:pt x="27" y="31"/>
                    </a:cubicBezTo>
                    <a:cubicBezTo>
                      <a:pt x="38" y="36"/>
                      <a:pt x="48" y="46"/>
                      <a:pt x="48" y="56"/>
                    </a:cubicBezTo>
                    <a:cubicBezTo>
                      <a:pt x="48" y="56"/>
                      <a:pt x="48" y="57"/>
                      <a:pt x="48" y="57"/>
                    </a:cubicBezTo>
                    <a:cubicBezTo>
                      <a:pt x="48" y="58"/>
                      <a:pt x="48" y="60"/>
                      <a:pt x="48" y="61"/>
                    </a:cubicBezTo>
                    <a:cubicBezTo>
                      <a:pt x="48" y="70"/>
                      <a:pt x="46" y="76"/>
                      <a:pt x="41" y="82"/>
                    </a:cubicBezTo>
                    <a:cubicBezTo>
                      <a:pt x="41" y="83"/>
                      <a:pt x="40" y="85"/>
                      <a:pt x="39" y="87"/>
                    </a:cubicBezTo>
                    <a:cubicBezTo>
                      <a:pt x="32" y="100"/>
                      <a:pt x="19" y="105"/>
                      <a:pt x="5" y="105"/>
                    </a:cubicBezTo>
                    <a:cubicBezTo>
                      <a:pt x="4" y="105"/>
                      <a:pt x="2" y="105"/>
                      <a:pt x="1" y="105"/>
                    </a:cubicBezTo>
                    <a:cubicBezTo>
                      <a:pt x="4" y="115"/>
                      <a:pt x="12" y="124"/>
                      <a:pt x="18" y="132"/>
                    </a:cubicBezTo>
                    <a:cubicBezTo>
                      <a:pt x="31" y="132"/>
                      <a:pt x="31" y="132"/>
                      <a:pt x="31" y="132"/>
                    </a:cubicBezTo>
                    <a:cubicBezTo>
                      <a:pt x="36" y="127"/>
                      <a:pt x="42" y="124"/>
                      <a:pt x="48" y="121"/>
                    </a:cubicBezTo>
                    <a:cubicBezTo>
                      <a:pt x="56" y="117"/>
                      <a:pt x="65" y="114"/>
                      <a:pt x="73" y="113"/>
                    </a:cubicBezTo>
                    <a:cubicBezTo>
                      <a:pt x="77" y="114"/>
                      <a:pt x="77" y="114"/>
                      <a:pt x="77" y="114"/>
                    </a:cubicBezTo>
                    <a:cubicBezTo>
                      <a:pt x="83" y="117"/>
                      <a:pt x="88" y="114"/>
                      <a:pt x="94" y="117"/>
                    </a:cubicBezTo>
                    <a:cubicBezTo>
                      <a:pt x="103" y="119"/>
                      <a:pt x="106" y="135"/>
                      <a:pt x="107" y="142"/>
                    </a:cubicBezTo>
                    <a:cubicBezTo>
                      <a:pt x="107" y="143"/>
                      <a:pt x="107" y="144"/>
                      <a:pt x="107" y="146"/>
                    </a:cubicBezTo>
                    <a:cubicBezTo>
                      <a:pt x="107" y="146"/>
                      <a:pt x="107" y="146"/>
                      <a:pt x="107" y="146"/>
                    </a:cubicBezTo>
                    <a:cubicBezTo>
                      <a:pt x="123" y="146"/>
                      <a:pt x="123" y="146"/>
                      <a:pt x="123" y="146"/>
                    </a:cubicBezTo>
                    <a:cubicBezTo>
                      <a:pt x="130" y="146"/>
                      <a:pt x="137" y="143"/>
                      <a:pt x="144" y="139"/>
                    </a:cubicBezTo>
                    <a:cubicBezTo>
                      <a:pt x="148" y="136"/>
                      <a:pt x="151" y="133"/>
                      <a:pt x="153" y="129"/>
                    </a:cubicBezTo>
                    <a:cubicBezTo>
                      <a:pt x="139" y="123"/>
                      <a:pt x="126" y="107"/>
                      <a:pt x="127" y="91"/>
                    </a:cubicBezTo>
                    <a:cubicBezTo>
                      <a:pt x="128" y="78"/>
                      <a:pt x="137" y="71"/>
                      <a:pt x="147" y="68"/>
                    </a:cubicBezTo>
                    <a:cubicBezTo>
                      <a:pt x="154" y="62"/>
                      <a:pt x="161" y="61"/>
                      <a:pt x="169" y="60"/>
                    </a:cubicBezTo>
                    <a:cubicBezTo>
                      <a:pt x="165" y="50"/>
                      <a:pt x="155" y="41"/>
                      <a:pt x="146" y="36"/>
                    </a:cubicBezTo>
                    <a:cubicBezTo>
                      <a:pt x="144" y="34"/>
                      <a:pt x="145" y="31"/>
                      <a:pt x="148" y="31"/>
                    </a:cubicBezTo>
                    <a:cubicBezTo>
                      <a:pt x="148" y="31"/>
                      <a:pt x="149" y="31"/>
                      <a:pt x="149" y="31"/>
                    </a:cubicBezTo>
                    <a:cubicBezTo>
                      <a:pt x="156" y="35"/>
                      <a:pt x="162" y="40"/>
                      <a:pt x="167" y="47"/>
                    </a:cubicBezTo>
                    <a:cubicBezTo>
                      <a:pt x="170" y="51"/>
                      <a:pt x="173" y="55"/>
                      <a:pt x="173" y="60"/>
                    </a:cubicBezTo>
                    <a:cubicBezTo>
                      <a:pt x="175" y="60"/>
                      <a:pt x="176" y="60"/>
                      <a:pt x="177" y="60"/>
                    </a:cubicBezTo>
                    <a:cubicBezTo>
                      <a:pt x="177" y="60"/>
                      <a:pt x="177" y="60"/>
                      <a:pt x="177" y="60"/>
                    </a:cubicBezTo>
                    <a:cubicBezTo>
                      <a:pt x="180" y="57"/>
                      <a:pt x="180" y="57"/>
                      <a:pt x="180" y="57"/>
                    </a:cubicBezTo>
                    <a:cubicBezTo>
                      <a:pt x="180" y="57"/>
                      <a:pt x="180" y="57"/>
                      <a:pt x="180" y="57"/>
                    </a:cubicBezTo>
                    <a:cubicBezTo>
                      <a:pt x="180" y="56"/>
                      <a:pt x="180" y="56"/>
                      <a:pt x="180" y="56"/>
                    </a:cubicBezTo>
                    <a:cubicBezTo>
                      <a:pt x="180" y="54"/>
                      <a:pt x="180" y="52"/>
                      <a:pt x="180" y="51"/>
                    </a:cubicBezTo>
                    <a:cubicBezTo>
                      <a:pt x="180" y="50"/>
                      <a:pt x="180" y="50"/>
                      <a:pt x="180" y="50"/>
                    </a:cubicBezTo>
                    <a:cubicBezTo>
                      <a:pt x="173" y="40"/>
                      <a:pt x="168" y="32"/>
                      <a:pt x="156" y="25"/>
                    </a:cubicBezTo>
                    <a:cubicBezTo>
                      <a:pt x="148" y="23"/>
                      <a:pt x="148" y="23"/>
                      <a:pt x="148" y="23"/>
                    </a:cubicBezTo>
                    <a:cubicBezTo>
                      <a:pt x="147" y="28"/>
                      <a:pt x="144" y="34"/>
                      <a:pt x="141" y="38"/>
                    </a:cubicBezTo>
                    <a:cubicBezTo>
                      <a:pt x="135" y="53"/>
                      <a:pt x="122" y="63"/>
                      <a:pt x="106" y="63"/>
                    </a:cubicBezTo>
                    <a:cubicBezTo>
                      <a:pt x="103" y="63"/>
                      <a:pt x="101" y="63"/>
                      <a:pt x="98" y="62"/>
                    </a:cubicBezTo>
                    <a:cubicBezTo>
                      <a:pt x="80" y="59"/>
                      <a:pt x="60" y="42"/>
                      <a:pt x="64" y="22"/>
                    </a:cubicBezTo>
                    <a:cubicBezTo>
                      <a:pt x="65" y="18"/>
                      <a:pt x="66" y="14"/>
                      <a:pt x="68" y="10"/>
                    </a:cubicBezTo>
                    <a:moveTo>
                      <a:pt x="77" y="9"/>
                    </a:moveTo>
                    <a:cubicBezTo>
                      <a:pt x="75" y="13"/>
                      <a:pt x="72" y="18"/>
                      <a:pt x="72" y="23"/>
                    </a:cubicBezTo>
                    <a:cubicBezTo>
                      <a:pt x="69" y="39"/>
                      <a:pt x="83" y="50"/>
                      <a:pt x="97" y="54"/>
                    </a:cubicBezTo>
                    <a:cubicBezTo>
                      <a:pt x="100" y="55"/>
                      <a:pt x="103" y="55"/>
                      <a:pt x="106" y="55"/>
                    </a:cubicBezTo>
                    <a:cubicBezTo>
                      <a:pt x="113" y="55"/>
                      <a:pt x="119" y="53"/>
                      <a:pt x="124" y="50"/>
                    </a:cubicBezTo>
                    <a:cubicBezTo>
                      <a:pt x="122" y="50"/>
                      <a:pt x="119" y="51"/>
                      <a:pt x="115" y="51"/>
                    </a:cubicBezTo>
                    <a:cubicBezTo>
                      <a:pt x="115" y="51"/>
                      <a:pt x="115" y="51"/>
                      <a:pt x="115" y="51"/>
                    </a:cubicBezTo>
                    <a:cubicBezTo>
                      <a:pt x="115" y="51"/>
                      <a:pt x="115" y="51"/>
                      <a:pt x="115" y="51"/>
                    </a:cubicBezTo>
                    <a:cubicBezTo>
                      <a:pt x="115" y="51"/>
                      <a:pt x="115" y="51"/>
                      <a:pt x="115" y="51"/>
                    </a:cubicBezTo>
                    <a:cubicBezTo>
                      <a:pt x="115" y="51"/>
                      <a:pt x="115" y="51"/>
                      <a:pt x="115" y="51"/>
                    </a:cubicBezTo>
                    <a:cubicBezTo>
                      <a:pt x="98" y="51"/>
                      <a:pt x="79" y="39"/>
                      <a:pt x="76" y="21"/>
                    </a:cubicBezTo>
                    <a:cubicBezTo>
                      <a:pt x="76" y="21"/>
                      <a:pt x="76" y="21"/>
                      <a:pt x="76" y="20"/>
                    </a:cubicBezTo>
                    <a:cubicBezTo>
                      <a:pt x="76" y="17"/>
                      <a:pt x="76" y="13"/>
                      <a:pt x="77" y="9"/>
                    </a:cubicBezTo>
                    <a:moveTo>
                      <a:pt x="67" y="0"/>
                    </a:moveTo>
                    <a:cubicBezTo>
                      <a:pt x="65" y="0"/>
                      <a:pt x="64" y="0"/>
                      <a:pt x="62" y="0"/>
                    </a:cubicBezTo>
                    <a:cubicBezTo>
                      <a:pt x="54" y="1"/>
                      <a:pt x="47" y="5"/>
                      <a:pt x="40" y="11"/>
                    </a:cubicBezTo>
                    <a:cubicBezTo>
                      <a:pt x="41" y="10"/>
                      <a:pt x="42" y="10"/>
                      <a:pt x="43" y="9"/>
                    </a:cubicBezTo>
                    <a:cubicBezTo>
                      <a:pt x="48" y="7"/>
                      <a:pt x="52" y="7"/>
                      <a:pt x="56" y="7"/>
                    </a:cubicBezTo>
                    <a:cubicBezTo>
                      <a:pt x="58" y="7"/>
                      <a:pt x="59" y="7"/>
                      <a:pt x="61" y="7"/>
                    </a:cubicBezTo>
                    <a:cubicBezTo>
                      <a:pt x="63" y="7"/>
                      <a:pt x="64" y="7"/>
                      <a:pt x="66" y="7"/>
                    </a:cubicBezTo>
                    <a:cubicBezTo>
                      <a:pt x="67" y="7"/>
                      <a:pt x="69" y="7"/>
                      <a:pt x="70" y="7"/>
                    </a:cubicBezTo>
                    <a:cubicBezTo>
                      <a:pt x="72" y="5"/>
                      <a:pt x="73" y="2"/>
                      <a:pt x="75" y="0"/>
                    </a:cubicBezTo>
                    <a:cubicBezTo>
                      <a:pt x="75" y="0"/>
                      <a:pt x="75" y="0"/>
                      <a:pt x="75" y="0"/>
                    </a:cubicBezTo>
                    <a:cubicBezTo>
                      <a:pt x="74" y="0"/>
                      <a:pt x="72" y="0"/>
                      <a:pt x="71" y="0"/>
                    </a:cubicBezTo>
                    <a:cubicBezTo>
                      <a:pt x="70" y="0"/>
                      <a:pt x="68" y="0"/>
                      <a:pt x="67" y="0"/>
                    </a:cubicBezTo>
                  </a:path>
                </a:pathLst>
              </a:custGeom>
              <a:solidFill>
                <a:srgbClr val="6F686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140" name="Freeform 52">
                <a:extLst>
                  <a:ext uri="{FF2B5EF4-FFF2-40B4-BE49-F238E27FC236}">
                    <a16:creationId xmlns:a16="http://schemas.microsoft.com/office/drawing/2014/main" id="{EB3B510B-9CAC-49A1-AB9E-A924E1710380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2843" y="1956"/>
                <a:ext cx="39" cy="34"/>
              </a:xfrm>
              <a:custGeom>
                <a:avLst/>
                <a:gdLst>
                  <a:gd name="T0" fmla="*/ 11 w 37"/>
                  <a:gd name="T1" fmla="*/ 13 h 32"/>
                  <a:gd name="T2" fmla="*/ 7 w 37"/>
                  <a:gd name="T3" fmla="*/ 20 h 32"/>
                  <a:gd name="T4" fmla="*/ 1 w 37"/>
                  <a:gd name="T5" fmla="*/ 29 h 32"/>
                  <a:gd name="T6" fmla="*/ 1 w 37"/>
                  <a:gd name="T7" fmla="*/ 29 h 32"/>
                  <a:gd name="T8" fmla="*/ 0 w 37"/>
                  <a:gd name="T9" fmla="*/ 30 h 32"/>
                  <a:gd name="T10" fmla="*/ 4 w 37"/>
                  <a:gd name="T11" fmla="*/ 32 h 32"/>
                  <a:gd name="T12" fmla="*/ 4 w 37"/>
                  <a:gd name="T13" fmla="*/ 32 h 32"/>
                  <a:gd name="T14" fmla="*/ 4 w 37"/>
                  <a:gd name="T15" fmla="*/ 32 h 32"/>
                  <a:gd name="T16" fmla="*/ 11 w 37"/>
                  <a:gd name="T17" fmla="*/ 31 h 32"/>
                  <a:gd name="T18" fmla="*/ 13 w 37"/>
                  <a:gd name="T19" fmla="*/ 30 h 32"/>
                  <a:gd name="T20" fmla="*/ 13 w 37"/>
                  <a:gd name="T21" fmla="*/ 30 h 32"/>
                  <a:gd name="T22" fmla="*/ 22 w 37"/>
                  <a:gd name="T23" fmla="*/ 29 h 32"/>
                  <a:gd name="T24" fmla="*/ 22 w 37"/>
                  <a:gd name="T25" fmla="*/ 29 h 32"/>
                  <a:gd name="T26" fmla="*/ 22 w 37"/>
                  <a:gd name="T27" fmla="*/ 29 h 32"/>
                  <a:gd name="T28" fmla="*/ 22 w 37"/>
                  <a:gd name="T29" fmla="*/ 29 h 32"/>
                  <a:gd name="T30" fmla="*/ 22 w 37"/>
                  <a:gd name="T31" fmla="*/ 29 h 32"/>
                  <a:gd name="T32" fmla="*/ 23 w 37"/>
                  <a:gd name="T33" fmla="*/ 29 h 32"/>
                  <a:gd name="T34" fmla="*/ 20 w 37"/>
                  <a:gd name="T35" fmla="*/ 25 h 32"/>
                  <a:gd name="T36" fmla="*/ 11 w 37"/>
                  <a:gd name="T37" fmla="*/ 13 h 32"/>
                  <a:gd name="T38" fmla="*/ 18 w 37"/>
                  <a:gd name="T39" fmla="*/ 0 h 32"/>
                  <a:gd name="T40" fmla="*/ 16 w 37"/>
                  <a:gd name="T41" fmla="*/ 3 h 32"/>
                  <a:gd name="T42" fmla="*/ 15 w 37"/>
                  <a:gd name="T43" fmla="*/ 4 h 32"/>
                  <a:gd name="T44" fmla="*/ 14 w 37"/>
                  <a:gd name="T45" fmla="*/ 8 h 32"/>
                  <a:gd name="T46" fmla="*/ 27 w 37"/>
                  <a:gd name="T47" fmla="*/ 24 h 32"/>
                  <a:gd name="T48" fmla="*/ 30 w 37"/>
                  <a:gd name="T49" fmla="*/ 30 h 32"/>
                  <a:gd name="T50" fmla="*/ 35 w 37"/>
                  <a:gd name="T51" fmla="*/ 31 h 32"/>
                  <a:gd name="T52" fmla="*/ 35 w 37"/>
                  <a:gd name="T53" fmla="*/ 31 h 32"/>
                  <a:gd name="T54" fmla="*/ 35 w 37"/>
                  <a:gd name="T55" fmla="*/ 31 h 32"/>
                  <a:gd name="T56" fmla="*/ 35 w 37"/>
                  <a:gd name="T57" fmla="*/ 31 h 32"/>
                  <a:gd name="T58" fmla="*/ 35 w 37"/>
                  <a:gd name="T59" fmla="*/ 31 h 32"/>
                  <a:gd name="T60" fmla="*/ 35 w 37"/>
                  <a:gd name="T61" fmla="*/ 31 h 32"/>
                  <a:gd name="T62" fmla="*/ 36 w 37"/>
                  <a:gd name="T63" fmla="*/ 29 h 32"/>
                  <a:gd name="T64" fmla="*/ 37 w 37"/>
                  <a:gd name="T65" fmla="*/ 24 h 32"/>
                  <a:gd name="T66" fmla="*/ 20 w 37"/>
                  <a:gd name="T67" fmla="*/ 1 h 32"/>
                  <a:gd name="T68" fmla="*/ 18 w 37"/>
                  <a:gd name="T69" fmla="*/ 0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37" h="32">
                    <a:moveTo>
                      <a:pt x="11" y="13"/>
                    </a:moveTo>
                    <a:cubicBezTo>
                      <a:pt x="9" y="15"/>
                      <a:pt x="8" y="17"/>
                      <a:pt x="7" y="20"/>
                    </a:cubicBezTo>
                    <a:cubicBezTo>
                      <a:pt x="6" y="22"/>
                      <a:pt x="3" y="27"/>
                      <a:pt x="1" y="29"/>
                    </a:cubicBezTo>
                    <a:cubicBezTo>
                      <a:pt x="1" y="29"/>
                      <a:pt x="1" y="29"/>
                      <a:pt x="1" y="29"/>
                    </a:cubicBezTo>
                    <a:cubicBezTo>
                      <a:pt x="1" y="30"/>
                      <a:pt x="0" y="30"/>
                      <a:pt x="0" y="30"/>
                    </a:cubicBezTo>
                    <a:cubicBezTo>
                      <a:pt x="1" y="32"/>
                      <a:pt x="2" y="32"/>
                      <a:pt x="4" y="32"/>
                    </a:cubicBezTo>
                    <a:cubicBezTo>
                      <a:pt x="4" y="32"/>
                      <a:pt x="4" y="32"/>
                      <a:pt x="4" y="32"/>
                    </a:cubicBezTo>
                    <a:cubicBezTo>
                      <a:pt x="4" y="32"/>
                      <a:pt x="4" y="32"/>
                      <a:pt x="4" y="32"/>
                    </a:cubicBezTo>
                    <a:cubicBezTo>
                      <a:pt x="7" y="32"/>
                      <a:pt x="9" y="32"/>
                      <a:pt x="11" y="31"/>
                    </a:cubicBezTo>
                    <a:cubicBezTo>
                      <a:pt x="12" y="31"/>
                      <a:pt x="13" y="31"/>
                      <a:pt x="13" y="30"/>
                    </a:cubicBezTo>
                    <a:cubicBezTo>
                      <a:pt x="13" y="30"/>
                      <a:pt x="13" y="30"/>
                      <a:pt x="13" y="30"/>
                    </a:cubicBezTo>
                    <a:cubicBezTo>
                      <a:pt x="16" y="30"/>
                      <a:pt x="19" y="29"/>
                      <a:pt x="22" y="29"/>
                    </a:cubicBezTo>
                    <a:cubicBezTo>
                      <a:pt x="22" y="29"/>
                      <a:pt x="22" y="29"/>
                      <a:pt x="22" y="29"/>
                    </a:cubicBezTo>
                    <a:cubicBezTo>
                      <a:pt x="22" y="29"/>
                      <a:pt x="22" y="29"/>
                      <a:pt x="22" y="29"/>
                    </a:cubicBezTo>
                    <a:cubicBezTo>
                      <a:pt x="22" y="29"/>
                      <a:pt x="22" y="29"/>
                      <a:pt x="22" y="29"/>
                    </a:cubicBezTo>
                    <a:cubicBezTo>
                      <a:pt x="22" y="29"/>
                      <a:pt x="22" y="29"/>
                      <a:pt x="22" y="29"/>
                    </a:cubicBezTo>
                    <a:cubicBezTo>
                      <a:pt x="22" y="29"/>
                      <a:pt x="22" y="29"/>
                      <a:pt x="23" y="29"/>
                    </a:cubicBezTo>
                    <a:cubicBezTo>
                      <a:pt x="22" y="28"/>
                      <a:pt x="21" y="26"/>
                      <a:pt x="20" y="25"/>
                    </a:cubicBezTo>
                    <a:cubicBezTo>
                      <a:pt x="17" y="21"/>
                      <a:pt x="14" y="17"/>
                      <a:pt x="11" y="13"/>
                    </a:cubicBezTo>
                    <a:moveTo>
                      <a:pt x="18" y="0"/>
                    </a:moveTo>
                    <a:cubicBezTo>
                      <a:pt x="18" y="2"/>
                      <a:pt x="17" y="3"/>
                      <a:pt x="16" y="3"/>
                    </a:cubicBezTo>
                    <a:cubicBezTo>
                      <a:pt x="16" y="4"/>
                      <a:pt x="16" y="4"/>
                      <a:pt x="15" y="4"/>
                    </a:cubicBezTo>
                    <a:cubicBezTo>
                      <a:pt x="15" y="5"/>
                      <a:pt x="14" y="7"/>
                      <a:pt x="14" y="8"/>
                    </a:cubicBezTo>
                    <a:cubicBezTo>
                      <a:pt x="19" y="13"/>
                      <a:pt x="23" y="18"/>
                      <a:pt x="27" y="24"/>
                    </a:cubicBezTo>
                    <a:cubicBezTo>
                      <a:pt x="28" y="25"/>
                      <a:pt x="29" y="28"/>
                      <a:pt x="30" y="30"/>
                    </a:cubicBezTo>
                    <a:cubicBezTo>
                      <a:pt x="32" y="30"/>
                      <a:pt x="33" y="30"/>
                      <a:pt x="35" y="31"/>
                    </a:cubicBezTo>
                    <a:cubicBezTo>
                      <a:pt x="35" y="31"/>
                      <a:pt x="35" y="31"/>
                      <a:pt x="35" y="31"/>
                    </a:cubicBezTo>
                    <a:cubicBezTo>
                      <a:pt x="35" y="31"/>
                      <a:pt x="35" y="31"/>
                      <a:pt x="35" y="31"/>
                    </a:cubicBezTo>
                    <a:cubicBezTo>
                      <a:pt x="35" y="31"/>
                      <a:pt x="35" y="31"/>
                      <a:pt x="35" y="31"/>
                    </a:cubicBezTo>
                    <a:cubicBezTo>
                      <a:pt x="35" y="31"/>
                      <a:pt x="35" y="31"/>
                      <a:pt x="35" y="31"/>
                    </a:cubicBezTo>
                    <a:cubicBezTo>
                      <a:pt x="35" y="31"/>
                      <a:pt x="35" y="31"/>
                      <a:pt x="35" y="31"/>
                    </a:cubicBezTo>
                    <a:cubicBezTo>
                      <a:pt x="36" y="29"/>
                      <a:pt x="36" y="29"/>
                      <a:pt x="36" y="29"/>
                    </a:cubicBezTo>
                    <a:cubicBezTo>
                      <a:pt x="36" y="26"/>
                      <a:pt x="37" y="24"/>
                      <a:pt x="37" y="24"/>
                    </a:cubicBezTo>
                    <a:cubicBezTo>
                      <a:pt x="34" y="17"/>
                      <a:pt x="25" y="6"/>
                      <a:pt x="20" y="1"/>
                    </a:cubicBezTo>
                    <a:cubicBezTo>
                      <a:pt x="18" y="0"/>
                      <a:pt x="18" y="0"/>
                      <a:pt x="18" y="0"/>
                    </a:cubicBezTo>
                  </a:path>
                </a:pathLst>
              </a:custGeom>
              <a:solidFill>
                <a:srgbClr val="6F686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141" name="Freeform 53">
                <a:extLst>
                  <a:ext uri="{FF2B5EF4-FFF2-40B4-BE49-F238E27FC236}">
                    <a16:creationId xmlns:a16="http://schemas.microsoft.com/office/drawing/2014/main" id="{8A82C79C-BBA5-486F-8547-29DBC6FD6AC3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2758" y="1934"/>
                <a:ext cx="37" cy="43"/>
              </a:xfrm>
              <a:custGeom>
                <a:avLst/>
                <a:gdLst>
                  <a:gd name="T0" fmla="*/ 18 w 35"/>
                  <a:gd name="T1" fmla="*/ 11 h 41"/>
                  <a:gd name="T2" fmla="*/ 6 w 35"/>
                  <a:gd name="T3" fmla="*/ 16 h 41"/>
                  <a:gd name="T4" fmla="*/ 13 w 35"/>
                  <a:gd name="T5" fmla="*/ 23 h 41"/>
                  <a:gd name="T6" fmla="*/ 22 w 35"/>
                  <a:gd name="T7" fmla="*/ 32 h 41"/>
                  <a:gd name="T8" fmla="*/ 22 w 35"/>
                  <a:gd name="T9" fmla="*/ 14 h 41"/>
                  <a:gd name="T10" fmla="*/ 18 w 35"/>
                  <a:gd name="T11" fmla="*/ 11 h 41"/>
                  <a:gd name="T12" fmla="*/ 28 w 35"/>
                  <a:gd name="T13" fmla="*/ 9 h 41"/>
                  <a:gd name="T14" fmla="*/ 24 w 35"/>
                  <a:gd name="T15" fmla="*/ 9 h 41"/>
                  <a:gd name="T16" fmla="*/ 28 w 35"/>
                  <a:gd name="T17" fmla="*/ 37 h 41"/>
                  <a:gd name="T18" fmla="*/ 35 w 35"/>
                  <a:gd name="T19" fmla="*/ 41 h 41"/>
                  <a:gd name="T20" fmla="*/ 33 w 35"/>
                  <a:gd name="T21" fmla="*/ 9 h 41"/>
                  <a:gd name="T22" fmla="*/ 28 w 35"/>
                  <a:gd name="T23" fmla="*/ 9 h 41"/>
                  <a:gd name="T24" fmla="*/ 30 w 35"/>
                  <a:gd name="T25" fmla="*/ 0 h 41"/>
                  <a:gd name="T26" fmla="*/ 29 w 35"/>
                  <a:gd name="T27" fmla="*/ 0 h 41"/>
                  <a:gd name="T28" fmla="*/ 26 w 35"/>
                  <a:gd name="T29" fmla="*/ 1 h 41"/>
                  <a:gd name="T30" fmla="*/ 26 w 35"/>
                  <a:gd name="T31" fmla="*/ 1 h 41"/>
                  <a:gd name="T32" fmla="*/ 15 w 35"/>
                  <a:gd name="T33" fmla="*/ 4 h 41"/>
                  <a:gd name="T34" fmla="*/ 3 w 35"/>
                  <a:gd name="T35" fmla="*/ 10 h 41"/>
                  <a:gd name="T36" fmla="*/ 0 w 35"/>
                  <a:gd name="T37" fmla="*/ 11 h 41"/>
                  <a:gd name="T38" fmla="*/ 1 w 35"/>
                  <a:gd name="T39" fmla="*/ 12 h 41"/>
                  <a:gd name="T40" fmla="*/ 14 w 35"/>
                  <a:gd name="T41" fmla="*/ 8 h 41"/>
                  <a:gd name="T42" fmla="*/ 15 w 35"/>
                  <a:gd name="T43" fmla="*/ 6 h 41"/>
                  <a:gd name="T44" fmla="*/ 30 w 35"/>
                  <a:gd name="T45" fmla="*/ 2 h 41"/>
                  <a:gd name="T46" fmla="*/ 32 w 35"/>
                  <a:gd name="T47" fmla="*/ 2 h 41"/>
                  <a:gd name="T48" fmla="*/ 31 w 35"/>
                  <a:gd name="T49" fmla="*/ 0 h 41"/>
                  <a:gd name="T50" fmla="*/ 31 w 35"/>
                  <a:gd name="T51" fmla="*/ 0 h 41"/>
                  <a:gd name="T52" fmla="*/ 31 w 35"/>
                  <a:gd name="T53" fmla="*/ 0 h 41"/>
                  <a:gd name="T54" fmla="*/ 30 w 35"/>
                  <a:gd name="T55" fmla="*/ 0 h 41"/>
                  <a:gd name="T56" fmla="*/ 30 w 35"/>
                  <a:gd name="T57" fmla="*/ 0 h 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35" h="41">
                    <a:moveTo>
                      <a:pt x="18" y="11"/>
                    </a:moveTo>
                    <a:cubicBezTo>
                      <a:pt x="15" y="11"/>
                      <a:pt x="10" y="13"/>
                      <a:pt x="6" y="16"/>
                    </a:cubicBezTo>
                    <a:cubicBezTo>
                      <a:pt x="8" y="18"/>
                      <a:pt x="11" y="20"/>
                      <a:pt x="13" y="23"/>
                    </a:cubicBezTo>
                    <a:cubicBezTo>
                      <a:pt x="16" y="25"/>
                      <a:pt x="19" y="29"/>
                      <a:pt x="22" y="32"/>
                    </a:cubicBezTo>
                    <a:cubicBezTo>
                      <a:pt x="23" y="26"/>
                      <a:pt x="24" y="18"/>
                      <a:pt x="22" y="14"/>
                    </a:cubicBezTo>
                    <a:cubicBezTo>
                      <a:pt x="21" y="12"/>
                      <a:pt x="20" y="11"/>
                      <a:pt x="18" y="11"/>
                    </a:cubicBezTo>
                    <a:moveTo>
                      <a:pt x="28" y="9"/>
                    </a:moveTo>
                    <a:cubicBezTo>
                      <a:pt x="27" y="9"/>
                      <a:pt x="26" y="9"/>
                      <a:pt x="24" y="9"/>
                    </a:cubicBezTo>
                    <a:cubicBezTo>
                      <a:pt x="27" y="18"/>
                      <a:pt x="27" y="28"/>
                      <a:pt x="28" y="37"/>
                    </a:cubicBezTo>
                    <a:cubicBezTo>
                      <a:pt x="30" y="39"/>
                      <a:pt x="33" y="40"/>
                      <a:pt x="35" y="41"/>
                    </a:cubicBezTo>
                    <a:cubicBezTo>
                      <a:pt x="33" y="30"/>
                      <a:pt x="34" y="20"/>
                      <a:pt x="33" y="9"/>
                    </a:cubicBezTo>
                    <a:cubicBezTo>
                      <a:pt x="31" y="9"/>
                      <a:pt x="30" y="9"/>
                      <a:pt x="28" y="9"/>
                    </a:cubicBezTo>
                    <a:moveTo>
                      <a:pt x="30" y="0"/>
                    </a:moveTo>
                    <a:cubicBezTo>
                      <a:pt x="29" y="0"/>
                      <a:pt x="29" y="0"/>
                      <a:pt x="29" y="0"/>
                    </a:cubicBezTo>
                    <a:cubicBezTo>
                      <a:pt x="28" y="0"/>
                      <a:pt x="27" y="0"/>
                      <a:pt x="26" y="1"/>
                    </a:cubicBezTo>
                    <a:cubicBezTo>
                      <a:pt x="26" y="1"/>
                      <a:pt x="26" y="1"/>
                      <a:pt x="26" y="1"/>
                    </a:cubicBezTo>
                    <a:cubicBezTo>
                      <a:pt x="22" y="1"/>
                      <a:pt x="18" y="3"/>
                      <a:pt x="15" y="4"/>
                    </a:cubicBezTo>
                    <a:cubicBezTo>
                      <a:pt x="13" y="5"/>
                      <a:pt x="8" y="8"/>
                      <a:pt x="3" y="10"/>
                    </a:cubicBezTo>
                    <a:cubicBezTo>
                      <a:pt x="0" y="11"/>
                      <a:pt x="0" y="11"/>
                      <a:pt x="0" y="11"/>
                    </a:cubicBezTo>
                    <a:cubicBezTo>
                      <a:pt x="0" y="11"/>
                      <a:pt x="1" y="12"/>
                      <a:pt x="1" y="12"/>
                    </a:cubicBezTo>
                    <a:cubicBezTo>
                      <a:pt x="6" y="10"/>
                      <a:pt x="10" y="9"/>
                      <a:pt x="14" y="8"/>
                    </a:cubicBezTo>
                    <a:cubicBezTo>
                      <a:pt x="14" y="7"/>
                      <a:pt x="15" y="6"/>
                      <a:pt x="15" y="6"/>
                    </a:cubicBezTo>
                    <a:cubicBezTo>
                      <a:pt x="20" y="3"/>
                      <a:pt x="25" y="2"/>
                      <a:pt x="30" y="2"/>
                    </a:cubicBezTo>
                    <a:cubicBezTo>
                      <a:pt x="31" y="2"/>
                      <a:pt x="31" y="2"/>
                      <a:pt x="32" y="2"/>
                    </a:cubicBezTo>
                    <a:cubicBezTo>
                      <a:pt x="32" y="1"/>
                      <a:pt x="32" y="1"/>
                      <a:pt x="31" y="0"/>
                    </a:cubicBezTo>
                    <a:cubicBezTo>
                      <a:pt x="31" y="0"/>
                      <a:pt x="31" y="0"/>
                      <a:pt x="31" y="0"/>
                    </a:cubicBezTo>
                    <a:cubicBezTo>
                      <a:pt x="31" y="0"/>
                      <a:pt x="31" y="0"/>
                      <a:pt x="31" y="0"/>
                    </a:cubicBezTo>
                    <a:cubicBezTo>
                      <a:pt x="31" y="0"/>
                      <a:pt x="30" y="0"/>
                      <a:pt x="30" y="0"/>
                    </a:cubicBezTo>
                    <a:cubicBezTo>
                      <a:pt x="30" y="0"/>
                      <a:pt x="30" y="0"/>
                      <a:pt x="30" y="0"/>
                    </a:cubicBezTo>
                  </a:path>
                </a:pathLst>
              </a:custGeom>
              <a:solidFill>
                <a:srgbClr val="6F686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142" name="Freeform 54">
                <a:extLst>
                  <a:ext uri="{FF2B5EF4-FFF2-40B4-BE49-F238E27FC236}">
                    <a16:creationId xmlns:a16="http://schemas.microsoft.com/office/drawing/2014/main" id="{4B20F346-C855-43D3-8847-64F01434E024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2721" y="1930"/>
                <a:ext cx="181" cy="179"/>
              </a:xfrm>
              <a:custGeom>
                <a:avLst/>
                <a:gdLst>
                  <a:gd name="T0" fmla="*/ 151 w 171"/>
                  <a:gd name="T1" fmla="*/ 117 h 169"/>
                  <a:gd name="T2" fmla="*/ 58 w 171"/>
                  <a:gd name="T3" fmla="*/ 118 h 169"/>
                  <a:gd name="T4" fmla="*/ 46 w 171"/>
                  <a:gd name="T5" fmla="*/ 133 h 169"/>
                  <a:gd name="T6" fmla="*/ 55 w 171"/>
                  <a:gd name="T7" fmla="*/ 134 h 169"/>
                  <a:gd name="T8" fmla="*/ 61 w 171"/>
                  <a:gd name="T9" fmla="*/ 136 h 169"/>
                  <a:gd name="T10" fmla="*/ 146 w 171"/>
                  <a:gd name="T11" fmla="*/ 57 h 169"/>
                  <a:gd name="T12" fmla="*/ 164 w 171"/>
                  <a:gd name="T13" fmla="*/ 83 h 169"/>
                  <a:gd name="T14" fmla="*/ 158 w 171"/>
                  <a:gd name="T15" fmla="*/ 118 h 169"/>
                  <a:gd name="T16" fmla="*/ 163 w 171"/>
                  <a:gd name="T17" fmla="*/ 120 h 169"/>
                  <a:gd name="T18" fmla="*/ 166 w 171"/>
                  <a:gd name="T19" fmla="*/ 108 h 169"/>
                  <a:gd name="T20" fmla="*/ 171 w 171"/>
                  <a:gd name="T21" fmla="*/ 73 h 169"/>
                  <a:gd name="T22" fmla="*/ 159 w 171"/>
                  <a:gd name="T23" fmla="*/ 58 h 169"/>
                  <a:gd name="T24" fmla="*/ 150 w 171"/>
                  <a:gd name="T25" fmla="*/ 56 h 169"/>
                  <a:gd name="T26" fmla="*/ 137 w 171"/>
                  <a:gd name="T27" fmla="*/ 54 h 169"/>
                  <a:gd name="T28" fmla="*/ 126 w 171"/>
                  <a:gd name="T29" fmla="*/ 56 h 169"/>
                  <a:gd name="T30" fmla="*/ 119 w 171"/>
                  <a:gd name="T31" fmla="*/ 57 h 169"/>
                  <a:gd name="T32" fmla="*/ 128 w 171"/>
                  <a:gd name="T33" fmla="*/ 60 h 169"/>
                  <a:gd name="T34" fmla="*/ 138 w 171"/>
                  <a:gd name="T35" fmla="*/ 54 h 169"/>
                  <a:gd name="T36" fmla="*/ 116 w 171"/>
                  <a:gd name="T37" fmla="*/ 54 h 169"/>
                  <a:gd name="T38" fmla="*/ 19 w 171"/>
                  <a:gd name="T39" fmla="*/ 21 h 169"/>
                  <a:gd name="T40" fmla="*/ 40 w 171"/>
                  <a:gd name="T41" fmla="*/ 31 h 169"/>
                  <a:gd name="T42" fmla="*/ 48 w 171"/>
                  <a:gd name="T43" fmla="*/ 27 h 169"/>
                  <a:gd name="T44" fmla="*/ 21 w 171"/>
                  <a:gd name="T45" fmla="*/ 18 h 169"/>
                  <a:gd name="T46" fmla="*/ 35 w 171"/>
                  <a:gd name="T47" fmla="*/ 15 h 169"/>
                  <a:gd name="T48" fmla="*/ 70 w 171"/>
                  <a:gd name="T49" fmla="*/ 45 h 169"/>
                  <a:gd name="T50" fmla="*/ 61 w 171"/>
                  <a:gd name="T51" fmla="*/ 59 h 169"/>
                  <a:gd name="T52" fmla="*/ 30 w 171"/>
                  <a:gd name="T53" fmla="*/ 31 h 169"/>
                  <a:gd name="T54" fmla="*/ 13 w 171"/>
                  <a:gd name="T55" fmla="*/ 88 h 169"/>
                  <a:gd name="T56" fmla="*/ 19 w 171"/>
                  <a:gd name="T57" fmla="*/ 22 h 169"/>
                  <a:gd name="T58" fmla="*/ 5 w 171"/>
                  <a:gd name="T59" fmla="*/ 61 h 169"/>
                  <a:gd name="T60" fmla="*/ 3 w 171"/>
                  <a:gd name="T61" fmla="*/ 69 h 169"/>
                  <a:gd name="T62" fmla="*/ 6 w 171"/>
                  <a:gd name="T63" fmla="*/ 98 h 169"/>
                  <a:gd name="T64" fmla="*/ 129 w 171"/>
                  <a:gd name="T65" fmla="*/ 161 h 169"/>
                  <a:gd name="T66" fmla="*/ 145 w 171"/>
                  <a:gd name="T67" fmla="*/ 132 h 169"/>
                  <a:gd name="T68" fmla="*/ 101 w 171"/>
                  <a:gd name="T69" fmla="*/ 159 h 169"/>
                  <a:gd name="T70" fmla="*/ 53 w 171"/>
                  <a:gd name="T71" fmla="*/ 96 h 169"/>
                  <a:gd name="T72" fmla="*/ 12 w 171"/>
                  <a:gd name="T73" fmla="*/ 91 h 169"/>
                  <a:gd name="T74" fmla="*/ 59 w 171"/>
                  <a:gd name="T75" fmla="*/ 88 h 169"/>
                  <a:gd name="T76" fmla="*/ 72 w 171"/>
                  <a:gd name="T77" fmla="*/ 83 h 169"/>
                  <a:gd name="T78" fmla="*/ 58 w 171"/>
                  <a:gd name="T79" fmla="*/ 98 h 169"/>
                  <a:gd name="T80" fmla="*/ 40 w 171"/>
                  <a:gd name="T81" fmla="*/ 126 h 169"/>
                  <a:gd name="T82" fmla="*/ 69 w 171"/>
                  <a:gd name="T83" fmla="*/ 92 h 169"/>
                  <a:gd name="T84" fmla="*/ 74 w 171"/>
                  <a:gd name="T85" fmla="*/ 95 h 169"/>
                  <a:gd name="T86" fmla="*/ 68 w 171"/>
                  <a:gd name="T87" fmla="*/ 141 h 169"/>
                  <a:gd name="T88" fmla="*/ 128 w 171"/>
                  <a:gd name="T89" fmla="*/ 141 h 169"/>
                  <a:gd name="T90" fmla="*/ 104 w 171"/>
                  <a:gd name="T91" fmla="*/ 102 h 169"/>
                  <a:gd name="T92" fmla="*/ 152 w 171"/>
                  <a:gd name="T93" fmla="*/ 112 h 169"/>
                  <a:gd name="T94" fmla="*/ 155 w 171"/>
                  <a:gd name="T95" fmla="*/ 113 h 169"/>
                  <a:gd name="T96" fmla="*/ 157 w 171"/>
                  <a:gd name="T97" fmla="*/ 97 h 169"/>
                  <a:gd name="T98" fmla="*/ 129 w 171"/>
                  <a:gd name="T99" fmla="*/ 66 h 169"/>
                  <a:gd name="T100" fmla="*/ 107 w 171"/>
                  <a:gd name="T101" fmla="*/ 67 h 169"/>
                  <a:gd name="T102" fmla="*/ 113 w 171"/>
                  <a:gd name="T103" fmla="*/ 47 h 169"/>
                  <a:gd name="T104" fmla="*/ 68 w 171"/>
                  <a:gd name="T105" fmla="*/ 13 h 169"/>
                  <a:gd name="T106" fmla="*/ 61 w 171"/>
                  <a:gd name="T107" fmla="*/ 5 h 169"/>
                  <a:gd name="T108" fmla="*/ 65 w 171"/>
                  <a:gd name="T109" fmla="*/ 4 h 169"/>
                  <a:gd name="T110" fmla="*/ 66 w 171"/>
                  <a:gd name="T111" fmla="*/ 4 h 169"/>
                  <a:gd name="T112" fmla="*/ 131 w 171"/>
                  <a:gd name="T113" fmla="*/ 28 h 169"/>
                  <a:gd name="T114" fmla="*/ 80 w 171"/>
                  <a:gd name="T115" fmla="*/ 1 h 1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171" h="169">
                    <a:moveTo>
                      <a:pt x="120" y="108"/>
                    </a:moveTo>
                    <a:cubicBezTo>
                      <a:pt x="127" y="112"/>
                      <a:pt x="134" y="117"/>
                      <a:pt x="139" y="123"/>
                    </a:cubicBezTo>
                    <a:cubicBezTo>
                      <a:pt x="140" y="122"/>
                      <a:pt x="141" y="121"/>
                      <a:pt x="142" y="121"/>
                    </a:cubicBezTo>
                    <a:cubicBezTo>
                      <a:pt x="145" y="120"/>
                      <a:pt x="149" y="119"/>
                      <a:pt x="151" y="117"/>
                    </a:cubicBezTo>
                    <a:cubicBezTo>
                      <a:pt x="144" y="116"/>
                      <a:pt x="137" y="114"/>
                      <a:pt x="131" y="111"/>
                    </a:cubicBezTo>
                    <a:cubicBezTo>
                      <a:pt x="128" y="110"/>
                      <a:pt x="124" y="109"/>
                      <a:pt x="120" y="108"/>
                    </a:cubicBezTo>
                    <a:moveTo>
                      <a:pt x="64" y="107"/>
                    </a:moveTo>
                    <a:cubicBezTo>
                      <a:pt x="62" y="111"/>
                      <a:pt x="60" y="114"/>
                      <a:pt x="58" y="118"/>
                    </a:cubicBezTo>
                    <a:cubicBezTo>
                      <a:pt x="56" y="121"/>
                      <a:pt x="54" y="123"/>
                      <a:pt x="51" y="125"/>
                    </a:cubicBezTo>
                    <a:cubicBezTo>
                      <a:pt x="48" y="127"/>
                      <a:pt x="47" y="130"/>
                      <a:pt x="44" y="132"/>
                    </a:cubicBezTo>
                    <a:cubicBezTo>
                      <a:pt x="44" y="132"/>
                      <a:pt x="45" y="132"/>
                      <a:pt x="45" y="133"/>
                    </a:cubicBezTo>
                    <a:cubicBezTo>
                      <a:pt x="45" y="133"/>
                      <a:pt x="45" y="133"/>
                      <a:pt x="46" y="133"/>
                    </a:cubicBezTo>
                    <a:cubicBezTo>
                      <a:pt x="46" y="133"/>
                      <a:pt x="46" y="133"/>
                      <a:pt x="46" y="133"/>
                    </a:cubicBezTo>
                    <a:cubicBezTo>
                      <a:pt x="47" y="133"/>
                      <a:pt x="47" y="133"/>
                      <a:pt x="47" y="133"/>
                    </a:cubicBezTo>
                    <a:cubicBezTo>
                      <a:pt x="48" y="133"/>
                      <a:pt x="50" y="133"/>
                      <a:pt x="51" y="134"/>
                    </a:cubicBezTo>
                    <a:cubicBezTo>
                      <a:pt x="52" y="134"/>
                      <a:pt x="54" y="134"/>
                      <a:pt x="55" y="134"/>
                    </a:cubicBezTo>
                    <a:cubicBezTo>
                      <a:pt x="55" y="134"/>
                      <a:pt x="56" y="134"/>
                      <a:pt x="56" y="134"/>
                    </a:cubicBezTo>
                    <a:cubicBezTo>
                      <a:pt x="57" y="134"/>
                      <a:pt x="57" y="134"/>
                      <a:pt x="57" y="134"/>
                    </a:cubicBezTo>
                    <a:cubicBezTo>
                      <a:pt x="59" y="134"/>
                      <a:pt x="60" y="135"/>
                      <a:pt x="60" y="136"/>
                    </a:cubicBezTo>
                    <a:cubicBezTo>
                      <a:pt x="60" y="136"/>
                      <a:pt x="61" y="136"/>
                      <a:pt x="61" y="136"/>
                    </a:cubicBezTo>
                    <a:cubicBezTo>
                      <a:pt x="60" y="131"/>
                      <a:pt x="61" y="125"/>
                      <a:pt x="62" y="121"/>
                    </a:cubicBezTo>
                    <a:cubicBezTo>
                      <a:pt x="62" y="117"/>
                      <a:pt x="63" y="112"/>
                      <a:pt x="64" y="107"/>
                    </a:cubicBezTo>
                    <a:moveTo>
                      <a:pt x="145" y="55"/>
                    </a:moveTo>
                    <a:cubicBezTo>
                      <a:pt x="146" y="56"/>
                      <a:pt x="146" y="57"/>
                      <a:pt x="146" y="57"/>
                    </a:cubicBezTo>
                    <a:cubicBezTo>
                      <a:pt x="146" y="59"/>
                      <a:pt x="145" y="61"/>
                      <a:pt x="144" y="62"/>
                    </a:cubicBezTo>
                    <a:cubicBezTo>
                      <a:pt x="147" y="63"/>
                      <a:pt x="150" y="63"/>
                      <a:pt x="152" y="64"/>
                    </a:cubicBezTo>
                    <a:cubicBezTo>
                      <a:pt x="155" y="65"/>
                      <a:pt x="159" y="65"/>
                      <a:pt x="162" y="67"/>
                    </a:cubicBezTo>
                    <a:cubicBezTo>
                      <a:pt x="166" y="70"/>
                      <a:pt x="165" y="78"/>
                      <a:pt x="164" y="83"/>
                    </a:cubicBezTo>
                    <a:cubicBezTo>
                      <a:pt x="163" y="93"/>
                      <a:pt x="164" y="106"/>
                      <a:pt x="160" y="115"/>
                    </a:cubicBezTo>
                    <a:cubicBezTo>
                      <a:pt x="161" y="117"/>
                      <a:pt x="161" y="119"/>
                      <a:pt x="159" y="119"/>
                    </a:cubicBezTo>
                    <a:cubicBezTo>
                      <a:pt x="159" y="119"/>
                      <a:pt x="159" y="119"/>
                      <a:pt x="159" y="119"/>
                    </a:cubicBezTo>
                    <a:cubicBezTo>
                      <a:pt x="159" y="119"/>
                      <a:pt x="159" y="119"/>
                      <a:pt x="158" y="118"/>
                    </a:cubicBezTo>
                    <a:cubicBezTo>
                      <a:pt x="158" y="119"/>
                      <a:pt x="157" y="119"/>
                      <a:pt x="157" y="119"/>
                    </a:cubicBezTo>
                    <a:cubicBezTo>
                      <a:pt x="157" y="119"/>
                      <a:pt x="157" y="119"/>
                      <a:pt x="156" y="119"/>
                    </a:cubicBezTo>
                    <a:cubicBezTo>
                      <a:pt x="157" y="127"/>
                      <a:pt x="157" y="134"/>
                      <a:pt x="154" y="142"/>
                    </a:cubicBezTo>
                    <a:cubicBezTo>
                      <a:pt x="159" y="136"/>
                      <a:pt x="163" y="129"/>
                      <a:pt x="163" y="120"/>
                    </a:cubicBezTo>
                    <a:cubicBezTo>
                      <a:pt x="164" y="115"/>
                      <a:pt x="163" y="112"/>
                      <a:pt x="164" y="107"/>
                    </a:cubicBezTo>
                    <a:cubicBezTo>
                      <a:pt x="164" y="107"/>
                      <a:pt x="165" y="107"/>
                      <a:pt x="165" y="108"/>
                    </a:cubicBezTo>
                    <a:cubicBezTo>
                      <a:pt x="166" y="108"/>
                      <a:pt x="166" y="108"/>
                      <a:pt x="166" y="108"/>
                    </a:cubicBezTo>
                    <a:cubicBezTo>
                      <a:pt x="166" y="108"/>
                      <a:pt x="166" y="108"/>
                      <a:pt x="166" y="108"/>
                    </a:cubicBezTo>
                    <a:cubicBezTo>
                      <a:pt x="166" y="108"/>
                      <a:pt x="166" y="108"/>
                      <a:pt x="166" y="108"/>
                    </a:cubicBezTo>
                    <a:cubicBezTo>
                      <a:pt x="169" y="102"/>
                      <a:pt x="168" y="97"/>
                      <a:pt x="169" y="93"/>
                    </a:cubicBezTo>
                    <a:cubicBezTo>
                      <a:pt x="169" y="92"/>
                      <a:pt x="169" y="90"/>
                      <a:pt x="169" y="89"/>
                    </a:cubicBezTo>
                    <a:cubicBezTo>
                      <a:pt x="169" y="84"/>
                      <a:pt x="170" y="79"/>
                      <a:pt x="171" y="73"/>
                    </a:cubicBezTo>
                    <a:cubicBezTo>
                      <a:pt x="171" y="73"/>
                      <a:pt x="170" y="72"/>
                      <a:pt x="170" y="71"/>
                    </a:cubicBezTo>
                    <a:cubicBezTo>
                      <a:pt x="170" y="69"/>
                      <a:pt x="171" y="66"/>
                      <a:pt x="171" y="64"/>
                    </a:cubicBezTo>
                    <a:cubicBezTo>
                      <a:pt x="171" y="63"/>
                      <a:pt x="171" y="61"/>
                      <a:pt x="169" y="60"/>
                    </a:cubicBezTo>
                    <a:cubicBezTo>
                      <a:pt x="167" y="59"/>
                      <a:pt x="161" y="58"/>
                      <a:pt x="159" y="58"/>
                    </a:cubicBezTo>
                    <a:cubicBezTo>
                      <a:pt x="156" y="57"/>
                      <a:pt x="153" y="56"/>
                      <a:pt x="150" y="56"/>
                    </a:cubicBezTo>
                    <a:cubicBezTo>
                      <a:pt x="150" y="56"/>
                      <a:pt x="150" y="56"/>
                      <a:pt x="150" y="56"/>
                    </a:cubicBezTo>
                    <a:cubicBezTo>
                      <a:pt x="150" y="56"/>
                      <a:pt x="150" y="56"/>
                      <a:pt x="150" y="56"/>
                    </a:cubicBezTo>
                    <a:cubicBezTo>
                      <a:pt x="150" y="56"/>
                      <a:pt x="150" y="56"/>
                      <a:pt x="150" y="56"/>
                    </a:cubicBezTo>
                    <a:cubicBezTo>
                      <a:pt x="150" y="56"/>
                      <a:pt x="150" y="56"/>
                      <a:pt x="150" y="56"/>
                    </a:cubicBezTo>
                    <a:cubicBezTo>
                      <a:pt x="148" y="55"/>
                      <a:pt x="147" y="55"/>
                      <a:pt x="145" y="55"/>
                    </a:cubicBezTo>
                    <a:moveTo>
                      <a:pt x="137" y="54"/>
                    </a:moveTo>
                    <a:cubicBezTo>
                      <a:pt x="137" y="54"/>
                      <a:pt x="137" y="54"/>
                      <a:pt x="137" y="54"/>
                    </a:cubicBezTo>
                    <a:cubicBezTo>
                      <a:pt x="137" y="54"/>
                      <a:pt x="137" y="54"/>
                      <a:pt x="137" y="54"/>
                    </a:cubicBezTo>
                    <a:cubicBezTo>
                      <a:pt x="134" y="54"/>
                      <a:pt x="131" y="55"/>
                      <a:pt x="128" y="55"/>
                    </a:cubicBezTo>
                    <a:cubicBezTo>
                      <a:pt x="128" y="55"/>
                      <a:pt x="128" y="55"/>
                      <a:pt x="128" y="55"/>
                    </a:cubicBezTo>
                    <a:cubicBezTo>
                      <a:pt x="128" y="56"/>
                      <a:pt x="127" y="56"/>
                      <a:pt x="126" y="56"/>
                    </a:cubicBezTo>
                    <a:cubicBezTo>
                      <a:pt x="124" y="57"/>
                      <a:pt x="122" y="57"/>
                      <a:pt x="119" y="57"/>
                    </a:cubicBezTo>
                    <a:cubicBezTo>
                      <a:pt x="119" y="57"/>
                      <a:pt x="119" y="57"/>
                      <a:pt x="119" y="57"/>
                    </a:cubicBezTo>
                    <a:cubicBezTo>
                      <a:pt x="119" y="57"/>
                      <a:pt x="119" y="57"/>
                      <a:pt x="119" y="57"/>
                    </a:cubicBezTo>
                    <a:cubicBezTo>
                      <a:pt x="119" y="57"/>
                      <a:pt x="119" y="57"/>
                      <a:pt x="119" y="57"/>
                    </a:cubicBezTo>
                    <a:cubicBezTo>
                      <a:pt x="117" y="57"/>
                      <a:pt x="116" y="57"/>
                      <a:pt x="115" y="55"/>
                    </a:cubicBezTo>
                    <a:cubicBezTo>
                      <a:pt x="114" y="58"/>
                      <a:pt x="113" y="61"/>
                      <a:pt x="111" y="63"/>
                    </a:cubicBezTo>
                    <a:cubicBezTo>
                      <a:pt x="115" y="63"/>
                      <a:pt x="120" y="60"/>
                      <a:pt x="123" y="60"/>
                    </a:cubicBezTo>
                    <a:cubicBezTo>
                      <a:pt x="124" y="60"/>
                      <a:pt x="126" y="60"/>
                      <a:pt x="128" y="60"/>
                    </a:cubicBezTo>
                    <a:cubicBezTo>
                      <a:pt x="131" y="60"/>
                      <a:pt x="134" y="60"/>
                      <a:pt x="137" y="60"/>
                    </a:cubicBezTo>
                    <a:cubicBezTo>
                      <a:pt x="138" y="61"/>
                      <a:pt x="139" y="61"/>
                      <a:pt x="140" y="61"/>
                    </a:cubicBezTo>
                    <a:cubicBezTo>
                      <a:pt x="140" y="59"/>
                      <a:pt x="140" y="58"/>
                      <a:pt x="139" y="56"/>
                    </a:cubicBezTo>
                    <a:cubicBezTo>
                      <a:pt x="139" y="56"/>
                      <a:pt x="138" y="55"/>
                      <a:pt x="138" y="54"/>
                    </a:cubicBezTo>
                    <a:cubicBezTo>
                      <a:pt x="137" y="54"/>
                      <a:pt x="137" y="54"/>
                      <a:pt x="137" y="54"/>
                    </a:cubicBezTo>
                    <a:cubicBezTo>
                      <a:pt x="137" y="54"/>
                      <a:pt x="137" y="54"/>
                      <a:pt x="137" y="54"/>
                    </a:cubicBezTo>
                    <a:moveTo>
                      <a:pt x="122" y="45"/>
                    </a:moveTo>
                    <a:cubicBezTo>
                      <a:pt x="120" y="48"/>
                      <a:pt x="118" y="51"/>
                      <a:pt x="116" y="54"/>
                    </a:cubicBezTo>
                    <a:cubicBezTo>
                      <a:pt x="118" y="52"/>
                      <a:pt x="121" y="47"/>
                      <a:pt x="122" y="45"/>
                    </a:cubicBezTo>
                    <a:moveTo>
                      <a:pt x="19" y="21"/>
                    </a:moveTo>
                    <a:cubicBezTo>
                      <a:pt x="19" y="21"/>
                      <a:pt x="18" y="21"/>
                      <a:pt x="18" y="21"/>
                    </a:cubicBezTo>
                    <a:cubicBezTo>
                      <a:pt x="19" y="21"/>
                      <a:pt x="19" y="21"/>
                      <a:pt x="19" y="21"/>
                    </a:cubicBezTo>
                    <a:cubicBezTo>
                      <a:pt x="19" y="21"/>
                      <a:pt x="19" y="21"/>
                      <a:pt x="19" y="21"/>
                    </a:cubicBezTo>
                    <a:moveTo>
                      <a:pt x="41" y="20"/>
                    </a:moveTo>
                    <a:cubicBezTo>
                      <a:pt x="38" y="21"/>
                      <a:pt x="35" y="23"/>
                      <a:pt x="33" y="24"/>
                    </a:cubicBezTo>
                    <a:cubicBezTo>
                      <a:pt x="36" y="26"/>
                      <a:pt x="38" y="29"/>
                      <a:pt x="40" y="31"/>
                    </a:cubicBezTo>
                    <a:cubicBezTo>
                      <a:pt x="45" y="37"/>
                      <a:pt x="51" y="45"/>
                      <a:pt x="57" y="50"/>
                    </a:cubicBezTo>
                    <a:cubicBezTo>
                      <a:pt x="57" y="46"/>
                      <a:pt x="57" y="43"/>
                      <a:pt x="57" y="39"/>
                    </a:cubicBezTo>
                    <a:cubicBezTo>
                      <a:pt x="57" y="38"/>
                      <a:pt x="57" y="37"/>
                      <a:pt x="57" y="36"/>
                    </a:cubicBezTo>
                    <a:cubicBezTo>
                      <a:pt x="54" y="33"/>
                      <a:pt x="51" y="29"/>
                      <a:pt x="48" y="27"/>
                    </a:cubicBezTo>
                    <a:cubicBezTo>
                      <a:pt x="46" y="24"/>
                      <a:pt x="43" y="22"/>
                      <a:pt x="41" y="20"/>
                    </a:cubicBezTo>
                    <a:moveTo>
                      <a:pt x="32" y="13"/>
                    </a:moveTo>
                    <a:cubicBezTo>
                      <a:pt x="27" y="13"/>
                      <a:pt x="27" y="13"/>
                      <a:pt x="27" y="13"/>
                    </a:cubicBezTo>
                    <a:cubicBezTo>
                      <a:pt x="25" y="15"/>
                      <a:pt x="23" y="16"/>
                      <a:pt x="21" y="18"/>
                    </a:cubicBezTo>
                    <a:cubicBezTo>
                      <a:pt x="24" y="18"/>
                      <a:pt x="26" y="19"/>
                      <a:pt x="28" y="20"/>
                    </a:cubicBezTo>
                    <a:cubicBezTo>
                      <a:pt x="28" y="20"/>
                      <a:pt x="28" y="20"/>
                      <a:pt x="28" y="20"/>
                    </a:cubicBezTo>
                    <a:cubicBezTo>
                      <a:pt x="31" y="19"/>
                      <a:pt x="34" y="17"/>
                      <a:pt x="36" y="16"/>
                    </a:cubicBezTo>
                    <a:cubicBezTo>
                      <a:pt x="36" y="16"/>
                      <a:pt x="35" y="15"/>
                      <a:pt x="35" y="15"/>
                    </a:cubicBezTo>
                    <a:cubicBezTo>
                      <a:pt x="35" y="15"/>
                      <a:pt x="35" y="15"/>
                      <a:pt x="35" y="15"/>
                    </a:cubicBezTo>
                    <a:cubicBezTo>
                      <a:pt x="34" y="14"/>
                      <a:pt x="33" y="14"/>
                      <a:pt x="32" y="13"/>
                    </a:cubicBezTo>
                    <a:moveTo>
                      <a:pt x="68" y="13"/>
                    </a:moveTo>
                    <a:cubicBezTo>
                      <a:pt x="69" y="24"/>
                      <a:pt x="68" y="34"/>
                      <a:pt x="70" y="45"/>
                    </a:cubicBezTo>
                    <a:cubicBezTo>
                      <a:pt x="70" y="45"/>
                      <a:pt x="70" y="45"/>
                      <a:pt x="70" y="45"/>
                    </a:cubicBezTo>
                    <a:cubicBezTo>
                      <a:pt x="68" y="44"/>
                      <a:pt x="65" y="43"/>
                      <a:pt x="63" y="41"/>
                    </a:cubicBezTo>
                    <a:cubicBezTo>
                      <a:pt x="64" y="46"/>
                      <a:pt x="64" y="50"/>
                      <a:pt x="65" y="55"/>
                    </a:cubicBezTo>
                    <a:cubicBezTo>
                      <a:pt x="66" y="57"/>
                      <a:pt x="63" y="59"/>
                      <a:pt x="61" y="59"/>
                    </a:cubicBezTo>
                    <a:cubicBezTo>
                      <a:pt x="60" y="59"/>
                      <a:pt x="59" y="59"/>
                      <a:pt x="59" y="57"/>
                    </a:cubicBezTo>
                    <a:cubicBezTo>
                      <a:pt x="58" y="56"/>
                      <a:pt x="58" y="55"/>
                      <a:pt x="58" y="54"/>
                    </a:cubicBezTo>
                    <a:cubicBezTo>
                      <a:pt x="51" y="51"/>
                      <a:pt x="46" y="46"/>
                      <a:pt x="41" y="41"/>
                    </a:cubicBezTo>
                    <a:cubicBezTo>
                      <a:pt x="37" y="38"/>
                      <a:pt x="34" y="34"/>
                      <a:pt x="30" y="31"/>
                    </a:cubicBezTo>
                    <a:cubicBezTo>
                      <a:pt x="29" y="30"/>
                      <a:pt x="28" y="29"/>
                      <a:pt x="26" y="28"/>
                    </a:cubicBezTo>
                    <a:cubicBezTo>
                      <a:pt x="21" y="35"/>
                      <a:pt x="20" y="43"/>
                      <a:pt x="18" y="51"/>
                    </a:cubicBezTo>
                    <a:cubicBezTo>
                      <a:pt x="14" y="62"/>
                      <a:pt x="10" y="75"/>
                      <a:pt x="14" y="87"/>
                    </a:cubicBezTo>
                    <a:cubicBezTo>
                      <a:pt x="14" y="88"/>
                      <a:pt x="14" y="88"/>
                      <a:pt x="13" y="88"/>
                    </a:cubicBezTo>
                    <a:cubicBezTo>
                      <a:pt x="13" y="88"/>
                      <a:pt x="12" y="88"/>
                      <a:pt x="12" y="88"/>
                    </a:cubicBezTo>
                    <a:cubicBezTo>
                      <a:pt x="6" y="75"/>
                      <a:pt x="8" y="64"/>
                      <a:pt x="11" y="51"/>
                    </a:cubicBezTo>
                    <a:cubicBezTo>
                      <a:pt x="13" y="41"/>
                      <a:pt x="15" y="32"/>
                      <a:pt x="21" y="24"/>
                    </a:cubicBezTo>
                    <a:cubicBezTo>
                      <a:pt x="20" y="24"/>
                      <a:pt x="20" y="23"/>
                      <a:pt x="19" y="22"/>
                    </a:cubicBezTo>
                    <a:cubicBezTo>
                      <a:pt x="19" y="23"/>
                      <a:pt x="19" y="23"/>
                      <a:pt x="19" y="23"/>
                    </a:cubicBezTo>
                    <a:cubicBezTo>
                      <a:pt x="17" y="25"/>
                      <a:pt x="13" y="28"/>
                      <a:pt x="10" y="33"/>
                    </a:cubicBezTo>
                    <a:cubicBezTo>
                      <a:pt x="6" y="40"/>
                      <a:pt x="3" y="47"/>
                      <a:pt x="0" y="54"/>
                    </a:cubicBezTo>
                    <a:cubicBezTo>
                      <a:pt x="3" y="55"/>
                      <a:pt x="4" y="58"/>
                      <a:pt x="5" y="61"/>
                    </a:cubicBezTo>
                    <a:cubicBezTo>
                      <a:pt x="5" y="61"/>
                      <a:pt x="5" y="61"/>
                      <a:pt x="5" y="61"/>
                    </a:cubicBezTo>
                    <a:cubicBezTo>
                      <a:pt x="5" y="61"/>
                      <a:pt x="5" y="61"/>
                      <a:pt x="5" y="61"/>
                    </a:cubicBezTo>
                    <a:cubicBezTo>
                      <a:pt x="3" y="61"/>
                      <a:pt x="3" y="61"/>
                      <a:pt x="3" y="61"/>
                    </a:cubicBezTo>
                    <a:cubicBezTo>
                      <a:pt x="3" y="64"/>
                      <a:pt x="3" y="67"/>
                      <a:pt x="3" y="69"/>
                    </a:cubicBezTo>
                    <a:cubicBezTo>
                      <a:pt x="3" y="73"/>
                      <a:pt x="3" y="77"/>
                      <a:pt x="4" y="81"/>
                    </a:cubicBezTo>
                    <a:cubicBezTo>
                      <a:pt x="6" y="85"/>
                      <a:pt x="9" y="89"/>
                      <a:pt x="10" y="94"/>
                    </a:cubicBezTo>
                    <a:cubicBezTo>
                      <a:pt x="11" y="96"/>
                      <a:pt x="9" y="98"/>
                      <a:pt x="7" y="98"/>
                    </a:cubicBezTo>
                    <a:cubicBezTo>
                      <a:pt x="7" y="98"/>
                      <a:pt x="7" y="98"/>
                      <a:pt x="6" y="98"/>
                    </a:cubicBezTo>
                    <a:cubicBezTo>
                      <a:pt x="9" y="107"/>
                      <a:pt x="13" y="115"/>
                      <a:pt x="18" y="124"/>
                    </a:cubicBezTo>
                    <a:cubicBezTo>
                      <a:pt x="31" y="147"/>
                      <a:pt x="52" y="162"/>
                      <a:pt x="77" y="168"/>
                    </a:cubicBezTo>
                    <a:cubicBezTo>
                      <a:pt x="82" y="169"/>
                      <a:pt x="87" y="169"/>
                      <a:pt x="92" y="169"/>
                    </a:cubicBezTo>
                    <a:cubicBezTo>
                      <a:pt x="105" y="169"/>
                      <a:pt x="117" y="167"/>
                      <a:pt x="129" y="161"/>
                    </a:cubicBezTo>
                    <a:cubicBezTo>
                      <a:pt x="142" y="152"/>
                      <a:pt x="148" y="138"/>
                      <a:pt x="153" y="122"/>
                    </a:cubicBezTo>
                    <a:cubicBezTo>
                      <a:pt x="152" y="122"/>
                      <a:pt x="152" y="122"/>
                      <a:pt x="152" y="122"/>
                    </a:cubicBezTo>
                    <a:cubicBezTo>
                      <a:pt x="150" y="124"/>
                      <a:pt x="146" y="127"/>
                      <a:pt x="143" y="128"/>
                    </a:cubicBezTo>
                    <a:cubicBezTo>
                      <a:pt x="144" y="129"/>
                      <a:pt x="144" y="131"/>
                      <a:pt x="145" y="132"/>
                    </a:cubicBezTo>
                    <a:cubicBezTo>
                      <a:pt x="148" y="142"/>
                      <a:pt x="141" y="143"/>
                      <a:pt x="135" y="147"/>
                    </a:cubicBezTo>
                    <a:cubicBezTo>
                      <a:pt x="129" y="151"/>
                      <a:pt x="125" y="157"/>
                      <a:pt x="118" y="159"/>
                    </a:cubicBezTo>
                    <a:cubicBezTo>
                      <a:pt x="116" y="160"/>
                      <a:pt x="113" y="160"/>
                      <a:pt x="110" y="160"/>
                    </a:cubicBezTo>
                    <a:cubicBezTo>
                      <a:pt x="107" y="160"/>
                      <a:pt x="104" y="160"/>
                      <a:pt x="101" y="159"/>
                    </a:cubicBezTo>
                    <a:cubicBezTo>
                      <a:pt x="88" y="158"/>
                      <a:pt x="67" y="157"/>
                      <a:pt x="60" y="144"/>
                    </a:cubicBezTo>
                    <a:cubicBezTo>
                      <a:pt x="60" y="144"/>
                      <a:pt x="60" y="143"/>
                      <a:pt x="60" y="143"/>
                    </a:cubicBezTo>
                    <a:cubicBezTo>
                      <a:pt x="47" y="141"/>
                      <a:pt x="24" y="137"/>
                      <a:pt x="34" y="122"/>
                    </a:cubicBezTo>
                    <a:cubicBezTo>
                      <a:pt x="40" y="113"/>
                      <a:pt x="46" y="105"/>
                      <a:pt x="53" y="96"/>
                    </a:cubicBezTo>
                    <a:cubicBezTo>
                      <a:pt x="51" y="96"/>
                      <a:pt x="48" y="97"/>
                      <a:pt x="46" y="97"/>
                    </a:cubicBezTo>
                    <a:cubicBezTo>
                      <a:pt x="40" y="98"/>
                      <a:pt x="34" y="99"/>
                      <a:pt x="27" y="99"/>
                    </a:cubicBezTo>
                    <a:cubicBezTo>
                      <a:pt x="22" y="99"/>
                      <a:pt x="17" y="99"/>
                      <a:pt x="12" y="96"/>
                    </a:cubicBezTo>
                    <a:cubicBezTo>
                      <a:pt x="10" y="96"/>
                      <a:pt x="10" y="92"/>
                      <a:pt x="12" y="91"/>
                    </a:cubicBezTo>
                    <a:cubicBezTo>
                      <a:pt x="18" y="89"/>
                      <a:pt x="23" y="89"/>
                      <a:pt x="30" y="89"/>
                    </a:cubicBezTo>
                    <a:cubicBezTo>
                      <a:pt x="33" y="89"/>
                      <a:pt x="36" y="89"/>
                      <a:pt x="39" y="89"/>
                    </a:cubicBezTo>
                    <a:cubicBezTo>
                      <a:pt x="42" y="89"/>
                      <a:pt x="46" y="89"/>
                      <a:pt x="49" y="89"/>
                    </a:cubicBezTo>
                    <a:cubicBezTo>
                      <a:pt x="52" y="89"/>
                      <a:pt x="56" y="89"/>
                      <a:pt x="59" y="88"/>
                    </a:cubicBezTo>
                    <a:cubicBezTo>
                      <a:pt x="62" y="86"/>
                      <a:pt x="65" y="83"/>
                      <a:pt x="68" y="82"/>
                    </a:cubicBezTo>
                    <a:cubicBezTo>
                      <a:pt x="69" y="82"/>
                      <a:pt x="69" y="82"/>
                      <a:pt x="69" y="82"/>
                    </a:cubicBezTo>
                    <a:cubicBezTo>
                      <a:pt x="70" y="82"/>
                      <a:pt x="71" y="83"/>
                      <a:pt x="71" y="84"/>
                    </a:cubicBezTo>
                    <a:cubicBezTo>
                      <a:pt x="71" y="84"/>
                      <a:pt x="72" y="84"/>
                      <a:pt x="72" y="83"/>
                    </a:cubicBezTo>
                    <a:cubicBezTo>
                      <a:pt x="73" y="83"/>
                      <a:pt x="73" y="83"/>
                      <a:pt x="73" y="83"/>
                    </a:cubicBezTo>
                    <a:cubicBezTo>
                      <a:pt x="74" y="83"/>
                      <a:pt x="75" y="85"/>
                      <a:pt x="75" y="86"/>
                    </a:cubicBezTo>
                    <a:cubicBezTo>
                      <a:pt x="71" y="90"/>
                      <a:pt x="67" y="93"/>
                      <a:pt x="61" y="94"/>
                    </a:cubicBezTo>
                    <a:cubicBezTo>
                      <a:pt x="60" y="96"/>
                      <a:pt x="59" y="97"/>
                      <a:pt x="58" y="98"/>
                    </a:cubicBezTo>
                    <a:cubicBezTo>
                      <a:pt x="54" y="104"/>
                      <a:pt x="50" y="109"/>
                      <a:pt x="46" y="115"/>
                    </a:cubicBezTo>
                    <a:cubicBezTo>
                      <a:pt x="44" y="117"/>
                      <a:pt x="42" y="121"/>
                      <a:pt x="41" y="123"/>
                    </a:cubicBezTo>
                    <a:cubicBezTo>
                      <a:pt x="41" y="124"/>
                      <a:pt x="40" y="125"/>
                      <a:pt x="39" y="126"/>
                    </a:cubicBezTo>
                    <a:cubicBezTo>
                      <a:pt x="39" y="126"/>
                      <a:pt x="39" y="126"/>
                      <a:pt x="40" y="126"/>
                    </a:cubicBezTo>
                    <a:cubicBezTo>
                      <a:pt x="41" y="124"/>
                      <a:pt x="42" y="123"/>
                      <a:pt x="44" y="121"/>
                    </a:cubicBezTo>
                    <a:cubicBezTo>
                      <a:pt x="49" y="117"/>
                      <a:pt x="52" y="115"/>
                      <a:pt x="55" y="110"/>
                    </a:cubicBezTo>
                    <a:cubicBezTo>
                      <a:pt x="59" y="105"/>
                      <a:pt x="62" y="99"/>
                      <a:pt x="68" y="95"/>
                    </a:cubicBezTo>
                    <a:cubicBezTo>
                      <a:pt x="68" y="94"/>
                      <a:pt x="69" y="93"/>
                      <a:pt x="69" y="92"/>
                    </a:cubicBezTo>
                    <a:cubicBezTo>
                      <a:pt x="70" y="91"/>
                      <a:pt x="70" y="91"/>
                      <a:pt x="71" y="91"/>
                    </a:cubicBezTo>
                    <a:cubicBezTo>
                      <a:pt x="72" y="91"/>
                      <a:pt x="73" y="91"/>
                      <a:pt x="74" y="92"/>
                    </a:cubicBezTo>
                    <a:cubicBezTo>
                      <a:pt x="74" y="92"/>
                      <a:pt x="74" y="92"/>
                      <a:pt x="74" y="92"/>
                    </a:cubicBezTo>
                    <a:cubicBezTo>
                      <a:pt x="75" y="92"/>
                      <a:pt x="76" y="94"/>
                      <a:pt x="74" y="95"/>
                    </a:cubicBezTo>
                    <a:cubicBezTo>
                      <a:pt x="74" y="95"/>
                      <a:pt x="74" y="95"/>
                      <a:pt x="74" y="95"/>
                    </a:cubicBezTo>
                    <a:cubicBezTo>
                      <a:pt x="74" y="103"/>
                      <a:pt x="71" y="111"/>
                      <a:pt x="69" y="119"/>
                    </a:cubicBezTo>
                    <a:cubicBezTo>
                      <a:pt x="68" y="124"/>
                      <a:pt x="65" y="135"/>
                      <a:pt x="67" y="139"/>
                    </a:cubicBezTo>
                    <a:cubicBezTo>
                      <a:pt x="68" y="140"/>
                      <a:pt x="68" y="140"/>
                      <a:pt x="68" y="141"/>
                    </a:cubicBezTo>
                    <a:cubicBezTo>
                      <a:pt x="77" y="144"/>
                      <a:pt x="85" y="147"/>
                      <a:pt x="95" y="149"/>
                    </a:cubicBezTo>
                    <a:cubicBezTo>
                      <a:pt x="100" y="150"/>
                      <a:pt x="105" y="151"/>
                      <a:pt x="110" y="151"/>
                    </a:cubicBezTo>
                    <a:cubicBezTo>
                      <a:pt x="113" y="151"/>
                      <a:pt x="116" y="151"/>
                      <a:pt x="118" y="150"/>
                    </a:cubicBezTo>
                    <a:cubicBezTo>
                      <a:pt x="122" y="148"/>
                      <a:pt x="126" y="144"/>
                      <a:pt x="128" y="141"/>
                    </a:cubicBezTo>
                    <a:cubicBezTo>
                      <a:pt x="130" y="140"/>
                      <a:pt x="133" y="140"/>
                      <a:pt x="133" y="139"/>
                    </a:cubicBezTo>
                    <a:cubicBezTo>
                      <a:pt x="138" y="132"/>
                      <a:pt x="133" y="128"/>
                      <a:pt x="128" y="124"/>
                    </a:cubicBezTo>
                    <a:cubicBezTo>
                      <a:pt x="121" y="117"/>
                      <a:pt x="112" y="111"/>
                      <a:pt x="106" y="103"/>
                    </a:cubicBezTo>
                    <a:cubicBezTo>
                      <a:pt x="105" y="102"/>
                      <a:pt x="105" y="102"/>
                      <a:pt x="104" y="102"/>
                    </a:cubicBezTo>
                    <a:cubicBezTo>
                      <a:pt x="101" y="100"/>
                      <a:pt x="102" y="95"/>
                      <a:pt x="105" y="95"/>
                    </a:cubicBezTo>
                    <a:cubicBezTo>
                      <a:pt x="106" y="95"/>
                      <a:pt x="106" y="95"/>
                      <a:pt x="107" y="95"/>
                    </a:cubicBezTo>
                    <a:cubicBezTo>
                      <a:pt x="115" y="95"/>
                      <a:pt x="124" y="100"/>
                      <a:pt x="132" y="103"/>
                    </a:cubicBezTo>
                    <a:cubicBezTo>
                      <a:pt x="139" y="106"/>
                      <a:pt x="146" y="109"/>
                      <a:pt x="152" y="112"/>
                    </a:cubicBezTo>
                    <a:cubicBezTo>
                      <a:pt x="153" y="112"/>
                      <a:pt x="153" y="112"/>
                      <a:pt x="153" y="112"/>
                    </a:cubicBezTo>
                    <a:cubicBezTo>
                      <a:pt x="154" y="112"/>
                      <a:pt x="154" y="112"/>
                      <a:pt x="154" y="113"/>
                    </a:cubicBezTo>
                    <a:cubicBezTo>
                      <a:pt x="154" y="113"/>
                      <a:pt x="154" y="113"/>
                      <a:pt x="154" y="113"/>
                    </a:cubicBezTo>
                    <a:cubicBezTo>
                      <a:pt x="155" y="113"/>
                      <a:pt x="155" y="113"/>
                      <a:pt x="155" y="113"/>
                    </a:cubicBezTo>
                    <a:cubicBezTo>
                      <a:pt x="155" y="113"/>
                      <a:pt x="155" y="112"/>
                      <a:pt x="155" y="111"/>
                    </a:cubicBezTo>
                    <a:cubicBezTo>
                      <a:pt x="155" y="111"/>
                      <a:pt x="155" y="111"/>
                      <a:pt x="156" y="111"/>
                    </a:cubicBezTo>
                    <a:cubicBezTo>
                      <a:pt x="156" y="111"/>
                      <a:pt x="156" y="111"/>
                      <a:pt x="156" y="111"/>
                    </a:cubicBezTo>
                    <a:cubicBezTo>
                      <a:pt x="157" y="107"/>
                      <a:pt x="157" y="102"/>
                      <a:pt x="157" y="97"/>
                    </a:cubicBezTo>
                    <a:cubicBezTo>
                      <a:pt x="158" y="91"/>
                      <a:pt x="160" y="85"/>
                      <a:pt x="160" y="79"/>
                    </a:cubicBezTo>
                    <a:cubicBezTo>
                      <a:pt x="160" y="75"/>
                      <a:pt x="160" y="71"/>
                      <a:pt x="156" y="70"/>
                    </a:cubicBezTo>
                    <a:cubicBezTo>
                      <a:pt x="154" y="68"/>
                      <a:pt x="149" y="68"/>
                      <a:pt x="146" y="68"/>
                    </a:cubicBezTo>
                    <a:cubicBezTo>
                      <a:pt x="140" y="67"/>
                      <a:pt x="135" y="66"/>
                      <a:pt x="129" y="66"/>
                    </a:cubicBezTo>
                    <a:cubicBezTo>
                      <a:pt x="128" y="66"/>
                      <a:pt x="126" y="66"/>
                      <a:pt x="125" y="67"/>
                    </a:cubicBezTo>
                    <a:cubicBezTo>
                      <a:pt x="121" y="67"/>
                      <a:pt x="117" y="69"/>
                      <a:pt x="113" y="69"/>
                    </a:cubicBezTo>
                    <a:cubicBezTo>
                      <a:pt x="113" y="69"/>
                      <a:pt x="112" y="69"/>
                      <a:pt x="112" y="69"/>
                    </a:cubicBezTo>
                    <a:cubicBezTo>
                      <a:pt x="110" y="68"/>
                      <a:pt x="108" y="68"/>
                      <a:pt x="107" y="67"/>
                    </a:cubicBezTo>
                    <a:cubicBezTo>
                      <a:pt x="106" y="67"/>
                      <a:pt x="106" y="67"/>
                      <a:pt x="105" y="67"/>
                    </a:cubicBezTo>
                    <a:cubicBezTo>
                      <a:pt x="105" y="67"/>
                      <a:pt x="104" y="67"/>
                      <a:pt x="104" y="67"/>
                    </a:cubicBezTo>
                    <a:cubicBezTo>
                      <a:pt x="102" y="67"/>
                      <a:pt x="100" y="65"/>
                      <a:pt x="102" y="63"/>
                    </a:cubicBezTo>
                    <a:cubicBezTo>
                      <a:pt x="107" y="59"/>
                      <a:pt x="110" y="53"/>
                      <a:pt x="113" y="47"/>
                    </a:cubicBezTo>
                    <a:cubicBezTo>
                      <a:pt x="115" y="43"/>
                      <a:pt x="122" y="32"/>
                      <a:pt x="121" y="28"/>
                    </a:cubicBezTo>
                    <a:cubicBezTo>
                      <a:pt x="120" y="24"/>
                      <a:pt x="101" y="20"/>
                      <a:pt x="97" y="19"/>
                    </a:cubicBezTo>
                    <a:cubicBezTo>
                      <a:pt x="93" y="18"/>
                      <a:pt x="88" y="17"/>
                      <a:pt x="84" y="16"/>
                    </a:cubicBezTo>
                    <a:cubicBezTo>
                      <a:pt x="78" y="14"/>
                      <a:pt x="73" y="13"/>
                      <a:pt x="68" y="13"/>
                    </a:cubicBezTo>
                    <a:moveTo>
                      <a:pt x="73" y="0"/>
                    </a:moveTo>
                    <a:cubicBezTo>
                      <a:pt x="69" y="0"/>
                      <a:pt x="65" y="1"/>
                      <a:pt x="60" y="3"/>
                    </a:cubicBezTo>
                    <a:cubicBezTo>
                      <a:pt x="61" y="5"/>
                      <a:pt x="61" y="5"/>
                      <a:pt x="61" y="5"/>
                    </a:cubicBezTo>
                    <a:cubicBezTo>
                      <a:pt x="61" y="5"/>
                      <a:pt x="61" y="5"/>
                      <a:pt x="61" y="5"/>
                    </a:cubicBezTo>
                    <a:cubicBezTo>
                      <a:pt x="61" y="5"/>
                      <a:pt x="61" y="5"/>
                      <a:pt x="61" y="5"/>
                    </a:cubicBezTo>
                    <a:cubicBezTo>
                      <a:pt x="62" y="4"/>
                      <a:pt x="63" y="4"/>
                      <a:pt x="64" y="4"/>
                    </a:cubicBezTo>
                    <a:cubicBezTo>
                      <a:pt x="64" y="4"/>
                      <a:pt x="64" y="4"/>
                      <a:pt x="65" y="4"/>
                    </a:cubicBezTo>
                    <a:cubicBezTo>
                      <a:pt x="65" y="4"/>
                      <a:pt x="65" y="4"/>
                      <a:pt x="65" y="4"/>
                    </a:cubicBezTo>
                    <a:cubicBezTo>
                      <a:pt x="65" y="4"/>
                      <a:pt x="65" y="4"/>
                      <a:pt x="65" y="4"/>
                    </a:cubicBezTo>
                    <a:cubicBezTo>
                      <a:pt x="65" y="4"/>
                      <a:pt x="66" y="4"/>
                      <a:pt x="66" y="4"/>
                    </a:cubicBezTo>
                    <a:cubicBezTo>
                      <a:pt x="66" y="4"/>
                      <a:pt x="66" y="4"/>
                      <a:pt x="66" y="4"/>
                    </a:cubicBezTo>
                    <a:cubicBezTo>
                      <a:pt x="66" y="4"/>
                      <a:pt x="66" y="4"/>
                      <a:pt x="66" y="4"/>
                    </a:cubicBezTo>
                    <a:cubicBezTo>
                      <a:pt x="67" y="5"/>
                      <a:pt x="67" y="5"/>
                      <a:pt x="67" y="6"/>
                    </a:cubicBezTo>
                    <a:cubicBezTo>
                      <a:pt x="72" y="6"/>
                      <a:pt x="77" y="7"/>
                      <a:pt x="83" y="8"/>
                    </a:cubicBezTo>
                    <a:cubicBezTo>
                      <a:pt x="99" y="12"/>
                      <a:pt x="114" y="17"/>
                      <a:pt x="129" y="25"/>
                    </a:cubicBezTo>
                    <a:cubicBezTo>
                      <a:pt x="130" y="26"/>
                      <a:pt x="131" y="27"/>
                      <a:pt x="131" y="28"/>
                    </a:cubicBezTo>
                    <a:cubicBezTo>
                      <a:pt x="132" y="28"/>
                      <a:pt x="133" y="27"/>
                      <a:pt x="133" y="25"/>
                    </a:cubicBezTo>
                    <a:cubicBezTo>
                      <a:pt x="133" y="25"/>
                      <a:pt x="133" y="25"/>
                      <a:pt x="133" y="25"/>
                    </a:cubicBezTo>
                    <a:cubicBezTo>
                      <a:pt x="135" y="24"/>
                      <a:pt x="136" y="22"/>
                      <a:pt x="136" y="20"/>
                    </a:cubicBezTo>
                    <a:cubicBezTo>
                      <a:pt x="118" y="9"/>
                      <a:pt x="99" y="5"/>
                      <a:pt x="80" y="1"/>
                    </a:cubicBezTo>
                    <a:cubicBezTo>
                      <a:pt x="78" y="0"/>
                      <a:pt x="75" y="0"/>
                      <a:pt x="73" y="0"/>
                    </a:cubicBezTo>
                  </a:path>
                </a:pathLst>
              </a:custGeom>
              <a:solidFill>
                <a:srgbClr val="6F686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143" name="Freeform 55">
                <a:extLst>
                  <a:ext uri="{FF2B5EF4-FFF2-40B4-BE49-F238E27FC236}">
                    <a16:creationId xmlns:a16="http://schemas.microsoft.com/office/drawing/2014/main" id="{39FB6D7A-9335-49B5-ACEE-33668706FD89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2039" y="1829"/>
                <a:ext cx="74" cy="69"/>
              </a:xfrm>
              <a:custGeom>
                <a:avLst/>
                <a:gdLst>
                  <a:gd name="T0" fmla="*/ 22 w 70"/>
                  <a:gd name="T1" fmla="*/ 13 h 65"/>
                  <a:gd name="T2" fmla="*/ 11 w 70"/>
                  <a:gd name="T3" fmla="*/ 16 h 65"/>
                  <a:gd name="T4" fmla="*/ 2 w 70"/>
                  <a:gd name="T5" fmla="*/ 24 h 65"/>
                  <a:gd name="T6" fmla="*/ 1 w 70"/>
                  <a:gd name="T7" fmla="*/ 31 h 65"/>
                  <a:gd name="T8" fmla="*/ 0 w 70"/>
                  <a:gd name="T9" fmla="*/ 36 h 65"/>
                  <a:gd name="T10" fmla="*/ 23 w 70"/>
                  <a:gd name="T11" fmla="*/ 63 h 65"/>
                  <a:gd name="T12" fmla="*/ 23 w 70"/>
                  <a:gd name="T13" fmla="*/ 63 h 65"/>
                  <a:gd name="T14" fmla="*/ 23 w 70"/>
                  <a:gd name="T15" fmla="*/ 63 h 65"/>
                  <a:gd name="T16" fmla="*/ 37 w 70"/>
                  <a:gd name="T17" fmla="*/ 65 h 65"/>
                  <a:gd name="T18" fmla="*/ 37 w 70"/>
                  <a:gd name="T19" fmla="*/ 65 h 65"/>
                  <a:gd name="T20" fmla="*/ 37 w 70"/>
                  <a:gd name="T21" fmla="*/ 65 h 65"/>
                  <a:gd name="T22" fmla="*/ 37 w 70"/>
                  <a:gd name="T23" fmla="*/ 65 h 65"/>
                  <a:gd name="T24" fmla="*/ 41 w 70"/>
                  <a:gd name="T25" fmla="*/ 65 h 65"/>
                  <a:gd name="T26" fmla="*/ 41 w 70"/>
                  <a:gd name="T27" fmla="*/ 65 h 65"/>
                  <a:gd name="T28" fmla="*/ 41 w 70"/>
                  <a:gd name="T29" fmla="*/ 65 h 65"/>
                  <a:gd name="T30" fmla="*/ 42 w 70"/>
                  <a:gd name="T31" fmla="*/ 65 h 65"/>
                  <a:gd name="T32" fmla="*/ 48 w 70"/>
                  <a:gd name="T33" fmla="*/ 63 h 65"/>
                  <a:gd name="T34" fmla="*/ 53 w 70"/>
                  <a:gd name="T35" fmla="*/ 58 h 65"/>
                  <a:gd name="T36" fmla="*/ 45 w 70"/>
                  <a:gd name="T37" fmla="*/ 16 h 65"/>
                  <a:gd name="T38" fmla="*/ 42 w 70"/>
                  <a:gd name="T39" fmla="*/ 19 h 65"/>
                  <a:gd name="T40" fmla="*/ 40 w 70"/>
                  <a:gd name="T41" fmla="*/ 18 h 65"/>
                  <a:gd name="T42" fmla="*/ 22 w 70"/>
                  <a:gd name="T43" fmla="*/ 13 h 65"/>
                  <a:gd name="T44" fmla="*/ 30 w 70"/>
                  <a:gd name="T45" fmla="*/ 0 h 65"/>
                  <a:gd name="T46" fmla="*/ 18 w 70"/>
                  <a:gd name="T47" fmla="*/ 2 h 65"/>
                  <a:gd name="T48" fmla="*/ 13 w 70"/>
                  <a:gd name="T49" fmla="*/ 6 h 65"/>
                  <a:gd name="T50" fmla="*/ 21 w 70"/>
                  <a:gd name="T51" fmla="*/ 5 h 65"/>
                  <a:gd name="T52" fmla="*/ 38 w 70"/>
                  <a:gd name="T53" fmla="*/ 9 h 65"/>
                  <a:gd name="T54" fmla="*/ 38 w 70"/>
                  <a:gd name="T55" fmla="*/ 9 h 65"/>
                  <a:gd name="T56" fmla="*/ 39 w 70"/>
                  <a:gd name="T57" fmla="*/ 9 h 65"/>
                  <a:gd name="T58" fmla="*/ 63 w 70"/>
                  <a:gd name="T59" fmla="*/ 54 h 65"/>
                  <a:gd name="T60" fmla="*/ 70 w 70"/>
                  <a:gd name="T61" fmla="*/ 33 h 65"/>
                  <a:gd name="T62" fmla="*/ 70 w 70"/>
                  <a:gd name="T63" fmla="*/ 29 h 65"/>
                  <a:gd name="T64" fmla="*/ 70 w 70"/>
                  <a:gd name="T65" fmla="*/ 29 h 65"/>
                  <a:gd name="T66" fmla="*/ 70 w 70"/>
                  <a:gd name="T67" fmla="*/ 28 h 65"/>
                  <a:gd name="T68" fmla="*/ 49 w 70"/>
                  <a:gd name="T69" fmla="*/ 3 h 65"/>
                  <a:gd name="T70" fmla="*/ 49 w 70"/>
                  <a:gd name="T71" fmla="*/ 3 h 65"/>
                  <a:gd name="T72" fmla="*/ 47 w 70"/>
                  <a:gd name="T73" fmla="*/ 2 h 65"/>
                  <a:gd name="T74" fmla="*/ 46 w 70"/>
                  <a:gd name="T75" fmla="*/ 4 h 65"/>
                  <a:gd name="T76" fmla="*/ 30 w 70"/>
                  <a:gd name="T77" fmla="*/ 0 h 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70" h="65">
                    <a:moveTo>
                      <a:pt x="22" y="13"/>
                    </a:moveTo>
                    <a:cubicBezTo>
                      <a:pt x="18" y="13"/>
                      <a:pt x="15" y="14"/>
                      <a:pt x="11" y="16"/>
                    </a:cubicBezTo>
                    <a:cubicBezTo>
                      <a:pt x="7" y="18"/>
                      <a:pt x="4" y="21"/>
                      <a:pt x="2" y="24"/>
                    </a:cubicBezTo>
                    <a:cubicBezTo>
                      <a:pt x="1" y="26"/>
                      <a:pt x="1" y="29"/>
                      <a:pt x="1" y="31"/>
                    </a:cubicBezTo>
                    <a:cubicBezTo>
                      <a:pt x="1" y="33"/>
                      <a:pt x="0" y="35"/>
                      <a:pt x="0" y="36"/>
                    </a:cubicBezTo>
                    <a:cubicBezTo>
                      <a:pt x="0" y="51"/>
                      <a:pt x="10" y="60"/>
                      <a:pt x="23" y="63"/>
                    </a:cubicBezTo>
                    <a:cubicBezTo>
                      <a:pt x="23" y="63"/>
                      <a:pt x="23" y="63"/>
                      <a:pt x="23" y="63"/>
                    </a:cubicBezTo>
                    <a:cubicBezTo>
                      <a:pt x="23" y="63"/>
                      <a:pt x="23" y="63"/>
                      <a:pt x="23" y="63"/>
                    </a:cubicBezTo>
                    <a:cubicBezTo>
                      <a:pt x="27" y="64"/>
                      <a:pt x="32" y="65"/>
                      <a:pt x="37" y="65"/>
                    </a:cubicBezTo>
                    <a:cubicBezTo>
                      <a:pt x="37" y="65"/>
                      <a:pt x="37" y="65"/>
                      <a:pt x="37" y="65"/>
                    </a:cubicBezTo>
                    <a:cubicBezTo>
                      <a:pt x="37" y="65"/>
                      <a:pt x="37" y="65"/>
                      <a:pt x="37" y="65"/>
                    </a:cubicBezTo>
                    <a:cubicBezTo>
                      <a:pt x="37" y="65"/>
                      <a:pt x="37" y="65"/>
                      <a:pt x="37" y="65"/>
                    </a:cubicBezTo>
                    <a:cubicBezTo>
                      <a:pt x="38" y="65"/>
                      <a:pt x="39" y="65"/>
                      <a:pt x="41" y="65"/>
                    </a:cubicBezTo>
                    <a:cubicBezTo>
                      <a:pt x="41" y="65"/>
                      <a:pt x="41" y="65"/>
                      <a:pt x="41" y="65"/>
                    </a:cubicBezTo>
                    <a:cubicBezTo>
                      <a:pt x="41" y="65"/>
                      <a:pt x="41" y="65"/>
                      <a:pt x="41" y="65"/>
                    </a:cubicBezTo>
                    <a:cubicBezTo>
                      <a:pt x="42" y="65"/>
                      <a:pt x="42" y="65"/>
                      <a:pt x="42" y="65"/>
                    </a:cubicBezTo>
                    <a:cubicBezTo>
                      <a:pt x="44" y="64"/>
                      <a:pt x="46" y="64"/>
                      <a:pt x="48" y="63"/>
                    </a:cubicBezTo>
                    <a:cubicBezTo>
                      <a:pt x="50" y="62"/>
                      <a:pt x="52" y="60"/>
                      <a:pt x="53" y="58"/>
                    </a:cubicBezTo>
                    <a:cubicBezTo>
                      <a:pt x="64" y="43"/>
                      <a:pt x="57" y="26"/>
                      <a:pt x="45" y="16"/>
                    </a:cubicBezTo>
                    <a:cubicBezTo>
                      <a:pt x="44" y="18"/>
                      <a:pt x="43" y="19"/>
                      <a:pt x="42" y="19"/>
                    </a:cubicBezTo>
                    <a:cubicBezTo>
                      <a:pt x="41" y="19"/>
                      <a:pt x="41" y="19"/>
                      <a:pt x="40" y="18"/>
                    </a:cubicBezTo>
                    <a:cubicBezTo>
                      <a:pt x="34" y="16"/>
                      <a:pt x="28" y="13"/>
                      <a:pt x="22" y="13"/>
                    </a:cubicBezTo>
                    <a:moveTo>
                      <a:pt x="30" y="0"/>
                    </a:moveTo>
                    <a:cubicBezTo>
                      <a:pt x="26" y="0"/>
                      <a:pt x="22" y="1"/>
                      <a:pt x="18" y="2"/>
                    </a:cubicBezTo>
                    <a:cubicBezTo>
                      <a:pt x="16" y="3"/>
                      <a:pt x="15" y="4"/>
                      <a:pt x="13" y="6"/>
                    </a:cubicBezTo>
                    <a:cubicBezTo>
                      <a:pt x="16" y="5"/>
                      <a:pt x="19" y="5"/>
                      <a:pt x="21" y="5"/>
                    </a:cubicBezTo>
                    <a:cubicBezTo>
                      <a:pt x="27" y="5"/>
                      <a:pt x="33" y="6"/>
                      <a:pt x="38" y="9"/>
                    </a:cubicBezTo>
                    <a:cubicBezTo>
                      <a:pt x="38" y="9"/>
                      <a:pt x="38" y="9"/>
                      <a:pt x="38" y="9"/>
                    </a:cubicBezTo>
                    <a:cubicBezTo>
                      <a:pt x="38" y="9"/>
                      <a:pt x="39" y="9"/>
                      <a:pt x="39" y="9"/>
                    </a:cubicBezTo>
                    <a:cubicBezTo>
                      <a:pt x="58" y="16"/>
                      <a:pt x="70" y="34"/>
                      <a:pt x="63" y="54"/>
                    </a:cubicBezTo>
                    <a:cubicBezTo>
                      <a:pt x="68" y="48"/>
                      <a:pt x="70" y="42"/>
                      <a:pt x="70" y="33"/>
                    </a:cubicBezTo>
                    <a:cubicBezTo>
                      <a:pt x="70" y="32"/>
                      <a:pt x="70" y="30"/>
                      <a:pt x="70" y="29"/>
                    </a:cubicBezTo>
                    <a:cubicBezTo>
                      <a:pt x="70" y="29"/>
                      <a:pt x="70" y="29"/>
                      <a:pt x="70" y="29"/>
                    </a:cubicBezTo>
                    <a:cubicBezTo>
                      <a:pt x="70" y="29"/>
                      <a:pt x="70" y="28"/>
                      <a:pt x="70" y="28"/>
                    </a:cubicBezTo>
                    <a:cubicBezTo>
                      <a:pt x="70" y="18"/>
                      <a:pt x="60" y="8"/>
                      <a:pt x="49" y="3"/>
                    </a:cubicBezTo>
                    <a:cubicBezTo>
                      <a:pt x="49" y="3"/>
                      <a:pt x="49" y="3"/>
                      <a:pt x="49" y="3"/>
                    </a:cubicBezTo>
                    <a:cubicBezTo>
                      <a:pt x="49" y="2"/>
                      <a:pt x="48" y="2"/>
                      <a:pt x="47" y="2"/>
                    </a:cubicBezTo>
                    <a:cubicBezTo>
                      <a:pt x="46" y="4"/>
                      <a:pt x="46" y="4"/>
                      <a:pt x="46" y="4"/>
                    </a:cubicBezTo>
                    <a:cubicBezTo>
                      <a:pt x="41" y="1"/>
                      <a:pt x="35" y="0"/>
                      <a:pt x="30" y="0"/>
                    </a:cubicBezTo>
                  </a:path>
                </a:pathLst>
              </a:custGeom>
              <a:solidFill>
                <a:srgbClr val="6F686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144" name="Freeform 56">
                <a:extLst>
                  <a:ext uri="{FF2B5EF4-FFF2-40B4-BE49-F238E27FC236}">
                    <a16:creationId xmlns:a16="http://schemas.microsoft.com/office/drawing/2014/main" id="{B3B63094-290F-4D9C-A7B4-63DD63308BB1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2101" y="1919"/>
                <a:ext cx="74" cy="67"/>
              </a:xfrm>
              <a:custGeom>
                <a:avLst/>
                <a:gdLst>
                  <a:gd name="T0" fmla="*/ 30 w 70"/>
                  <a:gd name="T1" fmla="*/ 10 h 63"/>
                  <a:gd name="T2" fmla="*/ 29 w 70"/>
                  <a:gd name="T3" fmla="*/ 11 h 63"/>
                  <a:gd name="T4" fmla="*/ 1 w 70"/>
                  <a:gd name="T5" fmla="*/ 23 h 63"/>
                  <a:gd name="T6" fmla="*/ 0 w 70"/>
                  <a:gd name="T7" fmla="*/ 26 h 63"/>
                  <a:gd name="T8" fmla="*/ 2 w 70"/>
                  <a:gd name="T9" fmla="*/ 34 h 63"/>
                  <a:gd name="T10" fmla="*/ 31 w 70"/>
                  <a:gd name="T11" fmla="*/ 63 h 63"/>
                  <a:gd name="T12" fmla="*/ 36 w 70"/>
                  <a:gd name="T13" fmla="*/ 63 h 63"/>
                  <a:gd name="T14" fmla="*/ 48 w 70"/>
                  <a:gd name="T15" fmla="*/ 61 h 63"/>
                  <a:gd name="T16" fmla="*/ 58 w 70"/>
                  <a:gd name="T17" fmla="*/ 38 h 63"/>
                  <a:gd name="T18" fmla="*/ 53 w 70"/>
                  <a:gd name="T19" fmla="*/ 21 h 63"/>
                  <a:gd name="T20" fmla="*/ 31 w 70"/>
                  <a:gd name="T21" fmla="*/ 11 h 63"/>
                  <a:gd name="T22" fmla="*/ 30 w 70"/>
                  <a:gd name="T23" fmla="*/ 10 h 63"/>
                  <a:gd name="T24" fmla="*/ 36 w 70"/>
                  <a:gd name="T25" fmla="*/ 0 h 63"/>
                  <a:gd name="T26" fmla="*/ 11 w 70"/>
                  <a:gd name="T27" fmla="*/ 8 h 63"/>
                  <a:gd name="T28" fmla="*/ 26 w 70"/>
                  <a:gd name="T29" fmla="*/ 6 h 63"/>
                  <a:gd name="T30" fmla="*/ 28 w 70"/>
                  <a:gd name="T31" fmla="*/ 6 h 63"/>
                  <a:gd name="T32" fmla="*/ 30 w 70"/>
                  <a:gd name="T33" fmla="*/ 9 h 63"/>
                  <a:gd name="T34" fmla="*/ 32 w 70"/>
                  <a:gd name="T35" fmla="*/ 8 h 63"/>
                  <a:gd name="T36" fmla="*/ 32 w 70"/>
                  <a:gd name="T37" fmla="*/ 8 h 63"/>
                  <a:gd name="T38" fmla="*/ 58 w 70"/>
                  <a:gd name="T39" fmla="*/ 18 h 63"/>
                  <a:gd name="T40" fmla="*/ 64 w 70"/>
                  <a:gd name="T41" fmla="*/ 43 h 63"/>
                  <a:gd name="T42" fmla="*/ 62 w 70"/>
                  <a:gd name="T43" fmla="*/ 53 h 63"/>
                  <a:gd name="T44" fmla="*/ 70 w 70"/>
                  <a:gd name="T45" fmla="*/ 33 h 63"/>
                  <a:gd name="T46" fmla="*/ 70 w 70"/>
                  <a:gd name="T47" fmla="*/ 29 h 63"/>
                  <a:gd name="T48" fmla="*/ 57 w 70"/>
                  <a:gd name="T49" fmla="*/ 4 h 63"/>
                  <a:gd name="T50" fmla="*/ 40 w 70"/>
                  <a:gd name="T51" fmla="*/ 1 h 63"/>
                  <a:gd name="T52" fmla="*/ 36 w 70"/>
                  <a:gd name="T53" fmla="*/ 0 h 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70" h="63">
                    <a:moveTo>
                      <a:pt x="30" y="10"/>
                    </a:moveTo>
                    <a:cubicBezTo>
                      <a:pt x="30" y="10"/>
                      <a:pt x="29" y="11"/>
                      <a:pt x="29" y="11"/>
                    </a:cubicBezTo>
                    <a:cubicBezTo>
                      <a:pt x="20" y="15"/>
                      <a:pt x="7" y="16"/>
                      <a:pt x="1" y="23"/>
                    </a:cubicBezTo>
                    <a:cubicBezTo>
                      <a:pt x="0" y="24"/>
                      <a:pt x="0" y="25"/>
                      <a:pt x="0" y="26"/>
                    </a:cubicBezTo>
                    <a:cubicBezTo>
                      <a:pt x="0" y="29"/>
                      <a:pt x="1" y="31"/>
                      <a:pt x="2" y="34"/>
                    </a:cubicBezTo>
                    <a:cubicBezTo>
                      <a:pt x="6" y="46"/>
                      <a:pt x="19" y="60"/>
                      <a:pt x="31" y="63"/>
                    </a:cubicBezTo>
                    <a:cubicBezTo>
                      <a:pt x="33" y="63"/>
                      <a:pt x="35" y="63"/>
                      <a:pt x="36" y="63"/>
                    </a:cubicBezTo>
                    <a:cubicBezTo>
                      <a:pt x="41" y="63"/>
                      <a:pt x="45" y="63"/>
                      <a:pt x="48" y="61"/>
                    </a:cubicBezTo>
                    <a:cubicBezTo>
                      <a:pt x="55" y="56"/>
                      <a:pt x="58" y="48"/>
                      <a:pt x="58" y="38"/>
                    </a:cubicBezTo>
                    <a:cubicBezTo>
                      <a:pt x="57" y="33"/>
                      <a:pt x="56" y="25"/>
                      <a:pt x="53" y="21"/>
                    </a:cubicBezTo>
                    <a:cubicBezTo>
                      <a:pt x="48" y="14"/>
                      <a:pt x="39" y="14"/>
                      <a:pt x="31" y="11"/>
                    </a:cubicBezTo>
                    <a:cubicBezTo>
                      <a:pt x="31" y="11"/>
                      <a:pt x="30" y="10"/>
                      <a:pt x="30" y="10"/>
                    </a:cubicBezTo>
                    <a:moveTo>
                      <a:pt x="36" y="0"/>
                    </a:moveTo>
                    <a:cubicBezTo>
                      <a:pt x="28" y="1"/>
                      <a:pt x="19" y="4"/>
                      <a:pt x="11" y="8"/>
                    </a:cubicBezTo>
                    <a:cubicBezTo>
                      <a:pt x="16" y="7"/>
                      <a:pt x="22" y="6"/>
                      <a:pt x="26" y="6"/>
                    </a:cubicBezTo>
                    <a:cubicBezTo>
                      <a:pt x="27" y="6"/>
                      <a:pt x="27" y="6"/>
                      <a:pt x="28" y="6"/>
                    </a:cubicBezTo>
                    <a:cubicBezTo>
                      <a:pt x="29" y="6"/>
                      <a:pt x="30" y="7"/>
                      <a:pt x="30" y="9"/>
                    </a:cubicBezTo>
                    <a:cubicBezTo>
                      <a:pt x="31" y="8"/>
                      <a:pt x="31" y="8"/>
                      <a:pt x="32" y="8"/>
                    </a:cubicBezTo>
                    <a:cubicBezTo>
                      <a:pt x="32" y="8"/>
                      <a:pt x="32" y="8"/>
                      <a:pt x="32" y="8"/>
                    </a:cubicBezTo>
                    <a:cubicBezTo>
                      <a:pt x="43" y="11"/>
                      <a:pt x="52" y="8"/>
                      <a:pt x="58" y="18"/>
                    </a:cubicBezTo>
                    <a:cubicBezTo>
                      <a:pt x="63" y="25"/>
                      <a:pt x="64" y="35"/>
                      <a:pt x="64" y="43"/>
                    </a:cubicBezTo>
                    <a:cubicBezTo>
                      <a:pt x="64" y="47"/>
                      <a:pt x="63" y="50"/>
                      <a:pt x="62" y="53"/>
                    </a:cubicBezTo>
                    <a:cubicBezTo>
                      <a:pt x="67" y="47"/>
                      <a:pt x="70" y="41"/>
                      <a:pt x="70" y="33"/>
                    </a:cubicBezTo>
                    <a:cubicBezTo>
                      <a:pt x="70" y="31"/>
                      <a:pt x="70" y="30"/>
                      <a:pt x="70" y="29"/>
                    </a:cubicBezTo>
                    <a:cubicBezTo>
                      <a:pt x="69" y="22"/>
                      <a:pt x="66" y="6"/>
                      <a:pt x="57" y="4"/>
                    </a:cubicBezTo>
                    <a:cubicBezTo>
                      <a:pt x="51" y="1"/>
                      <a:pt x="46" y="4"/>
                      <a:pt x="40" y="1"/>
                    </a:cubicBezTo>
                    <a:cubicBezTo>
                      <a:pt x="36" y="0"/>
                      <a:pt x="36" y="0"/>
                      <a:pt x="36" y="0"/>
                    </a:cubicBezTo>
                  </a:path>
                </a:pathLst>
              </a:custGeom>
              <a:solidFill>
                <a:srgbClr val="6F686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145" name="Freeform 57">
                <a:extLst>
                  <a:ext uri="{FF2B5EF4-FFF2-40B4-BE49-F238E27FC236}">
                    <a16:creationId xmlns:a16="http://schemas.microsoft.com/office/drawing/2014/main" id="{E1F336A9-CF35-4D3B-9B9B-3B021E66BCA8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2210" y="1860"/>
                <a:ext cx="74" cy="67"/>
              </a:xfrm>
              <a:custGeom>
                <a:avLst/>
                <a:gdLst>
                  <a:gd name="T0" fmla="*/ 29 w 70"/>
                  <a:gd name="T1" fmla="*/ 3 h 63"/>
                  <a:gd name="T2" fmla="*/ 7 w 70"/>
                  <a:gd name="T3" fmla="*/ 11 h 63"/>
                  <a:gd name="T4" fmla="*/ 24 w 70"/>
                  <a:gd name="T5" fmla="*/ 8 h 63"/>
                  <a:gd name="T6" fmla="*/ 29 w 70"/>
                  <a:gd name="T7" fmla="*/ 8 h 63"/>
                  <a:gd name="T8" fmla="*/ 30 w 70"/>
                  <a:gd name="T9" fmla="*/ 7 h 63"/>
                  <a:gd name="T10" fmla="*/ 30 w 70"/>
                  <a:gd name="T11" fmla="*/ 7 h 63"/>
                  <a:gd name="T12" fmla="*/ 29 w 70"/>
                  <a:gd name="T13" fmla="*/ 3 h 63"/>
                  <a:gd name="T14" fmla="*/ 40 w 70"/>
                  <a:gd name="T15" fmla="*/ 0 h 63"/>
                  <a:gd name="T16" fmla="*/ 37 w 70"/>
                  <a:gd name="T17" fmla="*/ 3 h 63"/>
                  <a:gd name="T18" fmla="*/ 37 w 70"/>
                  <a:gd name="T19" fmla="*/ 3 h 63"/>
                  <a:gd name="T20" fmla="*/ 33 w 70"/>
                  <a:gd name="T21" fmla="*/ 3 h 63"/>
                  <a:gd name="T22" fmla="*/ 33 w 70"/>
                  <a:gd name="T23" fmla="*/ 8 h 63"/>
                  <a:gd name="T24" fmla="*/ 32 w 70"/>
                  <a:gd name="T25" fmla="*/ 10 h 63"/>
                  <a:gd name="T26" fmla="*/ 29 w 70"/>
                  <a:gd name="T27" fmla="*/ 16 h 63"/>
                  <a:gd name="T28" fmla="*/ 0 w 70"/>
                  <a:gd name="T29" fmla="*/ 23 h 63"/>
                  <a:gd name="T30" fmla="*/ 0 w 70"/>
                  <a:gd name="T31" fmla="*/ 27 h 63"/>
                  <a:gd name="T32" fmla="*/ 3 w 70"/>
                  <a:gd name="T33" fmla="*/ 40 h 63"/>
                  <a:gd name="T34" fmla="*/ 25 w 70"/>
                  <a:gd name="T35" fmla="*/ 61 h 63"/>
                  <a:gd name="T36" fmla="*/ 25 w 70"/>
                  <a:gd name="T37" fmla="*/ 61 h 63"/>
                  <a:gd name="T38" fmla="*/ 36 w 70"/>
                  <a:gd name="T39" fmla="*/ 63 h 63"/>
                  <a:gd name="T40" fmla="*/ 46 w 70"/>
                  <a:gd name="T41" fmla="*/ 61 h 63"/>
                  <a:gd name="T42" fmla="*/ 55 w 70"/>
                  <a:gd name="T43" fmla="*/ 49 h 63"/>
                  <a:gd name="T44" fmla="*/ 39 w 70"/>
                  <a:gd name="T45" fmla="*/ 13 h 63"/>
                  <a:gd name="T46" fmla="*/ 40 w 70"/>
                  <a:gd name="T47" fmla="*/ 11 h 63"/>
                  <a:gd name="T48" fmla="*/ 40 w 70"/>
                  <a:gd name="T49" fmla="*/ 11 h 63"/>
                  <a:gd name="T50" fmla="*/ 62 w 70"/>
                  <a:gd name="T51" fmla="*/ 49 h 63"/>
                  <a:gd name="T52" fmla="*/ 70 w 70"/>
                  <a:gd name="T53" fmla="*/ 28 h 63"/>
                  <a:gd name="T54" fmla="*/ 69 w 70"/>
                  <a:gd name="T55" fmla="*/ 21 h 63"/>
                  <a:gd name="T56" fmla="*/ 48 w 70"/>
                  <a:gd name="T57" fmla="*/ 4 h 63"/>
                  <a:gd name="T58" fmla="*/ 40 w 70"/>
                  <a:gd name="T59" fmla="*/ 0 h 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70" h="63">
                    <a:moveTo>
                      <a:pt x="29" y="3"/>
                    </a:moveTo>
                    <a:cubicBezTo>
                      <a:pt x="21" y="4"/>
                      <a:pt x="14" y="5"/>
                      <a:pt x="7" y="11"/>
                    </a:cubicBezTo>
                    <a:cubicBezTo>
                      <a:pt x="13" y="9"/>
                      <a:pt x="19" y="8"/>
                      <a:pt x="24" y="8"/>
                    </a:cubicBezTo>
                    <a:cubicBezTo>
                      <a:pt x="26" y="8"/>
                      <a:pt x="27" y="8"/>
                      <a:pt x="29" y="8"/>
                    </a:cubicBezTo>
                    <a:cubicBezTo>
                      <a:pt x="28" y="8"/>
                      <a:pt x="29" y="7"/>
                      <a:pt x="30" y="7"/>
                    </a:cubicBezTo>
                    <a:cubicBezTo>
                      <a:pt x="30" y="7"/>
                      <a:pt x="30" y="7"/>
                      <a:pt x="30" y="7"/>
                    </a:cubicBezTo>
                    <a:cubicBezTo>
                      <a:pt x="29" y="6"/>
                      <a:pt x="29" y="5"/>
                      <a:pt x="29" y="3"/>
                    </a:cubicBezTo>
                    <a:moveTo>
                      <a:pt x="40" y="0"/>
                    </a:moveTo>
                    <a:cubicBezTo>
                      <a:pt x="37" y="3"/>
                      <a:pt x="37" y="3"/>
                      <a:pt x="37" y="3"/>
                    </a:cubicBezTo>
                    <a:cubicBezTo>
                      <a:pt x="37" y="3"/>
                      <a:pt x="37" y="3"/>
                      <a:pt x="37" y="3"/>
                    </a:cubicBezTo>
                    <a:cubicBezTo>
                      <a:pt x="36" y="3"/>
                      <a:pt x="35" y="3"/>
                      <a:pt x="33" y="3"/>
                    </a:cubicBezTo>
                    <a:cubicBezTo>
                      <a:pt x="34" y="5"/>
                      <a:pt x="34" y="7"/>
                      <a:pt x="33" y="8"/>
                    </a:cubicBezTo>
                    <a:cubicBezTo>
                      <a:pt x="33" y="9"/>
                      <a:pt x="33" y="10"/>
                      <a:pt x="32" y="10"/>
                    </a:cubicBezTo>
                    <a:cubicBezTo>
                      <a:pt x="33" y="12"/>
                      <a:pt x="32" y="16"/>
                      <a:pt x="29" y="16"/>
                    </a:cubicBezTo>
                    <a:cubicBezTo>
                      <a:pt x="20" y="16"/>
                      <a:pt x="7" y="17"/>
                      <a:pt x="0" y="23"/>
                    </a:cubicBezTo>
                    <a:cubicBezTo>
                      <a:pt x="0" y="24"/>
                      <a:pt x="0" y="26"/>
                      <a:pt x="0" y="27"/>
                    </a:cubicBezTo>
                    <a:cubicBezTo>
                      <a:pt x="0" y="31"/>
                      <a:pt x="1" y="35"/>
                      <a:pt x="3" y="40"/>
                    </a:cubicBezTo>
                    <a:cubicBezTo>
                      <a:pt x="7" y="49"/>
                      <a:pt x="15" y="57"/>
                      <a:pt x="25" y="61"/>
                    </a:cubicBezTo>
                    <a:cubicBezTo>
                      <a:pt x="25" y="61"/>
                      <a:pt x="25" y="61"/>
                      <a:pt x="25" y="61"/>
                    </a:cubicBezTo>
                    <a:cubicBezTo>
                      <a:pt x="28" y="62"/>
                      <a:pt x="32" y="63"/>
                      <a:pt x="36" y="63"/>
                    </a:cubicBezTo>
                    <a:cubicBezTo>
                      <a:pt x="39" y="63"/>
                      <a:pt x="43" y="62"/>
                      <a:pt x="46" y="61"/>
                    </a:cubicBezTo>
                    <a:cubicBezTo>
                      <a:pt x="50" y="58"/>
                      <a:pt x="53" y="54"/>
                      <a:pt x="55" y="49"/>
                    </a:cubicBezTo>
                    <a:cubicBezTo>
                      <a:pt x="64" y="32"/>
                      <a:pt x="50" y="23"/>
                      <a:pt x="39" y="13"/>
                    </a:cubicBezTo>
                    <a:cubicBezTo>
                      <a:pt x="38" y="12"/>
                      <a:pt x="39" y="11"/>
                      <a:pt x="40" y="11"/>
                    </a:cubicBezTo>
                    <a:cubicBezTo>
                      <a:pt x="40" y="11"/>
                      <a:pt x="40" y="11"/>
                      <a:pt x="40" y="11"/>
                    </a:cubicBezTo>
                    <a:cubicBezTo>
                      <a:pt x="55" y="21"/>
                      <a:pt x="70" y="29"/>
                      <a:pt x="62" y="49"/>
                    </a:cubicBezTo>
                    <a:cubicBezTo>
                      <a:pt x="67" y="43"/>
                      <a:pt x="70" y="35"/>
                      <a:pt x="70" y="28"/>
                    </a:cubicBezTo>
                    <a:cubicBezTo>
                      <a:pt x="70" y="26"/>
                      <a:pt x="70" y="23"/>
                      <a:pt x="69" y="21"/>
                    </a:cubicBezTo>
                    <a:cubicBezTo>
                      <a:pt x="64" y="14"/>
                      <a:pt x="56" y="10"/>
                      <a:pt x="48" y="4"/>
                    </a:cubicBezTo>
                    <a:cubicBezTo>
                      <a:pt x="40" y="0"/>
                      <a:pt x="40" y="0"/>
                      <a:pt x="40" y="0"/>
                    </a:cubicBezTo>
                  </a:path>
                </a:pathLst>
              </a:custGeom>
              <a:solidFill>
                <a:srgbClr val="6F686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146" name="Freeform 58">
                <a:extLst>
                  <a:ext uri="{FF2B5EF4-FFF2-40B4-BE49-F238E27FC236}">
                    <a16:creationId xmlns:a16="http://schemas.microsoft.com/office/drawing/2014/main" id="{D4ADFD16-E54F-461C-88A9-CCCA8B172B7B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2142" y="1779"/>
                <a:ext cx="79" cy="75"/>
              </a:xfrm>
              <a:custGeom>
                <a:avLst/>
                <a:gdLst>
                  <a:gd name="T0" fmla="*/ 35 w 74"/>
                  <a:gd name="T1" fmla="*/ 10 h 70"/>
                  <a:gd name="T2" fmla="*/ 32 w 74"/>
                  <a:gd name="T3" fmla="*/ 14 h 70"/>
                  <a:gd name="T4" fmla="*/ 1 w 74"/>
                  <a:gd name="T5" fmla="*/ 28 h 70"/>
                  <a:gd name="T6" fmla="*/ 0 w 74"/>
                  <a:gd name="T7" fmla="*/ 39 h 70"/>
                  <a:gd name="T8" fmla="*/ 0 w 74"/>
                  <a:gd name="T9" fmla="*/ 40 h 70"/>
                  <a:gd name="T10" fmla="*/ 39 w 74"/>
                  <a:gd name="T11" fmla="*/ 70 h 70"/>
                  <a:gd name="T12" fmla="*/ 39 w 74"/>
                  <a:gd name="T13" fmla="*/ 70 h 70"/>
                  <a:gd name="T14" fmla="*/ 39 w 74"/>
                  <a:gd name="T15" fmla="*/ 70 h 70"/>
                  <a:gd name="T16" fmla="*/ 39 w 74"/>
                  <a:gd name="T17" fmla="*/ 70 h 70"/>
                  <a:gd name="T18" fmla="*/ 48 w 74"/>
                  <a:gd name="T19" fmla="*/ 69 h 70"/>
                  <a:gd name="T20" fmla="*/ 60 w 74"/>
                  <a:gd name="T21" fmla="*/ 51 h 70"/>
                  <a:gd name="T22" fmla="*/ 59 w 74"/>
                  <a:gd name="T23" fmla="*/ 27 h 70"/>
                  <a:gd name="T24" fmla="*/ 35 w 74"/>
                  <a:gd name="T25" fmla="*/ 10 h 70"/>
                  <a:gd name="T26" fmla="*/ 39 w 74"/>
                  <a:gd name="T27" fmla="*/ 0 h 70"/>
                  <a:gd name="T28" fmla="*/ 39 w 74"/>
                  <a:gd name="T29" fmla="*/ 2 h 70"/>
                  <a:gd name="T30" fmla="*/ 35 w 74"/>
                  <a:gd name="T31" fmla="*/ 2 h 70"/>
                  <a:gd name="T32" fmla="*/ 17 w 74"/>
                  <a:gd name="T33" fmla="*/ 8 h 70"/>
                  <a:gd name="T34" fmla="*/ 25 w 74"/>
                  <a:gd name="T35" fmla="*/ 7 h 70"/>
                  <a:gd name="T36" fmla="*/ 30 w 74"/>
                  <a:gd name="T37" fmla="*/ 7 h 70"/>
                  <a:gd name="T38" fmla="*/ 30 w 74"/>
                  <a:gd name="T39" fmla="*/ 7 h 70"/>
                  <a:gd name="T40" fmla="*/ 32 w 74"/>
                  <a:gd name="T41" fmla="*/ 7 h 70"/>
                  <a:gd name="T42" fmla="*/ 61 w 74"/>
                  <a:gd name="T43" fmla="*/ 20 h 70"/>
                  <a:gd name="T44" fmla="*/ 67 w 74"/>
                  <a:gd name="T45" fmla="*/ 49 h 70"/>
                  <a:gd name="T46" fmla="*/ 65 w 74"/>
                  <a:gd name="T47" fmla="*/ 57 h 70"/>
                  <a:gd name="T48" fmla="*/ 72 w 74"/>
                  <a:gd name="T49" fmla="*/ 42 h 70"/>
                  <a:gd name="T50" fmla="*/ 72 w 74"/>
                  <a:gd name="T51" fmla="*/ 42 h 70"/>
                  <a:gd name="T52" fmla="*/ 74 w 74"/>
                  <a:gd name="T53" fmla="*/ 31 h 70"/>
                  <a:gd name="T54" fmla="*/ 71 w 74"/>
                  <a:gd name="T55" fmla="*/ 18 h 70"/>
                  <a:gd name="T56" fmla="*/ 52 w 74"/>
                  <a:gd name="T57" fmla="*/ 0 h 70"/>
                  <a:gd name="T58" fmla="*/ 48 w 74"/>
                  <a:gd name="T59" fmla="*/ 0 h 70"/>
                  <a:gd name="T60" fmla="*/ 46 w 74"/>
                  <a:gd name="T61" fmla="*/ 0 h 70"/>
                  <a:gd name="T62" fmla="*/ 43 w 74"/>
                  <a:gd name="T63" fmla="*/ 0 h 70"/>
                  <a:gd name="T64" fmla="*/ 39 w 74"/>
                  <a:gd name="T65" fmla="*/ 0 h 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74" h="70">
                    <a:moveTo>
                      <a:pt x="35" y="10"/>
                    </a:moveTo>
                    <a:cubicBezTo>
                      <a:pt x="35" y="12"/>
                      <a:pt x="34" y="14"/>
                      <a:pt x="32" y="14"/>
                    </a:cubicBezTo>
                    <a:cubicBezTo>
                      <a:pt x="20" y="14"/>
                      <a:pt x="8" y="19"/>
                      <a:pt x="1" y="28"/>
                    </a:cubicBezTo>
                    <a:cubicBezTo>
                      <a:pt x="0" y="32"/>
                      <a:pt x="0" y="36"/>
                      <a:pt x="0" y="39"/>
                    </a:cubicBezTo>
                    <a:cubicBezTo>
                      <a:pt x="0" y="40"/>
                      <a:pt x="0" y="40"/>
                      <a:pt x="0" y="40"/>
                    </a:cubicBezTo>
                    <a:cubicBezTo>
                      <a:pt x="3" y="58"/>
                      <a:pt x="22" y="70"/>
                      <a:pt x="39" y="70"/>
                    </a:cubicBezTo>
                    <a:cubicBezTo>
                      <a:pt x="39" y="70"/>
                      <a:pt x="39" y="70"/>
                      <a:pt x="39" y="70"/>
                    </a:cubicBezTo>
                    <a:cubicBezTo>
                      <a:pt x="39" y="70"/>
                      <a:pt x="39" y="70"/>
                      <a:pt x="39" y="70"/>
                    </a:cubicBezTo>
                    <a:cubicBezTo>
                      <a:pt x="39" y="70"/>
                      <a:pt x="39" y="70"/>
                      <a:pt x="39" y="70"/>
                    </a:cubicBezTo>
                    <a:cubicBezTo>
                      <a:pt x="43" y="70"/>
                      <a:pt x="46" y="69"/>
                      <a:pt x="48" y="69"/>
                    </a:cubicBezTo>
                    <a:cubicBezTo>
                      <a:pt x="54" y="65"/>
                      <a:pt x="58" y="59"/>
                      <a:pt x="60" y="51"/>
                    </a:cubicBezTo>
                    <a:cubicBezTo>
                      <a:pt x="62" y="44"/>
                      <a:pt x="63" y="35"/>
                      <a:pt x="59" y="27"/>
                    </a:cubicBezTo>
                    <a:cubicBezTo>
                      <a:pt x="54" y="16"/>
                      <a:pt x="46" y="12"/>
                      <a:pt x="35" y="10"/>
                    </a:cubicBezTo>
                    <a:moveTo>
                      <a:pt x="39" y="0"/>
                    </a:moveTo>
                    <a:cubicBezTo>
                      <a:pt x="39" y="2"/>
                      <a:pt x="39" y="2"/>
                      <a:pt x="39" y="2"/>
                    </a:cubicBezTo>
                    <a:cubicBezTo>
                      <a:pt x="38" y="2"/>
                      <a:pt x="36" y="2"/>
                      <a:pt x="35" y="2"/>
                    </a:cubicBezTo>
                    <a:cubicBezTo>
                      <a:pt x="29" y="2"/>
                      <a:pt x="22" y="4"/>
                      <a:pt x="17" y="8"/>
                    </a:cubicBezTo>
                    <a:cubicBezTo>
                      <a:pt x="19" y="7"/>
                      <a:pt x="22" y="7"/>
                      <a:pt x="25" y="7"/>
                    </a:cubicBezTo>
                    <a:cubicBezTo>
                      <a:pt x="26" y="7"/>
                      <a:pt x="28" y="7"/>
                      <a:pt x="30" y="7"/>
                    </a:cubicBezTo>
                    <a:cubicBezTo>
                      <a:pt x="30" y="7"/>
                      <a:pt x="30" y="7"/>
                      <a:pt x="30" y="7"/>
                    </a:cubicBezTo>
                    <a:cubicBezTo>
                      <a:pt x="31" y="7"/>
                      <a:pt x="32" y="7"/>
                      <a:pt x="32" y="7"/>
                    </a:cubicBezTo>
                    <a:cubicBezTo>
                      <a:pt x="46" y="7"/>
                      <a:pt x="52" y="8"/>
                      <a:pt x="61" y="20"/>
                    </a:cubicBezTo>
                    <a:cubicBezTo>
                      <a:pt x="67" y="28"/>
                      <a:pt x="69" y="38"/>
                      <a:pt x="67" y="49"/>
                    </a:cubicBezTo>
                    <a:cubicBezTo>
                      <a:pt x="67" y="52"/>
                      <a:pt x="66" y="55"/>
                      <a:pt x="65" y="57"/>
                    </a:cubicBezTo>
                    <a:cubicBezTo>
                      <a:pt x="68" y="53"/>
                      <a:pt x="71" y="47"/>
                      <a:pt x="72" y="42"/>
                    </a:cubicBezTo>
                    <a:cubicBezTo>
                      <a:pt x="72" y="42"/>
                      <a:pt x="72" y="42"/>
                      <a:pt x="72" y="42"/>
                    </a:cubicBezTo>
                    <a:cubicBezTo>
                      <a:pt x="73" y="38"/>
                      <a:pt x="74" y="35"/>
                      <a:pt x="74" y="31"/>
                    </a:cubicBezTo>
                    <a:cubicBezTo>
                      <a:pt x="74" y="26"/>
                      <a:pt x="73" y="21"/>
                      <a:pt x="71" y="18"/>
                    </a:cubicBezTo>
                    <a:cubicBezTo>
                      <a:pt x="66" y="10"/>
                      <a:pt x="61" y="2"/>
                      <a:pt x="52" y="0"/>
                    </a:cubicBezTo>
                    <a:cubicBezTo>
                      <a:pt x="51" y="0"/>
                      <a:pt x="49" y="0"/>
                      <a:pt x="48" y="0"/>
                    </a:cubicBezTo>
                    <a:cubicBezTo>
                      <a:pt x="47" y="0"/>
                      <a:pt x="46" y="0"/>
                      <a:pt x="46" y="0"/>
                    </a:cubicBezTo>
                    <a:cubicBezTo>
                      <a:pt x="45" y="0"/>
                      <a:pt x="44" y="0"/>
                      <a:pt x="43" y="0"/>
                    </a:cubicBezTo>
                    <a:cubicBezTo>
                      <a:pt x="42" y="0"/>
                      <a:pt x="40" y="0"/>
                      <a:pt x="39" y="0"/>
                    </a:cubicBezTo>
                  </a:path>
                </a:pathLst>
              </a:custGeom>
              <a:solidFill>
                <a:srgbClr val="6F686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147" name="Freeform 59">
                <a:extLst>
                  <a:ext uri="{FF2B5EF4-FFF2-40B4-BE49-F238E27FC236}">
                    <a16:creationId xmlns:a16="http://schemas.microsoft.com/office/drawing/2014/main" id="{D0ED0A08-29DC-4347-B735-78611B0853B7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2421" y="2143"/>
                <a:ext cx="66" cy="62"/>
              </a:xfrm>
              <a:custGeom>
                <a:avLst/>
                <a:gdLst>
                  <a:gd name="T0" fmla="*/ 20 w 62"/>
                  <a:gd name="T1" fmla="*/ 11 h 59"/>
                  <a:gd name="T2" fmla="*/ 18 w 62"/>
                  <a:gd name="T3" fmla="*/ 14 h 59"/>
                  <a:gd name="T4" fmla="*/ 2 w 62"/>
                  <a:gd name="T5" fmla="*/ 22 h 59"/>
                  <a:gd name="T6" fmla="*/ 0 w 62"/>
                  <a:gd name="T7" fmla="*/ 33 h 59"/>
                  <a:gd name="T8" fmla="*/ 5 w 62"/>
                  <a:gd name="T9" fmla="*/ 47 h 59"/>
                  <a:gd name="T10" fmla="*/ 34 w 62"/>
                  <a:gd name="T11" fmla="*/ 59 h 59"/>
                  <a:gd name="T12" fmla="*/ 45 w 62"/>
                  <a:gd name="T13" fmla="*/ 58 h 59"/>
                  <a:gd name="T14" fmla="*/ 47 w 62"/>
                  <a:gd name="T15" fmla="*/ 25 h 59"/>
                  <a:gd name="T16" fmla="*/ 20 w 62"/>
                  <a:gd name="T17" fmla="*/ 11 h 59"/>
                  <a:gd name="T18" fmla="*/ 26 w 62"/>
                  <a:gd name="T19" fmla="*/ 0 h 59"/>
                  <a:gd name="T20" fmla="*/ 26 w 62"/>
                  <a:gd name="T21" fmla="*/ 2 h 59"/>
                  <a:gd name="T22" fmla="*/ 12 w 62"/>
                  <a:gd name="T23" fmla="*/ 7 h 59"/>
                  <a:gd name="T24" fmla="*/ 21 w 62"/>
                  <a:gd name="T25" fmla="*/ 6 h 59"/>
                  <a:gd name="T26" fmla="*/ 54 w 62"/>
                  <a:gd name="T27" fmla="*/ 30 h 59"/>
                  <a:gd name="T28" fmla="*/ 54 w 62"/>
                  <a:gd name="T29" fmla="*/ 53 h 59"/>
                  <a:gd name="T30" fmla="*/ 62 w 62"/>
                  <a:gd name="T31" fmla="*/ 33 h 59"/>
                  <a:gd name="T32" fmla="*/ 49 w 62"/>
                  <a:gd name="T33" fmla="*/ 5 h 59"/>
                  <a:gd name="T34" fmla="*/ 26 w 62"/>
                  <a:gd name="T35" fmla="*/ 0 h 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62" h="59">
                    <a:moveTo>
                      <a:pt x="20" y="11"/>
                    </a:moveTo>
                    <a:cubicBezTo>
                      <a:pt x="20" y="12"/>
                      <a:pt x="20" y="13"/>
                      <a:pt x="18" y="14"/>
                    </a:cubicBezTo>
                    <a:cubicBezTo>
                      <a:pt x="13" y="16"/>
                      <a:pt x="6" y="18"/>
                      <a:pt x="2" y="22"/>
                    </a:cubicBezTo>
                    <a:cubicBezTo>
                      <a:pt x="1" y="25"/>
                      <a:pt x="0" y="29"/>
                      <a:pt x="0" y="33"/>
                    </a:cubicBezTo>
                    <a:cubicBezTo>
                      <a:pt x="0" y="37"/>
                      <a:pt x="1" y="42"/>
                      <a:pt x="5" y="47"/>
                    </a:cubicBezTo>
                    <a:cubicBezTo>
                      <a:pt x="12" y="55"/>
                      <a:pt x="23" y="59"/>
                      <a:pt x="34" y="59"/>
                    </a:cubicBezTo>
                    <a:cubicBezTo>
                      <a:pt x="38" y="59"/>
                      <a:pt x="42" y="59"/>
                      <a:pt x="45" y="58"/>
                    </a:cubicBezTo>
                    <a:cubicBezTo>
                      <a:pt x="52" y="49"/>
                      <a:pt x="51" y="35"/>
                      <a:pt x="47" y="25"/>
                    </a:cubicBezTo>
                    <a:cubicBezTo>
                      <a:pt x="42" y="16"/>
                      <a:pt x="31" y="12"/>
                      <a:pt x="20" y="11"/>
                    </a:cubicBezTo>
                    <a:moveTo>
                      <a:pt x="26" y="0"/>
                    </a:moveTo>
                    <a:cubicBezTo>
                      <a:pt x="26" y="2"/>
                      <a:pt x="26" y="2"/>
                      <a:pt x="26" y="2"/>
                    </a:cubicBezTo>
                    <a:cubicBezTo>
                      <a:pt x="20" y="3"/>
                      <a:pt x="16" y="5"/>
                      <a:pt x="12" y="7"/>
                    </a:cubicBezTo>
                    <a:cubicBezTo>
                      <a:pt x="15" y="7"/>
                      <a:pt x="18" y="6"/>
                      <a:pt x="21" y="6"/>
                    </a:cubicBezTo>
                    <a:cubicBezTo>
                      <a:pt x="36" y="6"/>
                      <a:pt x="49" y="14"/>
                      <a:pt x="54" y="30"/>
                    </a:cubicBezTo>
                    <a:cubicBezTo>
                      <a:pt x="56" y="38"/>
                      <a:pt x="56" y="46"/>
                      <a:pt x="54" y="53"/>
                    </a:cubicBezTo>
                    <a:cubicBezTo>
                      <a:pt x="59" y="49"/>
                      <a:pt x="62" y="41"/>
                      <a:pt x="62" y="33"/>
                    </a:cubicBezTo>
                    <a:cubicBezTo>
                      <a:pt x="62" y="22"/>
                      <a:pt x="57" y="11"/>
                      <a:pt x="49" y="5"/>
                    </a:cubicBezTo>
                    <a:cubicBezTo>
                      <a:pt x="43" y="3"/>
                      <a:pt x="34" y="0"/>
                      <a:pt x="26" y="0"/>
                    </a:cubicBezTo>
                  </a:path>
                </a:pathLst>
              </a:custGeom>
              <a:solidFill>
                <a:srgbClr val="EF827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148" name="Freeform 60">
                <a:extLst>
                  <a:ext uri="{FF2B5EF4-FFF2-40B4-BE49-F238E27FC236}">
                    <a16:creationId xmlns:a16="http://schemas.microsoft.com/office/drawing/2014/main" id="{41BB8E7E-823E-49F1-A758-564EC7231B1B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2544" y="2053"/>
                <a:ext cx="149" cy="138"/>
              </a:xfrm>
              <a:custGeom>
                <a:avLst/>
                <a:gdLst>
                  <a:gd name="T0" fmla="*/ 141 w 141"/>
                  <a:gd name="T1" fmla="*/ 81 h 131"/>
                  <a:gd name="T2" fmla="*/ 134 w 141"/>
                  <a:gd name="T3" fmla="*/ 90 h 131"/>
                  <a:gd name="T4" fmla="*/ 128 w 141"/>
                  <a:gd name="T5" fmla="*/ 108 h 131"/>
                  <a:gd name="T6" fmla="*/ 141 w 141"/>
                  <a:gd name="T7" fmla="*/ 81 h 131"/>
                  <a:gd name="T8" fmla="*/ 19 w 141"/>
                  <a:gd name="T9" fmla="*/ 11 h 131"/>
                  <a:gd name="T10" fmla="*/ 10 w 141"/>
                  <a:gd name="T11" fmla="*/ 15 h 131"/>
                  <a:gd name="T12" fmla="*/ 2 w 141"/>
                  <a:gd name="T13" fmla="*/ 39 h 131"/>
                  <a:gd name="T14" fmla="*/ 0 w 141"/>
                  <a:gd name="T15" fmla="*/ 53 h 131"/>
                  <a:gd name="T16" fmla="*/ 8 w 141"/>
                  <a:gd name="T17" fmla="*/ 80 h 131"/>
                  <a:gd name="T18" fmla="*/ 42 w 141"/>
                  <a:gd name="T19" fmla="*/ 118 h 131"/>
                  <a:gd name="T20" fmla="*/ 82 w 141"/>
                  <a:gd name="T21" fmla="*/ 131 h 131"/>
                  <a:gd name="T22" fmla="*/ 103 w 141"/>
                  <a:gd name="T23" fmla="*/ 127 h 131"/>
                  <a:gd name="T24" fmla="*/ 127 w 141"/>
                  <a:gd name="T25" fmla="*/ 97 h 131"/>
                  <a:gd name="T26" fmla="*/ 80 w 141"/>
                  <a:gd name="T27" fmla="*/ 116 h 131"/>
                  <a:gd name="T28" fmla="*/ 76 w 141"/>
                  <a:gd name="T29" fmla="*/ 116 h 131"/>
                  <a:gd name="T30" fmla="*/ 11 w 141"/>
                  <a:gd name="T31" fmla="*/ 51 h 131"/>
                  <a:gd name="T32" fmla="*/ 19 w 141"/>
                  <a:gd name="T33" fmla="*/ 11 h 131"/>
                  <a:gd name="T34" fmla="*/ 30 w 141"/>
                  <a:gd name="T35" fmla="*/ 8 h 131"/>
                  <a:gd name="T36" fmla="*/ 19 w 141"/>
                  <a:gd name="T37" fmla="*/ 45 h 131"/>
                  <a:gd name="T38" fmla="*/ 71 w 141"/>
                  <a:gd name="T39" fmla="*/ 109 h 131"/>
                  <a:gd name="T40" fmla="*/ 81 w 141"/>
                  <a:gd name="T41" fmla="*/ 110 h 131"/>
                  <a:gd name="T42" fmla="*/ 116 w 141"/>
                  <a:gd name="T43" fmla="*/ 98 h 131"/>
                  <a:gd name="T44" fmla="*/ 96 w 141"/>
                  <a:gd name="T45" fmla="*/ 104 h 131"/>
                  <a:gd name="T46" fmla="*/ 96 w 141"/>
                  <a:gd name="T47" fmla="*/ 104 h 131"/>
                  <a:gd name="T48" fmla="*/ 89 w 141"/>
                  <a:gd name="T49" fmla="*/ 104 h 131"/>
                  <a:gd name="T50" fmla="*/ 89 w 141"/>
                  <a:gd name="T51" fmla="*/ 104 h 131"/>
                  <a:gd name="T52" fmla="*/ 89 w 141"/>
                  <a:gd name="T53" fmla="*/ 104 h 131"/>
                  <a:gd name="T54" fmla="*/ 89 w 141"/>
                  <a:gd name="T55" fmla="*/ 104 h 131"/>
                  <a:gd name="T56" fmla="*/ 89 w 141"/>
                  <a:gd name="T57" fmla="*/ 104 h 131"/>
                  <a:gd name="T58" fmla="*/ 52 w 141"/>
                  <a:gd name="T59" fmla="*/ 88 h 131"/>
                  <a:gd name="T60" fmla="*/ 52 w 141"/>
                  <a:gd name="T61" fmla="*/ 88 h 131"/>
                  <a:gd name="T62" fmla="*/ 52 w 141"/>
                  <a:gd name="T63" fmla="*/ 88 h 131"/>
                  <a:gd name="T64" fmla="*/ 52 w 141"/>
                  <a:gd name="T65" fmla="*/ 88 h 131"/>
                  <a:gd name="T66" fmla="*/ 51 w 141"/>
                  <a:gd name="T67" fmla="*/ 87 h 131"/>
                  <a:gd name="T68" fmla="*/ 24 w 141"/>
                  <a:gd name="T69" fmla="*/ 48 h 131"/>
                  <a:gd name="T70" fmla="*/ 23 w 141"/>
                  <a:gd name="T71" fmla="*/ 39 h 131"/>
                  <a:gd name="T72" fmla="*/ 30 w 141"/>
                  <a:gd name="T73" fmla="*/ 8 h 131"/>
                  <a:gd name="T74" fmla="*/ 27 w 141"/>
                  <a:gd name="T75" fmla="*/ 0 h 131"/>
                  <a:gd name="T76" fmla="*/ 15 w 141"/>
                  <a:gd name="T77" fmla="*/ 8 h 131"/>
                  <a:gd name="T78" fmla="*/ 22 w 141"/>
                  <a:gd name="T79" fmla="*/ 6 h 131"/>
                  <a:gd name="T80" fmla="*/ 27 w 141"/>
                  <a:gd name="T81" fmla="*/ 0 h 1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141" h="131">
                    <a:moveTo>
                      <a:pt x="141" y="81"/>
                    </a:moveTo>
                    <a:cubicBezTo>
                      <a:pt x="139" y="84"/>
                      <a:pt x="137" y="87"/>
                      <a:pt x="134" y="90"/>
                    </a:cubicBezTo>
                    <a:cubicBezTo>
                      <a:pt x="133" y="97"/>
                      <a:pt x="130" y="103"/>
                      <a:pt x="128" y="108"/>
                    </a:cubicBezTo>
                    <a:cubicBezTo>
                      <a:pt x="134" y="100"/>
                      <a:pt x="139" y="90"/>
                      <a:pt x="141" y="81"/>
                    </a:cubicBezTo>
                    <a:moveTo>
                      <a:pt x="19" y="11"/>
                    </a:moveTo>
                    <a:cubicBezTo>
                      <a:pt x="15" y="12"/>
                      <a:pt x="12" y="13"/>
                      <a:pt x="10" y="15"/>
                    </a:cubicBezTo>
                    <a:cubicBezTo>
                      <a:pt x="6" y="23"/>
                      <a:pt x="3" y="32"/>
                      <a:pt x="2" y="39"/>
                    </a:cubicBezTo>
                    <a:cubicBezTo>
                      <a:pt x="1" y="44"/>
                      <a:pt x="0" y="48"/>
                      <a:pt x="0" y="53"/>
                    </a:cubicBezTo>
                    <a:cubicBezTo>
                      <a:pt x="0" y="62"/>
                      <a:pt x="3" y="71"/>
                      <a:pt x="8" y="80"/>
                    </a:cubicBezTo>
                    <a:cubicBezTo>
                      <a:pt x="16" y="95"/>
                      <a:pt x="26" y="111"/>
                      <a:pt x="42" y="118"/>
                    </a:cubicBezTo>
                    <a:cubicBezTo>
                      <a:pt x="53" y="126"/>
                      <a:pt x="68" y="131"/>
                      <a:pt x="82" y="131"/>
                    </a:cubicBezTo>
                    <a:cubicBezTo>
                      <a:pt x="90" y="131"/>
                      <a:pt x="97" y="129"/>
                      <a:pt x="103" y="127"/>
                    </a:cubicBezTo>
                    <a:cubicBezTo>
                      <a:pt x="114" y="120"/>
                      <a:pt x="122" y="109"/>
                      <a:pt x="127" y="97"/>
                    </a:cubicBezTo>
                    <a:cubicBezTo>
                      <a:pt x="114" y="109"/>
                      <a:pt x="96" y="116"/>
                      <a:pt x="80" y="116"/>
                    </a:cubicBezTo>
                    <a:cubicBezTo>
                      <a:pt x="78" y="116"/>
                      <a:pt x="77" y="116"/>
                      <a:pt x="76" y="116"/>
                    </a:cubicBezTo>
                    <a:cubicBezTo>
                      <a:pt x="45" y="113"/>
                      <a:pt x="12" y="81"/>
                      <a:pt x="11" y="51"/>
                    </a:cubicBezTo>
                    <a:cubicBezTo>
                      <a:pt x="10" y="35"/>
                      <a:pt x="13" y="22"/>
                      <a:pt x="19" y="11"/>
                    </a:cubicBezTo>
                    <a:moveTo>
                      <a:pt x="30" y="8"/>
                    </a:moveTo>
                    <a:cubicBezTo>
                      <a:pt x="23" y="18"/>
                      <a:pt x="19" y="33"/>
                      <a:pt x="19" y="45"/>
                    </a:cubicBezTo>
                    <a:cubicBezTo>
                      <a:pt x="18" y="72"/>
                      <a:pt x="45" y="103"/>
                      <a:pt x="71" y="109"/>
                    </a:cubicBezTo>
                    <a:cubicBezTo>
                      <a:pt x="74" y="109"/>
                      <a:pt x="78" y="110"/>
                      <a:pt x="81" y="110"/>
                    </a:cubicBezTo>
                    <a:cubicBezTo>
                      <a:pt x="93" y="110"/>
                      <a:pt x="105" y="105"/>
                      <a:pt x="116" y="98"/>
                    </a:cubicBezTo>
                    <a:cubicBezTo>
                      <a:pt x="109" y="101"/>
                      <a:pt x="103" y="103"/>
                      <a:pt x="96" y="104"/>
                    </a:cubicBezTo>
                    <a:cubicBezTo>
                      <a:pt x="96" y="104"/>
                      <a:pt x="96" y="104"/>
                      <a:pt x="96" y="104"/>
                    </a:cubicBezTo>
                    <a:cubicBezTo>
                      <a:pt x="93" y="104"/>
                      <a:pt x="91" y="104"/>
                      <a:pt x="89" y="104"/>
                    </a:cubicBezTo>
                    <a:cubicBezTo>
                      <a:pt x="89" y="104"/>
                      <a:pt x="89" y="104"/>
                      <a:pt x="89" y="104"/>
                    </a:cubicBezTo>
                    <a:cubicBezTo>
                      <a:pt x="89" y="104"/>
                      <a:pt x="89" y="104"/>
                      <a:pt x="89" y="104"/>
                    </a:cubicBezTo>
                    <a:cubicBezTo>
                      <a:pt x="89" y="104"/>
                      <a:pt x="89" y="104"/>
                      <a:pt x="89" y="104"/>
                    </a:cubicBezTo>
                    <a:cubicBezTo>
                      <a:pt x="89" y="104"/>
                      <a:pt x="89" y="104"/>
                      <a:pt x="89" y="104"/>
                    </a:cubicBezTo>
                    <a:cubicBezTo>
                      <a:pt x="75" y="104"/>
                      <a:pt x="63" y="98"/>
                      <a:pt x="52" y="88"/>
                    </a:cubicBezTo>
                    <a:cubicBezTo>
                      <a:pt x="52" y="88"/>
                      <a:pt x="52" y="88"/>
                      <a:pt x="52" y="88"/>
                    </a:cubicBezTo>
                    <a:cubicBezTo>
                      <a:pt x="52" y="88"/>
                      <a:pt x="52" y="88"/>
                      <a:pt x="52" y="88"/>
                    </a:cubicBezTo>
                    <a:cubicBezTo>
                      <a:pt x="52" y="88"/>
                      <a:pt x="52" y="88"/>
                      <a:pt x="52" y="88"/>
                    </a:cubicBezTo>
                    <a:cubicBezTo>
                      <a:pt x="51" y="88"/>
                      <a:pt x="51" y="87"/>
                      <a:pt x="51" y="87"/>
                    </a:cubicBezTo>
                    <a:cubicBezTo>
                      <a:pt x="38" y="76"/>
                      <a:pt x="25" y="64"/>
                      <a:pt x="24" y="48"/>
                    </a:cubicBezTo>
                    <a:cubicBezTo>
                      <a:pt x="24" y="45"/>
                      <a:pt x="23" y="42"/>
                      <a:pt x="23" y="39"/>
                    </a:cubicBezTo>
                    <a:cubicBezTo>
                      <a:pt x="23" y="29"/>
                      <a:pt x="26" y="17"/>
                      <a:pt x="30" y="8"/>
                    </a:cubicBezTo>
                    <a:moveTo>
                      <a:pt x="27" y="0"/>
                    </a:moveTo>
                    <a:cubicBezTo>
                      <a:pt x="22" y="1"/>
                      <a:pt x="18" y="4"/>
                      <a:pt x="15" y="8"/>
                    </a:cubicBezTo>
                    <a:cubicBezTo>
                      <a:pt x="17" y="7"/>
                      <a:pt x="19" y="6"/>
                      <a:pt x="22" y="6"/>
                    </a:cubicBezTo>
                    <a:cubicBezTo>
                      <a:pt x="23" y="4"/>
                      <a:pt x="25" y="2"/>
                      <a:pt x="27" y="0"/>
                    </a:cubicBezTo>
                  </a:path>
                </a:pathLst>
              </a:custGeom>
              <a:solidFill>
                <a:srgbClr val="83C3E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149" name="Freeform 61">
                <a:extLst>
                  <a:ext uri="{FF2B5EF4-FFF2-40B4-BE49-F238E27FC236}">
                    <a16:creationId xmlns:a16="http://schemas.microsoft.com/office/drawing/2014/main" id="{9C211DD4-9A30-4B2B-870B-8FD6EC84800B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568" y="2022"/>
                <a:ext cx="138" cy="141"/>
              </a:xfrm>
              <a:custGeom>
                <a:avLst/>
                <a:gdLst>
                  <a:gd name="T0" fmla="*/ 71 w 130"/>
                  <a:gd name="T1" fmla="*/ 0 h 133"/>
                  <a:gd name="T2" fmla="*/ 62 w 130"/>
                  <a:gd name="T3" fmla="*/ 0 h 133"/>
                  <a:gd name="T4" fmla="*/ 21 w 130"/>
                  <a:gd name="T5" fmla="*/ 15 h 133"/>
                  <a:gd name="T6" fmla="*/ 53 w 130"/>
                  <a:gd name="T7" fmla="*/ 5 h 133"/>
                  <a:gd name="T8" fmla="*/ 54 w 130"/>
                  <a:gd name="T9" fmla="*/ 5 h 133"/>
                  <a:gd name="T10" fmla="*/ 55 w 130"/>
                  <a:gd name="T11" fmla="*/ 12 h 133"/>
                  <a:gd name="T12" fmla="*/ 15 w 130"/>
                  <a:gd name="T13" fmla="*/ 27 h 133"/>
                  <a:gd name="T14" fmla="*/ 7 w 130"/>
                  <a:gd name="T15" fmla="*/ 37 h 133"/>
                  <a:gd name="T16" fmla="*/ 0 w 130"/>
                  <a:gd name="T17" fmla="*/ 68 h 133"/>
                  <a:gd name="T18" fmla="*/ 1 w 130"/>
                  <a:gd name="T19" fmla="*/ 77 h 133"/>
                  <a:gd name="T20" fmla="*/ 28 w 130"/>
                  <a:gd name="T21" fmla="*/ 116 h 133"/>
                  <a:gd name="T22" fmla="*/ 29 w 130"/>
                  <a:gd name="T23" fmla="*/ 117 h 133"/>
                  <a:gd name="T24" fmla="*/ 29 w 130"/>
                  <a:gd name="T25" fmla="*/ 117 h 133"/>
                  <a:gd name="T26" fmla="*/ 29 w 130"/>
                  <a:gd name="T27" fmla="*/ 117 h 133"/>
                  <a:gd name="T28" fmla="*/ 29 w 130"/>
                  <a:gd name="T29" fmla="*/ 117 h 133"/>
                  <a:gd name="T30" fmla="*/ 66 w 130"/>
                  <a:gd name="T31" fmla="*/ 133 h 133"/>
                  <a:gd name="T32" fmla="*/ 66 w 130"/>
                  <a:gd name="T33" fmla="*/ 133 h 133"/>
                  <a:gd name="T34" fmla="*/ 66 w 130"/>
                  <a:gd name="T35" fmla="*/ 133 h 133"/>
                  <a:gd name="T36" fmla="*/ 66 w 130"/>
                  <a:gd name="T37" fmla="*/ 133 h 133"/>
                  <a:gd name="T38" fmla="*/ 73 w 130"/>
                  <a:gd name="T39" fmla="*/ 133 h 133"/>
                  <a:gd name="T40" fmla="*/ 73 w 130"/>
                  <a:gd name="T41" fmla="*/ 133 h 133"/>
                  <a:gd name="T42" fmla="*/ 93 w 130"/>
                  <a:gd name="T43" fmla="*/ 127 h 133"/>
                  <a:gd name="T44" fmla="*/ 102 w 130"/>
                  <a:gd name="T45" fmla="*/ 119 h 133"/>
                  <a:gd name="T46" fmla="*/ 116 w 130"/>
                  <a:gd name="T47" fmla="*/ 70 h 133"/>
                  <a:gd name="T48" fmla="*/ 62 w 130"/>
                  <a:gd name="T49" fmla="*/ 10 h 133"/>
                  <a:gd name="T50" fmla="*/ 62 w 130"/>
                  <a:gd name="T51" fmla="*/ 7 h 133"/>
                  <a:gd name="T52" fmla="*/ 63 w 130"/>
                  <a:gd name="T53" fmla="*/ 7 h 133"/>
                  <a:gd name="T54" fmla="*/ 108 w 130"/>
                  <a:gd name="T55" fmla="*/ 35 h 133"/>
                  <a:gd name="T56" fmla="*/ 124 w 130"/>
                  <a:gd name="T57" fmla="*/ 84 h 133"/>
                  <a:gd name="T58" fmla="*/ 120 w 130"/>
                  <a:gd name="T59" fmla="*/ 105 h 133"/>
                  <a:gd name="T60" fmla="*/ 121 w 130"/>
                  <a:gd name="T61" fmla="*/ 103 h 133"/>
                  <a:gd name="T62" fmla="*/ 130 w 130"/>
                  <a:gd name="T63" fmla="*/ 78 h 133"/>
                  <a:gd name="T64" fmla="*/ 128 w 130"/>
                  <a:gd name="T65" fmla="*/ 63 h 133"/>
                  <a:gd name="T66" fmla="*/ 99 w 130"/>
                  <a:gd name="T67" fmla="*/ 13 h 133"/>
                  <a:gd name="T68" fmla="*/ 71 w 130"/>
                  <a:gd name="T69" fmla="*/ 0 h 1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130" h="133">
                    <a:moveTo>
                      <a:pt x="71" y="0"/>
                    </a:moveTo>
                    <a:cubicBezTo>
                      <a:pt x="62" y="0"/>
                      <a:pt x="62" y="0"/>
                      <a:pt x="62" y="0"/>
                    </a:cubicBezTo>
                    <a:cubicBezTo>
                      <a:pt x="47" y="3"/>
                      <a:pt x="32" y="6"/>
                      <a:pt x="21" y="15"/>
                    </a:cubicBezTo>
                    <a:cubicBezTo>
                      <a:pt x="30" y="10"/>
                      <a:pt x="41" y="7"/>
                      <a:pt x="53" y="5"/>
                    </a:cubicBezTo>
                    <a:cubicBezTo>
                      <a:pt x="54" y="5"/>
                      <a:pt x="54" y="5"/>
                      <a:pt x="54" y="5"/>
                    </a:cubicBezTo>
                    <a:cubicBezTo>
                      <a:pt x="57" y="5"/>
                      <a:pt x="58" y="11"/>
                      <a:pt x="55" y="12"/>
                    </a:cubicBezTo>
                    <a:cubicBezTo>
                      <a:pt x="41" y="16"/>
                      <a:pt x="26" y="18"/>
                      <a:pt x="15" y="27"/>
                    </a:cubicBezTo>
                    <a:cubicBezTo>
                      <a:pt x="12" y="30"/>
                      <a:pt x="9" y="33"/>
                      <a:pt x="7" y="37"/>
                    </a:cubicBezTo>
                    <a:cubicBezTo>
                      <a:pt x="3" y="46"/>
                      <a:pt x="0" y="58"/>
                      <a:pt x="0" y="68"/>
                    </a:cubicBezTo>
                    <a:cubicBezTo>
                      <a:pt x="0" y="71"/>
                      <a:pt x="1" y="74"/>
                      <a:pt x="1" y="77"/>
                    </a:cubicBezTo>
                    <a:cubicBezTo>
                      <a:pt x="2" y="93"/>
                      <a:pt x="15" y="105"/>
                      <a:pt x="28" y="116"/>
                    </a:cubicBezTo>
                    <a:cubicBezTo>
                      <a:pt x="28" y="116"/>
                      <a:pt x="28" y="117"/>
                      <a:pt x="29" y="117"/>
                    </a:cubicBezTo>
                    <a:cubicBezTo>
                      <a:pt x="29" y="117"/>
                      <a:pt x="29" y="117"/>
                      <a:pt x="29" y="117"/>
                    </a:cubicBezTo>
                    <a:cubicBezTo>
                      <a:pt x="29" y="117"/>
                      <a:pt x="29" y="117"/>
                      <a:pt x="29" y="117"/>
                    </a:cubicBezTo>
                    <a:cubicBezTo>
                      <a:pt x="29" y="117"/>
                      <a:pt x="29" y="117"/>
                      <a:pt x="29" y="117"/>
                    </a:cubicBezTo>
                    <a:cubicBezTo>
                      <a:pt x="40" y="127"/>
                      <a:pt x="52" y="133"/>
                      <a:pt x="66" y="133"/>
                    </a:cubicBezTo>
                    <a:cubicBezTo>
                      <a:pt x="66" y="133"/>
                      <a:pt x="66" y="133"/>
                      <a:pt x="66" y="133"/>
                    </a:cubicBezTo>
                    <a:cubicBezTo>
                      <a:pt x="66" y="133"/>
                      <a:pt x="66" y="133"/>
                      <a:pt x="66" y="133"/>
                    </a:cubicBezTo>
                    <a:cubicBezTo>
                      <a:pt x="66" y="133"/>
                      <a:pt x="66" y="133"/>
                      <a:pt x="66" y="133"/>
                    </a:cubicBezTo>
                    <a:cubicBezTo>
                      <a:pt x="68" y="133"/>
                      <a:pt x="70" y="133"/>
                      <a:pt x="73" y="133"/>
                    </a:cubicBezTo>
                    <a:cubicBezTo>
                      <a:pt x="73" y="133"/>
                      <a:pt x="73" y="133"/>
                      <a:pt x="73" y="133"/>
                    </a:cubicBezTo>
                    <a:cubicBezTo>
                      <a:pt x="80" y="132"/>
                      <a:pt x="86" y="130"/>
                      <a:pt x="93" y="127"/>
                    </a:cubicBezTo>
                    <a:cubicBezTo>
                      <a:pt x="96" y="124"/>
                      <a:pt x="99" y="122"/>
                      <a:pt x="102" y="119"/>
                    </a:cubicBezTo>
                    <a:cubicBezTo>
                      <a:pt x="117" y="105"/>
                      <a:pt x="120" y="90"/>
                      <a:pt x="116" y="70"/>
                    </a:cubicBezTo>
                    <a:cubicBezTo>
                      <a:pt x="109" y="37"/>
                      <a:pt x="90" y="24"/>
                      <a:pt x="62" y="10"/>
                    </a:cubicBezTo>
                    <a:cubicBezTo>
                      <a:pt x="60" y="9"/>
                      <a:pt x="61" y="7"/>
                      <a:pt x="62" y="7"/>
                    </a:cubicBezTo>
                    <a:cubicBezTo>
                      <a:pt x="63" y="7"/>
                      <a:pt x="63" y="7"/>
                      <a:pt x="63" y="7"/>
                    </a:cubicBezTo>
                    <a:cubicBezTo>
                      <a:pt x="81" y="13"/>
                      <a:pt x="97" y="18"/>
                      <a:pt x="108" y="35"/>
                    </a:cubicBezTo>
                    <a:cubicBezTo>
                      <a:pt x="118" y="48"/>
                      <a:pt x="124" y="67"/>
                      <a:pt x="124" y="84"/>
                    </a:cubicBezTo>
                    <a:cubicBezTo>
                      <a:pt x="125" y="91"/>
                      <a:pt x="123" y="98"/>
                      <a:pt x="120" y="105"/>
                    </a:cubicBezTo>
                    <a:cubicBezTo>
                      <a:pt x="121" y="104"/>
                      <a:pt x="121" y="104"/>
                      <a:pt x="121" y="103"/>
                    </a:cubicBezTo>
                    <a:cubicBezTo>
                      <a:pt x="127" y="96"/>
                      <a:pt x="130" y="87"/>
                      <a:pt x="130" y="78"/>
                    </a:cubicBezTo>
                    <a:cubicBezTo>
                      <a:pt x="130" y="73"/>
                      <a:pt x="129" y="68"/>
                      <a:pt x="128" y="63"/>
                    </a:cubicBezTo>
                    <a:cubicBezTo>
                      <a:pt x="125" y="45"/>
                      <a:pt x="115" y="22"/>
                      <a:pt x="99" y="13"/>
                    </a:cubicBezTo>
                    <a:cubicBezTo>
                      <a:pt x="90" y="6"/>
                      <a:pt x="81" y="4"/>
                      <a:pt x="71" y="0"/>
                    </a:cubicBezTo>
                  </a:path>
                </a:pathLst>
              </a:custGeom>
              <a:solidFill>
                <a:srgbClr val="83C3E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150" name="Freeform 62">
                <a:extLst>
                  <a:ext uri="{FF2B5EF4-FFF2-40B4-BE49-F238E27FC236}">
                    <a16:creationId xmlns:a16="http://schemas.microsoft.com/office/drawing/2014/main" id="{C24638D7-A8D5-4434-8E7B-E68B233E9B15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2234" y="2013"/>
                <a:ext cx="156" cy="103"/>
              </a:xfrm>
              <a:custGeom>
                <a:avLst/>
                <a:gdLst>
                  <a:gd name="T0" fmla="*/ 135 w 148"/>
                  <a:gd name="T1" fmla="*/ 32 h 97"/>
                  <a:gd name="T2" fmla="*/ 131 w 148"/>
                  <a:gd name="T3" fmla="*/ 38 h 97"/>
                  <a:gd name="T4" fmla="*/ 55 w 148"/>
                  <a:gd name="T5" fmla="*/ 82 h 97"/>
                  <a:gd name="T6" fmla="*/ 35 w 148"/>
                  <a:gd name="T7" fmla="*/ 79 h 97"/>
                  <a:gd name="T8" fmla="*/ 12 w 148"/>
                  <a:gd name="T9" fmla="*/ 67 h 97"/>
                  <a:gd name="T10" fmla="*/ 24 w 148"/>
                  <a:gd name="T11" fmla="*/ 81 h 97"/>
                  <a:gd name="T12" fmla="*/ 85 w 148"/>
                  <a:gd name="T13" fmla="*/ 97 h 97"/>
                  <a:gd name="T14" fmla="*/ 114 w 148"/>
                  <a:gd name="T15" fmla="*/ 89 h 97"/>
                  <a:gd name="T16" fmla="*/ 129 w 148"/>
                  <a:gd name="T17" fmla="*/ 73 h 97"/>
                  <a:gd name="T18" fmla="*/ 135 w 148"/>
                  <a:gd name="T19" fmla="*/ 32 h 97"/>
                  <a:gd name="T20" fmla="*/ 2 w 148"/>
                  <a:gd name="T21" fmla="*/ 20 h 97"/>
                  <a:gd name="T22" fmla="*/ 0 w 148"/>
                  <a:gd name="T23" fmla="*/ 32 h 97"/>
                  <a:gd name="T24" fmla="*/ 0 w 148"/>
                  <a:gd name="T25" fmla="*/ 34 h 97"/>
                  <a:gd name="T26" fmla="*/ 38 w 148"/>
                  <a:gd name="T27" fmla="*/ 69 h 97"/>
                  <a:gd name="T28" fmla="*/ 59 w 148"/>
                  <a:gd name="T29" fmla="*/ 72 h 97"/>
                  <a:gd name="T30" fmla="*/ 100 w 148"/>
                  <a:gd name="T31" fmla="*/ 62 h 97"/>
                  <a:gd name="T32" fmla="*/ 68 w 148"/>
                  <a:gd name="T33" fmla="*/ 69 h 97"/>
                  <a:gd name="T34" fmla="*/ 68 w 148"/>
                  <a:gd name="T35" fmla="*/ 69 h 97"/>
                  <a:gd name="T36" fmla="*/ 68 w 148"/>
                  <a:gd name="T37" fmla="*/ 69 h 97"/>
                  <a:gd name="T38" fmla="*/ 68 w 148"/>
                  <a:gd name="T39" fmla="*/ 69 h 97"/>
                  <a:gd name="T40" fmla="*/ 68 w 148"/>
                  <a:gd name="T41" fmla="*/ 69 h 97"/>
                  <a:gd name="T42" fmla="*/ 34 w 148"/>
                  <a:gd name="T43" fmla="*/ 61 h 97"/>
                  <a:gd name="T44" fmla="*/ 33 w 148"/>
                  <a:gd name="T45" fmla="*/ 61 h 97"/>
                  <a:gd name="T46" fmla="*/ 33 w 148"/>
                  <a:gd name="T47" fmla="*/ 61 h 97"/>
                  <a:gd name="T48" fmla="*/ 2 w 148"/>
                  <a:gd name="T49" fmla="*/ 20 h 97"/>
                  <a:gd name="T50" fmla="*/ 139 w 148"/>
                  <a:gd name="T51" fmla="*/ 0 h 97"/>
                  <a:gd name="T52" fmla="*/ 139 w 148"/>
                  <a:gd name="T53" fmla="*/ 0 h 97"/>
                  <a:gd name="T54" fmla="*/ 140 w 148"/>
                  <a:gd name="T55" fmla="*/ 12 h 97"/>
                  <a:gd name="T56" fmla="*/ 138 w 148"/>
                  <a:gd name="T57" fmla="*/ 24 h 97"/>
                  <a:gd name="T58" fmla="*/ 138 w 148"/>
                  <a:gd name="T59" fmla="*/ 25 h 97"/>
                  <a:gd name="T60" fmla="*/ 132 w 148"/>
                  <a:gd name="T61" fmla="*/ 76 h 97"/>
                  <a:gd name="T62" fmla="*/ 146 w 148"/>
                  <a:gd name="T63" fmla="*/ 50 h 97"/>
                  <a:gd name="T64" fmla="*/ 148 w 148"/>
                  <a:gd name="T65" fmla="*/ 31 h 97"/>
                  <a:gd name="T66" fmla="*/ 145 w 148"/>
                  <a:gd name="T67" fmla="*/ 13 h 97"/>
                  <a:gd name="T68" fmla="*/ 139 w 148"/>
                  <a:gd name="T69" fmla="*/ 0 h 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148" h="97">
                    <a:moveTo>
                      <a:pt x="135" y="32"/>
                    </a:moveTo>
                    <a:cubicBezTo>
                      <a:pt x="134" y="34"/>
                      <a:pt x="133" y="36"/>
                      <a:pt x="131" y="38"/>
                    </a:cubicBezTo>
                    <a:cubicBezTo>
                      <a:pt x="121" y="66"/>
                      <a:pt x="85" y="82"/>
                      <a:pt x="55" y="82"/>
                    </a:cubicBezTo>
                    <a:cubicBezTo>
                      <a:pt x="48" y="82"/>
                      <a:pt x="41" y="81"/>
                      <a:pt x="35" y="79"/>
                    </a:cubicBezTo>
                    <a:cubicBezTo>
                      <a:pt x="26" y="77"/>
                      <a:pt x="19" y="73"/>
                      <a:pt x="12" y="67"/>
                    </a:cubicBezTo>
                    <a:cubicBezTo>
                      <a:pt x="16" y="73"/>
                      <a:pt x="20" y="77"/>
                      <a:pt x="24" y="81"/>
                    </a:cubicBezTo>
                    <a:cubicBezTo>
                      <a:pt x="41" y="94"/>
                      <a:pt x="63" y="96"/>
                      <a:pt x="85" y="97"/>
                    </a:cubicBezTo>
                    <a:cubicBezTo>
                      <a:pt x="95" y="96"/>
                      <a:pt x="105" y="94"/>
                      <a:pt x="114" y="89"/>
                    </a:cubicBezTo>
                    <a:cubicBezTo>
                      <a:pt x="120" y="85"/>
                      <a:pt x="125" y="79"/>
                      <a:pt x="129" y="73"/>
                    </a:cubicBezTo>
                    <a:cubicBezTo>
                      <a:pt x="137" y="59"/>
                      <a:pt x="138" y="46"/>
                      <a:pt x="135" y="32"/>
                    </a:cubicBezTo>
                    <a:moveTo>
                      <a:pt x="2" y="20"/>
                    </a:moveTo>
                    <a:cubicBezTo>
                      <a:pt x="1" y="24"/>
                      <a:pt x="0" y="28"/>
                      <a:pt x="0" y="32"/>
                    </a:cubicBezTo>
                    <a:cubicBezTo>
                      <a:pt x="0" y="33"/>
                      <a:pt x="0" y="33"/>
                      <a:pt x="0" y="34"/>
                    </a:cubicBezTo>
                    <a:cubicBezTo>
                      <a:pt x="6" y="51"/>
                      <a:pt x="20" y="64"/>
                      <a:pt x="38" y="69"/>
                    </a:cubicBezTo>
                    <a:cubicBezTo>
                      <a:pt x="45" y="71"/>
                      <a:pt x="52" y="72"/>
                      <a:pt x="59" y="72"/>
                    </a:cubicBezTo>
                    <a:cubicBezTo>
                      <a:pt x="73" y="72"/>
                      <a:pt x="87" y="69"/>
                      <a:pt x="100" y="62"/>
                    </a:cubicBezTo>
                    <a:cubicBezTo>
                      <a:pt x="89" y="67"/>
                      <a:pt x="79" y="69"/>
                      <a:pt x="68" y="69"/>
                    </a:cubicBezTo>
                    <a:cubicBezTo>
                      <a:pt x="68" y="69"/>
                      <a:pt x="68" y="69"/>
                      <a:pt x="68" y="69"/>
                    </a:cubicBezTo>
                    <a:cubicBezTo>
                      <a:pt x="68" y="69"/>
                      <a:pt x="68" y="69"/>
                      <a:pt x="68" y="69"/>
                    </a:cubicBezTo>
                    <a:cubicBezTo>
                      <a:pt x="68" y="69"/>
                      <a:pt x="68" y="69"/>
                      <a:pt x="68" y="69"/>
                    </a:cubicBezTo>
                    <a:cubicBezTo>
                      <a:pt x="68" y="69"/>
                      <a:pt x="68" y="69"/>
                      <a:pt x="68" y="69"/>
                    </a:cubicBezTo>
                    <a:cubicBezTo>
                      <a:pt x="57" y="69"/>
                      <a:pt x="45" y="66"/>
                      <a:pt x="34" y="61"/>
                    </a:cubicBezTo>
                    <a:cubicBezTo>
                      <a:pt x="33" y="61"/>
                      <a:pt x="33" y="61"/>
                      <a:pt x="33" y="61"/>
                    </a:cubicBezTo>
                    <a:cubicBezTo>
                      <a:pt x="33" y="61"/>
                      <a:pt x="33" y="61"/>
                      <a:pt x="33" y="61"/>
                    </a:cubicBezTo>
                    <a:cubicBezTo>
                      <a:pt x="17" y="54"/>
                      <a:pt x="6" y="38"/>
                      <a:pt x="2" y="20"/>
                    </a:cubicBezTo>
                    <a:moveTo>
                      <a:pt x="139" y="0"/>
                    </a:moveTo>
                    <a:cubicBezTo>
                      <a:pt x="139" y="0"/>
                      <a:pt x="139" y="0"/>
                      <a:pt x="139" y="0"/>
                    </a:cubicBezTo>
                    <a:cubicBezTo>
                      <a:pt x="139" y="4"/>
                      <a:pt x="140" y="8"/>
                      <a:pt x="140" y="12"/>
                    </a:cubicBezTo>
                    <a:cubicBezTo>
                      <a:pt x="140" y="16"/>
                      <a:pt x="139" y="20"/>
                      <a:pt x="138" y="24"/>
                    </a:cubicBezTo>
                    <a:cubicBezTo>
                      <a:pt x="138" y="24"/>
                      <a:pt x="138" y="25"/>
                      <a:pt x="138" y="25"/>
                    </a:cubicBezTo>
                    <a:cubicBezTo>
                      <a:pt x="143" y="43"/>
                      <a:pt x="141" y="61"/>
                      <a:pt x="132" y="76"/>
                    </a:cubicBezTo>
                    <a:cubicBezTo>
                      <a:pt x="139" y="69"/>
                      <a:pt x="144" y="60"/>
                      <a:pt x="146" y="50"/>
                    </a:cubicBezTo>
                    <a:cubicBezTo>
                      <a:pt x="147" y="44"/>
                      <a:pt x="148" y="38"/>
                      <a:pt x="148" y="31"/>
                    </a:cubicBezTo>
                    <a:cubicBezTo>
                      <a:pt x="148" y="25"/>
                      <a:pt x="147" y="19"/>
                      <a:pt x="145" y="13"/>
                    </a:cubicBezTo>
                    <a:cubicBezTo>
                      <a:pt x="144" y="8"/>
                      <a:pt x="140" y="5"/>
                      <a:pt x="139" y="0"/>
                    </a:cubicBezTo>
                  </a:path>
                </a:pathLst>
              </a:custGeom>
              <a:solidFill>
                <a:srgbClr val="83C3E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151" name="Freeform 63">
                <a:extLst>
                  <a:ext uri="{FF2B5EF4-FFF2-40B4-BE49-F238E27FC236}">
                    <a16:creationId xmlns:a16="http://schemas.microsoft.com/office/drawing/2014/main" id="{D0EF3877-F4FC-4CB5-AE1D-26EB75525681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2234" y="1950"/>
                <a:ext cx="148" cy="136"/>
              </a:xfrm>
              <a:custGeom>
                <a:avLst/>
                <a:gdLst>
                  <a:gd name="T0" fmla="*/ 134 w 140"/>
                  <a:gd name="T1" fmla="*/ 84 h 129"/>
                  <a:gd name="T2" fmla="*/ 132 w 140"/>
                  <a:gd name="T3" fmla="*/ 94 h 129"/>
                  <a:gd name="T4" fmla="*/ 131 w 140"/>
                  <a:gd name="T5" fmla="*/ 98 h 129"/>
                  <a:gd name="T6" fmla="*/ 135 w 140"/>
                  <a:gd name="T7" fmla="*/ 92 h 129"/>
                  <a:gd name="T8" fmla="*/ 134 w 140"/>
                  <a:gd name="T9" fmla="*/ 84 h 129"/>
                  <a:gd name="T10" fmla="*/ 69 w 140"/>
                  <a:gd name="T11" fmla="*/ 14 h 129"/>
                  <a:gd name="T12" fmla="*/ 2 w 140"/>
                  <a:gd name="T13" fmla="*/ 44 h 129"/>
                  <a:gd name="T14" fmla="*/ 0 w 140"/>
                  <a:gd name="T15" fmla="*/ 63 h 129"/>
                  <a:gd name="T16" fmla="*/ 2 w 140"/>
                  <a:gd name="T17" fmla="*/ 80 h 129"/>
                  <a:gd name="T18" fmla="*/ 2 w 140"/>
                  <a:gd name="T19" fmla="*/ 80 h 129"/>
                  <a:gd name="T20" fmla="*/ 2 w 140"/>
                  <a:gd name="T21" fmla="*/ 80 h 129"/>
                  <a:gd name="T22" fmla="*/ 33 w 140"/>
                  <a:gd name="T23" fmla="*/ 121 h 129"/>
                  <a:gd name="T24" fmla="*/ 33 w 140"/>
                  <a:gd name="T25" fmla="*/ 121 h 129"/>
                  <a:gd name="T26" fmla="*/ 34 w 140"/>
                  <a:gd name="T27" fmla="*/ 121 h 129"/>
                  <a:gd name="T28" fmla="*/ 68 w 140"/>
                  <a:gd name="T29" fmla="*/ 129 h 129"/>
                  <a:gd name="T30" fmla="*/ 68 w 140"/>
                  <a:gd name="T31" fmla="*/ 129 h 129"/>
                  <a:gd name="T32" fmla="*/ 68 w 140"/>
                  <a:gd name="T33" fmla="*/ 129 h 129"/>
                  <a:gd name="T34" fmla="*/ 68 w 140"/>
                  <a:gd name="T35" fmla="*/ 129 h 129"/>
                  <a:gd name="T36" fmla="*/ 100 w 140"/>
                  <a:gd name="T37" fmla="*/ 122 h 129"/>
                  <a:gd name="T38" fmla="*/ 128 w 140"/>
                  <a:gd name="T39" fmla="*/ 71 h 129"/>
                  <a:gd name="T40" fmla="*/ 97 w 140"/>
                  <a:gd name="T41" fmla="*/ 23 h 129"/>
                  <a:gd name="T42" fmla="*/ 74 w 140"/>
                  <a:gd name="T43" fmla="*/ 14 h 129"/>
                  <a:gd name="T44" fmla="*/ 69 w 140"/>
                  <a:gd name="T45" fmla="*/ 14 h 129"/>
                  <a:gd name="T46" fmla="*/ 71 w 140"/>
                  <a:gd name="T47" fmla="*/ 0 h 129"/>
                  <a:gd name="T48" fmla="*/ 43 w 140"/>
                  <a:gd name="T49" fmla="*/ 6 h 129"/>
                  <a:gd name="T50" fmla="*/ 39 w 140"/>
                  <a:gd name="T51" fmla="*/ 8 h 129"/>
                  <a:gd name="T52" fmla="*/ 60 w 140"/>
                  <a:gd name="T53" fmla="*/ 4 h 129"/>
                  <a:gd name="T54" fmla="*/ 85 w 140"/>
                  <a:gd name="T55" fmla="*/ 10 h 129"/>
                  <a:gd name="T56" fmla="*/ 83 w 140"/>
                  <a:gd name="T57" fmla="*/ 15 h 129"/>
                  <a:gd name="T58" fmla="*/ 83 w 140"/>
                  <a:gd name="T59" fmla="*/ 15 h 129"/>
                  <a:gd name="T60" fmla="*/ 82 w 140"/>
                  <a:gd name="T61" fmla="*/ 15 h 129"/>
                  <a:gd name="T62" fmla="*/ 122 w 140"/>
                  <a:gd name="T63" fmla="*/ 39 h 129"/>
                  <a:gd name="T64" fmla="*/ 134 w 140"/>
                  <a:gd name="T65" fmla="*/ 72 h 129"/>
                  <a:gd name="T66" fmla="*/ 138 w 140"/>
                  <a:gd name="T67" fmla="*/ 85 h 129"/>
                  <a:gd name="T68" fmla="*/ 138 w 140"/>
                  <a:gd name="T69" fmla="*/ 84 h 129"/>
                  <a:gd name="T70" fmla="*/ 140 w 140"/>
                  <a:gd name="T71" fmla="*/ 72 h 129"/>
                  <a:gd name="T72" fmla="*/ 139 w 140"/>
                  <a:gd name="T73" fmla="*/ 60 h 129"/>
                  <a:gd name="T74" fmla="*/ 139 w 140"/>
                  <a:gd name="T75" fmla="*/ 60 h 129"/>
                  <a:gd name="T76" fmla="*/ 134 w 140"/>
                  <a:gd name="T77" fmla="*/ 42 h 129"/>
                  <a:gd name="T78" fmla="*/ 101 w 140"/>
                  <a:gd name="T79" fmla="*/ 10 h 129"/>
                  <a:gd name="T80" fmla="*/ 74 w 140"/>
                  <a:gd name="T81" fmla="*/ 2 h 129"/>
                  <a:gd name="T82" fmla="*/ 74 w 140"/>
                  <a:gd name="T83" fmla="*/ 2 h 129"/>
                  <a:gd name="T84" fmla="*/ 74 w 140"/>
                  <a:gd name="T85" fmla="*/ 2 h 129"/>
                  <a:gd name="T86" fmla="*/ 75 w 140"/>
                  <a:gd name="T87" fmla="*/ 0 h 129"/>
                  <a:gd name="T88" fmla="*/ 71 w 140"/>
                  <a:gd name="T89" fmla="*/ 0 h 1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140" h="129">
                    <a:moveTo>
                      <a:pt x="134" y="84"/>
                    </a:moveTo>
                    <a:cubicBezTo>
                      <a:pt x="134" y="88"/>
                      <a:pt x="133" y="91"/>
                      <a:pt x="132" y="94"/>
                    </a:cubicBezTo>
                    <a:cubicBezTo>
                      <a:pt x="132" y="95"/>
                      <a:pt x="131" y="97"/>
                      <a:pt x="131" y="98"/>
                    </a:cubicBezTo>
                    <a:cubicBezTo>
                      <a:pt x="133" y="96"/>
                      <a:pt x="134" y="94"/>
                      <a:pt x="135" y="92"/>
                    </a:cubicBezTo>
                    <a:cubicBezTo>
                      <a:pt x="135" y="89"/>
                      <a:pt x="134" y="87"/>
                      <a:pt x="134" y="84"/>
                    </a:cubicBezTo>
                    <a:moveTo>
                      <a:pt x="69" y="14"/>
                    </a:moveTo>
                    <a:cubicBezTo>
                      <a:pt x="43" y="14"/>
                      <a:pt x="15" y="22"/>
                      <a:pt x="2" y="44"/>
                    </a:cubicBezTo>
                    <a:cubicBezTo>
                      <a:pt x="1" y="50"/>
                      <a:pt x="0" y="57"/>
                      <a:pt x="0" y="63"/>
                    </a:cubicBezTo>
                    <a:cubicBezTo>
                      <a:pt x="0" y="69"/>
                      <a:pt x="0" y="75"/>
                      <a:pt x="2" y="80"/>
                    </a:cubicBezTo>
                    <a:cubicBezTo>
                      <a:pt x="2" y="80"/>
                      <a:pt x="2" y="80"/>
                      <a:pt x="2" y="80"/>
                    </a:cubicBezTo>
                    <a:cubicBezTo>
                      <a:pt x="2" y="80"/>
                      <a:pt x="2" y="80"/>
                      <a:pt x="2" y="80"/>
                    </a:cubicBezTo>
                    <a:cubicBezTo>
                      <a:pt x="6" y="98"/>
                      <a:pt x="17" y="114"/>
                      <a:pt x="33" y="121"/>
                    </a:cubicBezTo>
                    <a:cubicBezTo>
                      <a:pt x="33" y="121"/>
                      <a:pt x="33" y="121"/>
                      <a:pt x="33" y="121"/>
                    </a:cubicBezTo>
                    <a:cubicBezTo>
                      <a:pt x="33" y="121"/>
                      <a:pt x="33" y="121"/>
                      <a:pt x="34" y="121"/>
                    </a:cubicBezTo>
                    <a:cubicBezTo>
                      <a:pt x="45" y="126"/>
                      <a:pt x="57" y="129"/>
                      <a:pt x="68" y="129"/>
                    </a:cubicBezTo>
                    <a:cubicBezTo>
                      <a:pt x="68" y="129"/>
                      <a:pt x="68" y="129"/>
                      <a:pt x="68" y="129"/>
                    </a:cubicBezTo>
                    <a:cubicBezTo>
                      <a:pt x="68" y="129"/>
                      <a:pt x="68" y="129"/>
                      <a:pt x="68" y="129"/>
                    </a:cubicBezTo>
                    <a:cubicBezTo>
                      <a:pt x="68" y="129"/>
                      <a:pt x="68" y="129"/>
                      <a:pt x="68" y="129"/>
                    </a:cubicBezTo>
                    <a:cubicBezTo>
                      <a:pt x="79" y="129"/>
                      <a:pt x="89" y="127"/>
                      <a:pt x="100" y="122"/>
                    </a:cubicBezTo>
                    <a:cubicBezTo>
                      <a:pt x="118" y="111"/>
                      <a:pt x="130" y="94"/>
                      <a:pt x="128" y="71"/>
                    </a:cubicBezTo>
                    <a:cubicBezTo>
                      <a:pt x="126" y="50"/>
                      <a:pt x="116" y="33"/>
                      <a:pt x="97" y="23"/>
                    </a:cubicBezTo>
                    <a:cubicBezTo>
                      <a:pt x="90" y="19"/>
                      <a:pt x="82" y="17"/>
                      <a:pt x="74" y="14"/>
                    </a:cubicBezTo>
                    <a:cubicBezTo>
                      <a:pt x="72" y="14"/>
                      <a:pt x="71" y="14"/>
                      <a:pt x="69" y="14"/>
                    </a:cubicBezTo>
                    <a:moveTo>
                      <a:pt x="71" y="0"/>
                    </a:moveTo>
                    <a:cubicBezTo>
                      <a:pt x="62" y="0"/>
                      <a:pt x="52" y="2"/>
                      <a:pt x="43" y="6"/>
                    </a:cubicBezTo>
                    <a:cubicBezTo>
                      <a:pt x="41" y="7"/>
                      <a:pt x="40" y="7"/>
                      <a:pt x="39" y="8"/>
                    </a:cubicBezTo>
                    <a:cubicBezTo>
                      <a:pt x="46" y="6"/>
                      <a:pt x="53" y="4"/>
                      <a:pt x="60" y="4"/>
                    </a:cubicBezTo>
                    <a:cubicBezTo>
                      <a:pt x="69" y="4"/>
                      <a:pt x="77" y="6"/>
                      <a:pt x="85" y="10"/>
                    </a:cubicBezTo>
                    <a:cubicBezTo>
                      <a:pt x="87" y="11"/>
                      <a:pt x="86" y="15"/>
                      <a:pt x="83" y="15"/>
                    </a:cubicBezTo>
                    <a:cubicBezTo>
                      <a:pt x="83" y="15"/>
                      <a:pt x="83" y="15"/>
                      <a:pt x="83" y="15"/>
                    </a:cubicBezTo>
                    <a:cubicBezTo>
                      <a:pt x="83" y="15"/>
                      <a:pt x="82" y="15"/>
                      <a:pt x="82" y="15"/>
                    </a:cubicBezTo>
                    <a:cubicBezTo>
                      <a:pt x="97" y="19"/>
                      <a:pt x="111" y="24"/>
                      <a:pt x="122" y="39"/>
                    </a:cubicBezTo>
                    <a:cubicBezTo>
                      <a:pt x="128" y="48"/>
                      <a:pt x="132" y="60"/>
                      <a:pt x="134" y="72"/>
                    </a:cubicBezTo>
                    <a:cubicBezTo>
                      <a:pt x="136" y="76"/>
                      <a:pt x="137" y="81"/>
                      <a:pt x="138" y="85"/>
                    </a:cubicBezTo>
                    <a:cubicBezTo>
                      <a:pt x="138" y="85"/>
                      <a:pt x="138" y="84"/>
                      <a:pt x="138" y="84"/>
                    </a:cubicBezTo>
                    <a:cubicBezTo>
                      <a:pt x="139" y="80"/>
                      <a:pt x="140" y="76"/>
                      <a:pt x="140" y="72"/>
                    </a:cubicBezTo>
                    <a:cubicBezTo>
                      <a:pt x="140" y="68"/>
                      <a:pt x="139" y="64"/>
                      <a:pt x="139" y="60"/>
                    </a:cubicBezTo>
                    <a:cubicBezTo>
                      <a:pt x="139" y="60"/>
                      <a:pt x="139" y="60"/>
                      <a:pt x="139" y="60"/>
                    </a:cubicBezTo>
                    <a:cubicBezTo>
                      <a:pt x="138" y="53"/>
                      <a:pt x="136" y="47"/>
                      <a:pt x="134" y="42"/>
                    </a:cubicBezTo>
                    <a:cubicBezTo>
                      <a:pt x="129" y="27"/>
                      <a:pt x="116" y="15"/>
                      <a:pt x="101" y="10"/>
                    </a:cubicBezTo>
                    <a:cubicBezTo>
                      <a:pt x="93" y="6"/>
                      <a:pt x="82" y="6"/>
                      <a:pt x="74" y="2"/>
                    </a:cubicBezTo>
                    <a:cubicBezTo>
                      <a:pt x="74" y="2"/>
                      <a:pt x="74" y="2"/>
                      <a:pt x="74" y="2"/>
                    </a:cubicBezTo>
                    <a:cubicBezTo>
                      <a:pt x="74" y="2"/>
                      <a:pt x="74" y="2"/>
                      <a:pt x="74" y="2"/>
                    </a:cubicBezTo>
                    <a:cubicBezTo>
                      <a:pt x="75" y="0"/>
                      <a:pt x="75" y="0"/>
                      <a:pt x="75" y="0"/>
                    </a:cubicBezTo>
                    <a:cubicBezTo>
                      <a:pt x="73" y="0"/>
                      <a:pt x="72" y="0"/>
                      <a:pt x="71" y="0"/>
                    </a:cubicBezTo>
                  </a:path>
                </a:pathLst>
              </a:custGeom>
              <a:solidFill>
                <a:srgbClr val="83C3E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152" name="Freeform 64">
                <a:extLst>
                  <a:ext uri="{FF2B5EF4-FFF2-40B4-BE49-F238E27FC236}">
                    <a16:creationId xmlns:a16="http://schemas.microsoft.com/office/drawing/2014/main" id="{ECCA396D-A591-469B-AB0F-28568EC2D036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2505" y="1894"/>
                <a:ext cx="436" cy="334"/>
              </a:xfrm>
              <a:custGeom>
                <a:avLst/>
                <a:gdLst>
                  <a:gd name="T0" fmla="*/ 48 w 412"/>
                  <a:gd name="T1" fmla="*/ 252 h 316"/>
                  <a:gd name="T2" fmla="*/ 140 w 412"/>
                  <a:gd name="T3" fmla="*/ 277 h 316"/>
                  <a:gd name="T4" fmla="*/ 45 w 412"/>
                  <a:gd name="T5" fmla="*/ 230 h 316"/>
                  <a:gd name="T6" fmla="*/ 47 w 412"/>
                  <a:gd name="T7" fmla="*/ 165 h 316"/>
                  <a:gd name="T8" fmla="*/ 290 w 412"/>
                  <a:gd name="T9" fmla="*/ 208 h 316"/>
                  <a:gd name="T10" fmla="*/ 296 w 412"/>
                  <a:gd name="T11" fmla="*/ 203 h 316"/>
                  <a:gd name="T12" fmla="*/ 210 w 412"/>
                  <a:gd name="T13" fmla="*/ 132 h 316"/>
                  <a:gd name="T14" fmla="*/ 200 w 412"/>
                  <a:gd name="T15" fmla="*/ 113 h 316"/>
                  <a:gd name="T16" fmla="*/ 208 w 412"/>
                  <a:gd name="T17" fmla="*/ 115 h 316"/>
                  <a:gd name="T18" fmla="*/ 209 w 412"/>
                  <a:gd name="T19" fmla="*/ 95 h 316"/>
                  <a:gd name="T20" fmla="*/ 214 w 412"/>
                  <a:gd name="T21" fmla="*/ 67 h 316"/>
                  <a:gd name="T22" fmla="*/ 131 w 412"/>
                  <a:gd name="T23" fmla="*/ 121 h 316"/>
                  <a:gd name="T24" fmla="*/ 190 w 412"/>
                  <a:gd name="T25" fmla="*/ 199 h 316"/>
                  <a:gd name="T26" fmla="*/ 178 w 412"/>
                  <a:gd name="T27" fmla="*/ 231 h 316"/>
                  <a:gd name="T28" fmla="*/ 50 w 412"/>
                  <a:gd name="T29" fmla="*/ 265 h 316"/>
                  <a:gd name="T30" fmla="*/ 64 w 412"/>
                  <a:gd name="T31" fmla="*/ 150 h 316"/>
                  <a:gd name="T32" fmla="*/ 264 w 412"/>
                  <a:gd name="T33" fmla="*/ 37 h 316"/>
                  <a:gd name="T34" fmla="*/ 340 w 412"/>
                  <a:gd name="T35" fmla="*/ 54 h 316"/>
                  <a:gd name="T36" fmla="*/ 337 w 412"/>
                  <a:gd name="T37" fmla="*/ 59 h 316"/>
                  <a:gd name="T38" fmla="*/ 356 w 412"/>
                  <a:gd name="T39" fmla="*/ 83 h 316"/>
                  <a:gd name="T40" fmla="*/ 354 w 412"/>
                  <a:gd name="T41" fmla="*/ 90 h 316"/>
                  <a:gd name="T42" fmla="*/ 375 w 412"/>
                  <a:gd name="T43" fmla="*/ 98 h 316"/>
                  <a:gd name="T44" fmla="*/ 375 w 412"/>
                  <a:gd name="T45" fmla="*/ 107 h 316"/>
                  <a:gd name="T46" fmla="*/ 373 w 412"/>
                  <a:gd name="T47" fmla="*/ 127 h 316"/>
                  <a:gd name="T48" fmla="*/ 370 w 412"/>
                  <a:gd name="T49" fmla="*/ 142 h 316"/>
                  <a:gd name="T50" fmla="*/ 367 w 412"/>
                  <a:gd name="T51" fmla="*/ 154 h 316"/>
                  <a:gd name="T52" fmla="*/ 327 w 412"/>
                  <a:gd name="T53" fmla="*/ 206 h 316"/>
                  <a:gd name="T54" fmla="*/ 197 w 412"/>
                  <a:gd name="T55" fmla="*/ 104 h 316"/>
                  <a:gd name="T56" fmla="*/ 193 w 412"/>
                  <a:gd name="T57" fmla="*/ 96 h 316"/>
                  <a:gd name="T58" fmla="*/ 222 w 412"/>
                  <a:gd name="T59" fmla="*/ 55 h 316"/>
                  <a:gd name="T60" fmla="*/ 225 w 412"/>
                  <a:gd name="T61" fmla="*/ 52 h 316"/>
                  <a:gd name="T62" fmla="*/ 236 w 412"/>
                  <a:gd name="T63" fmla="*/ 47 h 316"/>
                  <a:gd name="T64" fmla="*/ 254 w 412"/>
                  <a:gd name="T65" fmla="*/ 42 h 316"/>
                  <a:gd name="T66" fmla="*/ 264 w 412"/>
                  <a:gd name="T67" fmla="*/ 37 h 316"/>
                  <a:gd name="T68" fmla="*/ 248 w 412"/>
                  <a:gd name="T69" fmla="*/ 12 h 316"/>
                  <a:gd name="T70" fmla="*/ 36 w 412"/>
                  <a:gd name="T71" fmla="*/ 140 h 316"/>
                  <a:gd name="T72" fmla="*/ 2 w 412"/>
                  <a:gd name="T73" fmla="*/ 247 h 316"/>
                  <a:gd name="T74" fmla="*/ 86 w 412"/>
                  <a:gd name="T75" fmla="*/ 314 h 316"/>
                  <a:gd name="T76" fmla="*/ 111 w 412"/>
                  <a:gd name="T77" fmla="*/ 316 h 316"/>
                  <a:gd name="T78" fmla="*/ 195 w 412"/>
                  <a:gd name="T79" fmla="*/ 303 h 316"/>
                  <a:gd name="T80" fmla="*/ 397 w 412"/>
                  <a:gd name="T81" fmla="*/ 135 h 316"/>
                  <a:gd name="T82" fmla="*/ 258 w 412"/>
                  <a:gd name="T83" fmla="*/ 0 h 316"/>
                  <a:gd name="T84" fmla="*/ 406 w 412"/>
                  <a:gd name="T85" fmla="*/ 165 h 316"/>
                  <a:gd name="T86" fmla="*/ 412 w 412"/>
                  <a:gd name="T87" fmla="*/ 149 h 316"/>
                  <a:gd name="T88" fmla="*/ 327 w 412"/>
                  <a:gd name="T89" fmla="*/ 20 h 3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412" h="316">
                    <a:moveTo>
                      <a:pt x="47" y="165"/>
                    </a:moveTo>
                    <a:cubicBezTo>
                      <a:pt x="39" y="172"/>
                      <a:pt x="36" y="184"/>
                      <a:pt x="34" y="194"/>
                    </a:cubicBezTo>
                    <a:cubicBezTo>
                      <a:pt x="29" y="216"/>
                      <a:pt x="36" y="234"/>
                      <a:pt x="48" y="252"/>
                    </a:cubicBezTo>
                    <a:cubicBezTo>
                      <a:pt x="62" y="272"/>
                      <a:pt x="87" y="286"/>
                      <a:pt x="112" y="286"/>
                    </a:cubicBezTo>
                    <a:cubicBezTo>
                      <a:pt x="112" y="286"/>
                      <a:pt x="113" y="286"/>
                      <a:pt x="113" y="286"/>
                    </a:cubicBezTo>
                    <a:cubicBezTo>
                      <a:pt x="123" y="286"/>
                      <a:pt x="133" y="282"/>
                      <a:pt x="140" y="277"/>
                    </a:cubicBezTo>
                    <a:cubicBezTo>
                      <a:pt x="134" y="279"/>
                      <a:pt x="127" y="281"/>
                      <a:pt x="119" y="281"/>
                    </a:cubicBezTo>
                    <a:cubicBezTo>
                      <a:pt x="105" y="281"/>
                      <a:pt x="90" y="276"/>
                      <a:pt x="79" y="268"/>
                    </a:cubicBezTo>
                    <a:cubicBezTo>
                      <a:pt x="63" y="261"/>
                      <a:pt x="53" y="245"/>
                      <a:pt x="45" y="230"/>
                    </a:cubicBezTo>
                    <a:cubicBezTo>
                      <a:pt x="40" y="221"/>
                      <a:pt x="37" y="212"/>
                      <a:pt x="37" y="203"/>
                    </a:cubicBezTo>
                    <a:cubicBezTo>
                      <a:pt x="37" y="198"/>
                      <a:pt x="38" y="194"/>
                      <a:pt x="39" y="189"/>
                    </a:cubicBezTo>
                    <a:cubicBezTo>
                      <a:pt x="40" y="182"/>
                      <a:pt x="43" y="173"/>
                      <a:pt x="47" y="165"/>
                    </a:cubicBezTo>
                    <a:moveTo>
                      <a:pt x="200" y="113"/>
                    </a:moveTo>
                    <a:cubicBezTo>
                      <a:pt x="202" y="150"/>
                      <a:pt x="221" y="184"/>
                      <a:pt x="255" y="200"/>
                    </a:cubicBezTo>
                    <a:cubicBezTo>
                      <a:pt x="266" y="205"/>
                      <a:pt x="278" y="208"/>
                      <a:pt x="290" y="208"/>
                    </a:cubicBezTo>
                    <a:cubicBezTo>
                      <a:pt x="300" y="208"/>
                      <a:pt x="310" y="206"/>
                      <a:pt x="319" y="203"/>
                    </a:cubicBezTo>
                    <a:cubicBezTo>
                      <a:pt x="324" y="201"/>
                      <a:pt x="329" y="198"/>
                      <a:pt x="333" y="195"/>
                    </a:cubicBezTo>
                    <a:cubicBezTo>
                      <a:pt x="321" y="201"/>
                      <a:pt x="309" y="203"/>
                      <a:pt x="296" y="203"/>
                    </a:cubicBezTo>
                    <a:cubicBezTo>
                      <a:pt x="291" y="203"/>
                      <a:pt x="286" y="203"/>
                      <a:pt x="281" y="202"/>
                    </a:cubicBezTo>
                    <a:cubicBezTo>
                      <a:pt x="256" y="196"/>
                      <a:pt x="235" y="181"/>
                      <a:pt x="222" y="158"/>
                    </a:cubicBezTo>
                    <a:cubicBezTo>
                      <a:pt x="217" y="149"/>
                      <a:pt x="213" y="141"/>
                      <a:pt x="210" y="132"/>
                    </a:cubicBezTo>
                    <a:cubicBezTo>
                      <a:pt x="209" y="132"/>
                      <a:pt x="208" y="131"/>
                      <a:pt x="208" y="130"/>
                    </a:cubicBezTo>
                    <a:cubicBezTo>
                      <a:pt x="206" y="124"/>
                      <a:pt x="203" y="120"/>
                      <a:pt x="201" y="114"/>
                    </a:cubicBezTo>
                    <a:cubicBezTo>
                      <a:pt x="201" y="114"/>
                      <a:pt x="200" y="114"/>
                      <a:pt x="200" y="113"/>
                    </a:cubicBezTo>
                    <a:moveTo>
                      <a:pt x="214" y="67"/>
                    </a:moveTo>
                    <a:cubicBezTo>
                      <a:pt x="207" y="76"/>
                      <a:pt x="200" y="89"/>
                      <a:pt x="201" y="98"/>
                    </a:cubicBezTo>
                    <a:cubicBezTo>
                      <a:pt x="201" y="104"/>
                      <a:pt x="204" y="109"/>
                      <a:pt x="208" y="115"/>
                    </a:cubicBezTo>
                    <a:cubicBezTo>
                      <a:pt x="207" y="111"/>
                      <a:pt x="207" y="107"/>
                      <a:pt x="207" y="103"/>
                    </a:cubicBezTo>
                    <a:cubicBezTo>
                      <a:pt x="207" y="101"/>
                      <a:pt x="207" y="98"/>
                      <a:pt x="207" y="95"/>
                    </a:cubicBezTo>
                    <a:cubicBezTo>
                      <a:pt x="209" y="95"/>
                      <a:pt x="209" y="95"/>
                      <a:pt x="209" y="95"/>
                    </a:cubicBezTo>
                    <a:cubicBezTo>
                      <a:pt x="208" y="92"/>
                      <a:pt x="207" y="89"/>
                      <a:pt x="204" y="88"/>
                    </a:cubicBezTo>
                    <a:cubicBezTo>
                      <a:pt x="204" y="88"/>
                      <a:pt x="204" y="88"/>
                      <a:pt x="204" y="88"/>
                    </a:cubicBezTo>
                    <a:cubicBezTo>
                      <a:pt x="207" y="81"/>
                      <a:pt x="210" y="74"/>
                      <a:pt x="214" y="67"/>
                    </a:cubicBezTo>
                    <a:moveTo>
                      <a:pt x="81" y="136"/>
                    </a:moveTo>
                    <a:cubicBezTo>
                      <a:pt x="92" y="127"/>
                      <a:pt x="107" y="124"/>
                      <a:pt x="122" y="121"/>
                    </a:cubicBezTo>
                    <a:cubicBezTo>
                      <a:pt x="131" y="121"/>
                      <a:pt x="131" y="121"/>
                      <a:pt x="131" y="121"/>
                    </a:cubicBezTo>
                    <a:cubicBezTo>
                      <a:pt x="141" y="125"/>
                      <a:pt x="150" y="127"/>
                      <a:pt x="159" y="134"/>
                    </a:cubicBezTo>
                    <a:cubicBezTo>
                      <a:pt x="175" y="143"/>
                      <a:pt x="185" y="166"/>
                      <a:pt x="188" y="184"/>
                    </a:cubicBezTo>
                    <a:cubicBezTo>
                      <a:pt x="189" y="189"/>
                      <a:pt x="190" y="194"/>
                      <a:pt x="190" y="199"/>
                    </a:cubicBezTo>
                    <a:cubicBezTo>
                      <a:pt x="190" y="208"/>
                      <a:pt x="187" y="217"/>
                      <a:pt x="181" y="224"/>
                    </a:cubicBezTo>
                    <a:cubicBezTo>
                      <a:pt x="181" y="225"/>
                      <a:pt x="181" y="225"/>
                      <a:pt x="180" y="226"/>
                    </a:cubicBezTo>
                    <a:cubicBezTo>
                      <a:pt x="180" y="227"/>
                      <a:pt x="179" y="229"/>
                      <a:pt x="178" y="231"/>
                    </a:cubicBezTo>
                    <a:cubicBezTo>
                      <a:pt x="176" y="240"/>
                      <a:pt x="171" y="250"/>
                      <a:pt x="165" y="258"/>
                    </a:cubicBezTo>
                    <a:cubicBezTo>
                      <a:pt x="153" y="280"/>
                      <a:pt x="130" y="291"/>
                      <a:pt x="107" y="291"/>
                    </a:cubicBezTo>
                    <a:cubicBezTo>
                      <a:pt x="86" y="291"/>
                      <a:pt x="65" y="283"/>
                      <a:pt x="50" y="265"/>
                    </a:cubicBezTo>
                    <a:cubicBezTo>
                      <a:pt x="31" y="244"/>
                      <a:pt x="21" y="218"/>
                      <a:pt x="29" y="191"/>
                    </a:cubicBezTo>
                    <a:cubicBezTo>
                      <a:pt x="33" y="179"/>
                      <a:pt x="40" y="163"/>
                      <a:pt x="52" y="158"/>
                    </a:cubicBezTo>
                    <a:cubicBezTo>
                      <a:pt x="55" y="154"/>
                      <a:pt x="59" y="151"/>
                      <a:pt x="64" y="150"/>
                    </a:cubicBezTo>
                    <a:cubicBezTo>
                      <a:pt x="68" y="144"/>
                      <a:pt x="74" y="140"/>
                      <a:pt x="81" y="136"/>
                    </a:cubicBezTo>
                    <a:moveTo>
                      <a:pt x="264" y="37"/>
                    </a:moveTo>
                    <a:cubicBezTo>
                      <a:pt x="264" y="37"/>
                      <a:pt x="264" y="37"/>
                      <a:pt x="264" y="37"/>
                    </a:cubicBezTo>
                    <a:cubicBezTo>
                      <a:pt x="269" y="35"/>
                      <a:pt x="273" y="34"/>
                      <a:pt x="277" y="34"/>
                    </a:cubicBezTo>
                    <a:cubicBezTo>
                      <a:pt x="279" y="34"/>
                      <a:pt x="282" y="34"/>
                      <a:pt x="284" y="35"/>
                    </a:cubicBezTo>
                    <a:cubicBezTo>
                      <a:pt x="303" y="39"/>
                      <a:pt x="322" y="43"/>
                      <a:pt x="340" y="54"/>
                    </a:cubicBezTo>
                    <a:cubicBezTo>
                      <a:pt x="340" y="54"/>
                      <a:pt x="340" y="54"/>
                      <a:pt x="340" y="54"/>
                    </a:cubicBezTo>
                    <a:cubicBezTo>
                      <a:pt x="340" y="56"/>
                      <a:pt x="339" y="58"/>
                      <a:pt x="337" y="59"/>
                    </a:cubicBezTo>
                    <a:cubicBezTo>
                      <a:pt x="337" y="59"/>
                      <a:pt x="337" y="59"/>
                      <a:pt x="337" y="59"/>
                    </a:cubicBezTo>
                    <a:cubicBezTo>
                      <a:pt x="339" y="60"/>
                      <a:pt x="339" y="60"/>
                      <a:pt x="339" y="60"/>
                    </a:cubicBezTo>
                    <a:cubicBezTo>
                      <a:pt x="344" y="65"/>
                      <a:pt x="353" y="76"/>
                      <a:pt x="356" y="83"/>
                    </a:cubicBezTo>
                    <a:cubicBezTo>
                      <a:pt x="356" y="83"/>
                      <a:pt x="356" y="83"/>
                      <a:pt x="356" y="83"/>
                    </a:cubicBezTo>
                    <a:cubicBezTo>
                      <a:pt x="356" y="83"/>
                      <a:pt x="355" y="85"/>
                      <a:pt x="355" y="88"/>
                    </a:cubicBezTo>
                    <a:cubicBezTo>
                      <a:pt x="354" y="90"/>
                      <a:pt x="354" y="90"/>
                      <a:pt x="354" y="90"/>
                    </a:cubicBezTo>
                    <a:cubicBezTo>
                      <a:pt x="354" y="90"/>
                      <a:pt x="354" y="90"/>
                      <a:pt x="354" y="90"/>
                    </a:cubicBezTo>
                    <a:cubicBezTo>
                      <a:pt x="357" y="90"/>
                      <a:pt x="360" y="91"/>
                      <a:pt x="363" y="92"/>
                    </a:cubicBezTo>
                    <a:cubicBezTo>
                      <a:pt x="365" y="92"/>
                      <a:pt x="371" y="93"/>
                      <a:pt x="373" y="94"/>
                    </a:cubicBezTo>
                    <a:cubicBezTo>
                      <a:pt x="375" y="95"/>
                      <a:pt x="375" y="97"/>
                      <a:pt x="375" y="98"/>
                    </a:cubicBezTo>
                    <a:cubicBezTo>
                      <a:pt x="375" y="100"/>
                      <a:pt x="374" y="103"/>
                      <a:pt x="374" y="105"/>
                    </a:cubicBezTo>
                    <a:cubicBezTo>
                      <a:pt x="374" y="106"/>
                      <a:pt x="375" y="107"/>
                      <a:pt x="375" y="107"/>
                    </a:cubicBezTo>
                    <a:cubicBezTo>
                      <a:pt x="375" y="107"/>
                      <a:pt x="375" y="107"/>
                      <a:pt x="375" y="107"/>
                    </a:cubicBezTo>
                    <a:cubicBezTo>
                      <a:pt x="374" y="113"/>
                      <a:pt x="373" y="118"/>
                      <a:pt x="373" y="123"/>
                    </a:cubicBezTo>
                    <a:cubicBezTo>
                      <a:pt x="373" y="124"/>
                      <a:pt x="373" y="126"/>
                      <a:pt x="373" y="127"/>
                    </a:cubicBezTo>
                    <a:cubicBezTo>
                      <a:pt x="373" y="127"/>
                      <a:pt x="373" y="127"/>
                      <a:pt x="373" y="127"/>
                    </a:cubicBezTo>
                    <a:cubicBezTo>
                      <a:pt x="372" y="131"/>
                      <a:pt x="373" y="136"/>
                      <a:pt x="370" y="142"/>
                    </a:cubicBezTo>
                    <a:cubicBezTo>
                      <a:pt x="370" y="142"/>
                      <a:pt x="370" y="142"/>
                      <a:pt x="370" y="142"/>
                    </a:cubicBezTo>
                    <a:cubicBezTo>
                      <a:pt x="370" y="142"/>
                      <a:pt x="370" y="142"/>
                      <a:pt x="370" y="142"/>
                    </a:cubicBezTo>
                    <a:cubicBezTo>
                      <a:pt x="369" y="142"/>
                      <a:pt x="369" y="142"/>
                      <a:pt x="369" y="142"/>
                    </a:cubicBezTo>
                    <a:cubicBezTo>
                      <a:pt x="369" y="141"/>
                      <a:pt x="368" y="141"/>
                      <a:pt x="368" y="141"/>
                    </a:cubicBezTo>
                    <a:cubicBezTo>
                      <a:pt x="367" y="146"/>
                      <a:pt x="368" y="149"/>
                      <a:pt x="367" y="154"/>
                    </a:cubicBezTo>
                    <a:cubicBezTo>
                      <a:pt x="367" y="163"/>
                      <a:pt x="363" y="170"/>
                      <a:pt x="358" y="176"/>
                    </a:cubicBezTo>
                    <a:cubicBezTo>
                      <a:pt x="358" y="176"/>
                      <a:pt x="358" y="176"/>
                      <a:pt x="358" y="176"/>
                    </a:cubicBezTo>
                    <a:cubicBezTo>
                      <a:pt x="353" y="190"/>
                      <a:pt x="340" y="200"/>
                      <a:pt x="327" y="206"/>
                    </a:cubicBezTo>
                    <a:cubicBezTo>
                      <a:pt x="315" y="212"/>
                      <a:pt x="300" y="216"/>
                      <a:pt x="285" y="216"/>
                    </a:cubicBezTo>
                    <a:cubicBezTo>
                      <a:pt x="281" y="216"/>
                      <a:pt x="276" y="216"/>
                      <a:pt x="272" y="215"/>
                    </a:cubicBezTo>
                    <a:cubicBezTo>
                      <a:pt x="219" y="206"/>
                      <a:pt x="196" y="152"/>
                      <a:pt x="197" y="104"/>
                    </a:cubicBezTo>
                    <a:cubicBezTo>
                      <a:pt x="197" y="103"/>
                      <a:pt x="197" y="103"/>
                      <a:pt x="198" y="103"/>
                    </a:cubicBezTo>
                    <a:cubicBezTo>
                      <a:pt x="197" y="101"/>
                      <a:pt x="196" y="100"/>
                      <a:pt x="195" y="100"/>
                    </a:cubicBezTo>
                    <a:cubicBezTo>
                      <a:pt x="193" y="99"/>
                      <a:pt x="192" y="98"/>
                      <a:pt x="193" y="96"/>
                    </a:cubicBezTo>
                    <a:cubicBezTo>
                      <a:pt x="197" y="80"/>
                      <a:pt x="207" y="64"/>
                      <a:pt x="222" y="55"/>
                    </a:cubicBezTo>
                    <a:cubicBezTo>
                      <a:pt x="222" y="55"/>
                      <a:pt x="222" y="55"/>
                      <a:pt x="222" y="55"/>
                    </a:cubicBezTo>
                    <a:cubicBezTo>
                      <a:pt x="222" y="55"/>
                      <a:pt x="222" y="55"/>
                      <a:pt x="222" y="55"/>
                    </a:cubicBezTo>
                    <a:cubicBezTo>
                      <a:pt x="222" y="55"/>
                      <a:pt x="223" y="55"/>
                      <a:pt x="223" y="55"/>
                    </a:cubicBezTo>
                    <a:cubicBezTo>
                      <a:pt x="223" y="53"/>
                      <a:pt x="223" y="52"/>
                      <a:pt x="225" y="52"/>
                    </a:cubicBezTo>
                    <a:cubicBezTo>
                      <a:pt x="225" y="52"/>
                      <a:pt x="225" y="52"/>
                      <a:pt x="225" y="52"/>
                    </a:cubicBezTo>
                    <a:cubicBezTo>
                      <a:pt x="225" y="52"/>
                      <a:pt x="225" y="52"/>
                      <a:pt x="225" y="52"/>
                    </a:cubicBezTo>
                    <a:cubicBezTo>
                      <a:pt x="227" y="50"/>
                      <a:pt x="229" y="49"/>
                      <a:pt x="231" y="47"/>
                    </a:cubicBezTo>
                    <a:cubicBezTo>
                      <a:pt x="236" y="47"/>
                      <a:pt x="236" y="47"/>
                      <a:pt x="236" y="47"/>
                    </a:cubicBezTo>
                    <a:cubicBezTo>
                      <a:pt x="237" y="48"/>
                      <a:pt x="238" y="48"/>
                      <a:pt x="239" y="49"/>
                    </a:cubicBezTo>
                    <a:cubicBezTo>
                      <a:pt x="242" y="48"/>
                      <a:pt x="242" y="48"/>
                      <a:pt x="242" y="48"/>
                    </a:cubicBezTo>
                    <a:cubicBezTo>
                      <a:pt x="247" y="46"/>
                      <a:pt x="252" y="43"/>
                      <a:pt x="254" y="42"/>
                    </a:cubicBezTo>
                    <a:cubicBezTo>
                      <a:pt x="257" y="41"/>
                      <a:pt x="261" y="39"/>
                      <a:pt x="265" y="39"/>
                    </a:cubicBezTo>
                    <a:cubicBezTo>
                      <a:pt x="265" y="39"/>
                      <a:pt x="265" y="39"/>
                      <a:pt x="265" y="39"/>
                    </a:cubicBezTo>
                    <a:cubicBezTo>
                      <a:pt x="264" y="37"/>
                      <a:pt x="264" y="37"/>
                      <a:pt x="264" y="37"/>
                    </a:cubicBezTo>
                    <a:moveTo>
                      <a:pt x="246" y="8"/>
                    </a:moveTo>
                    <a:cubicBezTo>
                      <a:pt x="211" y="13"/>
                      <a:pt x="178" y="24"/>
                      <a:pt x="148" y="41"/>
                    </a:cubicBezTo>
                    <a:cubicBezTo>
                      <a:pt x="179" y="26"/>
                      <a:pt x="213" y="16"/>
                      <a:pt x="248" y="12"/>
                    </a:cubicBezTo>
                    <a:cubicBezTo>
                      <a:pt x="249" y="12"/>
                      <a:pt x="249" y="12"/>
                      <a:pt x="249" y="12"/>
                    </a:cubicBezTo>
                    <a:cubicBezTo>
                      <a:pt x="253" y="12"/>
                      <a:pt x="254" y="19"/>
                      <a:pt x="249" y="19"/>
                    </a:cubicBezTo>
                    <a:cubicBezTo>
                      <a:pt x="167" y="29"/>
                      <a:pt x="88" y="75"/>
                      <a:pt x="36" y="140"/>
                    </a:cubicBezTo>
                    <a:cubicBezTo>
                      <a:pt x="26" y="153"/>
                      <a:pt x="16" y="166"/>
                      <a:pt x="9" y="180"/>
                    </a:cubicBezTo>
                    <a:cubicBezTo>
                      <a:pt x="3" y="195"/>
                      <a:pt x="0" y="210"/>
                      <a:pt x="0" y="226"/>
                    </a:cubicBezTo>
                    <a:cubicBezTo>
                      <a:pt x="0" y="233"/>
                      <a:pt x="0" y="240"/>
                      <a:pt x="2" y="247"/>
                    </a:cubicBezTo>
                    <a:cubicBezTo>
                      <a:pt x="11" y="285"/>
                      <a:pt x="46" y="308"/>
                      <a:pt x="85" y="314"/>
                    </a:cubicBezTo>
                    <a:cubicBezTo>
                      <a:pt x="85" y="314"/>
                      <a:pt x="85" y="314"/>
                      <a:pt x="85" y="314"/>
                    </a:cubicBezTo>
                    <a:cubicBezTo>
                      <a:pt x="85" y="314"/>
                      <a:pt x="85" y="314"/>
                      <a:pt x="86" y="314"/>
                    </a:cubicBezTo>
                    <a:cubicBezTo>
                      <a:pt x="94" y="315"/>
                      <a:pt x="103" y="316"/>
                      <a:pt x="111" y="316"/>
                    </a:cubicBezTo>
                    <a:cubicBezTo>
                      <a:pt x="111" y="316"/>
                      <a:pt x="111" y="316"/>
                      <a:pt x="111" y="316"/>
                    </a:cubicBezTo>
                    <a:cubicBezTo>
                      <a:pt x="111" y="316"/>
                      <a:pt x="111" y="316"/>
                      <a:pt x="111" y="316"/>
                    </a:cubicBezTo>
                    <a:cubicBezTo>
                      <a:pt x="138" y="316"/>
                      <a:pt x="165" y="310"/>
                      <a:pt x="192" y="303"/>
                    </a:cubicBezTo>
                    <a:cubicBezTo>
                      <a:pt x="192" y="303"/>
                      <a:pt x="192" y="303"/>
                      <a:pt x="192" y="303"/>
                    </a:cubicBezTo>
                    <a:cubicBezTo>
                      <a:pt x="193" y="303"/>
                      <a:pt x="194" y="303"/>
                      <a:pt x="195" y="303"/>
                    </a:cubicBezTo>
                    <a:cubicBezTo>
                      <a:pt x="195" y="303"/>
                      <a:pt x="195" y="303"/>
                      <a:pt x="195" y="303"/>
                    </a:cubicBezTo>
                    <a:cubicBezTo>
                      <a:pt x="234" y="296"/>
                      <a:pt x="273" y="287"/>
                      <a:pt x="311" y="271"/>
                    </a:cubicBezTo>
                    <a:cubicBezTo>
                      <a:pt x="365" y="246"/>
                      <a:pt x="411" y="201"/>
                      <a:pt x="397" y="135"/>
                    </a:cubicBezTo>
                    <a:cubicBezTo>
                      <a:pt x="382" y="64"/>
                      <a:pt x="314" y="17"/>
                      <a:pt x="246" y="9"/>
                    </a:cubicBezTo>
                    <a:cubicBezTo>
                      <a:pt x="246" y="9"/>
                      <a:pt x="246" y="9"/>
                      <a:pt x="246" y="8"/>
                    </a:cubicBezTo>
                    <a:moveTo>
                      <a:pt x="258" y="0"/>
                    </a:moveTo>
                    <a:cubicBezTo>
                      <a:pt x="257" y="7"/>
                      <a:pt x="257" y="7"/>
                      <a:pt x="257" y="7"/>
                    </a:cubicBezTo>
                    <a:cubicBezTo>
                      <a:pt x="255" y="7"/>
                      <a:pt x="252" y="7"/>
                      <a:pt x="249" y="8"/>
                    </a:cubicBezTo>
                    <a:cubicBezTo>
                      <a:pt x="328" y="12"/>
                      <a:pt x="411" y="81"/>
                      <a:pt x="406" y="165"/>
                    </a:cubicBezTo>
                    <a:cubicBezTo>
                      <a:pt x="405" y="179"/>
                      <a:pt x="402" y="193"/>
                      <a:pt x="396" y="205"/>
                    </a:cubicBezTo>
                    <a:cubicBezTo>
                      <a:pt x="398" y="202"/>
                      <a:pt x="400" y="198"/>
                      <a:pt x="402" y="195"/>
                    </a:cubicBezTo>
                    <a:cubicBezTo>
                      <a:pt x="408" y="180"/>
                      <a:pt x="412" y="164"/>
                      <a:pt x="412" y="149"/>
                    </a:cubicBezTo>
                    <a:cubicBezTo>
                      <a:pt x="412" y="145"/>
                      <a:pt x="411" y="141"/>
                      <a:pt x="411" y="138"/>
                    </a:cubicBezTo>
                    <a:cubicBezTo>
                      <a:pt x="394" y="97"/>
                      <a:pt x="370" y="59"/>
                      <a:pt x="339" y="27"/>
                    </a:cubicBezTo>
                    <a:cubicBezTo>
                      <a:pt x="335" y="25"/>
                      <a:pt x="331" y="22"/>
                      <a:pt x="327" y="20"/>
                    </a:cubicBezTo>
                    <a:cubicBezTo>
                      <a:pt x="307" y="9"/>
                      <a:pt x="283" y="2"/>
                      <a:pt x="258" y="0"/>
                    </a:cubicBezTo>
                  </a:path>
                </a:pathLst>
              </a:custGeom>
              <a:solidFill>
                <a:srgbClr val="6F686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153" name="Freeform 65">
                <a:extLst>
                  <a:ext uri="{FF2B5EF4-FFF2-40B4-BE49-F238E27FC236}">
                    <a16:creationId xmlns:a16="http://schemas.microsoft.com/office/drawing/2014/main" id="{52A41846-838A-4EA6-85A2-0CF0D9BAC5B9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2015" y="1756"/>
                <a:ext cx="418" cy="394"/>
              </a:xfrm>
              <a:custGeom>
                <a:avLst/>
                <a:gdLst>
                  <a:gd name="T0" fmla="*/ 320 w 394"/>
                  <a:gd name="T1" fmla="*/ 332 h 372"/>
                  <a:gd name="T2" fmla="*/ 202 w 394"/>
                  <a:gd name="T3" fmla="*/ 291 h 372"/>
                  <a:gd name="T4" fmla="*/ 206 w 394"/>
                  <a:gd name="T5" fmla="*/ 275 h 372"/>
                  <a:gd name="T6" fmla="*/ 208 w 394"/>
                  <a:gd name="T7" fmla="*/ 227 h 372"/>
                  <a:gd name="T8" fmla="*/ 112 w 394"/>
                  <a:gd name="T9" fmla="*/ 222 h 372"/>
                  <a:gd name="T10" fmla="*/ 83 w 394"/>
                  <a:gd name="T11" fmla="*/ 188 h 372"/>
                  <a:gd name="T12" fmla="*/ 209 w 394"/>
                  <a:gd name="T13" fmla="*/ 159 h 372"/>
                  <a:gd name="T14" fmla="*/ 211 w 394"/>
                  <a:gd name="T15" fmla="*/ 166 h 372"/>
                  <a:gd name="T16" fmla="*/ 24 w 394"/>
                  <a:gd name="T17" fmla="*/ 93 h 372"/>
                  <a:gd name="T18" fmla="*/ 44 w 394"/>
                  <a:gd name="T19" fmla="*/ 134 h 372"/>
                  <a:gd name="T20" fmla="*/ 24 w 394"/>
                  <a:gd name="T21" fmla="*/ 93 h 372"/>
                  <a:gd name="T22" fmla="*/ 281 w 394"/>
                  <a:gd name="T23" fmla="*/ 183 h 372"/>
                  <a:gd name="T24" fmla="*/ 307 w 394"/>
                  <a:gd name="T25" fmla="*/ 193 h 372"/>
                  <a:gd name="T26" fmla="*/ 351 w 394"/>
                  <a:gd name="T27" fmla="*/ 256 h 372"/>
                  <a:gd name="T28" fmla="*/ 283 w 394"/>
                  <a:gd name="T29" fmla="*/ 351 h 372"/>
                  <a:gd name="T30" fmla="*/ 194 w 394"/>
                  <a:gd name="T31" fmla="*/ 238 h 372"/>
                  <a:gd name="T32" fmla="*/ 163 w 394"/>
                  <a:gd name="T33" fmla="*/ 22 h 372"/>
                  <a:gd name="T34" fmla="*/ 191 w 394"/>
                  <a:gd name="T35" fmla="*/ 40 h 372"/>
                  <a:gd name="T36" fmla="*/ 200 w 394"/>
                  <a:gd name="T37" fmla="*/ 66 h 372"/>
                  <a:gd name="T38" fmla="*/ 224 w 394"/>
                  <a:gd name="T39" fmla="*/ 97 h 372"/>
                  <a:gd name="T40" fmla="*/ 253 w 394"/>
                  <a:gd name="T41" fmla="*/ 119 h 372"/>
                  <a:gd name="T42" fmla="*/ 211 w 394"/>
                  <a:gd name="T43" fmla="*/ 173 h 372"/>
                  <a:gd name="T44" fmla="*/ 159 w 394"/>
                  <a:gd name="T45" fmla="*/ 198 h 372"/>
                  <a:gd name="T46" fmla="*/ 167 w 394"/>
                  <a:gd name="T47" fmla="*/ 187 h 372"/>
                  <a:gd name="T48" fmla="*/ 109 w 394"/>
                  <a:gd name="T49" fmla="*/ 229 h 372"/>
                  <a:gd name="T50" fmla="*/ 62 w 394"/>
                  <a:gd name="T51" fmla="*/ 173 h 372"/>
                  <a:gd name="T52" fmla="*/ 53 w 394"/>
                  <a:gd name="T53" fmla="*/ 184 h 372"/>
                  <a:gd name="T54" fmla="*/ 13 w 394"/>
                  <a:gd name="T55" fmla="*/ 96 h 372"/>
                  <a:gd name="T56" fmla="*/ 68 w 394"/>
                  <a:gd name="T57" fmla="*/ 73 h 372"/>
                  <a:gd name="T58" fmla="*/ 69 w 394"/>
                  <a:gd name="T59" fmla="*/ 69 h 372"/>
                  <a:gd name="T60" fmla="*/ 106 w 394"/>
                  <a:gd name="T61" fmla="*/ 41 h 372"/>
                  <a:gd name="T62" fmla="*/ 119 w 394"/>
                  <a:gd name="T63" fmla="*/ 41 h 372"/>
                  <a:gd name="T64" fmla="*/ 152 w 394"/>
                  <a:gd name="T65" fmla="*/ 12 h 372"/>
                  <a:gd name="T66" fmla="*/ 6 w 394"/>
                  <a:gd name="T67" fmla="*/ 86 h 372"/>
                  <a:gd name="T68" fmla="*/ 231 w 394"/>
                  <a:gd name="T69" fmla="*/ 353 h 372"/>
                  <a:gd name="T70" fmla="*/ 232 w 394"/>
                  <a:gd name="T71" fmla="*/ 354 h 372"/>
                  <a:gd name="T72" fmla="*/ 234 w 394"/>
                  <a:gd name="T73" fmla="*/ 355 h 372"/>
                  <a:gd name="T74" fmla="*/ 306 w 394"/>
                  <a:gd name="T75" fmla="*/ 372 h 372"/>
                  <a:gd name="T76" fmla="*/ 321 w 394"/>
                  <a:gd name="T77" fmla="*/ 371 h 372"/>
                  <a:gd name="T78" fmla="*/ 342 w 394"/>
                  <a:gd name="T79" fmla="*/ 181 h 372"/>
                  <a:gd name="T80" fmla="*/ 159 w 394"/>
                  <a:gd name="T81" fmla="*/ 0 h 372"/>
                  <a:gd name="T82" fmla="*/ 106 w 394"/>
                  <a:gd name="T83" fmla="*/ 12 h 372"/>
                  <a:gd name="T84" fmla="*/ 99 w 394"/>
                  <a:gd name="T85" fmla="*/ 11 h 372"/>
                  <a:gd name="T86" fmla="*/ 224 w 394"/>
                  <a:gd name="T87" fmla="*/ 29 h 372"/>
                  <a:gd name="T88" fmla="*/ 381 w 394"/>
                  <a:gd name="T89" fmla="*/ 332 h 372"/>
                  <a:gd name="T90" fmla="*/ 311 w 394"/>
                  <a:gd name="T91" fmla="*/ 94 h 372"/>
                  <a:gd name="T92" fmla="*/ 230 w 394"/>
                  <a:gd name="T93" fmla="*/ 24 h 372"/>
                  <a:gd name="T94" fmla="*/ 190 w 394"/>
                  <a:gd name="T95" fmla="*/ 4 h 3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394" h="372">
                    <a:moveTo>
                      <a:pt x="202" y="291"/>
                    </a:moveTo>
                    <a:cubicBezTo>
                      <a:pt x="206" y="326"/>
                      <a:pt x="243" y="346"/>
                      <a:pt x="278" y="346"/>
                    </a:cubicBezTo>
                    <a:cubicBezTo>
                      <a:pt x="281" y="346"/>
                      <a:pt x="284" y="346"/>
                      <a:pt x="287" y="345"/>
                    </a:cubicBezTo>
                    <a:cubicBezTo>
                      <a:pt x="299" y="344"/>
                      <a:pt x="311" y="339"/>
                      <a:pt x="320" y="332"/>
                    </a:cubicBezTo>
                    <a:cubicBezTo>
                      <a:pt x="311" y="337"/>
                      <a:pt x="301" y="339"/>
                      <a:pt x="291" y="340"/>
                    </a:cubicBezTo>
                    <a:cubicBezTo>
                      <a:pt x="269" y="339"/>
                      <a:pt x="247" y="337"/>
                      <a:pt x="230" y="324"/>
                    </a:cubicBezTo>
                    <a:cubicBezTo>
                      <a:pt x="226" y="320"/>
                      <a:pt x="222" y="316"/>
                      <a:pt x="218" y="310"/>
                    </a:cubicBezTo>
                    <a:cubicBezTo>
                      <a:pt x="211" y="305"/>
                      <a:pt x="206" y="299"/>
                      <a:pt x="202" y="291"/>
                    </a:cubicBezTo>
                    <a:moveTo>
                      <a:pt x="208" y="227"/>
                    </a:moveTo>
                    <a:cubicBezTo>
                      <a:pt x="206" y="233"/>
                      <a:pt x="204" y="238"/>
                      <a:pt x="203" y="245"/>
                    </a:cubicBezTo>
                    <a:cubicBezTo>
                      <a:pt x="201" y="256"/>
                      <a:pt x="202" y="267"/>
                      <a:pt x="206" y="277"/>
                    </a:cubicBezTo>
                    <a:cubicBezTo>
                      <a:pt x="206" y="276"/>
                      <a:pt x="206" y="276"/>
                      <a:pt x="206" y="275"/>
                    </a:cubicBezTo>
                    <a:cubicBezTo>
                      <a:pt x="206" y="271"/>
                      <a:pt x="207" y="267"/>
                      <a:pt x="208" y="263"/>
                    </a:cubicBezTo>
                    <a:cubicBezTo>
                      <a:pt x="208" y="263"/>
                      <a:pt x="208" y="263"/>
                      <a:pt x="208" y="263"/>
                    </a:cubicBezTo>
                    <a:cubicBezTo>
                      <a:pt x="206" y="258"/>
                      <a:pt x="206" y="252"/>
                      <a:pt x="206" y="246"/>
                    </a:cubicBezTo>
                    <a:cubicBezTo>
                      <a:pt x="206" y="240"/>
                      <a:pt x="207" y="233"/>
                      <a:pt x="208" y="227"/>
                    </a:cubicBezTo>
                    <a:moveTo>
                      <a:pt x="82" y="177"/>
                    </a:moveTo>
                    <a:cubicBezTo>
                      <a:pt x="79" y="180"/>
                      <a:pt x="77" y="183"/>
                      <a:pt x="77" y="187"/>
                    </a:cubicBezTo>
                    <a:cubicBezTo>
                      <a:pt x="74" y="204"/>
                      <a:pt x="94" y="222"/>
                      <a:pt x="110" y="222"/>
                    </a:cubicBezTo>
                    <a:cubicBezTo>
                      <a:pt x="111" y="222"/>
                      <a:pt x="112" y="222"/>
                      <a:pt x="112" y="222"/>
                    </a:cubicBezTo>
                    <a:cubicBezTo>
                      <a:pt x="119" y="222"/>
                      <a:pt x="125" y="219"/>
                      <a:pt x="129" y="215"/>
                    </a:cubicBezTo>
                    <a:cubicBezTo>
                      <a:pt x="126" y="217"/>
                      <a:pt x="122" y="217"/>
                      <a:pt x="117" y="217"/>
                    </a:cubicBezTo>
                    <a:cubicBezTo>
                      <a:pt x="116" y="217"/>
                      <a:pt x="114" y="217"/>
                      <a:pt x="112" y="217"/>
                    </a:cubicBezTo>
                    <a:cubicBezTo>
                      <a:pt x="100" y="214"/>
                      <a:pt x="87" y="200"/>
                      <a:pt x="83" y="188"/>
                    </a:cubicBezTo>
                    <a:cubicBezTo>
                      <a:pt x="82" y="185"/>
                      <a:pt x="81" y="183"/>
                      <a:pt x="81" y="180"/>
                    </a:cubicBezTo>
                    <a:cubicBezTo>
                      <a:pt x="81" y="179"/>
                      <a:pt x="81" y="178"/>
                      <a:pt x="82" y="177"/>
                    </a:cubicBezTo>
                    <a:moveTo>
                      <a:pt x="209" y="159"/>
                    </a:moveTo>
                    <a:cubicBezTo>
                      <a:pt x="209" y="159"/>
                      <a:pt x="209" y="159"/>
                      <a:pt x="209" y="159"/>
                    </a:cubicBezTo>
                    <a:cubicBezTo>
                      <a:pt x="209" y="159"/>
                      <a:pt x="209" y="159"/>
                      <a:pt x="209" y="159"/>
                    </a:cubicBezTo>
                    <a:cubicBezTo>
                      <a:pt x="208" y="161"/>
                      <a:pt x="207" y="163"/>
                      <a:pt x="206" y="165"/>
                    </a:cubicBezTo>
                    <a:cubicBezTo>
                      <a:pt x="207" y="165"/>
                      <a:pt x="207" y="165"/>
                      <a:pt x="208" y="166"/>
                    </a:cubicBezTo>
                    <a:cubicBezTo>
                      <a:pt x="209" y="166"/>
                      <a:pt x="210" y="166"/>
                      <a:pt x="211" y="166"/>
                    </a:cubicBezTo>
                    <a:cubicBezTo>
                      <a:pt x="218" y="166"/>
                      <a:pt x="225" y="163"/>
                      <a:pt x="230" y="159"/>
                    </a:cubicBezTo>
                    <a:cubicBezTo>
                      <a:pt x="227" y="160"/>
                      <a:pt x="223" y="161"/>
                      <a:pt x="220" y="161"/>
                    </a:cubicBezTo>
                    <a:cubicBezTo>
                      <a:pt x="216" y="161"/>
                      <a:pt x="212" y="160"/>
                      <a:pt x="209" y="159"/>
                    </a:cubicBezTo>
                    <a:moveTo>
                      <a:pt x="24" y="93"/>
                    </a:moveTo>
                    <a:cubicBezTo>
                      <a:pt x="21" y="97"/>
                      <a:pt x="20" y="101"/>
                      <a:pt x="19" y="106"/>
                    </a:cubicBezTo>
                    <a:cubicBezTo>
                      <a:pt x="16" y="122"/>
                      <a:pt x="23" y="134"/>
                      <a:pt x="40" y="137"/>
                    </a:cubicBezTo>
                    <a:cubicBezTo>
                      <a:pt x="41" y="138"/>
                      <a:pt x="42" y="138"/>
                      <a:pt x="44" y="138"/>
                    </a:cubicBezTo>
                    <a:cubicBezTo>
                      <a:pt x="44" y="137"/>
                      <a:pt x="44" y="135"/>
                      <a:pt x="44" y="134"/>
                    </a:cubicBezTo>
                    <a:cubicBezTo>
                      <a:pt x="45" y="132"/>
                      <a:pt x="45" y="132"/>
                      <a:pt x="45" y="132"/>
                    </a:cubicBezTo>
                    <a:cubicBezTo>
                      <a:pt x="32" y="129"/>
                      <a:pt x="22" y="120"/>
                      <a:pt x="22" y="105"/>
                    </a:cubicBezTo>
                    <a:cubicBezTo>
                      <a:pt x="22" y="104"/>
                      <a:pt x="23" y="102"/>
                      <a:pt x="23" y="100"/>
                    </a:cubicBezTo>
                    <a:cubicBezTo>
                      <a:pt x="23" y="98"/>
                      <a:pt x="23" y="95"/>
                      <a:pt x="24" y="93"/>
                    </a:cubicBezTo>
                    <a:moveTo>
                      <a:pt x="245" y="191"/>
                    </a:moveTo>
                    <a:cubicBezTo>
                      <a:pt x="246" y="190"/>
                      <a:pt x="247" y="190"/>
                      <a:pt x="249" y="189"/>
                    </a:cubicBezTo>
                    <a:cubicBezTo>
                      <a:pt x="258" y="185"/>
                      <a:pt x="268" y="183"/>
                      <a:pt x="277" y="183"/>
                    </a:cubicBezTo>
                    <a:cubicBezTo>
                      <a:pt x="278" y="183"/>
                      <a:pt x="279" y="183"/>
                      <a:pt x="281" y="183"/>
                    </a:cubicBezTo>
                    <a:cubicBezTo>
                      <a:pt x="281" y="183"/>
                      <a:pt x="281" y="183"/>
                      <a:pt x="281" y="183"/>
                    </a:cubicBezTo>
                    <a:cubicBezTo>
                      <a:pt x="280" y="185"/>
                      <a:pt x="280" y="185"/>
                      <a:pt x="280" y="185"/>
                    </a:cubicBezTo>
                    <a:cubicBezTo>
                      <a:pt x="280" y="185"/>
                      <a:pt x="280" y="185"/>
                      <a:pt x="280" y="185"/>
                    </a:cubicBezTo>
                    <a:cubicBezTo>
                      <a:pt x="288" y="189"/>
                      <a:pt x="299" y="189"/>
                      <a:pt x="307" y="193"/>
                    </a:cubicBezTo>
                    <a:cubicBezTo>
                      <a:pt x="322" y="198"/>
                      <a:pt x="335" y="210"/>
                      <a:pt x="340" y="225"/>
                    </a:cubicBezTo>
                    <a:cubicBezTo>
                      <a:pt x="342" y="230"/>
                      <a:pt x="344" y="236"/>
                      <a:pt x="345" y="243"/>
                    </a:cubicBezTo>
                    <a:cubicBezTo>
                      <a:pt x="345" y="243"/>
                      <a:pt x="345" y="243"/>
                      <a:pt x="345" y="243"/>
                    </a:cubicBezTo>
                    <a:cubicBezTo>
                      <a:pt x="346" y="248"/>
                      <a:pt x="350" y="251"/>
                      <a:pt x="351" y="256"/>
                    </a:cubicBezTo>
                    <a:cubicBezTo>
                      <a:pt x="353" y="262"/>
                      <a:pt x="354" y="268"/>
                      <a:pt x="354" y="274"/>
                    </a:cubicBezTo>
                    <a:cubicBezTo>
                      <a:pt x="354" y="281"/>
                      <a:pt x="353" y="287"/>
                      <a:pt x="352" y="293"/>
                    </a:cubicBezTo>
                    <a:cubicBezTo>
                      <a:pt x="350" y="303"/>
                      <a:pt x="345" y="312"/>
                      <a:pt x="338" y="319"/>
                    </a:cubicBezTo>
                    <a:cubicBezTo>
                      <a:pt x="327" y="337"/>
                      <a:pt x="308" y="350"/>
                      <a:pt x="283" y="351"/>
                    </a:cubicBezTo>
                    <a:cubicBezTo>
                      <a:pt x="280" y="351"/>
                      <a:pt x="278" y="351"/>
                      <a:pt x="275" y="351"/>
                    </a:cubicBezTo>
                    <a:cubicBezTo>
                      <a:pt x="252" y="351"/>
                      <a:pt x="226" y="346"/>
                      <a:pt x="211" y="328"/>
                    </a:cubicBezTo>
                    <a:cubicBezTo>
                      <a:pt x="199" y="313"/>
                      <a:pt x="191" y="294"/>
                      <a:pt x="195" y="276"/>
                    </a:cubicBezTo>
                    <a:cubicBezTo>
                      <a:pt x="191" y="264"/>
                      <a:pt x="191" y="251"/>
                      <a:pt x="194" y="238"/>
                    </a:cubicBezTo>
                    <a:cubicBezTo>
                      <a:pt x="200" y="216"/>
                      <a:pt x="221" y="198"/>
                      <a:pt x="245" y="191"/>
                    </a:cubicBezTo>
                    <a:moveTo>
                      <a:pt x="159" y="24"/>
                    </a:moveTo>
                    <a:cubicBezTo>
                      <a:pt x="159" y="22"/>
                      <a:pt x="159" y="22"/>
                      <a:pt x="159" y="22"/>
                    </a:cubicBezTo>
                    <a:cubicBezTo>
                      <a:pt x="160" y="22"/>
                      <a:pt x="162" y="22"/>
                      <a:pt x="163" y="22"/>
                    </a:cubicBezTo>
                    <a:cubicBezTo>
                      <a:pt x="164" y="22"/>
                      <a:pt x="165" y="22"/>
                      <a:pt x="166" y="22"/>
                    </a:cubicBezTo>
                    <a:cubicBezTo>
                      <a:pt x="166" y="22"/>
                      <a:pt x="167" y="22"/>
                      <a:pt x="168" y="22"/>
                    </a:cubicBezTo>
                    <a:cubicBezTo>
                      <a:pt x="169" y="22"/>
                      <a:pt x="171" y="22"/>
                      <a:pt x="172" y="22"/>
                    </a:cubicBezTo>
                    <a:cubicBezTo>
                      <a:pt x="181" y="24"/>
                      <a:pt x="186" y="32"/>
                      <a:pt x="191" y="40"/>
                    </a:cubicBezTo>
                    <a:cubicBezTo>
                      <a:pt x="193" y="43"/>
                      <a:pt x="194" y="48"/>
                      <a:pt x="194" y="53"/>
                    </a:cubicBezTo>
                    <a:cubicBezTo>
                      <a:pt x="194" y="57"/>
                      <a:pt x="193" y="60"/>
                      <a:pt x="192" y="64"/>
                    </a:cubicBezTo>
                    <a:cubicBezTo>
                      <a:pt x="192" y="64"/>
                      <a:pt x="192" y="64"/>
                      <a:pt x="192" y="64"/>
                    </a:cubicBezTo>
                    <a:cubicBezTo>
                      <a:pt x="200" y="66"/>
                      <a:pt x="200" y="66"/>
                      <a:pt x="200" y="66"/>
                    </a:cubicBezTo>
                    <a:cubicBezTo>
                      <a:pt x="212" y="73"/>
                      <a:pt x="217" y="81"/>
                      <a:pt x="224" y="91"/>
                    </a:cubicBezTo>
                    <a:cubicBezTo>
                      <a:pt x="224" y="91"/>
                      <a:pt x="224" y="91"/>
                      <a:pt x="224" y="91"/>
                    </a:cubicBezTo>
                    <a:cubicBezTo>
                      <a:pt x="224" y="91"/>
                      <a:pt x="224" y="91"/>
                      <a:pt x="224" y="92"/>
                    </a:cubicBezTo>
                    <a:cubicBezTo>
                      <a:pt x="224" y="93"/>
                      <a:pt x="224" y="95"/>
                      <a:pt x="224" y="97"/>
                    </a:cubicBezTo>
                    <a:cubicBezTo>
                      <a:pt x="224" y="97"/>
                      <a:pt x="224" y="97"/>
                      <a:pt x="224" y="98"/>
                    </a:cubicBezTo>
                    <a:cubicBezTo>
                      <a:pt x="224" y="98"/>
                      <a:pt x="224" y="98"/>
                      <a:pt x="224" y="98"/>
                    </a:cubicBezTo>
                    <a:cubicBezTo>
                      <a:pt x="232" y="102"/>
                      <a:pt x="232" y="102"/>
                      <a:pt x="232" y="102"/>
                    </a:cubicBezTo>
                    <a:cubicBezTo>
                      <a:pt x="240" y="108"/>
                      <a:pt x="248" y="112"/>
                      <a:pt x="253" y="119"/>
                    </a:cubicBezTo>
                    <a:cubicBezTo>
                      <a:pt x="254" y="121"/>
                      <a:pt x="254" y="124"/>
                      <a:pt x="254" y="126"/>
                    </a:cubicBezTo>
                    <a:cubicBezTo>
                      <a:pt x="254" y="133"/>
                      <a:pt x="251" y="141"/>
                      <a:pt x="246" y="147"/>
                    </a:cubicBezTo>
                    <a:cubicBezTo>
                      <a:pt x="246" y="147"/>
                      <a:pt x="246" y="147"/>
                      <a:pt x="246" y="147"/>
                    </a:cubicBezTo>
                    <a:cubicBezTo>
                      <a:pt x="240" y="162"/>
                      <a:pt x="226" y="173"/>
                      <a:pt x="211" y="173"/>
                    </a:cubicBezTo>
                    <a:cubicBezTo>
                      <a:pt x="208" y="173"/>
                      <a:pt x="206" y="172"/>
                      <a:pt x="204" y="172"/>
                    </a:cubicBezTo>
                    <a:cubicBezTo>
                      <a:pt x="203" y="172"/>
                      <a:pt x="202" y="171"/>
                      <a:pt x="201" y="171"/>
                    </a:cubicBezTo>
                    <a:cubicBezTo>
                      <a:pt x="200" y="171"/>
                      <a:pt x="200" y="172"/>
                      <a:pt x="200" y="172"/>
                    </a:cubicBezTo>
                    <a:cubicBezTo>
                      <a:pt x="193" y="187"/>
                      <a:pt x="175" y="198"/>
                      <a:pt x="159" y="198"/>
                    </a:cubicBezTo>
                    <a:cubicBezTo>
                      <a:pt x="159" y="198"/>
                      <a:pt x="159" y="198"/>
                      <a:pt x="159" y="198"/>
                    </a:cubicBezTo>
                    <a:cubicBezTo>
                      <a:pt x="157" y="198"/>
                      <a:pt x="156" y="194"/>
                      <a:pt x="158" y="194"/>
                    </a:cubicBezTo>
                    <a:cubicBezTo>
                      <a:pt x="168" y="192"/>
                      <a:pt x="179" y="187"/>
                      <a:pt x="188" y="180"/>
                    </a:cubicBezTo>
                    <a:cubicBezTo>
                      <a:pt x="181" y="184"/>
                      <a:pt x="174" y="187"/>
                      <a:pt x="167" y="187"/>
                    </a:cubicBezTo>
                    <a:cubicBezTo>
                      <a:pt x="151" y="187"/>
                      <a:pt x="151" y="187"/>
                      <a:pt x="151" y="187"/>
                    </a:cubicBezTo>
                    <a:cubicBezTo>
                      <a:pt x="151" y="187"/>
                      <a:pt x="151" y="187"/>
                      <a:pt x="151" y="187"/>
                    </a:cubicBezTo>
                    <a:cubicBezTo>
                      <a:pt x="151" y="195"/>
                      <a:pt x="148" y="201"/>
                      <a:pt x="143" y="207"/>
                    </a:cubicBezTo>
                    <a:cubicBezTo>
                      <a:pt x="138" y="220"/>
                      <a:pt x="124" y="229"/>
                      <a:pt x="109" y="229"/>
                    </a:cubicBezTo>
                    <a:cubicBezTo>
                      <a:pt x="109" y="229"/>
                      <a:pt x="108" y="229"/>
                      <a:pt x="107" y="229"/>
                    </a:cubicBezTo>
                    <a:cubicBezTo>
                      <a:pt x="89" y="228"/>
                      <a:pt x="68" y="206"/>
                      <a:pt x="69" y="187"/>
                    </a:cubicBezTo>
                    <a:cubicBezTo>
                      <a:pt x="69" y="182"/>
                      <a:pt x="72" y="177"/>
                      <a:pt x="75" y="173"/>
                    </a:cubicBezTo>
                    <a:cubicBezTo>
                      <a:pt x="62" y="173"/>
                      <a:pt x="62" y="173"/>
                      <a:pt x="62" y="173"/>
                    </a:cubicBezTo>
                    <a:cubicBezTo>
                      <a:pt x="56" y="165"/>
                      <a:pt x="48" y="156"/>
                      <a:pt x="45" y="146"/>
                    </a:cubicBezTo>
                    <a:cubicBezTo>
                      <a:pt x="42" y="146"/>
                      <a:pt x="40" y="146"/>
                      <a:pt x="38" y="145"/>
                    </a:cubicBezTo>
                    <a:cubicBezTo>
                      <a:pt x="38" y="159"/>
                      <a:pt x="49" y="170"/>
                      <a:pt x="56" y="180"/>
                    </a:cubicBezTo>
                    <a:cubicBezTo>
                      <a:pt x="57" y="182"/>
                      <a:pt x="55" y="184"/>
                      <a:pt x="53" y="184"/>
                    </a:cubicBezTo>
                    <a:cubicBezTo>
                      <a:pt x="53" y="184"/>
                      <a:pt x="52" y="184"/>
                      <a:pt x="52" y="183"/>
                    </a:cubicBezTo>
                    <a:cubicBezTo>
                      <a:pt x="41" y="173"/>
                      <a:pt x="31" y="159"/>
                      <a:pt x="33" y="144"/>
                    </a:cubicBezTo>
                    <a:cubicBezTo>
                      <a:pt x="32" y="144"/>
                      <a:pt x="31" y="143"/>
                      <a:pt x="29" y="143"/>
                    </a:cubicBezTo>
                    <a:cubicBezTo>
                      <a:pt x="10" y="135"/>
                      <a:pt x="6" y="114"/>
                      <a:pt x="13" y="96"/>
                    </a:cubicBezTo>
                    <a:cubicBezTo>
                      <a:pt x="17" y="84"/>
                      <a:pt x="25" y="77"/>
                      <a:pt x="35" y="75"/>
                    </a:cubicBezTo>
                    <a:cubicBezTo>
                      <a:pt x="37" y="73"/>
                      <a:pt x="38" y="72"/>
                      <a:pt x="40" y="71"/>
                    </a:cubicBezTo>
                    <a:cubicBezTo>
                      <a:pt x="44" y="70"/>
                      <a:pt x="48" y="69"/>
                      <a:pt x="52" y="69"/>
                    </a:cubicBezTo>
                    <a:cubicBezTo>
                      <a:pt x="57" y="69"/>
                      <a:pt x="63" y="70"/>
                      <a:pt x="68" y="73"/>
                    </a:cubicBezTo>
                    <a:cubicBezTo>
                      <a:pt x="69" y="71"/>
                      <a:pt x="69" y="71"/>
                      <a:pt x="69" y="71"/>
                    </a:cubicBezTo>
                    <a:cubicBezTo>
                      <a:pt x="70" y="71"/>
                      <a:pt x="71" y="71"/>
                      <a:pt x="71" y="72"/>
                    </a:cubicBezTo>
                    <a:cubicBezTo>
                      <a:pt x="74" y="65"/>
                      <a:pt x="74" y="65"/>
                      <a:pt x="74" y="65"/>
                    </a:cubicBezTo>
                    <a:cubicBezTo>
                      <a:pt x="72" y="66"/>
                      <a:pt x="71" y="67"/>
                      <a:pt x="69" y="69"/>
                    </a:cubicBezTo>
                    <a:cubicBezTo>
                      <a:pt x="69" y="69"/>
                      <a:pt x="68" y="70"/>
                      <a:pt x="67" y="70"/>
                    </a:cubicBezTo>
                    <a:cubicBezTo>
                      <a:pt x="66" y="70"/>
                      <a:pt x="64" y="68"/>
                      <a:pt x="66" y="66"/>
                    </a:cubicBezTo>
                    <a:cubicBezTo>
                      <a:pt x="71" y="60"/>
                      <a:pt x="77" y="55"/>
                      <a:pt x="84" y="52"/>
                    </a:cubicBezTo>
                    <a:cubicBezTo>
                      <a:pt x="91" y="46"/>
                      <a:pt x="98" y="42"/>
                      <a:pt x="106" y="41"/>
                    </a:cubicBezTo>
                    <a:cubicBezTo>
                      <a:pt x="108" y="41"/>
                      <a:pt x="109" y="41"/>
                      <a:pt x="111" y="41"/>
                    </a:cubicBezTo>
                    <a:cubicBezTo>
                      <a:pt x="112" y="41"/>
                      <a:pt x="114" y="41"/>
                      <a:pt x="115" y="41"/>
                    </a:cubicBezTo>
                    <a:cubicBezTo>
                      <a:pt x="116" y="41"/>
                      <a:pt x="118" y="41"/>
                      <a:pt x="119" y="41"/>
                    </a:cubicBezTo>
                    <a:cubicBezTo>
                      <a:pt x="119" y="41"/>
                      <a:pt x="119" y="41"/>
                      <a:pt x="119" y="41"/>
                    </a:cubicBezTo>
                    <a:cubicBezTo>
                      <a:pt x="124" y="36"/>
                      <a:pt x="130" y="32"/>
                      <a:pt x="137" y="30"/>
                    </a:cubicBezTo>
                    <a:cubicBezTo>
                      <a:pt x="142" y="26"/>
                      <a:pt x="149" y="24"/>
                      <a:pt x="155" y="24"/>
                    </a:cubicBezTo>
                    <a:cubicBezTo>
                      <a:pt x="156" y="24"/>
                      <a:pt x="158" y="24"/>
                      <a:pt x="159" y="24"/>
                    </a:cubicBezTo>
                    <a:moveTo>
                      <a:pt x="152" y="12"/>
                    </a:moveTo>
                    <a:cubicBezTo>
                      <a:pt x="134" y="12"/>
                      <a:pt x="116" y="15"/>
                      <a:pt x="98" y="22"/>
                    </a:cubicBezTo>
                    <a:cubicBezTo>
                      <a:pt x="98" y="22"/>
                      <a:pt x="98" y="22"/>
                      <a:pt x="97" y="22"/>
                    </a:cubicBezTo>
                    <a:cubicBezTo>
                      <a:pt x="96" y="22"/>
                      <a:pt x="95" y="21"/>
                      <a:pt x="96" y="20"/>
                    </a:cubicBezTo>
                    <a:cubicBezTo>
                      <a:pt x="65" y="38"/>
                      <a:pt x="24" y="54"/>
                      <a:pt x="6" y="86"/>
                    </a:cubicBezTo>
                    <a:cubicBezTo>
                      <a:pt x="2" y="97"/>
                      <a:pt x="0" y="108"/>
                      <a:pt x="0" y="120"/>
                    </a:cubicBezTo>
                    <a:cubicBezTo>
                      <a:pt x="0" y="139"/>
                      <a:pt x="5" y="159"/>
                      <a:pt x="11" y="175"/>
                    </a:cubicBezTo>
                    <a:cubicBezTo>
                      <a:pt x="23" y="213"/>
                      <a:pt x="56" y="240"/>
                      <a:pt x="87" y="264"/>
                    </a:cubicBezTo>
                    <a:cubicBezTo>
                      <a:pt x="132" y="299"/>
                      <a:pt x="181" y="329"/>
                      <a:pt x="231" y="353"/>
                    </a:cubicBezTo>
                    <a:cubicBezTo>
                      <a:pt x="231" y="353"/>
                      <a:pt x="231" y="353"/>
                      <a:pt x="231" y="353"/>
                    </a:cubicBezTo>
                    <a:cubicBezTo>
                      <a:pt x="231" y="353"/>
                      <a:pt x="231" y="353"/>
                      <a:pt x="231" y="353"/>
                    </a:cubicBezTo>
                    <a:cubicBezTo>
                      <a:pt x="231" y="353"/>
                      <a:pt x="232" y="354"/>
                      <a:pt x="232" y="354"/>
                    </a:cubicBezTo>
                    <a:cubicBezTo>
                      <a:pt x="232" y="354"/>
                      <a:pt x="232" y="354"/>
                      <a:pt x="232" y="354"/>
                    </a:cubicBezTo>
                    <a:cubicBezTo>
                      <a:pt x="233" y="354"/>
                      <a:pt x="233" y="354"/>
                      <a:pt x="233" y="354"/>
                    </a:cubicBezTo>
                    <a:cubicBezTo>
                      <a:pt x="233" y="354"/>
                      <a:pt x="233" y="354"/>
                      <a:pt x="233" y="354"/>
                    </a:cubicBezTo>
                    <a:cubicBezTo>
                      <a:pt x="233" y="354"/>
                      <a:pt x="233" y="354"/>
                      <a:pt x="233" y="354"/>
                    </a:cubicBezTo>
                    <a:cubicBezTo>
                      <a:pt x="234" y="354"/>
                      <a:pt x="234" y="354"/>
                      <a:pt x="234" y="355"/>
                    </a:cubicBezTo>
                    <a:cubicBezTo>
                      <a:pt x="234" y="355"/>
                      <a:pt x="234" y="355"/>
                      <a:pt x="235" y="355"/>
                    </a:cubicBezTo>
                    <a:cubicBezTo>
                      <a:pt x="235" y="355"/>
                      <a:pt x="235" y="355"/>
                      <a:pt x="235" y="355"/>
                    </a:cubicBezTo>
                    <a:cubicBezTo>
                      <a:pt x="257" y="365"/>
                      <a:pt x="281" y="372"/>
                      <a:pt x="306" y="372"/>
                    </a:cubicBezTo>
                    <a:cubicBezTo>
                      <a:pt x="306" y="372"/>
                      <a:pt x="306" y="372"/>
                      <a:pt x="306" y="372"/>
                    </a:cubicBezTo>
                    <a:cubicBezTo>
                      <a:pt x="306" y="372"/>
                      <a:pt x="306" y="372"/>
                      <a:pt x="306" y="372"/>
                    </a:cubicBezTo>
                    <a:cubicBezTo>
                      <a:pt x="311" y="372"/>
                      <a:pt x="316" y="371"/>
                      <a:pt x="321" y="371"/>
                    </a:cubicBezTo>
                    <a:cubicBezTo>
                      <a:pt x="321" y="371"/>
                      <a:pt x="321" y="371"/>
                      <a:pt x="321" y="371"/>
                    </a:cubicBezTo>
                    <a:cubicBezTo>
                      <a:pt x="321" y="371"/>
                      <a:pt x="321" y="371"/>
                      <a:pt x="321" y="371"/>
                    </a:cubicBezTo>
                    <a:cubicBezTo>
                      <a:pt x="321" y="371"/>
                      <a:pt x="322" y="371"/>
                      <a:pt x="322" y="371"/>
                    </a:cubicBezTo>
                    <a:cubicBezTo>
                      <a:pt x="329" y="369"/>
                      <a:pt x="336" y="367"/>
                      <a:pt x="342" y="364"/>
                    </a:cubicBezTo>
                    <a:cubicBezTo>
                      <a:pt x="366" y="350"/>
                      <a:pt x="380" y="325"/>
                      <a:pt x="381" y="295"/>
                    </a:cubicBezTo>
                    <a:cubicBezTo>
                      <a:pt x="383" y="252"/>
                      <a:pt x="360" y="217"/>
                      <a:pt x="342" y="181"/>
                    </a:cubicBezTo>
                    <a:cubicBezTo>
                      <a:pt x="325" y="147"/>
                      <a:pt x="309" y="114"/>
                      <a:pt x="284" y="85"/>
                    </a:cubicBezTo>
                    <a:cubicBezTo>
                      <a:pt x="263" y="61"/>
                      <a:pt x="238" y="39"/>
                      <a:pt x="208" y="25"/>
                    </a:cubicBezTo>
                    <a:cubicBezTo>
                      <a:pt x="189" y="16"/>
                      <a:pt x="171" y="12"/>
                      <a:pt x="152" y="12"/>
                    </a:cubicBezTo>
                    <a:moveTo>
                      <a:pt x="159" y="0"/>
                    </a:moveTo>
                    <a:cubicBezTo>
                      <a:pt x="159" y="0"/>
                      <a:pt x="159" y="0"/>
                      <a:pt x="159" y="0"/>
                    </a:cubicBezTo>
                    <a:cubicBezTo>
                      <a:pt x="142" y="0"/>
                      <a:pt x="125" y="4"/>
                      <a:pt x="108" y="12"/>
                    </a:cubicBezTo>
                    <a:cubicBezTo>
                      <a:pt x="107" y="12"/>
                      <a:pt x="107" y="12"/>
                      <a:pt x="107" y="12"/>
                    </a:cubicBezTo>
                    <a:cubicBezTo>
                      <a:pt x="107" y="12"/>
                      <a:pt x="106" y="12"/>
                      <a:pt x="106" y="12"/>
                    </a:cubicBezTo>
                    <a:cubicBezTo>
                      <a:pt x="104" y="8"/>
                      <a:pt x="104" y="8"/>
                      <a:pt x="104" y="8"/>
                    </a:cubicBezTo>
                    <a:cubicBezTo>
                      <a:pt x="101" y="10"/>
                      <a:pt x="98" y="11"/>
                      <a:pt x="96" y="12"/>
                    </a:cubicBezTo>
                    <a:cubicBezTo>
                      <a:pt x="96" y="12"/>
                      <a:pt x="96" y="12"/>
                      <a:pt x="97" y="12"/>
                    </a:cubicBezTo>
                    <a:cubicBezTo>
                      <a:pt x="97" y="12"/>
                      <a:pt x="98" y="11"/>
                      <a:pt x="99" y="11"/>
                    </a:cubicBezTo>
                    <a:cubicBezTo>
                      <a:pt x="102" y="11"/>
                      <a:pt x="104" y="15"/>
                      <a:pt x="100" y="17"/>
                    </a:cubicBezTo>
                    <a:cubicBezTo>
                      <a:pt x="100" y="18"/>
                      <a:pt x="99" y="18"/>
                      <a:pt x="98" y="19"/>
                    </a:cubicBezTo>
                    <a:cubicBezTo>
                      <a:pt x="115" y="11"/>
                      <a:pt x="133" y="7"/>
                      <a:pt x="150" y="7"/>
                    </a:cubicBezTo>
                    <a:cubicBezTo>
                      <a:pt x="175" y="7"/>
                      <a:pt x="199" y="15"/>
                      <a:pt x="224" y="29"/>
                    </a:cubicBezTo>
                    <a:cubicBezTo>
                      <a:pt x="259" y="50"/>
                      <a:pt x="291" y="79"/>
                      <a:pt x="313" y="113"/>
                    </a:cubicBezTo>
                    <a:cubicBezTo>
                      <a:pt x="326" y="134"/>
                      <a:pt x="336" y="156"/>
                      <a:pt x="347" y="177"/>
                    </a:cubicBezTo>
                    <a:cubicBezTo>
                      <a:pt x="357" y="196"/>
                      <a:pt x="368" y="214"/>
                      <a:pt x="376" y="234"/>
                    </a:cubicBezTo>
                    <a:cubicBezTo>
                      <a:pt x="389" y="265"/>
                      <a:pt x="394" y="301"/>
                      <a:pt x="381" y="332"/>
                    </a:cubicBezTo>
                    <a:cubicBezTo>
                      <a:pt x="386" y="323"/>
                      <a:pt x="390" y="312"/>
                      <a:pt x="392" y="300"/>
                    </a:cubicBezTo>
                    <a:cubicBezTo>
                      <a:pt x="393" y="294"/>
                      <a:pt x="394" y="288"/>
                      <a:pt x="394" y="283"/>
                    </a:cubicBezTo>
                    <a:cubicBezTo>
                      <a:pt x="394" y="250"/>
                      <a:pt x="380" y="218"/>
                      <a:pt x="363" y="190"/>
                    </a:cubicBezTo>
                    <a:cubicBezTo>
                      <a:pt x="346" y="157"/>
                      <a:pt x="331" y="123"/>
                      <a:pt x="311" y="94"/>
                    </a:cubicBezTo>
                    <a:cubicBezTo>
                      <a:pt x="292" y="70"/>
                      <a:pt x="270" y="48"/>
                      <a:pt x="244" y="30"/>
                    </a:cubicBezTo>
                    <a:cubicBezTo>
                      <a:pt x="237" y="29"/>
                      <a:pt x="230" y="28"/>
                      <a:pt x="222" y="28"/>
                    </a:cubicBezTo>
                    <a:cubicBezTo>
                      <a:pt x="220" y="28"/>
                      <a:pt x="220" y="24"/>
                      <a:pt x="222" y="24"/>
                    </a:cubicBezTo>
                    <a:cubicBezTo>
                      <a:pt x="225" y="24"/>
                      <a:pt x="228" y="24"/>
                      <a:pt x="230" y="24"/>
                    </a:cubicBezTo>
                    <a:cubicBezTo>
                      <a:pt x="232" y="24"/>
                      <a:pt x="233" y="24"/>
                      <a:pt x="235" y="24"/>
                    </a:cubicBezTo>
                    <a:cubicBezTo>
                      <a:pt x="221" y="16"/>
                      <a:pt x="207" y="9"/>
                      <a:pt x="192" y="4"/>
                    </a:cubicBezTo>
                    <a:cubicBezTo>
                      <a:pt x="192" y="4"/>
                      <a:pt x="192" y="4"/>
                      <a:pt x="192" y="4"/>
                    </a:cubicBezTo>
                    <a:cubicBezTo>
                      <a:pt x="191" y="4"/>
                      <a:pt x="191" y="4"/>
                      <a:pt x="190" y="4"/>
                    </a:cubicBezTo>
                    <a:cubicBezTo>
                      <a:pt x="190" y="4"/>
                      <a:pt x="190" y="4"/>
                      <a:pt x="190" y="4"/>
                    </a:cubicBezTo>
                    <a:cubicBezTo>
                      <a:pt x="180" y="1"/>
                      <a:pt x="170" y="0"/>
                      <a:pt x="159" y="0"/>
                    </a:cubicBezTo>
                    <a:cubicBezTo>
                      <a:pt x="159" y="0"/>
                      <a:pt x="159" y="0"/>
                      <a:pt x="159" y="0"/>
                    </a:cubicBezTo>
                  </a:path>
                </a:pathLst>
              </a:custGeom>
              <a:solidFill>
                <a:srgbClr val="6F686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154" name="Freeform 66">
                <a:extLst>
                  <a:ext uri="{FF2B5EF4-FFF2-40B4-BE49-F238E27FC236}">
                    <a16:creationId xmlns:a16="http://schemas.microsoft.com/office/drawing/2014/main" id="{1FBAD211-7725-4D70-910F-79A10C028F64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1995" y="2144"/>
                <a:ext cx="164" cy="288"/>
              </a:xfrm>
              <a:custGeom>
                <a:avLst/>
                <a:gdLst>
                  <a:gd name="T0" fmla="*/ 30 w 155"/>
                  <a:gd name="T1" fmla="*/ 210 h 272"/>
                  <a:gd name="T2" fmla="*/ 17 w 155"/>
                  <a:gd name="T3" fmla="*/ 237 h 272"/>
                  <a:gd name="T4" fmla="*/ 0 w 155"/>
                  <a:gd name="T5" fmla="*/ 272 h 272"/>
                  <a:gd name="T6" fmla="*/ 16 w 155"/>
                  <a:gd name="T7" fmla="*/ 239 h 272"/>
                  <a:gd name="T8" fmla="*/ 30 w 155"/>
                  <a:gd name="T9" fmla="*/ 210 h 272"/>
                  <a:gd name="T10" fmla="*/ 116 w 155"/>
                  <a:gd name="T11" fmla="*/ 63 h 272"/>
                  <a:gd name="T12" fmla="*/ 66 w 155"/>
                  <a:gd name="T13" fmla="*/ 150 h 272"/>
                  <a:gd name="T14" fmla="*/ 73 w 155"/>
                  <a:gd name="T15" fmla="*/ 141 h 272"/>
                  <a:gd name="T16" fmla="*/ 118 w 155"/>
                  <a:gd name="T17" fmla="*/ 67 h 272"/>
                  <a:gd name="T18" fmla="*/ 118 w 155"/>
                  <a:gd name="T19" fmla="*/ 65 h 272"/>
                  <a:gd name="T20" fmla="*/ 116 w 155"/>
                  <a:gd name="T21" fmla="*/ 63 h 272"/>
                  <a:gd name="T22" fmla="*/ 130 w 155"/>
                  <a:gd name="T23" fmla="*/ 43 h 272"/>
                  <a:gd name="T24" fmla="*/ 120 w 155"/>
                  <a:gd name="T25" fmla="*/ 57 h 272"/>
                  <a:gd name="T26" fmla="*/ 122 w 155"/>
                  <a:gd name="T27" fmla="*/ 58 h 272"/>
                  <a:gd name="T28" fmla="*/ 125 w 155"/>
                  <a:gd name="T29" fmla="*/ 51 h 272"/>
                  <a:gd name="T30" fmla="*/ 125 w 155"/>
                  <a:gd name="T31" fmla="*/ 51 h 272"/>
                  <a:gd name="T32" fmla="*/ 125 w 155"/>
                  <a:gd name="T33" fmla="*/ 51 h 272"/>
                  <a:gd name="T34" fmla="*/ 130 w 155"/>
                  <a:gd name="T35" fmla="*/ 43 h 272"/>
                  <a:gd name="T36" fmla="*/ 125 w 155"/>
                  <a:gd name="T37" fmla="*/ 15 h 272"/>
                  <a:gd name="T38" fmla="*/ 111 w 155"/>
                  <a:gd name="T39" fmla="*/ 41 h 272"/>
                  <a:gd name="T40" fmla="*/ 84 w 155"/>
                  <a:gd name="T41" fmla="*/ 91 h 272"/>
                  <a:gd name="T42" fmla="*/ 17 w 155"/>
                  <a:gd name="T43" fmla="*/ 222 h 272"/>
                  <a:gd name="T44" fmla="*/ 58 w 155"/>
                  <a:gd name="T45" fmla="*/ 154 h 272"/>
                  <a:gd name="T46" fmla="*/ 103 w 155"/>
                  <a:gd name="T47" fmla="*/ 81 h 272"/>
                  <a:gd name="T48" fmla="*/ 114 w 155"/>
                  <a:gd name="T49" fmla="*/ 62 h 272"/>
                  <a:gd name="T50" fmla="*/ 117 w 155"/>
                  <a:gd name="T51" fmla="*/ 55 h 272"/>
                  <a:gd name="T52" fmla="*/ 118 w 155"/>
                  <a:gd name="T53" fmla="*/ 55 h 272"/>
                  <a:gd name="T54" fmla="*/ 141 w 155"/>
                  <a:gd name="T55" fmla="*/ 25 h 272"/>
                  <a:gd name="T56" fmla="*/ 125 w 155"/>
                  <a:gd name="T57" fmla="*/ 15 h 272"/>
                  <a:gd name="T58" fmla="*/ 133 w 155"/>
                  <a:gd name="T59" fmla="*/ 0 h 272"/>
                  <a:gd name="T60" fmla="*/ 130 w 155"/>
                  <a:gd name="T61" fmla="*/ 6 h 272"/>
                  <a:gd name="T62" fmla="*/ 150 w 155"/>
                  <a:gd name="T63" fmla="*/ 18 h 272"/>
                  <a:gd name="T64" fmla="*/ 153 w 155"/>
                  <a:gd name="T65" fmla="*/ 15 h 272"/>
                  <a:gd name="T66" fmla="*/ 155 w 155"/>
                  <a:gd name="T67" fmla="*/ 12 h 272"/>
                  <a:gd name="T68" fmla="*/ 133 w 155"/>
                  <a:gd name="T69" fmla="*/ 0 h 2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155" h="272">
                    <a:moveTo>
                      <a:pt x="30" y="210"/>
                    </a:moveTo>
                    <a:cubicBezTo>
                      <a:pt x="26" y="219"/>
                      <a:pt x="21" y="228"/>
                      <a:pt x="17" y="237"/>
                    </a:cubicBezTo>
                    <a:cubicBezTo>
                      <a:pt x="11" y="248"/>
                      <a:pt x="6" y="261"/>
                      <a:pt x="0" y="272"/>
                    </a:cubicBezTo>
                    <a:cubicBezTo>
                      <a:pt x="6" y="261"/>
                      <a:pt x="11" y="250"/>
                      <a:pt x="16" y="239"/>
                    </a:cubicBezTo>
                    <a:cubicBezTo>
                      <a:pt x="21" y="230"/>
                      <a:pt x="26" y="220"/>
                      <a:pt x="30" y="210"/>
                    </a:cubicBezTo>
                    <a:moveTo>
                      <a:pt x="116" y="63"/>
                    </a:moveTo>
                    <a:cubicBezTo>
                      <a:pt x="98" y="91"/>
                      <a:pt x="84" y="122"/>
                      <a:pt x="66" y="150"/>
                    </a:cubicBezTo>
                    <a:cubicBezTo>
                      <a:pt x="68" y="147"/>
                      <a:pt x="71" y="144"/>
                      <a:pt x="73" y="141"/>
                    </a:cubicBezTo>
                    <a:cubicBezTo>
                      <a:pt x="87" y="115"/>
                      <a:pt x="101" y="92"/>
                      <a:pt x="118" y="67"/>
                    </a:cubicBezTo>
                    <a:cubicBezTo>
                      <a:pt x="118" y="66"/>
                      <a:pt x="118" y="66"/>
                      <a:pt x="118" y="65"/>
                    </a:cubicBezTo>
                    <a:cubicBezTo>
                      <a:pt x="118" y="64"/>
                      <a:pt x="117" y="64"/>
                      <a:pt x="116" y="63"/>
                    </a:cubicBezTo>
                    <a:moveTo>
                      <a:pt x="130" y="43"/>
                    </a:moveTo>
                    <a:cubicBezTo>
                      <a:pt x="126" y="48"/>
                      <a:pt x="123" y="52"/>
                      <a:pt x="120" y="57"/>
                    </a:cubicBezTo>
                    <a:cubicBezTo>
                      <a:pt x="121" y="57"/>
                      <a:pt x="121" y="57"/>
                      <a:pt x="122" y="58"/>
                    </a:cubicBezTo>
                    <a:cubicBezTo>
                      <a:pt x="123" y="55"/>
                      <a:pt x="124" y="53"/>
                      <a:pt x="125" y="51"/>
                    </a:cubicBezTo>
                    <a:cubicBezTo>
                      <a:pt x="125" y="51"/>
                      <a:pt x="125" y="51"/>
                      <a:pt x="125" y="51"/>
                    </a:cubicBezTo>
                    <a:cubicBezTo>
                      <a:pt x="125" y="51"/>
                      <a:pt x="125" y="51"/>
                      <a:pt x="125" y="51"/>
                    </a:cubicBezTo>
                    <a:cubicBezTo>
                      <a:pt x="127" y="48"/>
                      <a:pt x="128" y="46"/>
                      <a:pt x="130" y="43"/>
                    </a:cubicBezTo>
                    <a:moveTo>
                      <a:pt x="125" y="15"/>
                    </a:moveTo>
                    <a:cubicBezTo>
                      <a:pt x="120" y="24"/>
                      <a:pt x="116" y="32"/>
                      <a:pt x="111" y="41"/>
                    </a:cubicBezTo>
                    <a:cubicBezTo>
                      <a:pt x="102" y="58"/>
                      <a:pt x="93" y="74"/>
                      <a:pt x="84" y="91"/>
                    </a:cubicBezTo>
                    <a:cubicBezTo>
                      <a:pt x="60" y="134"/>
                      <a:pt x="38" y="178"/>
                      <a:pt x="17" y="222"/>
                    </a:cubicBezTo>
                    <a:cubicBezTo>
                      <a:pt x="29" y="198"/>
                      <a:pt x="43" y="176"/>
                      <a:pt x="58" y="154"/>
                    </a:cubicBezTo>
                    <a:cubicBezTo>
                      <a:pt x="74" y="130"/>
                      <a:pt x="88" y="105"/>
                      <a:pt x="103" y="81"/>
                    </a:cubicBezTo>
                    <a:cubicBezTo>
                      <a:pt x="107" y="75"/>
                      <a:pt x="111" y="68"/>
                      <a:pt x="114" y="62"/>
                    </a:cubicBezTo>
                    <a:cubicBezTo>
                      <a:pt x="111" y="60"/>
                      <a:pt x="114" y="55"/>
                      <a:pt x="117" y="55"/>
                    </a:cubicBezTo>
                    <a:cubicBezTo>
                      <a:pt x="117" y="55"/>
                      <a:pt x="117" y="55"/>
                      <a:pt x="118" y="55"/>
                    </a:cubicBezTo>
                    <a:cubicBezTo>
                      <a:pt x="124" y="44"/>
                      <a:pt x="131" y="33"/>
                      <a:pt x="141" y="25"/>
                    </a:cubicBezTo>
                    <a:cubicBezTo>
                      <a:pt x="135" y="22"/>
                      <a:pt x="130" y="19"/>
                      <a:pt x="125" y="15"/>
                    </a:cubicBezTo>
                    <a:moveTo>
                      <a:pt x="133" y="0"/>
                    </a:moveTo>
                    <a:cubicBezTo>
                      <a:pt x="132" y="2"/>
                      <a:pt x="131" y="4"/>
                      <a:pt x="130" y="6"/>
                    </a:cubicBezTo>
                    <a:cubicBezTo>
                      <a:pt x="136" y="10"/>
                      <a:pt x="143" y="14"/>
                      <a:pt x="150" y="18"/>
                    </a:cubicBezTo>
                    <a:cubicBezTo>
                      <a:pt x="151" y="17"/>
                      <a:pt x="152" y="16"/>
                      <a:pt x="153" y="15"/>
                    </a:cubicBezTo>
                    <a:cubicBezTo>
                      <a:pt x="155" y="12"/>
                      <a:pt x="155" y="12"/>
                      <a:pt x="155" y="12"/>
                    </a:cubicBezTo>
                    <a:cubicBezTo>
                      <a:pt x="147" y="8"/>
                      <a:pt x="140" y="4"/>
                      <a:pt x="133" y="0"/>
                    </a:cubicBezTo>
                  </a:path>
                </a:pathLst>
              </a:custGeom>
              <a:solidFill>
                <a:srgbClr val="EF827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155" name="Freeform 67">
                <a:extLst>
                  <a:ext uri="{FF2B5EF4-FFF2-40B4-BE49-F238E27FC236}">
                    <a16:creationId xmlns:a16="http://schemas.microsoft.com/office/drawing/2014/main" id="{FBEFBC01-121C-4F2E-B743-FBE19D3471B6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2136" y="2125"/>
                <a:ext cx="615" cy="174"/>
              </a:xfrm>
              <a:custGeom>
                <a:avLst/>
                <a:gdLst>
                  <a:gd name="T0" fmla="*/ 2 w 580"/>
                  <a:gd name="T1" fmla="*/ 14 h 165"/>
                  <a:gd name="T2" fmla="*/ 0 w 580"/>
                  <a:gd name="T3" fmla="*/ 18 h 165"/>
                  <a:gd name="T4" fmla="*/ 22 w 580"/>
                  <a:gd name="T5" fmla="*/ 30 h 165"/>
                  <a:gd name="T6" fmla="*/ 22 w 580"/>
                  <a:gd name="T7" fmla="*/ 30 h 165"/>
                  <a:gd name="T8" fmla="*/ 63 w 580"/>
                  <a:gd name="T9" fmla="*/ 51 h 165"/>
                  <a:gd name="T10" fmla="*/ 161 w 580"/>
                  <a:gd name="T11" fmla="*/ 96 h 165"/>
                  <a:gd name="T12" fmla="*/ 241 w 580"/>
                  <a:gd name="T13" fmla="*/ 125 h 165"/>
                  <a:gd name="T14" fmla="*/ 340 w 580"/>
                  <a:gd name="T15" fmla="*/ 146 h 165"/>
                  <a:gd name="T16" fmla="*/ 415 w 580"/>
                  <a:gd name="T17" fmla="*/ 156 h 165"/>
                  <a:gd name="T18" fmla="*/ 469 w 580"/>
                  <a:gd name="T19" fmla="*/ 163 h 165"/>
                  <a:gd name="T20" fmla="*/ 517 w 580"/>
                  <a:gd name="T21" fmla="*/ 165 h 165"/>
                  <a:gd name="T22" fmla="*/ 517 w 580"/>
                  <a:gd name="T23" fmla="*/ 165 h 165"/>
                  <a:gd name="T24" fmla="*/ 518 w 580"/>
                  <a:gd name="T25" fmla="*/ 165 h 165"/>
                  <a:gd name="T26" fmla="*/ 518 w 580"/>
                  <a:gd name="T27" fmla="*/ 165 h 165"/>
                  <a:gd name="T28" fmla="*/ 518 w 580"/>
                  <a:gd name="T29" fmla="*/ 165 h 165"/>
                  <a:gd name="T30" fmla="*/ 555 w 580"/>
                  <a:gd name="T31" fmla="*/ 159 h 165"/>
                  <a:gd name="T32" fmla="*/ 560 w 580"/>
                  <a:gd name="T33" fmla="*/ 156 h 165"/>
                  <a:gd name="T34" fmla="*/ 563 w 580"/>
                  <a:gd name="T35" fmla="*/ 156 h 165"/>
                  <a:gd name="T36" fmla="*/ 568 w 580"/>
                  <a:gd name="T37" fmla="*/ 154 h 165"/>
                  <a:gd name="T38" fmla="*/ 569 w 580"/>
                  <a:gd name="T39" fmla="*/ 154 h 165"/>
                  <a:gd name="T40" fmla="*/ 569 w 580"/>
                  <a:gd name="T41" fmla="*/ 154 h 165"/>
                  <a:gd name="T42" fmla="*/ 569 w 580"/>
                  <a:gd name="T43" fmla="*/ 154 h 165"/>
                  <a:gd name="T44" fmla="*/ 580 w 580"/>
                  <a:gd name="T45" fmla="*/ 150 h 165"/>
                  <a:gd name="T46" fmla="*/ 577 w 580"/>
                  <a:gd name="T47" fmla="*/ 138 h 165"/>
                  <a:gd name="T48" fmla="*/ 483 w 580"/>
                  <a:gd name="T49" fmla="*/ 150 h 165"/>
                  <a:gd name="T50" fmla="*/ 446 w 580"/>
                  <a:gd name="T51" fmla="*/ 148 h 165"/>
                  <a:gd name="T52" fmla="*/ 254 w 580"/>
                  <a:gd name="T53" fmla="*/ 110 h 165"/>
                  <a:gd name="T54" fmla="*/ 2 w 580"/>
                  <a:gd name="T55" fmla="*/ 14 h 165"/>
                  <a:gd name="T56" fmla="*/ 10 w 580"/>
                  <a:gd name="T57" fmla="*/ 0 h 165"/>
                  <a:gd name="T58" fmla="*/ 6 w 580"/>
                  <a:gd name="T59" fmla="*/ 7 h 165"/>
                  <a:gd name="T60" fmla="*/ 74 w 580"/>
                  <a:gd name="T61" fmla="*/ 43 h 165"/>
                  <a:gd name="T62" fmla="*/ 248 w 580"/>
                  <a:gd name="T63" fmla="*/ 102 h 165"/>
                  <a:gd name="T64" fmla="*/ 490 w 580"/>
                  <a:gd name="T65" fmla="*/ 146 h 165"/>
                  <a:gd name="T66" fmla="*/ 577 w 580"/>
                  <a:gd name="T67" fmla="*/ 135 h 165"/>
                  <a:gd name="T68" fmla="*/ 575 w 580"/>
                  <a:gd name="T69" fmla="*/ 130 h 165"/>
                  <a:gd name="T70" fmla="*/ 537 w 580"/>
                  <a:gd name="T71" fmla="*/ 136 h 165"/>
                  <a:gd name="T72" fmla="*/ 483 w 580"/>
                  <a:gd name="T73" fmla="*/ 138 h 165"/>
                  <a:gd name="T74" fmla="*/ 427 w 580"/>
                  <a:gd name="T75" fmla="*/ 134 h 165"/>
                  <a:gd name="T76" fmla="*/ 270 w 580"/>
                  <a:gd name="T77" fmla="*/ 100 h 165"/>
                  <a:gd name="T78" fmla="*/ 119 w 580"/>
                  <a:gd name="T79" fmla="*/ 54 h 165"/>
                  <a:gd name="T80" fmla="*/ 10 w 580"/>
                  <a:gd name="T81" fmla="*/ 0 h 1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580" h="165">
                    <a:moveTo>
                      <a:pt x="2" y="14"/>
                    </a:moveTo>
                    <a:cubicBezTo>
                      <a:pt x="1" y="15"/>
                      <a:pt x="1" y="17"/>
                      <a:pt x="0" y="18"/>
                    </a:cubicBezTo>
                    <a:cubicBezTo>
                      <a:pt x="7" y="22"/>
                      <a:pt x="14" y="26"/>
                      <a:pt x="22" y="30"/>
                    </a:cubicBezTo>
                    <a:cubicBezTo>
                      <a:pt x="22" y="30"/>
                      <a:pt x="22" y="30"/>
                      <a:pt x="22" y="30"/>
                    </a:cubicBezTo>
                    <a:cubicBezTo>
                      <a:pt x="35" y="37"/>
                      <a:pt x="49" y="44"/>
                      <a:pt x="63" y="51"/>
                    </a:cubicBezTo>
                    <a:cubicBezTo>
                      <a:pt x="94" y="67"/>
                      <a:pt x="126" y="82"/>
                      <a:pt x="161" y="96"/>
                    </a:cubicBezTo>
                    <a:cubicBezTo>
                      <a:pt x="188" y="104"/>
                      <a:pt x="214" y="115"/>
                      <a:pt x="241" y="125"/>
                    </a:cubicBezTo>
                    <a:cubicBezTo>
                      <a:pt x="274" y="136"/>
                      <a:pt x="308" y="142"/>
                      <a:pt x="340" y="146"/>
                    </a:cubicBezTo>
                    <a:cubicBezTo>
                      <a:pt x="365" y="152"/>
                      <a:pt x="392" y="153"/>
                      <a:pt x="415" y="156"/>
                    </a:cubicBezTo>
                    <a:cubicBezTo>
                      <a:pt x="432" y="158"/>
                      <a:pt x="451" y="162"/>
                      <a:pt x="469" y="163"/>
                    </a:cubicBezTo>
                    <a:cubicBezTo>
                      <a:pt x="484" y="164"/>
                      <a:pt x="502" y="164"/>
                      <a:pt x="517" y="165"/>
                    </a:cubicBezTo>
                    <a:cubicBezTo>
                      <a:pt x="517" y="165"/>
                      <a:pt x="517" y="165"/>
                      <a:pt x="517" y="165"/>
                    </a:cubicBezTo>
                    <a:cubicBezTo>
                      <a:pt x="517" y="165"/>
                      <a:pt x="518" y="165"/>
                      <a:pt x="518" y="165"/>
                    </a:cubicBezTo>
                    <a:cubicBezTo>
                      <a:pt x="518" y="165"/>
                      <a:pt x="518" y="165"/>
                      <a:pt x="518" y="165"/>
                    </a:cubicBezTo>
                    <a:cubicBezTo>
                      <a:pt x="518" y="165"/>
                      <a:pt x="518" y="165"/>
                      <a:pt x="518" y="165"/>
                    </a:cubicBezTo>
                    <a:cubicBezTo>
                      <a:pt x="530" y="165"/>
                      <a:pt x="542" y="162"/>
                      <a:pt x="555" y="159"/>
                    </a:cubicBezTo>
                    <a:cubicBezTo>
                      <a:pt x="555" y="157"/>
                      <a:pt x="558" y="156"/>
                      <a:pt x="560" y="156"/>
                    </a:cubicBezTo>
                    <a:cubicBezTo>
                      <a:pt x="561" y="156"/>
                      <a:pt x="562" y="156"/>
                      <a:pt x="563" y="156"/>
                    </a:cubicBezTo>
                    <a:cubicBezTo>
                      <a:pt x="565" y="156"/>
                      <a:pt x="567" y="155"/>
                      <a:pt x="568" y="154"/>
                    </a:cubicBezTo>
                    <a:cubicBezTo>
                      <a:pt x="569" y="154"/>
                      <a:pt x="569" y="154"/>
                      <a:pt x="569" y="154"/>
                    </a:cubicBezTo>
                    <a:cubicBezTo>
                      <a:pt x="569" y="154"/>
                      <a:pt x="569" y="154"/>
                      <a:pt x="569" y="154"/>
                    </a:cubicBezTo>
                    <a:cubicBezTo>
                      <a:pt x="569" y="154"/>
                      <a:pt x="569" y="154"/>
                      <a:pt x="569" y="154"/>
                    </a:cubicBezTo>
                    <a:cubicBezTo>
                      <a:pt x="573" y="153"/>
                      <a:pt x="576" y="152"/>
                      <a:pt x="580" y="150"/>
                    </a:cubicBezTo>
                    <a:cubicBezTo>
                      <a:pt x="577" y="138"/>
                      <a:pt x="577" y="138"/>
                      <a:pt x="577" y="138"/>
                    </a:cubicBezTo>
                    <a:cubicBezTo>
                      <a:pt x="547" y="147"/>
                      <a:pt x="515" y="150"/>
                      <a:pt x="483" y="150"/>
                    </a:cubicBezTo>
                    <a:cubicBezTo>
                      <a:pt x="471" y="150"/>
                      <a:pt x="459" y="149"/>
                      <a:pt x="446" y="148"/>
                    </a:cubicBezTo>
                    <a:cubicBezTo>
                      <a:pt x="381" y="144"/>
                      <a:pt x="317" y="126"/>
                      <a:pt x="254" y="110"/>
                    </a:cubicBezTo>
                    <a:cubicBezTo>
                      <a:pt x="168" y="88"/>
                      <a:pt x="79" y="61"/>
                      <a:pt x="2" y="14"/>
                    </a:cubicBezTo>
                    <a:moveTo>
                      <a:pt x="10" y="0"/>
                    </a:moveTo>
                    <a:cubicBezTo>
                      <a:pt x="6" y="7"/>
                      <a:pt x="6" y="7"/>
                      <a:pt x="6" y="7"/>
                    </a:cubicBezTo>
                    <a:cubicBezTo>
                      <a:pt x="28" y="20"/>
                      <a:pt x="51" y="32"/>
                      <a:pt x="74" y="43"/>
                    </a:cubicBezTo>
                    <a:cubicBezTo>
                      <a:pt x="130" y="69"/>
                      <a:pt x="189" y="87"/>
                      <a:pt x="248" y="102"/>
                    </a:cubicBezTo>
                    <a:cubicBezTo>
                      <a:pt x="325" y="122"/>
                      <a:pt x="408" y="146"/>
                      <a:pt x="490" y="146"/>
                    </a:cubicBezTo>
                    <a:cubicBezTo>
                      <a:pt x="519" y="146"/>
                      <a:pt x="548" y="143"/>
                      <a:pt x="577" y="135"/>
                    </a:cubicBezTo>
                    <a:cubicBezTo>
                      <a:pt x="575" y="130"/>
                      <a:pt x="575" y="130"/>
                      <a:pt x="575" y="130"/>
                    </a:cubicBezTo>
                    <a:cubicBezTo>
                      <a:pt x="562" y="134"/>
                      <a:pt x="549" y="135"/>
                      <a:pt x="537" y="136"/>
                    </a:cubicBezTo>
                    <a:cubicBezTo>
                      <a:pt x="518" y="137"/>
                      <a:pt x="501" y="138"/>
                      <a:pt x="483" y="138"/>
                    </a:cubicBezTo>
                    <a:cubicBezTo>
                      <a:pt x="464" y="138"/>
                      <a:pt x="445" y="137"/>
                      <a:pt x="427" y="134"/>
                    </a:cubicBezTo>
                    <a:cubicBezTo>
                      <a:pt x="373" y="127"/>
                      <a:pt x="323" y="114"/>
                      <a:pt x="270" y="100"/>
                    </a:cubicBezTo>
                    <a:cubicBezTo>
                      <a:pt x="220" y="87"/>
                      <a:pt x="168" y="74"/>
                      <a:pt x="119" y="54"/>
                    </a:cubicBezTo>
                    <a:cubicBezTo>
                      <a:pt x="82" y="39"/>
                      <a:pt x="45" y="21"/>
                      <a:pt x="10" y="0"/>
                    </a:cubicBezTo>
                  </a:path>
                </a:pathLst>
              </a:custGeom>
              <a:solidFill>
                <a:srgbClr val="EF827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156" name="Freeform 68">
                <a:extLst>
                  <a:ext uri="{FF2B5EF4-FFF2-40B4-BE49-F238E27FC236}">
                    <a16:creationId xmlns:a16="http://schemas.microsoft.com/office/drawing/2014/main" id="{57773D76-72E3-419C-99E5-D38D058DAB91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1946" y="2121"/>
                <a:ext cx="190" cy="366"/>
              </a:xfrm>
              <a:custGeom>
                <a:avLst/>
                <a:gdLst>
                  <a:gd name="T0" fmla="*/ 171 w 179"/>
                  <a:gd name="T1" fmla="*/ 36 h 345"/>
                  <a:gd name="T2" fmla="*/ 157 w 179"/>
                  <a:gd name="T3" fmla="*/ 62 h 345"/>
                  <a:gd name="T4" fmla="*/ 171 w 179"/>
                  <a:gd name="T5" fmla="*/ 36 h 345"/>
                  <a:gd name="T6" fmla="*/ 171 w 179"/>
                  <a:gd name="T7" fmla="*/ 36 h 345"/>
                  <a:gd name="T8" fmla="*/ 73 w 179"/>
                  <a:gd name="T9" fmla="*/ 170 h 345"/>
                  <a:gd name="T10" fmla="*/ 72 w 179"/>
                  <a:gd name="T11" fmla="*/ 169 h 345"/>
                  <a:gd name="T12" fmla="*/ 78 w 179"/>
                  <a:gd name="T13" fmla="*/ 160 h 345"/>
                  <a:gd name="T14" fmla="*/ 79 w 179"/>
                  <a:gd name="T15" fmla="*/ 160 h 345"/>
                  <a:gd name="T16" fmla="*/ 80 w 179"/>
                  <a:gd name="T17" fmla="*/ 162 h 345"/>
                  <a:gd name="T18" fmla="*/ 76 w 179"/>
                  <a:gd name="T19" fmla="*/ 165 h 345"/>
                  <a:gd name="T20" fmla="*/ 74 w 179"/>
                  <a:gd name="T21" fmla="*/ 169 h 345"/>
                  <a:gd name="T22" fmla="*/ 73 w 179"/>
                  <a:gd name="T23" fmla="*/ 170 h 345"/>
                  <a:gd name="T24" fmla="*/ 85 w 179"/>
                  <a:gd name="T25" fmla="*/ 145 h 345"/>
                  <a:gd name="T26" fmla="*/ 84 w 179"/>
                  <a:gd name="T27" fmla="*/ 145 h 345"/>
                  <a:gd name="T28" fmla="*/ 100 w 179"/>
                  <a:gd name="T29" fmla="*/ 108 h 345"/>
                  <a:gd name="T30" fmla="*/ 121 w 179"/>
                  <a:gd name="T31" fmla="*/ 75 h 345"/>
                  <a:gd name="T32" fmla="*/ 122 w 179"/>
                  <a:gd name="T33" fmla="*/ 75 h 345"/>
                  <a:gd name="T34" fmla="*/ 122 w 179"/>
                  <a:gd name="T35" fmla="*/ 76 h 345"/>
                  <a:gd name="T36" fmla="*/ 102 w 179"/>
                  <a:gd name="T37" fmla="*/ 114 h 345"/>
                  <a:gd name="T38" fmla="*/ 85 w 179"/>
                  <a:gd name="T39" fmla="*/ 145 h 345"/>
                  <a:gd name="T40" fmla="*/ 134 w 179"/>
                  <a:gd name="T41" fmla="*/ 63 h 345"/>
                  <a:gd name="T42" fmla="*/ 133 w 179"/>
                  <a:gd name="T43" fmla="*/ 63 h 345"/>
                  <a:gd name="T44" fmla="*/ 140 w 179"/>
                  <a:gd name="T45" fmla="*/ 51 h 345"/>
                  <a:gd name="T46" fmla="*/ 141 w 179"/>
                  <a:gd name="T47" fmla="*/ 51 h 345"/>
                  <a:gd name="T48" fmla="*/ 134 w 179"/>
                  <a:gd name="T49" fmla="*/ 63 h 345"/>
                  <a:gd name="T50" fmla="*/ 147 w 179"/>
                  <a:gd name="T51" fmla="*/ 42 h 345"/>
                  <a:gd name="T52" fmla="*/ 147 w 179"/>
                  <a:gd name="T53" fmla="*/ 41 h 345"/>
                  <a:gd name="T54" fmla="*/ 156 w 179"/>
                  <a:gd name="T55" fmla="*/ 28 h 345"/>
                  <a:gd name="T56" fmla="*/ 156 w 179"/>
                  <a:gd name="T57" fmla="*/ 27 h 345"/>
                  <a:gd name="T58" fmla="*/ 157 w 179"/>
                  <a:gd name="T59" fmla="*/ 29 h 345"/>
                  <a:gd name="T60" fmla="*/ 147 w 179"/>
                  <a:gd name="T61" fmla="*/ 42 h 345"/>
                  <a:gd name="T62" fmla="*/ 146 w 179"/>
                  <a:gd name="T63" fmla="*/ 19 h 345"/>
                  <a:gd name="T64" fmla="*/ 124 w 179"/>
                  <a:gd name="T65" fmla="*/ 56 h 345"/>
                  <a:gd name="T66" fmla="*/ 112 w 179"/>
                  <a:gd name="T67" fmla="*/ 75 h 345"/>
                  <a:gd name="T68" fmla="*/ 110 w 179"/>
                  <a:gd name="T69" fmla="*/ 78 h 345"/>
                  <a:gd name="T70" fmla="*/ 64 w 179"/>
                  <a:gd name="T71" fmla="*/ 148 h 345"/>
                  <a:gd name="T72" fmla="*/ 51 w 179"/>
                  <a:gd name="T73" fmla="*/ 178 h 345"/>
                  <a:gd name="T74" fmla="*/ 40 w 179"/>
                  <a:gd name="T75" fmla="*/ 209 h 345"/>
                  <a:gd name="T76" fmla="*/ 28 w 179"/>
                  <a:gd name="T77" fmla="*/ 253 h 345"/>
                  <a:gd name="T78" fmla="*/ 19 w 179"/>
                  <a:gd name="T79" fmla="*/ 295 h 345"/>
                  <a:gd name="T80" fmla="*/ 12 w 179"/>
                  <a:gd name="T81" fmla="*/ 315 h 345"/>
                  <a:gd name="T82" fmla="*/ 4 w 179"/>
                  <a:gd name="T83" fmla="*/ 337 h 345"/>
                  <a:gd name="T84" fmla="*/ 0 w 179"/>
                  <a:gd name="T85" fmla="*/ 345 h 345"/>
                  <a:gd name="T86" fmla="*/ 14 w 179"/>
                  <a:gd name="T87" fmla="*/ 322 h 345"/>
                  <a:gd name="T88" fmla="*/ 87 w 179"/>
                  <a:gd name="T89" fmla="*/ 172 h 345"/>
                  <a:gd name="T90" fmla="*/ 165 w 179"/>
                  <a:gd name="T91" fmla="*/ 32 h 345"/>
                  <a:gd name="T92" fmla="*/ 146 w 179"/>
                  <a:gd name="T93" fmla="*/ 19 h 345"/>
                  <a:gd name="T94" fmla="*/ 152 w 179"/>
                  <a:gd name="T95" fmla="*/ 0 h 345"/>
                  <a:gd name="T96" fmla="*/ 151 w 179"/>
                  <a:gd name="T97" fmla="*/ 1 h 345"/>
                  <a:gd name="T98" fmla="*/ 149 w 179"/>
                  <a:gd name="T99" fmla="*/ 8 h 345"/>
                  <a:gd name="T100" fmla="*/ 155 w 179"/>
                  <a:gd name="T101" fmla="*/ 13 h 345"/>
                  <a:gd name="T102" fmla="*/ 170 w 179"/>
                  <a:gd name="T103" fmla="*/ 23 h 345"/>
                  <a:gd name="T104" fmla="*/ 172 w 179"/>
                  <a:gd name="T105" fmla="*/ 22 h 345"/>
                  <a:gd name="T106" fmla="*/ 176 w 179"/>
                  <a:gd name="T107" fmla="*/ 26 h 345"/>
                  <a:gd name="T108" fmla="*/ 175 w 179"/>
                  <a:gd name="T109" fmla="*/ 27 h 345"/>
                  <a:gd name="T110" fmla="*/ 176 w 179"/>
                  <a:gd name="T111" fmla="*/ 27 h 345"/>
                  <a:gd name="T112" fmla="*/ 179 w 179"/>
                  <a:gd name="T113" fmla="*/ 21 h 345"/>
                  <a:gd name="T114" fmla="*/ 172 w 179"/>
                  <a:gd name="T115" fmla="*/ 17 h 345"/>
                  <a:gd name="T116" fmla="*/ 152 w 179"/>
                  <a:gd name="T117" fmla="*/ 0 h 3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179" h="345">
                    <a:moveTo>
                      <a:pt x="171" y="36"/>
                    </a:moveTo>
                    <a:cubicBezTo>
                      <a:pt x="166" y="45"/>
                      <a:pt x="162" y="53"/>
                      <a:pt x="157" y="62"/>
                    </a:cubicBezTo>
                    <a:cubicBezTo>
                      <a:pt x="162" y="53"/>
                      <a:pt x="166" y="45"/>
                      <a:pt x="171" y="36"/>
                    </a:cubicBezTo>
                    <a:cubicBezTo>
                      <a:pt x="171" y="36"/>
                      <a:pt x="171" y="36"/>
                      <a:pt x="171" y="36"/>
                    </a:cubicBezTo>
                    <a:moveTo>
                      <a:pt x="73" y="170"/>
                    </a:moveTo>
                    <a:cubicBezTo>
                      <a:pt x="72" y="170"/>
                      <a:pt x="72" y="170"/>
                      <a:pt x="72" y="169"/>
                    </a:cubicBezTo>
                    <a:cubicBezTo>
                      <a:pt x="72" y="165"/>
                      <a:pt x="75" y="162"/>
                      <a:pt x="78" y="160"/>
                    </a:cubicBezTo>
                    <a:cubicBezTo>
                      <a:pt x="78" y="160"/>
                      <a:pt x="79" y="160"/>
                      <a:pt x="79" y="160"/>
                    </a:cubicBezTo>
                    <a:cubicBezTo>
                      <a:pt x="80" y="160"/>
                      <a:pt x="81" y="162"/>
                      <a:pt x="80" y="162"/>
                    </a:cubicBezTo>
                    <a:cubicBezTo>
                      <a:pt x="79" y="163"/>
                      <a:pt x="77" y="164"/>
                      <a:pt x="76" y="165"/>
                    </a:cubicBezTo>
                    <a:cubicBezTo>
                      <a:pt x="75" y="166"/>
                      <a:pt x="75" y="168"/>
                      <a:pt x="74" y="169"/>
                    </a:cubicBezTo>
                    <a:cubicBezTo>
                      <a:pt x="74" y="170"/>
                      <a:pt x="73" y="170"/>
                      <a:pt x="73" y="170"/>
                    </a:cubicBezTo>
                    <a:moveTo>
                      <a:pt x="85" y="145"/>
                    </a:moveTo>
                    <a:cubicBezTo>
                      <a:pt x="84" y="145"/>
                      <a:pt x="84" y="145"/>
                      <a:pt x="84" y="145"/>
                    </a:cubicBezTo>
                    <a:cubicBezTo>
                      <a:pt x="87" y="131"/>
                      <a:pt x="93" y="120"/>
                      <a:pt x="100" y="108"/>
                    </a:cubicBezTo>
                    <a:cubicBezTo>
                      <a:pt x="106" y="96"/>
                      <a:pt x="112" y="85"/>
                      <a:pt x="121" y="75"/>
                    </a:cubicBezTo>
                    <a:cubicBezTo>
                      <a:pt x="122" y="75"/>
                      <a:pt x="122" y="75"/>
                      <a:pt x="122" y="75"/>
                    </a:cubicBezTo>
                    <a:cubicBezTo>
                      <a:pt x="122" y="75"/>
                      <a:pt x="123" y="76"/>
                      <a:pt x="122" y="76"/>
                    </a:cubicBezTo>
                    <a:cubicBezTo>
                      <a:pt x="112" y="89"/>
                      <a:pt x="109" y="100"/>
                      <a:pt x="102" y="114"/>
                    </a:cubicBezTo>
                    <a:cubicBezTo>
                      <a:pt x="96" y="124"/>
                      <a:pt x="89" y="134"/>
                      <a:pt x="85" y="145"/>
                    </a:cubicBezTo>
                    <a:moveTo>
                      <a:pt x="134" y="63"/>
                    </a:moveTo>
                    <a:cubicBezTo>
                      <a:pt x="133" y="63"/>
                      <a:pt x="133" y="63"/>
                      <a:pt x="133" y="63"/>
                    </a:cubicBezTo>
                    <a:cubicBezTo>
                      <a:pt x="134" y="58"/>
                      <a:pt x="137" y="55"/>
                      <a:pt x="140" y="51"/>
                    </a:cubicBezTo>
                    <a:cubicBezTo>
                      <a:pt x="141" y="51"/>
                      <a:pt x="141" y="51"/>
                      <a:pt x="141" y="51"/>
                    </a:cubicBezTo>
                    <a:cubicBezTo>
                      <a:pt x="138" y="55"/>
                      <a:pt x="135" y="58"/>
                      <a:pt x="134" y="63"/>
                    </a:cubicBezTo>
                    <a:moveTo>
                      <a:pt x="147" y="42"/>
                    </a:moveTo>
                    <a:cubicBezTo>
                      <a:pt x="147" y="41"/>
                      <a:pt x="147" y="41"/>
                      <a:pt x="147" y="41"/>
                    </a:cubicBezTo>
                    <a:cubicBezTo>
                      <a:pt x="149" y="36"/>
                      <a:pt x="153" y="32"/>
                      <a:pt x="156" y="28"/>
                    </a:cubicBezTo>
                    <a:cubicBezTo>
                      <a:pt x="156" y="27"/>
                      <a:pt x="156" y="27"/>
                      <a:pt x="156" y="27"/>
                    </a:cubicBezTo>
                    <a:cubicBezTo>
                      <a:pt x="157" y="27"/>
                      <a:pt x="157" y="28"/>
                      <a:pt x="157" y="29"/>
                    </a:cubicBezTo>
                    <a:cubicBezTo>
                      <a:pt x="153" y="33"/>
                      <a:pt x="150" y="37"/>
                      <a:pt x="147" y="42"/>
                    </a:cubicBezTo>
                    <a:moveTo>
                      <a:pt x="146" y="19"/>
                    </a:moveTo>
                    <a:cubicBezTo>
                      <a:pt x="140" y="32"/>
                      <a:pt x="132" y="44"/>
                      <a:pt x="124" y="56"/>
                    </a:cubicBezTo>
                    <a:cubicBezTo>
                      <a:pt x="120" y="63"/>
                      <a:pt x="116" y="69"/>
                      <a:pt x="112" y="75"/>
                    </a:cubicBezTo>
                    <a:cubicBezTo>
                      <a:pt x="111" y="76"/>
                      <a:pt x="111" y="77"/>
                      <a:pt x="110" y="78"/>
                    </a:cubicBezTo>
                    <a:cubicBezTo>
                      <a:pt x="99" y="102"/>
                      <a:pt x="78" y="124"/>
                      <a:pt x="64" y="148"/>
                    </a:cubicBezTo>
                    <a:cubicBezTo>
                      <a:pt x="60" y="158"/>
                      <a:pt x="55" y="168"/>
                      <a:pt x="51" y="178"/>
                    </a:cubicBezTo>
                    <a:cubicBezTo>
                      <a:pt x="47" y="188"/>
                      <a:pt x="42" y="198"/>
                      <a:pt x="40" y="209"/>
                    </a:cubicBezTo>
                    <a:cubicBezTo>
                      <a:pt x="37" y="223"/>
                      <a:pt x="31" y="238"/>
                      <a:pt x="28" y="253"/>
                    </a:cubicBezTo>
                    <a:cubicBezTo>
                      <a:pt x="25" y="267"/>
                      <a:pt x="22" y="282"/>
                      <a:pt x="19" y="295"/>
                    </a:cubicBezTo>
                    <a:cubicBezTo>
                      <a:pt x="18" y="301"/>
                      <a:pt x="14" y="307"/>
                      <a:pt x="12" y="315"/>
                    </a:cubicBezTo>
                    <a:cubicBezTo>
                      <a:pt x="11" y="321"/>
                      <a:pt x="7" y="329"/>
                      <a:pt x="4" y="337"/>
                    </a:cubicBezTo>
                    <a:cubicBezTo>
                      <a:pt x="3" y="339"/>
                      <a:pt x="2" y="342"/>
                      <a:pt x="0" y="345"/>
                    </a:cubicBezTo>
                    <a:cubicBezTo>
                      <a:pt x="6" y="337"/>
                      <a:pt x="11" y="329"/>
                      <a:pt x="14" y="322"/>
                    </a:cubicBezTo>
                    <a:cubicBezTo>
                      <a:pt x="41" y="273"/>
                      <a:pt x="61" y="221"/>
                      <a:pt x="87" y="172"/>
                    </a:cubicBezTo>
                    <a:cubicBezTo>
                      <a:pt x="113" y="125"/>
                      <a:pt x="140" y="80"/>
                      <a:pt x="165" y="32"/>
                    </a:cubicBezTo>
                    <a:cubicBezTo>
                      <a:pt x="158" y="28"/>
                      <a:pt x="152" y="23"/>
                      <a:pt x="146" y="19"/>
                    </a:cubicBezTo>
                    <a:moveTo>
                      <a:pt x="152" y="0"/>
                    </a:moveTo>
                    <a:cubicBezTo>
                      <a:pt x="151" y="1"/>
                      <a:pt x="151" y="1"/>
                      <a:pt x="151" y="1"/>
                    </a:cubicBezTo>
                    <a:cubicBezTo>
                      <a:pt x="151" y="4"/>
                      <a:pt x="150" y="6"/>
                      <a:pt x="149" y="8"/>
                    </a:cubicBezTo>
                    <a:cubicBezTo>
                      <a:pt x="151" y="10"/>
                      <a:pt x="153" y="12"/>
                      <a:pt x="155" y="13"/>
                    </a:cubicBezTo>
                    <a:cubicBezTo>
                      <a:pt x="160" y="17"/>
                      <a:pt x="165" y="20"/>
                      <a:pt x="170" y="23"/>
                    </a:cubicBezTo>
                    <a:cubicBezTo>
                      <a:pt x="170" y="22"/>
                      <a:pt x="171" y="22"/>
                      <a:pt x="172" y="22"/>
                    </a:cubicBezTo>
                    <a:cubicBezTo>
                      <a:pt x="175" y="22"/>
                      <a:pt x="177" y="24"/>
                      <a:pt x="176" y="26"/>
                    </a:cubicBezTo>
                    <a:cubicBezTo>
                      <a:pt x="176" y="27"/>
                      <a:pt x="175" y="27"/>
                      <a:pt x="175" y="27"/>
                    </a:cubicBezTo>
                    <a:cubicBezTo>
                      <a:pt x="175" y="27"/>
                      <a:pt x="176" y="27"/>
                      <a:pt x="176" y="27"/>
                    </a:cubicBezTo>
                    <a:cubicBezTo>
                      <a:pt x="177" y="25"/>
                      <a:pt x="178" y="23"/>
                      <a:pt x="179" y="21"/>
                    </a:cubicBezTo>
                    <a:cubicBezTo>
                      <a:pt x="177" y="19"/>
                      <a:pt x="175" y="18"/>
                      <a:pt x="172" y="17"/>
                    </a:cubicBezTo>
                    <a:cubicBezTo>
                      <a:pt x="165" y="12"/>
                      <a:pt x="159" y="6"/>
                      <a:pt x="152" y="0"/>
                    </a:cubicBezTo>
                  </a:path>
                </a:pathLst>
              </a:custGeom>
              <a:solidFill>
                <a:srgbClr val="EF827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157" name="Freeform 69">
                <a:extLst>
                  <a:ext uri="{FF2B5EF4-FFF2-40B4-BE49-F238E27FC236}">
                    <a16:creationId xmlns:a16="http://schemas.microsoft.com/office/drawing/2014/main" id="{369F68DD-CBB2-4F4D-B73D-54FDB6E43ECB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2739" y="2275"/>
                <a:ext cx="76" cy="456"/>
              </a:xfrm>
              <a:custGeom>
                <a:avLst/>
                <a:gdLst>
                  <a:gd name="T0" fmla="*/ 12 w 72"/>
                  <a:gd name="T1" fmla="*/ 256 h 431"/>
                  <a:gd name="T2" fmla="*/ 12 w 72"/>
                  <a:gd name="T3" fmla="*/ 255 h 431"/>
                  <a:gd name="T4" fmla="*/ 23 w 72"/>
                  <a:gd name="T5" fmla="*/ 137 h 431"/>
                  <a:gd name="T6" fmla="*/ 18 w 72"/>
                  <a:gd name="T7" fmla="*/ 76 h 431"/>
                  <a:gd name="T8" fmla="*/ 12 w 72"/>
                  <a:gd name="T9" fmla="*/ 26 h 431"/>
                  <a:gd name="T10" fmla="*/ 13 w 72"/>
                  <a:gd name="T11" fmla="*/ 24 h 431"/>
                  <a:gd name="T12" fmla="*/ 15 w 72"/>
                  <a:gd name="T13" fmla="*/ 26 h 431"/>
                  <a:gd name="T14" fmla="*/ 23 w 72"/>
                  <a:gd name="T15" fmla="*/ 137 h 431"/>
                  <a:gd name="T16" fmla="*/ 13 w 72"/>
                  <a:gd name="T17" fmla="*/ 255 h 431"/>
                  <a:gd name="T18" fmla="*/ 12 w 72"/>
                  <a:gd name="T19" fmla="*/ 256 h 431"/>
                  <a:gd name="T20" fmla="*/ 34 w 72"/>
                  <a:gd name="T21" fmla="*/ 11 h 431"/>
                  <a:gd name="T22" fmla="*/ 14 w 72"/>
                  <a:gd name="T23" fmla="*/ 18 h 431"/>
                  <a:gd name="T24" fmla="*/ 2 w 72"/>
                  <a:gd name="T25" fmla="*/ 21 h 431"/>
                  <a:gd name="T26" fmla="*/ 10 w 72"/>
                  <a:gd name="T27" fmla="*/ 65 h 431"/>
                  <a:gd name="T28" fmla="*/ 12 w 72"/>
                  <a:gd name="T29" fmla="*/ 110 h 431"/>
                  <a:gd name="T30" fmla="*/ 4 w 72"/>
                  <a:gd name="T31" fmla="*/ 254 h 431"/>
                  <a:gd name="T32" fmla="*/ 4 w 72"/>
                  <a:gd name="T33" fmla="*/ 265 h 431"/>
                  <a:gd name="T34" fmla="*/ 6 w 72"/>
                  <a:gd name="T35" fmla="*/ 322 h 431"/>
                  <a:gd name="T36" fmla="*/ 6 w 72"/>
                  <a:gd name="T37" fmla="*/ 322 h 431"/>
                  <a:gd name="T38" fmla="*/ 6 w 72"/>
                  <a:gd name="T39" fmla="*/ 322 h 431"/>
                  <a:gd name="T40" fmla="*/ 11 w 72"/>
                  <a:gd name="T41" fmla="*/ 355 h 431"/>
                  <a:gd name="T42" fmla="*/ 14 w 72"/>
                  <a:gd name="T43" fmla="*/ 369 h 431"/>
                  <a:gd name="T44" fmla="*/ 11 w 72"/>
                  <a:gd name="T45" fmla="*/ 334 h 431"/>
                  <a:gd name="T46" fmla="*/ 9 w 72"/>
                  <a:gd name="T47" fmla="*/ 294 h 431"/>
                  <a:gd name="T48" fmla="*/ 10 w 72"/>
                  <a:gd name="T49" fmla="*/ 293 h 431"/>
                  <a:gd name="T50" fmla="*/ 12 w 72"/>
                  <a:gd name="T51" fmla="*/ 295 h 431"/>
                  <a:gd name="T52" fmla="*/ 16 w 72"/>
                  <a:gd name="T53" fmla="*/ 337 h 431"/>
                  <a:gd name="T54" fmla="*/ 19 w 72"/>
                  <a:gd name="T55" fmla="*/ 373 h 431"/>
                  <a:gd name="T56" fmla="*/ 33 w 72"/>
                  <a:gd name="T57" fmla="*/ 410 h 431"/>
                  <a:gd name="T58" fmla="*/ 39 w 72"/>
                  <a:gd name="T59" fmla="*/ 416 h 431"/>
                  <a:gd name="T60" fmla="*/ 42 w 72"/>
                  <a:gd name="T61" fmla="*/ 418 h 431"/>
                  <a:gd name="T62" fmla="*/ 31 w 72"/>
                  <a:gd name="T63" fmla="*/ 375 h 431"/>
                  <a:gd name="T64" fmla="*/ 31 w 72"/>
                  <a:gd name="T65" fmla="*/ 246 h 431"/>
                  <a:gd name="T66" fmla="*/ 38 w 72"/>
                  <a:gd name="T67" fmla="*/ 94 h 431"/>
                  <a:gd name="T68" fmla="*/ 34 w 72"/>
                  <a:gd name="T69" fmla="*/ 11 h 431"/>
                  <a:gd name="T70" fmla="*/ 44 w 72"/>
                  <a:gd name="T71" fmla="*/ 7 h 431"/>
                  <a:gd name="T72" fmla="*/ 41 w 72"/>
                  <a:gd name="T73" fmla="*/ 8 h 431"/>
                  <a:gd name="T74" fmla="*/ 39 w 72"/>
                  <a:gd name="T75" fmla="*/ 68 h 431"/>
                  <a:gd name="T76" fmla="*/ 42 w 72"/>
                  <a:gd name="T77" fmla="*/ 129 h 431"/>
                  <a:gd name="T78" fmla="*/ 37 w 72"/>
                  <a:gd name="T79" fmla="*/ 239 h 431"/>
                  <a:gd name="T80" fmla="*/ 35 w 72"/>
                  <a:gd name="T81" fmla="*/ 349 h 431"/>
                  <a:gd name="T82" fmla="*/ 58 w 72"/>
                  <a:gd name="T83" fmla="*/ 428 h 431"/>
                  <a:gd name="T84" fmla="*/ 72 w 72"/>
                  <a:gd name="T85" fmla="*/ 431 h 431"/>
                  <a:gd name="T86" fmla="*/ 42 w 72"/>
                  <a:gd name="T87" fmla="*/ 362 h 431"/>
                  <a:gd name="T88" fmla="*/ 39 w 72"/>
                  <a:gd name="T89" fmla="*/ 306 h 431"/>
                  <a:gd name="T90" fmla="*/ 40 w 72"/>
                  <a:gd name="T91" fmla="*/ 279 h 431"/>
                  <a:gd name="T92" fmla="*/ 48 w 72"/>
                  <a:gd name="T93" fmla="*/ 173 h 431"/>
                  <a:gd name="T94" fmla="*/ 49 w 72"/>
                  <a:gd name="T95" fmla="*/ 121 h 431"/>
                  <a:gd name="T96" fmla="*/ 47 w 72"/>
                  <a:gd name="T97" fmla="*/ 67 h 431"/>
                  <a:gd name="T98" fmla="*/ 42 w 72"/>
                  <a:gd name="T99" fmla="*/ 25 h 431"/>
                  <a:gd name="T100" fmla="*/ 44 w 72"/>
                  <a:gd name="T101" fmla="*/ 9 h 431"/>
                  <a:gd name="T102" fmla="*/ 44 w 72"/>
                  <a:gd name="T103" fmla="*/ 7 h 431"/>
                  <a:gd name="T104" fmla="*/ 43 w 72"/>
                  <a:gd name="T105" fmla="*/ 0 h 431"/>
                  <a:gd name="T106" fmla="*/ 16 w 72"/>
                  <a:gd name="T107" fmla="*/ 7 h 431"/>
                  <a:gd name="T108" fmla="*/ 11 w 72"/>
                  <a:gd name="T109" fmla="*/ 8 h 431"/>
                  <a:gd name="T110" fmla="*/ 11 w 72"/>
                  <a:gd name="T111" fmla="*/ 8 h 431"/>
                  <a:gd name="T112" fmla="*/ 0 w 72"/>
                  <a:gd name="T113" fmla="*/ 12 h 431"/>
                  <a:gd name="T114" fmla="*/ 0 w 72"/>
                  <a:gd name="T115" fmla="*/ 13 h 431"/>
                  <a:gd name="T116" fmla="*/ 6 w 72"/>
                  <a:gd name="T117" fmla="*/ 12 h 431"/>
                  <a:gd name="T118" fmla="*/ 43 w 72"/>
                  <a:gd name="T119" fmla="*/ 0 h 4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72" h="431">
                    <a:moveTo>
                      <a:pt x="12" y="256"/>
                    </a:moveTo>
                    <a:cubicBezTo>
                      <a:pt x="12" y="256"/>
                      <a:pt x="12" y="256"/>
                      <a:pt x="12" y="255"/>
                    </a:cubicBezTo>
                    <a:cubicBezTo>
                      <a:pt x="14" y="216"/>
                      <a:pt x="22" y="176"/>
                      <a:pt x="23" y="137"/>
                    </a:cubicBezTo>
                    <a:cubicBezTo>
                      <a:pt x="23" y="117"/>
                      <a:pt x="20" y="96"/>
                      <a:pt x="18" y="76"/>
                    </a:cubicBezTo>
                    <a:cubicBezTo>
                      <a:pt x="17" y="59"/>
                      <a:pt x="12" y="43"/>
                      <a:pt x="12" y="26"/>
                    </a:cubicBezTo>
                    <a:cubicBezTo>
                      <a:pt x="12" y="25"/>
                      <a:pt x="13" y="24"/>
                      <a:pt x="13" y="24"/>
                    </a:cubicBezTo>
                    <a:cubicBezTo>
                      <a:pt x="14" y="24"/>
                      <a:pt x="15" y="25"/>
                      <a:pt x="15" y="26"/>
                    </a:cubicBezTo>
                    <a:cubicBezTo>
                      <a:pt x="17" y="63"/>
                      <a:pt x="24" y="100"/>
                      <a:pt x="23" y="137"/>
                    </a:cubicBezTo>
                    <a:cubicBezTo>
                      <a:pt x="23" y="177"/>
                      <a:pt x="17" y="216"/>
                      <a:pt x="13" y="255"/>
                    </a:cubicBezTo>
                    <a:cubicBezTo>
                      <a:pt x="13" y="256"/>
                      <a:pt x="13" y="256"/>
                      <a:pt x="12" y="256"/>
                    </a:cubicBezTo>
                    <a:moveTo>
                      <a:pt x="34" y="11"/>
                    </a:moveTo>
                    <a:cubicBezTo>
                      <a:pt x="27" y="14"/>
                      <a:pt x="21" y="16"/>
                      <a:pt x="14" y="18"/>
                    </a:cubicBezTo>
                    <a:cubicBezTo>
                      <a:pt x="10" y="19"/>
                      <a:pt x="6" y="20"/>
                      <a:pt x="2" y="21"/>
                    </a:cubicBezTo>
                    <a:cubicBezTo>
                      <a:pt x="6" y="36"/>
                      <a:pt x="9" y="51"/>
                      <a:pt x="10" y="65"/>
                    </a:cubicBezTo>
                    <a:cubicBezTo>
                      <a:pt x="11" y="80"/>
                      <a:pt x="12" y="95"/>
                      <a:pt x="12" y="110"/>
                    </a:cubicBezTo>
                    <a:cubicBezTo>
                      <a:pt x="12" y="159"/>
                      <a:pt x="6" y="207"/>
                      <a:pt x="4" y="254"/>
                    </a:cubicBezTo>
                    <a:cubicBezTo>
                      <a:pt x="4" y="258"/>
                      <a:pt x="4" y="262"/>
                      <a:pt x="4" y="265"/>
                    </a:cubicBezTo>
                    <a:cubicBezTo>
                      <a:pt x="4" y="284"/>
                      <a:pt x="5" y="303"/>
                      <a:pt x="6" y="322"/>
                    </a:cubicBezTo>
                    <a:cubicBezTo>
                      <a:pt x="6" y="322"/>
                      <a:pt x="6" y="322"/>
                      <a:pt x="6" y="322"/>
                    </a:cubicBezTo>
                    <a:cubicBezTo>
                      <a:pt x="6" y="322"/>
                      <a:pt x="6" y="322"/>
                      <a:pt x="6" y="322"/>
                    </a:cubicBezTo>
                    <a:cubicBezTo>
                      <a:pt x="7" y="333"/>
                      <a:pt x="9" y="344"/>
                      <a:pt x="11" y="355"/>
                    </a:cubicBezTo>
                    <a:cubicBezTo>
                      <a:pt x="12" y="359"/>
                      <a:pt x="13" y="364"/>
                      <a:pt x="14" y="369"/>
                    </a:cubicBezTo>
                    <a:cubicBezTo>
                      <a:pt x="12" y="357"/>
                      <a:pt x="12" y="346"/>
                      <a:pt x="11" y="334"/>
                    </a:cubicBezTo>
                    <a:cubicBezTo>
                      <a:pt x="10" y="321"/>
                      <a:pt x="7" y="308"/>
                      <a:pt x="9" y="294"/>
                    </a:cubicBezTo>
                    <a:cubicBezTo>
                      <a:pt x="9" y="294"/>
                      <a:pt x="10" y="293"/>
                      <a:pt x="10" y="293"/>
                    </a:cubicBezTo>
                    <a:cubicBezTo>
                      <a:pt x="11" y="293"/>
                      <a:pt x="12" y="294"/>
                      <a:pt x="12" y="295"/>
                    </a:cubicBezTo>
                    <a:cubicBezTo>
                      <a:pt x="11" y="309"/>
                      <a:pt x="14" y="323"/>
                      <a:pt x="16" y="337"/>
                    </a:cubicBezTo>
                    <a:cubicBezTo>
                      <a:pt x="17" y="349"/>
                      <a:pt x="17" y="361"/>
                      <a:pt x="19" y="373"/>
                    </a:cubicBezTo>
                    <a:cubicBezTo>
                      <a:pt x="22" y="386"/>
                      <a:pt x="27" y="398"/>
                      <a:pt x="33" y="410"/>
                    </a:cubicBezTo>
                    <a:cubicBezTo>
                      <a:pt x="35" y="412"/>
                      <a:pt x="37" y="414"/>
                      <a:pt x="39" y="416"/>
                    </a:cubicBezTo>
                    <a:cubicBezTo>
                      <a:pt x="40" y="417"/>
                      <a:pt x="41" y="418"/>
                      <a:pt x="42" y="418"/>
                    </a:cubicBezTo>
                    <a:cubicBezTo>
                      <a:pt x="35" y="404"/>
                      <a:pt x="32" y="388"/>
                      <a:pt x="31" y="375"/>
                    </a:cubicBezTo>
                    <a:cubicBezTo>
                      <a:pt x="26" y="332"/>
                      <a:pt x="28" y="289"/>
                      <a:pt x="31" y="246"/>
                    </a:cubicBezTo>
                    <a:cubicBezTo>
                      <a:pt x="35" y="195"/>
                      <a:pt x="40" y="145"/>
                      <a:pt x="38" y="94"/>
                    </a:cubicBezTo>
                    <a:cubicBezTo>
                      <a:pt x="37" y="75"/>
                      <a:pt x="23" y="33"/>
                      <a:pt x="34" y="11"/>
                    </a:cubicBezTo>
                    <a:moveTo>
                      <a:pt x="44" y="7"/>
                    </a:moveTo>
                    <a:cubicBezTo>
                      <a:pt x="43" y="7"/>
                      <a:pt x="42" y="8"/>
                      <a:pt x="41" y="8"/>
                    </a:cubicBezTo>
                    <a:cubicBezTo>
                      <a:pt x="31" y="24"/>
                      <a:pt x="38" y="52"/>
                      <a:pt x="39" y="68"/>
                    </a:cubicBezTo>
                    <a:cubicBezTo>
                      <a:pt x="41" y="88"/>
                      <a:pt x="42" y="108"/>
                      <a:pt x="42" y="129"/>
                    </a:cubicBezTo>
                    <a:cubicBezTo>
                      <a:pt x="43" y="166"/>
                      <a:pt x="40" y="202"/>
                      <a:pt x="37" y="239"/>
                    </a:cubicBezTo>
                    <a:cubicBezTo>
                      <a:pt x="34" y="275"/>
                      <a:pt x="33" y="312"/>
                      <a:pt x="35" y="349"/>
                    </a:cubicBezTo>
                    <a:cubicBezTo>
                      <a:pt x="37" y="378"/>
                      <a:pt x="40" y="406"/>
                      <a:pt x="58" y="428"/>
                    </a:cubicBezTo>
                    <a:cubicBezTo>
                      <a:pt x="62" y="430"/>
                      <a:pt x="67" y="431"/>
                      <a:pt x="72" y="431"/>
                    </a:cubicBezTo>
                    <a:cubicBezTo>
                      <a:pt x="52" y="417"/>
                      <a:pt x="44" y="383"/>
                      <a:pt x="42" y="362"/>
                    </a:cubicBezTo>
                    <a:cubicBezTo>
                      <a:pt x="41" y="342"/>
                      <a:pt x="39" y="324"/>
                      <a:pt x="39" y="306"/>
                    </a:cubicBezTo>
                    <a:cubicBezTo>
                      <a:pt x="39" y="297"/>
                      <a:pt x="40" y="288"/>
                      <a:pt x="40" y="279"/>
                    </a:cubicBezTo>
                    <a:cubicBezTo>
                      <a:pt x="41" y="244"/>
                      <a:pt x="45" y="208"/>
                      <a:pt x="48" y="173"/>
                    </a:cubicBezTo>
                    <a:cubicBezTo>
                      <a:pt x="49" y="156"/>
                      <a:pt x="49" y="138"/>
                      <a:pt x="49" y="121"/>
                    </a:cubicBezTo>
                    <a:cubicBezTo>
                      <a:pt x="49" y="103"/>
                      <a:pt x="48" y="85"/>
                      <a:pt x="47" y="67"/>
                    </a:cubicBezTo>
                    <a:cubicBezTo>
                      <a:pt x="45" y="52"/>
                      <a:pt x="42" y="38"/>
                      <a:pt x="42" y="25"/>
                    </a:cubicBezTo>
                    <a:cubicBezTo>
                      <a:pt x="42" y="19"/>
                      <a:pt x="43" y="14"/>
                      <a:pt x="44" y="9"/>
                    </a:cubicBezTo>
                    <a:cubicBezTo>
                      <a:pt x="44" y="8"/>
                      <a:pt x="44" y="7"/>
                      <a:pt x="44" y="7"/>
                    </a:cubicBezTo>
                    <a:moveTo>
                      <a:pt x="43" y="0"/>
                    </a:moveTo>
                    <a:cubicBezTo>
                      <a:pt x="34" y="3"/>
                      <a:pt x="25" y="5"/>
                      <a:pt x="16" y="7"/>
                    </a:cubicBezTo>
                    <a:cubicBezTo>
                      <a:pt x="14" y="7"/>
                      <a:pt x="13" y="8"/>
                      <a:pt x="11" y="8"/>
                    </a:cubicBezTo>
                    <a:cubicBezTo>
                      <a:pt x="11" y="8"/>
                      <a:pt x="11" y="8"/>
                      <a:pt x="11" y="8"/>
                    </a:cubicBezTo>
                    <a:cubicBezTo>
                      <a:pt x="7" y="10"/>
                      <a:pt x="4" y="11"/>
                      <a:pt x="0" y="12"/>
                    </a:cubicBezTo>
                    <a:cubicBezTo>
                      <a:pt x="0" y="13"/>
                      <a:pt x="0" y="13"/>
                      <a:pt x="0" y="13"/>
                    </a:cubicBezTo>
                    <a:cubicBezTo>
                      <a:pt x="2" y="13"/>
                      <a:pt x="4" y="12"/>
                      <a:pt x="6" y="12"/>
                    </a:cubicBezTo>
                    <a:cubicBezTo>
                      <a:pt x="20" y="8"/>
                      <a:pt x="31" y="6"/>
                      <a:pt x="43" y="0"/>
                    </a:cubicBezTo>
                  </a:path>
                </a:pathLst>
              </a:custGeom>
              <a:solidFill>
                <a:srgbClr val="EF827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158" name="Freeform 70">
                <a:extLst>
                  <a:ext uri="{FF2B5EF4-FFF2-40B4-BE49-F238E27FC236}">
                    <a16:creationId xmlns:a16="http://schemas.microsoft.com/office/drawing/2014/main" id="{839F88A8-F37A-4B70-BD43-712A44B1A670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2128" y="2156"/>
                <a:ext cx="624" cy="461"/>
              </a:xfrm>
              <a:custGeom>
                <a:avLst/>
                <a:gdLst>
                  <a:gd name="T0" fmla="*/ 574 w 589"/>
                  <a:gd name="T1" fmla="*/ 134 h 435"/>
                  <a:gd name="T2" fmla="*/ 577 w 589"/>
                  <a:gd name="T3" fmla="*/ 435 h 435"/>
                  <a:gd name="T4" fmla="*/ 581 w 589"/>
                  <a:gd name="T5" fmla="*/ 377 h 435"/>
                  <a:gd name="T6" fmla="*/ 589 w 589"/>
                  <a:gd name="T7" fmla="*/ 222 h 435"/>
                  <a:gd name="T8" fmla="*/ 579 w 589"/>
                  <a:gd name="T9" fmla="*/ 133 h 435"/>
                  <a:gd name="T10" fmla="*/ 577 w 589"/>
                  <a:gd name="T11" fmla="*/ 124 h 435"/>
                  <a:gd name="T12" fmla="*/ 571 w 589"/>
                  <a:gd name="T13" fmla="*/ 126 h 435"/>
                  <a:gd name="T14" fmla="*/ 577 w 589"/>
                  <a:gd name="T15" fmla="*/ 125 h 435"/>
                  <a:gd name="T16" fmla="*/ 577 w 589"/>
                  <a:gd name="T17" fmla="*/ 124 h 435"/>
                  <a:gd name="T18" fmla="*/ 5 w 589"/>
                  <a:gd name="T19" fmla="*/ 31 h 435"/>
                  <a:gd name="T20" fmla="*/ 0 w 589"/>
                  <a:gd name="T21" fmla="*/ 39 h 435"/>
                  <a:gd name="T22" fmla="*/ 38 w 589"/>
                  <a:gd name="T23" fmla="*/ 69 h 435"/>
                  <a:gd name="T24" fmla="*/ 147 w 589"/>
                  <a:gd name="T25" fmla="*/ 115 h 435"/>
                  <a:gd name="T26" fmla="*/ 159 w 589"/>
                  <a:gd name="T27" fmla="*/ 115 h 435"/>
                  <a:gd name="T28" fmla="*/ 128 w 589"/>
                  <a:gd name="T29" fmla="*/ 96 h 435"/>
                  <a:gd name="T30" fmla="*/ 171 w 589"/>
                  <a:gd name="T31" fmla="*/ 110 h 435"/>
                  <a:gd name="T32" fmla="*/ 201 w 589"/>
                  <a:gd name="T33" fmla="*/ 113 h 435"/>
                  <a:gd name="T34" fmla="*/ 344 w 589"/>
                  <a:gd name="T35" fmla="*/ 146 h 435"/>
                  <a:gd name="T36" fmla="*/ 367 w 589"/>
                  <a:gd name="T37" fmla="*/ 151 h 435"/>
                  <a:gd name="T38" fmla="*/ 370 w 589"/>
                  <a:gd name="T39" fmla="*/ 157 h 435"/>
                  <a:gd name="T40" fmla="*/ 376 w 589"/>
                  <a:gd name="T41" fmla="*/ 157 h 435"/>
                  <a:gd name="T42" fmla="*/ 373 w 589"/>
                  <a:gd name="T43" fmla="*/ 163 h 435"/>
                  <a:gd name="T44" fmla="*/ 420 w 589"/>
                  <a:gd name="T45" fmla="*/ 175 h 435"/>
                  <a:gd name="T46" fmla="*/ 450 w 589"/>
                  <a:gd name="T47" fmla="*/ 174 h 435"/>
                  <a:gd name="T48" fmla="*/ 486 w 589"/>
                  <a:gd name="T49" fmla="*/ 171 h 435"/>
                  <a:gd name="T50" fmla="*/ 553 w 589"/>
                  <a:gd name="T51" fmla="*/ 159 h 435"/>
                  <a:gd name="T52" fmla="*/ 552 w 589"/>
                  <a:gd name="T53" fmla="*/ 143 h 435"/>
                  <a:gd name="T54" fmla="*/ 558 w 589"/>
                  <a:gd name="T55" fmla="*/ 158 h 435"/>
                  <a:gd name="T56" fmla="*/ 568 w 589"/>
                  <a:gd name="T57" fmla="*/ 173 h 435"/>
                  <a:gd name="T58" fmla="*/ 573 w 589"/>
                  <a:gd name="T59" fmla="*/ 278 h 435"/>
                  <a:gd name="T60" fmla="*/ 564 w 589"/>
                  <a:gd name="T61" fmla="*/ 137 h 435"/>
                  <a:gd name="T62" fmla="*/ 503 w 589"/>
                  <a:gd name="T63" fmla="*/ 147 h 435"/>
                  <a:gd name="T64" fmla="*/ 210 w 589"/>
                  <a:gd name="T65" fmla="*/ 97 h 435"/>
                  <a:gd name="T66" fmla="*/ 19 w 589"/>
                  <a:gd name="T67" fmla="*/ 14 h 435"/>
                  <a:gd name="T68" fmla="*/ 30 w 589"/>
                  <a:gd name="T69" fmla="*/ 0 h 435"/>
                  <a:gd name="T70" fmla="*/ 25 w 589"/>
                  <a:gd name="T71" fmla="*/ 6 h 435"/>
                  <a:gd name="T72" fmla="*/ 115 w 589"/>
                  <a:gd name="T73" fmla="*/ 50 h 435"/>
                  <a:gd name="T74" fmla="*/ 305 w 589"/>
                  <a:gd name="T75" fmla="*/ 115 h 435"/>
                  <a:gd name="T76" fmla="*/ 489 w 589"/>
                  <a:gd name="T77" fmla="*/ 139 h 435"/>
                  <a:gd name="T78" fmla="*/ 542 w 589"/>
                  <a:gd name="T79" fmla="*/ 136 h 435"/>
                  <a:gd name="T80" fmla="*/ 563 w 589"/>
                  <a:gd name="T81" fmla="*/ 129 h 435"/>
                  <a:gd name="T82" fmla="*/ 526 w 589"/>
                  <a:gd name="T83" fmla="*/ 135 h 435"/>
                  <a:gd name="T84" fmla="*/ 526 w 589"/>
                  <a:gd name="T85" fmla="*/ 135 h 435"/>
                  <a:gd name="T86" fmla="*/ 525 w 589"/>
                  <a:gd name="T87" fmla="*/ 135 h 435"/>
                  <a:gd name="T88" fmla="*/ 423 w 589"/>
                  <a:gd name="T89" fmla="*/ 126 h 435"/>
                  <a:gd name="T90" fmla="*/ 249 w 589"/>
                  <a:gd name="T91" fmla="*/ 95 h 435"/>
                  <a:gd name="T92" fmla="*/ 71 w 589"/>
                  <a:gd name="T93" fmla="*/ 21 h 4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589" h="435">
                    <a:moveTo>
                      <a:pt x="579" y="133"/>
                    </a:moveTo>
                    <a:cubicBezTo>
                      <a:pt x="578" y="134"/>
                      <a:pt x="576" y="134"/>
                      <a:pt x="574" y="134"/>
                    </a:cubicBezTo>
                    <a:cubicBezTo>
                      <a:pt x="588" y="195"/>
                      <a:pt x="585" y="254"/>
                      <a:pt x="581" y="316"/>
                    </a:cubicBezTo>
                    <a:cubicBezTo>
                      <a:pt x="578" y="354"/>
                      <a:pt x="574" y="395"/>
                      <a:pt x="577" y="435"/>
                    </a:cubicBezTo>
                    <a:cubicBezTo>
                      <a:pt x="583" y="434"/>
                      <a:pt x="583" y="434"/>
                      <a:pt x="583" y="434"/>
                    </a:cubicBezTo>
                    <a:cubicBezTo>
                      <a:pt x="582" y="415"/>
                      <a:pt x="581" y="396"/>
                      <a:pt x="581" y="377"/>
                    </a:cubicBezTo>
                    <a:cubicBezTo>
                      <a:pt x="581" y="374"/>
                      <a:pt x="581" y="370"/>
                      <a:pt x="581" y="366"/>
                    </a:cubicBezTo>
                    <a:cubicBezTo>
                      <a:pt x="583" y="319"/>
                      <a:pt x="589" y="271"/>
                      <a:pt x="589" y="222"/>
                    </a:cubicBezTo>
                    <a:cubicBezTo>
                      <a:pt x="589" y="207"/>
                      <a:pt x="588" y="192"/>
                      <a:pt x="587" y="177"/>
                    </a:cubicBezTo>
                    <a:cubicBezTo>
                      <a:pt x="586" y="163"/>
                      <a:pt x="583" y="148"/>
                      <a:pt x="579" y="133"/>
                    </a:cubicBezTo>
                    <a:moveTo>
                      <a:pt x="577" y="124"/>
                    </a:moveTo>
                    <a:cubicBezTo>
                      <a:pt x="577" y="124"/>
                      <a:pt x="577" y="124"/>
                      <a:pt x="577" y="124"/>
                    </a:cubicBezTo>
                    <a:cubicBezTo>
                      <a:pt x="577" y="124"/>
                      <a:pt x="577" y="124"/>
                      <a:pt x="576" y="124"/>
                    </a:cubicBezTo>
                    <a:cubicBezTo>
                      <a:pt x="575" y="125"/>
                      <a:pt x="573" y="126"/>
                      <a:pt x="571" y="126"/>
                    </a:cubicBezTo>
                    <a:cubicBezTo>
                      <a:pt x="571" y="127"/>
                      <a:pt x="571" y="127"/>
                      <a:pt x="572" y="127"/>
                    </a:cubicBezTo>
                    <a:cubicBezTo>
                      <a:pt x="574" y="127"/>
                      <a:pt x="575" y="126"/>
                      <a:pt x="577" y="125"/>
                    </a:cubicBezTo>
                    <a:cubicBezTo>
                      <a:pt x="577" y="125"/>
                      <a:pt x="577" y="125"/>
                      <a:pt x="577" y="124"/>
                    </a:cubicBezTo>
                    <a:cubicBezTo>
                      <a:pt x="577" y="124"/>
                      <a:pt x="577" y="124"/>
                      <a:pt x="577" y="124"/>
                    </a:cubicBezTo>
                    <a:moveTo>
                      <a:pt x="19" y="14"/>
                    </a:moveTo>
                    <a:cubicBezTo>
                      <a:pt x="14" y="20"/>
                      <a:pt x="9" y="25"/>
                      <a:pt x="5" y="31"/>
                    </a:cubicBezTo>
                    <a:cubicBezTo>
                      <a:pt x="3" y="34"/>
                      <a:pt x="2" y="36"/>
                      <a:pt x="0" y="39"/>
                    </a:cubicBezTo>
                    <a:cubicBezTo>
                      <a:pt x="0" y="39"/>
                      <a:pt x="0" y="39"/>
                      <a:pt x="0" y="39"/>
                    </a:cubicBezTo>
                    <a:cubicBezTo>
                      <a:pt x="5" y="40"/>
                      <a:pt x="8" y="45"/>
                      <a:pt x="10" y="47"/>
                    </a:cubicBezTo>
                    <a:cubicBezTo>
                      <a:pt x="19" y="54"/>
                      <a:pt x="28" y="62"/>
                      <a:pt x="38" y="69"/>
                    </a:cubicBezTo>
                    <a:cubicBezTo>
                      <a:pt x="54" y="79"/>
                      <a:pt x="73" y="90"/>
                      <a:pt x="91" y="98"/>
                    </a:cubicBezTo>
                    <a:cubicBezTo>
                      <a:pt x="110" y="104"/>
                      <a:pt x="128" y="111"/>
                      <a:pt x="147" y="115"/>
                    </a:cubicBezTo>
                    <a:cubicBezTo>
                      <a:pt x="150" y="115"/>
                      <a:pt x="153" y="116"/>
                      <a:pt x="155" y="116"/>
                    </a:cubicBezTo>
                    <a:cubicBezTo>
                      <a:pt x="156" y="116"/>
                      <a:pt x="158" y="116"/>
                      <a:pt x="159" y="115"/>
                    </a:cubicBezTo>
                    <a:cubicBezTo>
                      <a:pt x="148" y="112"/>
                      <a:pt x="137" y="108"/>
                      <a:pt x="127" y="102"/>
                    </a:cubicBezTo>
                    <a:cubicBezTo>
                      <a:pt x="125" y="100"/>
                      <a:pt x="126" y="96"/>
                      <a:pt x="128" y="96"/>
                    </a:cubicBezTo>
                    <a:cubicBezTo>
                      <a:pt x="129" y="96"/>
                      <a:pt x="129" y="96"/>
                      <a:pt x="129" y="96"/>
                    </a:cubicBezTo>
                    <a:cubicBezTo>
                      <a:pt x="143" y="101"/>
                      <a:pt x="157" y="106"/>
                      <a:pt x="171" y="110"/>
                    </a:cubicBezTo>
                    <a:cubicBezTo>
                      <a:pt x="174" y="109"/>
                      <a:pt x="177" y="107"/>
                      <a:pt x="179" y="106"/>
                    </a:cubicBezTo>
                    <a:cubicBezTo>
                      <a:pt x="186" y="108"/>
                      <a:pt x="194" y="110"/>
                      <a:pt x="201" y="113"/>
                    </a:cubicBezTo>
                    <a:cubicBezTo>
                      <a:pt x="223" y="120"/>
                      <a:pt x="249" y="126"/>
                      <a:pt x="272" y="131"/>
                    </a:cubicBezTo>
                    <a:cubicBezTo>
                      <a:pt x="295" y="136"/>
                      <a:pt x="320" y="141"/>
                      <a:pt x="344" y="146"/>
                    </a:cubicBezTo>
                    <a:cubicBezTo>
                      <a:pt x="352" y="148"/>
                      <a:pt x="359" y="148"/>
                      <a:pt x="367" y="150"/>
                    </a:cubicBezTo>
                    <a:cubicBezTo>
                      <a:pt x="367" y="151"/>
                      <a:pt x="367" y="151"/>
                      <a:pt x="367" y="151"/>
                    </a:cubicBezTo>
                    <a:cubicBezTo>
                      <a:pt x="367" y="154"/>
                      <a:pt x="368" y="155"/>
                      <a:pt x="369" y="157"/>
                    </a:cubicBezTo>
                    <a:cubicBezTo>
                      <a:pt x="369" y="157"/>
                      <a:pt x="370" y="157"/>
                      <a:pt x="370" y="157"/>
                    </a:cubicBezTo>
                    <a:cubicBezTo>
                      <a:pt x="372" y="157"/>
                      <a:pt x="374" y="157"/>
                      <a:pt x="376" y="157"/>
                    </a:cubicBezTo>
                    <a:cubicBezTo>
                      <a:pt x="376" y="157"/>
                      <a:pt x="376" y="157"/>
                      <a:pt x="376" y="157"/>
                    </a:cubicBezTo>
                    <a:cubicBezTo>
                      <a:pt x="379" y="157"/>
                      <a:pt x="380" y="161"/>
                      <a:pt x="377" y="162"/>
                    </a:cubicBezTo>
                    <a:cubicBezTo>
                      <a:pt x="376" y="162"/>
                      <a:pt x="374" y="163"/>
                      <a:pt x="373" y="163"/>
                    </a:cubicBezTo>
                    <a:cubicBezTo>
                      <a:pt x="380" y="170"/>
                      <a:pt x="391" y="172"/>
                      <a:pt x="402" y="172"/>
                    </a:cubicBezTo>
                    <a:cubicBezTo>
                      <a:pt x="407" y="173"/>
                      <a:pt x="414" y="175"/>
                      <a:pt x="420" y="175"/>
                    </a:cubicBezTo>
                    <a:cubicBezTo>
                      <a:pt x="421" y="175"/>
                      <a:pt x="423" y="175"/>
                      <a:pt x="424" y="175"/>
                    </a:cubicBezTo>
                    <a:cubicBezTo>
                      <a:pt x="433" y="175"/>
                      <a:pt x="441" y="174"/>
                      <a:pt x="450" y="174"/>
                    </a:cubicBezTo>
                    <a:cubicBezTo>
                      <a:pt x="463" y="173"/>
                      <a:pt x="474" y="171"/>
                      <a:pt x="485" y="171"/>
                    </a:cubicBezTo>
                    <a:cubicBezTo>
                      <a:pt x="485" y="171"/>
                      <a:pt x="486" y="171"/>
                      <a:pt x="486" y="171"/>
                    </a:cubicBezTo>
                    <a:cubicBezTo>
                      <a:pt x="495" y="171"/>
                      <a:pt x="505" y="166"/>
                      <a:pt x="514" y="166"/>
                    </a:cubicBezTo>
                    <a:cubicBezTo>
                      <a:pt x="528" y="164"/>
                      <a:pt x="540" y="162"/>
                      <a:pt x="553" y="159"/>
                    </a:cubicBezTo>
                    <a:cubicBezTo>
                      <a:pt x="552" y="154"/>
                      <a:pt x="551" y="149"/>
                      <a:pt x="550" y="145"/>
                    </a:cubicBezTo>
                    <a:cubicBezTo>
                      <a:pt x="549" y="144"/>
                      <a:pt x="551" y="143"/>
                      <a:pt x="552" y="143"/>
                    </a:cubicBezTo>
                    <a:cubicBezTo>
                      <a:pt x="552" y="143"/>
                      <a:pt x="553" y="143"/>
                      <a:pt x="553" y="144"/>
                    </a:cubicBezTo>
                    <a:cubicBezTo>
                      <a:pt x="555" y="148"/>
                      <a:pt x="556" y="153"/>
                      <a:pt x="558" y="158"/>
                    </a:cubicBezTo>
                    <a:cubicBezTo>
                      <a:pt x="560" y="157"/>
                      <a:pt x="562" y="157"/>
                      <a:pt x="564" y="156"/>
                    </a:cubicBezTo>
                    <a:cubicBezTo>
                      <a:pt x="565" y="162"/>
                      <a:pt x="566" y="168"/>
                      <a:pt x="568" y="173"/>
                    </a:cubicBezTo>
                    <a:cubicBezTo>
                      <a:pt x="567" y="184"/>
                      <a:pt x="569" y="195"/>
                      <a:pt x="571" y="207"/>
                    </a:cubicBezTo>
                    <a:cubicBezTo>
                      <a:pt x="573" y="229"/>
                      <a:pt x="572" y="253"/>
                      <a:pt x="573" y="278"/>
                    </a:cubicBezTo>
                    <a:cubicBezTo>
                      <a:pt x="573" y="279"/>
                      <a:pt x="573" y="280"/>
                      <a:pt x="573" y="281"/>
                    </a:cubicBezTo>
                    <a:cubicBezTo>
                      <a:pt x="576" y="232"/>
                      <a:pt x="576" y="185"/>
                      <a:pt x="564" y="137"/>
                    </a:cubicBezTo>
                    <a:cubicBezTo>
                      <a:pt x="546" y="143"/>
                      <a:pt x="527" y="147"/>
                      <a:pt x="507" y="147"/>
                    </a:cubicBezTo>
                    <a:cubicBezTo>
                      <a:pt x="505" y="147"/>
                      <a:pt x="504" y="147"/>
                      <a:pt x="503" y="147"/>
                    </a:cubicBezTo>
                    <a:cubicBezTo>
                      <a:pt x="438" y="145"/>
                      <a:pt x="374" y="135"/>
                      <a:pt x="310" y="125"/>
                    </a:cubicBezTo>
                    <a:cubicBezTo>
                      <a:pt x="275" y="119"/>
                      <a:pt x="243" y="109"/>
                      <a:pt x="210" y="97"/>
                    </a:cubicBezTo>
                    <a:cubicBezTo>
                      <a:pt x="177" y="84"/>
                      <a:pt x="144" y="73"/>
                      <a:pt x="111" y="58"/>
                    </a:cubicBezTo>
                    <a:cubicBezTo>
                      <a:pt x="82" y="45"/>
                      <a:pt x="49" y="31"/>
                      <a:pt x="19" y="14"/>
                    </a:cubicBezTo>
                    <a:moveTo>
                      <a:pt x="30" y="0"/>
                    </a:moveTo>
                    <a:cubicBezTo>
                      <a:pt x="30" y="0"/>
                      <a:pt x="30" y="0"/>
                      <a:pt x="30" y="0"/>
                    </a:cubicBezTo>
                    <a:cubicBezTo>
                      <a:pt x="28" y="3"/>
                      <a:pt x="28" y="3"/>
                      <a:pt x="28" y="3"/>
                    </a:cubicBezTo>
                    <a:cubicBezTo>
                      <a:pt x="27" y="4"/>
                      <a:pt x="26" y="5"/>
                      <a:pt x="25" y="6"/>
                    </a:cubicBezTo>
                    <a:cubicBezTo>
                      <a:pt x="27" y="7"/>
                      <a:pt x="29" y="8"/>
                      <a:pt x="32" y="9"/>
                    </a:cubicBezTo>
                    <a:cubicBezTo>
                      <a:pt x="59" y="24"/>
                      <a:pt x="87" y="37"/>
                      <a:pt x="115" y="50"/>
                    </a:cubicBezTo>
                    <a:cubicBezTo>
                      <a:pt x="147" y="65"/>
                      <a:pt x="180" y="76"/>
                      <a:pt x="212" y="88"/>
                    </a:cubicBezTo>
                    <a:cubicBezTo>
                      <a:pt x="243" y="100"/>
                      <a:pt x="273" y="110"/>
                      <a:pt x="305" y="115"/>
                    </a:cubicBezTo>
                    <a:cubicBezTo>
                      <a:pt x="337" y="121"/>
                      <a:pt x="369" y="126"/>
                      <a:pt x="401" y="129"/>
                    </a:cubicBezTo>
                    <a:cubicBezTo>
                      <a:pt x="431" y="132"/>
                      <a:pt x="459" y="138"/>
                      <a:pt x="489" y="139"/>
                    </a:cubicBezTo>
                    <a:cubicBezTo>
                      <a:pt x="497" y="139"/>
                      <a:pt x="505" y="139"/>
                      <a:pt x="514" y="139"/>
                    </a:cubicBezTo>
                    <a:cubicBezTo>
                      <a:pt x="523" y="139"/>
                      <a:pt x="533" y="139"/>
                      <a:pt x="542" y="136"/>
                    </a:cubicBezTo>
                    <a:cubicBezTo>
                      <a:pt x="549" y="135"/>
                      <a:pt x="556" y="133"/>
                      <a:pt x="563" y="130"/>
                    </a:cubicBezTo>
                    <a:cubicBezTo>
                      <a:pt x="563" y="130"/>
                      <a:pt x="563" y="129"/>
                      <a:pt x="563" y="129"/>
                    </a:cubicBezTo>
                    <a:cubicBezTo>
                      <a:pt x="550" y="132"/>
                      <a:pt x="538" y="135"/>
                      <a:pt x="526" y="135"/>
                    </a:cubicBezTo>
                    <a:cubicBezTo>
                      <a:pt x="526" y="135"/>
                      <a:pt x="526" y="135"/>
                      <a:pt x="526" y="135"/>
                    </a:cubicBezTo>
                    <a:cubicBezTo>
                      <a:pt x="526" y="135"/>
                      <a:pt x="526" y="135"/>
                      <a:pt x="526" y="135"/>
                    </a:cubicBezTo>
                    <a:cubicBezTo>
                      <a:pt x="526" y="135"/>
                      <a:pt x="526" y="135"/>
                      <a:pt x="526" y="135"/>
                    </a:cubicBezTo>
                    <a:cubicBezTo>
                      <a:pt x="526" y="135"/>
                      <a:pt x="525" y="135"/>
                      <a:pt x="525" y="135"/>
                    </a:cubicBezTo>
                    <a:cubicBezTo>
                      <a:pt x="525" y="135"/>
                      <a:pt x="525" y="135"/>
                      <a:pt x="525" y="135"/>
                    </a:cubicBezTo>
                    <a:cubicBezTo>
                      <a:pt x="510" y="134"/>
                      <a:pt x="492" y="134"/>
                      <a:pt x="477" y="133"/>
                    </a:cubicBezTo>
                    <a:cubicBezTo>
                      <a:pt x="459" y="132"/>
                      <a:pt x="440" y="128"/>
                      <a:pt x="423" y="126"/>
                    </a:cubicBezTo>
                    <a:cubicBezTo>
                      <a:pt x="400" y="123"/>
                      <a:pt x="373" y="122"/>
                      <a:pt x="348" y="116"/>
                    </a:cubicBezTo>
                    <a:cubicBezTo>
                      <a:pt x="316" y="112"/>
                      <a:pt x="282" y="106"/>
                      <a:pt x="249" y="95"/>
                    </a:cubicBezTo>
                    <a:cubicBezTo>
                      <a:pt x="222" y="85"/>
                      <a:pt x="196" y="74"/>
                      <a:pt x="169" y="66"/>
                    </a:cubicBezTo>
                    <a:cubicBezTo>
                      <a:pt x="134" y="52"/>
                      <a:pt x="102" y="37"/>
                      <a:pt x="71" y="21"/>
                    </a:cubicBezTo>
                    <a:cubicBezTo>
                      <a:pt x="57" y="14"/>
                      <a:pt x="43" y="7"/>
                      <a:pt x="30" y="0"/>
                    </a:cubicBezTo>
                  </a:path>
                </a:pathLst>
              </a:custGeom>
              <a:solidFill>
                <a:srgbClr val="EF827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159" name="Freeform 71">
                <a:extLst>
                  <a:ext uri="{FF2B5EF4-FFF2-40B4-BE49-F238E27FC236}">
                    <a16:creationId xmlns:a16="http://schemas.microsoft.com/office/drawing/2014/main" id="{288EACC4-B9DA-41CB-B859-A087F3E08FBF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2155" y="1715"/>
                <a:ext cx="838" cy="918"/>
              </a:xfrm>
              <a:custGeom>
                <a:avLst/>
                <a:gdLst>
                  <a:gd name="T0" fmla="*/ 401 w 791"/>
                  <a:gd name="T1" fmla="*/ 93 h 867"/>
                  <a:gd name="T2" fmla="*/ 401 w 791"/>
                  <a:gd name="T3" fmla="*/ 97 h 867"/>
                  <a:gd name="T4" fmla="*/ 401 w 791"/>
                  <a:gd name="T5" fmla="*/ 97 h 867"/>
                  <a:gd name="T6" fmla="*/ 519 w 791"/>
                  <a:gd name="T7" fmla="*/ 110 h 867"/>
                  <a:gd name="T8" fmla="*/ 665 w 791"/>
                  <a:gd name="T9" fmla="*/ 180 h 867"/>
                  <a:gd name="T10" fmla="*/ 785 w 791"/>
                  <a:gd name="T11" fmla="*/ 484 h 867"/>
                  <a:gd name="T12" fmla="*/ 769 w 791"/>
                  <a:gd name="T13" fmla="*/ 671 h 867"/>
                  <a:gd name="T14" fmla="*/ 730 w 791"/>
                  <a:gd name="T15" fmla="*/ 849 h 867"/>
                  <a:gd name="T16" fmla="*/ 724 w 791"/>
                  <a:gd name="T17" fmla="*/ 867 h 867"/>
                  <a:gd name="T18" fmla="*/ 730 w 791"/>
                  <a:gd name="T19" fmla="*/ 852 h 867"/>
                  <a:gd name="T20" fmla="*/ 758 w 791"/>
                  <a:gd name="T21" fmla="*/ 743 h 867"/>
                  <a:gd name="T22" fmla="*/ 789 w 791"/>
                  <a:gd name="T23" fmla="*/ 498 h 867"/>
                  <a:gd name="T24" fmla="*/ 754 w 791"/>
                  <a:gd name="T25" fmla="*/ 296 h 867"/>
                  <a:gd name="T26" fmla="*/ 630 w 791"/>
                  <a:gd name="T27" fmla="*/ 143 h 867"/>
                  <a:gd name="T28" fmla="*/ 437 w 791"/>
                  <a:gd name="T29" fmla="*/ 97 h 867"/>
                  <a:gd name="T30" fmla="*/ 401 w 791"/>
                  <a:gd name="T31" fmla="*/ 93 h 867"/>
                  <a:gd name="T32" fmla="*/ 65 w 791"/>
                  <a:gd name="T33" fmla="*/ 0 h 867"/>
                  <a:gd name="T34" fmla="*/ 0 w 791"/>
                  <a:gd name="T35" fmla="*/ 13 h 867"/>
                  <a:gd name="T36" fmla="*/ 56 w 791"/>
                  <a:gd name="T37" fmla="*/ 5 h 867"/>
                  <a:gd name="T38" fmla="*/ 160 w 791"/>
                  <a:gd name="T39" fmla="*/ 27 h 867"/>
                  <a:gd name="T40" fmla="*/ 336 w 791"/>
                  <a:gd name="T41" fmla="*/ 89 h 867"/>
                  <a:gd name="T42" fmla="*/ 391 w 791"/>
                  <a:gd name="T43" fmla="*/ 96 h 867"/>
                  <a:gd name="T44" fmla="*/ 391 w 791"/>
                  <a:gd name="T45" fmla="*/ 92 h 867"/>
                  <a:gd name="T46" fmla="*/ 336 w 791"/>
                  <a:gd name="T47" fmla="*/ 84 h 867"/>
                  <a:gd name="T48" fmla="*/ 239 w 791"/>
                  <a:gd name="T49" fmla="*/ 54 h 867"/>
                  <a:gd name="T50" fmla="*/ 65 w 791"/>
                  <a:gd name="T51" fmla="*/ 0 h 8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791" h="867">
                    <a:moveTo>
                      <a:pt x="401" y="93"/>
                    </a:moveTo>
                    <a:cubicBezTo>
                      <a:pt x="401" y="95"/>
                      <a:pt x="401" y="96"/>
                      <a:pt x="401" y="97"/>
                    </a:cubicBezTo>
                    <a:cubicBezTo>
                      <a:pt x="401" y="97"/>
                      <a:pt x="401" y="97"/>
                      <a:pt x="401" y="97"/>
                    </a:cubicBezTo>
                    <a:cubicBezTo>
                      <a:pt x="440" y="101"/>
                      <a:pt x="480" y="103"/>
                      <a:pt x="519" y="110"/>
                    </a:cubicBezTo>
                    <a:cubicBezTo>
                      <a:pt x="574" y="120"/>
                      <a:pt x="624" y="142"/>
                      <a:pt x="665" y="180"/>
                    </a:cubicBezTo>
                    <a:cubicBezTo>
                      <a:pt x="748" y="257"/>
                      <a:pt x="785" y="373"/>
                      <a:pt x="785" y="484"/>
                    </a:cubicBezTo>
                    <a:cubicBezTo>
                      <a:pt x="786" y="547"/>
                      <a:pt x="779" y="610"/>
                      <a:pt x="769" y="671"/>
                    </a:cubicBezTo>
                    <a:cubicBezTo>
                      <a:pt x="760" y="731"/>
                      <a:pt x="749" y="792"/>
                      <a:pt x="730" y="849"/>
                    </a:cubicBezTo>
                    <a:cubicBezTo>
                      <a:pt x="728" y="855"/>
                      <a:pt x="726" y="861"/>
                      <a:pt x="724" y="867"/>
                    </a:cubicBezTo>
                    <a:cubicBezTo>
                      <a:pt x="726" y="862"/>
                      <a:pt x="728" y="857"/>
                      <a:pt x="730" y="852"/>
                    </a:cubicBezTo>
                    <a:cubicBezTo>
                      <a:pt x="742" y="817"/>
                      <a:pt x="752" y="781"/>
                      <a:pt x="758" y="743"/>
                    </a:cubicBezTo>
                    <a:cubicBezTo>
                      <a:pt x="775" y="663"/>
                      <a:pt x="787" y="579"/>
                      <a:pt x="789" y="498"/>
                    </a:cubicBezTo>
                    <a:cubicBezTo>
                      <a:pt x="791" y="428"/>
                      <a:pt x="782" y="359"/>
                      <a:pt x="754" y="296"/>
                    </a:cubicBezTo>
                    <a:cubicBezTo>
                      <a:pt x="729" y="235"/>
                      <a:pt x="686" y="180"/>
                      <a:pt x="630" y="143"/>
                    </a:cubicBezTo>
                    <a:cubicBezTo>
                      <a:pt x="571" y="108"/>
                      <a:pt x="504" y="100"/>
                      <a:pt x="437" y="97"/>
                    </a:cubicBezTo>
                    <a:cubicBezTo>
                      <a:pt x="425" y="96"/>
                      <a:pt x="413" y="95"/>
                      <a:pt x="401" y="93"/>
                    </a:cubicBezTo>
                    <a:moveTo>
                      <a:pt x="65" y="0"/>
                    </a:moveTo>
                    <a:cubicBezTo>
                      <a:pt x="42" y="1"/>
                      <a:pt x="21" y="5"/>
                      <a:pt x="0" y="13"/>
                    </a:cubicBezTo>
                    <a:cubicBezTo>
                      <a:pt x="19" y="7"/>
                      <a:pt x="38" y="5"/>
                      <a:pt x="56" y="5"/>
                    </a:cubicBezTo>
                    <a:cubicBezTo>
                      <a:pt x="91" y="5"/>
                      <a:pt x="126" y="13"/>
                      <a:pt x="160" y="27"/>
                    </a:cubicBezTo>
                    <a:cubicBezTo>
                      <a:pt x="219" y="50"/>
                      <a:pt x="274" y="76"/>
                      <a:pt x="336" y="89"/>
                    </a:cubicBezTo>
                    <a:cubicBezTo>
                      <a:pt x="354" y="92"/>
                      <a:pt x="373" y="95"/>
                      <a:pt x="391" y="96"/>
                    </a:cubicBezTo>
                    <a:cubicBezTo>
                      <a:pt x="391" y="95"/>
                      <a:pt x="391" y="94"/>
                      <a:pt x="391" y="92"/>
                    </a:cubicBezTo>
                    <a:cubicBezTo>
                      <a:pt x="373" y="90"/>
                      <a:pt x="354" y="88"/>
                      <a:pt x="336" y="84"/>
                    </a:cubicBezTo>
                    <a:cubicBezTo>
                      <a:pt x="302" y="78"/>
                      <a:pt x="271" y="67"/>
                      <a:pt x="239" y="54"/>
                    </a:cubicBezTo>
                    <a:cubicBezTo>
                      <a:pt x="184" y="31"/>
                      <a:pt x="126" y="0"/>
                      <a:pt x="65" y="0"/>
                    </a:cubicBezTo>
                  </a:path>
                </a:pathLst>
              </a:custGeom>
              <a:solidFill>
                <a:srgbClr val="EF827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160" name="Freeform 72">
                <a:extLst>
                  <a:ext uri="{FF2B5EF4-FFF2-40B4-BE49-F238E27FC236}">
                    <a16:creationId xmlns:a16="http://schemas.microsoft.com/office/drawing/2014/main" id="{2F30C8D6-AA55-49D6-8AC1-C4A2CCDA25C6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569" y="1812"/>
                <a:ext cx="11" cy="6"/>
              </a:xfrm>
              <a:custGeom>
                <a:avLst/>
                <a:gdLst>
                  <a:gd name="T0" fmla="*/ 0 w 10"/>
                  <a:gd name="T1" fmla="*/ 0 h 5"/>
                  <a:gd name="T2" fmla="*/ 0 w 10"/>
                  <a:gd name="T3" fmla="*/ 4 h 5"/>
                  <a:gd name="T4" fmla="*/ 10 w 10"/>
                  <a:gd name="T5" fmla="*/ 5 h 5"/>
                  <a:gd name="T6" fmla="*/ 10 w 10"/>
                  <a:gd name="T7" fmla="*/ 5 h 5"/>
                  <a:gd name="T8" fmla="*/ 10 w 10"/>
                  <a:gd name="T9" fmla="*/ 1 h 5"/>
                  <a:gd name="T10" fmla="*/ 0 w 10"/>
                  <a:gd name="T11" fmla="*/ 0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0" h="5">
                    <a:moveTo>
                      <a:pt x="0" y="0"/>
                    </a:moveTo>
                    <a:cubicBezTo>
                      <a:pt x="0" y="2"/>
                      <a:pt x="0" y="3"/>
                      <a:pt x="0" y="4"/>
                    </a:cubicBezTo>
                    <a:cubicBezTo>
                      <a:pt x="3" y="5"/>
                      <a:pt x="6" y="5"/>
                      <a:pt x="10" y="5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4"/>
                      <a:pt x="10" y="3"/>
                      <a:pt x="10" y="1"/>
                    </a:cubicBezTo>
                    <a:cubicBezTo>
                      <a:pt x="6" y="1"/>
                      <a:pt x="3" y="1"/>
                      <a:pt x="0" y="0"/>
                    </a:cubicBezTo>
                  </a:path>
                </a:pathLst>
              </a:custGeom>
              <a:solidFill>
                <a:srgbClr val="9F333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161" name="Freeform 73">
                <a:extLst>
                  <a:ext uri="{FF2B5EF4-FFF2-40B4-BE49-F238E27FC236}">
                    <a16:creationId xmlns:a16="http://schemas.microsoft.com/office/drawing/2014/main" id="{85AC857C-F410-4178-ACAF-8DE091F1043F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1799" y="1732"/>
                <a:ext cx="1193" cy="999"/>
              </a:xfrm>
              <a:custGeom>
                <a:avLst/>
                <a:gdLst>
                  <a:gd name="T0" fmla="*/ 176 w 1126"/>
                  <a:gd name="T1" fmla="*/ 577 h 944"/>
                  <a:gd name="T2" fmla="*/ 158 w 1126"/>
                  <a:gd name="T3" fmla="*/ 663 h 944"/>
                  <a:gd name="T4" fmla="*/ 203 w 1126"/>
                  <a:gd name="T5" fmla="*/ 516 h 944"/>
                  <a:gd name="T6" fmla="*/ 586 w 1126"/>
                  <a:gd name="T7" fmla="*/ 413 h 944"/>
                  <a:gd name="T8" fmla="*/ 632 w 1126"/>
                  <a:gd name="T9" fmla="*/ 446 h 944"/>
                  <a:gd name="T10" fmla="*/ 589 w 1126"/>
                  <a:gd name="T11" fmla="*/ 410 h 944"/>
                  <a:gd name="T12" fmla="*/ 282 w 1126"/>
                  <a:gd name="T13" fmla="*/ 384 h 944"/>
                  <a:gd name="T14" fmla="*/ 768 w 1126"/>
                  <a:gd name="T15" fmla="*/ 473 h 944"/>
                  <a:gd name="T16" fmla="*/ 861 w 1126"/>
                  <a:gd name="T17" fmla="*/ 456 h 944"/>
                  <a:gd name="T18" fmla="*/ 777 w 1126"/>
                  <a:gd name="T19" fmla="*/ 469 h 944"/>
                  <a:gd name="T20" fmla="*/ 752 w 1126"/>
                  <a:gd name="T21" fmla="*/ 467 h 944"/>
                  <a:gd name="T22" fmla="*/ 666 w 1126"/>
                  <a:gd name="T23" fmla="*/ 379 h 944"/>
                  <a:gd name="T24" fmla="*/ 232 w 1126"/>
                  <a:gd name="T25" fmla="*/ 245 h 944"/>
                  <a:gd name="T26" fmla="*/ 527 w 1126"/>
                  <a:gd name="T27" fmla="*/ 396 h 944"/>
                  <a:gd name="T28" fmla="*/ 525 w 1126"/>
                  <a:gd name="T29" fmla="*/ 394 h 944"/>
                  <a:gd name="T30" fmla="*/ 510 w 1126"/>
                  <a:gd name="T31" fmla="*/ 395 h 944"/>
                  <a:gd name="T32" fmla="*/ 438 w 1126"/>
                  <a:gd name="T33" fmla="*/ 378 h 944"/>
                  <a:gd name="T34" fmla="*/ 436 w 1126"/>
                  <a:gd name="T35" fmla="*/ 377 h 944"/>
                  <a:gd name="T36" fmla="*/ 435 w 1126"/>
                  <a:gd name="T37" fmla="*/ 376 h 944"/>
                  <a:gd name="T38" fmla="*/ 210 w 1126"/>
                  <a:gd name="T39" fmla="*/ 109 h 944"/>
                  <a:gd name="T40" fmla="*/ 636 w 1126"/>
                  <a:gd name="T41" fmla="*/ 393 h 944"/>
                  <a:gd name="T42" fmla="*/ 612 w 1126"/>
                  <a:gd name="T43" fmla="*/ 459 h 944"/>
                  <a:gd name="T44" fmla="*/ 599 w 1126"/>
                  <a:gd name="T45" fmla="*/ 395 h 944"/>
                  <a:gd name="T46" fmla="*/ 868 w 1126"/>
                  <a:gd name="T47" fmla="*/ 142 h 944"/>
                  <a:gd name="T48" fmla="*/ 785 w 1126"/>
                  <a:gd name="T49" fmla="*/ 132 h 944"/>
                  <a:gd name="T50" fmla="*/ 746 w 1126"/>
                  <a:gd name="T51" fmla="*/ 127 h 944"/>
                  <a:gd name="T52" fmla="*/ 363 w 1126"/>
                  <a:gd name="T53" fmla="*/ 23 h 944"/>
                  <a:gd name="T54" fmla="*/ 396 w 1126"/>
                  <a:gd name="T55" fmla="*/ 27 h 944"/>
                  <a:gd name="T56" fmla="*/ 616 w 1126"/>
                  <a:gd name="T57" fmla="*/ 110 h 944"/>
                  <a:gd name="T58" fmla="*/ 515 w 1126"/>
                  <a:gd name="T59" fmla="*/ 117 h 944"/>
                  <a:gd name="T60" fmla="*/ 585 w 1126"/>
                  <a:gd name="T61" fmla="*/ 355 h 944"/>
                  <a:gd name="T62" fmla="*/ 271 w 1126"/>
                  <a:gd name="T63" fmla="*/ 292 h 944"/>
                  <a:gd name="T64" fmla="*/ 308 w 1126"/>
                  <a:gd name="T65" fmla="*/ 31 h 944"/>
                  <a:gd name="T66" fmla="*/ 363 w 1126"/>
                  <a:gd name="T67" fmla="*/ 23 h 944"/>
                  <a:gd name="T68" fmla="*/ 89 w 1126"/>
                  <a:gd name="T69" fmla="*/ 259 h 944"/>
                  <a:gd name="T70" fmla="*/ 58 w 1126"/>
                  <a:gd name="T71" fmla="*/ 767 h 944"/>
                  <a:gd name="T72" fmla="*/ 98 w 1126"/>
                  <a:gd name="T73" fmla="*/ 755 h 944"/>
                  <a:gd name="T74" fmla="*/ 256 w 1126"/>
                  <a:gd name="T75" fmla="*/ 427 h 944"/>
                  <a:gd name="T76" fmla="*/ 256 w 1126"/>
                  <a:gd name="T77" fmla="*/ 349 h 944"/>
                  <a:gd name="T78" fmla="*/ 311 w 1126"/>
                  <a:gd name="T79" fmla="*/ 385 h 944"/>
                  <a:gd name="T80" fmla="*/ 245 w 1126"/>
                  <a:gd name="T81" fmla="*/ 323 h 944"/>
                  <a:gd name="T82" fmla="*/ 437 w 1126"/>
                  <a:gd name="T83" fmla="*/ 425 h 944"/>
                  <a:gd name="T84" fmla="*/ 855 w 1126"/>
                  <a:gd name="T85" fmla="*/ 507 h 944"/>
                  <a:gd name="T86" fmla="*/ 942 w 1126"/>
                  <a:gd name="T87" fmla="*/ 490 h 944"/>
                  <a:gd name="T88" fmla="*/ 903 w 1126"/>
                  <a:gd name="T89" fmla="*/ 520 h 944"/>
                  <a:gd name="T90" fmla="*/ 979 w 1126"/>
                  <a:gd name="T91" fmla="*/ 483 h 944"/>
                  <a:gd name="T92" fmla="*/ 929 w 1126"/>
                  <a:gd name="T93" fmla="*/ 538 h 944"/>
                  <a:gd name="T94" fmla="*/ 927 w 1126"/>
                  <a:gd name="T95" fmla="*/ 792 h 944"/>
                  <a:gd name="T96" fmla="*/ 961 w 1126"/>
                  <a:gd name="T97" fmla="*/ 944 h 944"/>
                  <a:gd name="T98" fmla="*/ 1099 w 1126"/>
                  <a:gd name="T99" fmla="*/ 357 h 944"/>
                  <a:gd name="T100" fmla="*/ 1062 w 1126"/>
                  <a:gd name="T101" fmla="*/ 358 h 944"/>
                  <a:gd name="T102" fmla="*/ 769 w 1126"/>
                  <a:gd name="T103" fmla="*/ 482 h 944"/>
                  <a:gd name="T104" fmla="*/ 912 w 1126"/>
                  <a:gd name="T105" fmla="*/ 161 h 944"/>
                  <a:gd name="T106" fmla="*/ 923 w 1126"/>
                  <a:gd name="T107" fmla="*/ 160 h 944"/>
                  <a:gd name="T108" fmla="*/ 911 w 1126"/>
                  <a:gd name="T109" fmla="*/ 119 h 944"/>
                  <a:gd name="T110" fmla="*/ 397 w 1126"/>
                  <a:gd name="T111" fmla="*/ 0 h 9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1126" h="944">
                    <a:moveTo>
                      <a:pt x="251" y="443"/>
                    </a:moveTo>
                    <a:cubicBezTo>
                      <a:pt x="246" y="451"/>
                      <a:pt x="240" y="459"/>
                      <a:pt x="236" y="468"/>
                    </a:cubicBezTo>
                    <a:cubicBezTo>
                      <a:pt x="223" y="488"/>
                      <a:pt x="206" y="507"/>
                      <a:pt x="196" y="528"/>
                    </a:cubicBezTo>
                    <a:cubicBezTo>
                      <a:pt x="188" y="544"/>
                      <a:pt x="181" y="561"/>
                      <a:pt x="176" y="577"/>
                    </a:cubicBezTo>
                    <a:cubicBezTo>
                      <a:pt x="164" y="614"/>
                      <a:pt x="159" y="653"/>
                      <a:pt x="148" y="690"/>
                    </a:cubicBezTo>
                    <a:cubicBezTo>
                      <a:pt x="146" y="695"/>
                      <a:pt x="144" y="700"/>
                      <a:pt x="143" y="705"/>
                    </a:cubicBezTo>
                    <a:cubicBezTo>
                      <a:pt x="146" y="697"/>
                      <a:pt x="150" y="689"/>
                      <a:pt x="151" y="683"/>
                    </a:cubicBezTo>
                    <a:cubicBezTo>
                      <a:pt x="153" y="675"/>
                      <a:pt x="157" y="669"/>
                      <a:pt x="158" y="663"/>
                    </a:cubicBezTo>
                    <a:cubicBezTo>
                      <a:pt x="161" y="650"/>
                      <a:pt x="164" y="635"/>
                      <a:pt x="167" y="621"/>
                    </a:cubicBezTo>
                    <a:cubicBezTo>
                      <a:pt x="170" y="606"/>
                      <a:pt x="176" y="591"/>
                      <a:pt x="179" y="577"/>
                    </a:cubicBezTo>
                    <a:cubicBezTo>
                      <a:pt x="181" y="566"/>
                      <a:pt x="186" y="556"/>
                      <a:pt x="190" y="546"/>
                    </a:cubicBezTo>
                    <a:cubicBezTo>
                      <a:pt x="194" y="536"/>
                      <a:pt x="199" y="526"/>
                      <a:pt x="203" y="516"/>
                    </a:cubicBezTo>
                    <a:cubicBezTo>
                      <a:pt x="217" y="492"/>
                      <a:pt x="238" y="470"/>
                      <a:pt x="249" y="446"/>
                    </a:cubicBezTo>
                    <a:cubicBezTo>
                      <a:pt x="250" y="445"/>
                      <a:pt x="250" y="444"/>
                      <a:pt x="251" y="443"/>
                    </a:cubicBezTo>
                    <a:moveTo>
                      <a:pt x="589" y="410"/>
                    </a:moveTo>
                    <a:cubicBezTo>
                      <a:pt x="588" y="411"/>
                      <a:pt x="587" y="412"/>
                      <a:pt x="586" y="413"/>
                    </a:cubicBezTo>
                    <a:cubicBezTo>
                      <a:pt x="582" y="420"/>
                      <a:pt x="581" y="430"/>
                      <a:pt x="583" y="436"/>
                    </a:cubicBezTo>
                    <a:cubicBezTo>
                      <a:pt x="587" y="447"/>
                      <a:pt x="600" y="453"/>
                      <a:pt x="613" y="453"/>
                    </a:cubicBezTo>
                    <a:cubicBezTo>
                      <a:pt x="618" y="453"/>
                      <a:pt x="623" y="452"/>
                      <a:pt x="627" y="450"/>
                    </a:cubicBezTo>
                    <a:cubicBezTo>
                      <a:pt x="629" y="449"/>
                      <a:pt x="631" y="447"/>
                      <a:pt x="632" y="446"/>
                    </a:cubicBezTo>
                    <a:cubicBezTo>
                      <a:pt x="629" y="447"/>
                      <a:pt x="625" y="447"/>
                      <a:pt x="621" y="447"/>
                    </a:cubicBezTo>
                    <a:cubicBezTo>
                      <a:pt x="610" y="447"/>
                      <a:pt x="599" y="443"/>
                      <a:pt x="592" y="435"/>
                    </a:cubicBezTo>
                    <a:cubicBezTo>
                      <a:pt x="588" y="430"/>
                      <a:pt x="587" y="425"/>
                      <a:pt x="587" y="421"/>
                    </a:cubicBezTo>
                    <a:cubicBezTo>
                      <a:pt x="587" y="417"/>
                      <a:pt x="588" y="413"/>
                      <a:pt x="589" y="410"/>
                    </a:cubicBezTo>
                    <a:moveTo>
                      <a:pt x="282" y="384"/>
                    </a:moveTo>
                    <a:cubicBezTo>
                      <a:pt x="277" y="398"/>
                      <a:pt x="271" y="412"/>
                      <a:pt x="263" y="424"/>
                    </a:cubicBezTo>
                    <a:cubicBezTo>
                      <a:pt x="271" y="412"/>
                      <a:pt x="279" y="400"/>
                      <a:pt x="285" y="387"/>
                    </a:cubicBezTo>
                    <a:cubicBezTo>
                      <a:pt x="284" y="386"/>
                      <a:pt x="283" y="385"/>
                      <a:pt x="282" y="384"/>
                    </a:cubicBezTo>
                    <a:moveTo>
                      <a:pt x="675" y="333"/>
                    </a:moveTo>
                    <a:cubicBezTo>
                      <a:pt x="666" y="351"/>
                      <a:pt x="661" y="369"/>
                      <a:pt x="661" y="389"/>
                    </a:cubicBezTo>
                    <a:cubicBezTo>
                      <a:pt x="662" y="427"/>
                      <a:pt x="688" y="454"/>
                      <a:pt x="722" y="466"/>
                    </a:cubicBezTo>
                    <a:cubicBezTo>
                      <a:pt x="737" y="471"/>
                      <a:pt x="752" y="473"/>
                      <a:pt x="768" y="473"/>
                    </a:cubicBezTo>
                    <a:cubicBezTo>
                      <a:pt x="790" y="473"/>
                      <a:pt x="812" y="469"/>
                      <a:pt x="833" y="465"/>
                    </a:cubicBezTo>
                    <a:cubicBezTo>
                      <a:pt x="869" y="457"/>
                      <a:pt x="905" y="451"/>
                      <a:pt x="939" y="439"/>
                    </a:cubicBezTo>
                    <a:cubicBezTo>
                      <a:pt x="952" y="435"/>
                      <a:pt x="965" y="430"/>
                      <a:pt x="977" y="424"/>
                    </a:cubicBezTo>
                    <a:cubicBezTo>
                      <a:pt x="939" y="440"/>
                      <a:pt x="900" y="449"/>
                      <a:pt x="861" y="456"/>
                    </a:cubicBezTo>
                    <a:cubicBezTo>
                      <a:pt x="861" y="456"/>
                      <a:pt x="861" y="456"/>
                      <a:pt x="861" y="456"/>
                    </a:cubicBezTo>
                    <a:cubicBezTo>
                      <a:pt x="860" y="456"/>
                      <a:pt x="859" y="456"/>
                      <a:pt x="858" y="456"/>
                    </a:cubicBezTo>
                    <a:cubicBezTo>
                      <a:pt x="858" y="456"/>
                      <a:pt x="858" y="456"/>
                      <a:pt x="858" y="456"/>
                    </a:cubicBezTo>
                    <a:cubicBezTo>
                      <a:pt x="831" y="463"/>
                      <a:pt x="804" y="469"/>
                      <a:pt x="777" y="469"/>
                    </a:cubicBezTo>
                    <a:cubicBezTo>
                      <a:pt x="777" y="469"/>
                      <a:pt x="777" y="469"/>
                      <a:pt x="777" y="469"/>
                    </a:cubicBezTo>
                    <a:cubicBezTo>
                      <a:pt x="777" y="469"/>
                      <a:pt x="777" y="469"/>
                      <a:pt x="777" y="469"/>
                    </a:cubicBezTo>
                    <a:cubicBezTo>
                      <a:pt x="777" y="469"/>
                      <a:pt x="777" y="469"/>
                      <a:pt x="777" y="469"/>
                    </a:cubicBezTo>
                    <a:cubicBezTo>
                      <a:pt x="769" y="469"/>
                      <a:pt x="760" y="468"/>
                      <a:pt x="752" y="467"/>
                    </a:cubicBezTo>
                    <a:cubicBezTo>
                      <a:pt x="751" y="467"/>
                      <a:pt x="751" y="467"/>
                      <a:pt x="751" y="467"/>
                    </a:cubicBezTo>
                    <a:cubicBezTo>
                      <a:pt x="751" y="467"/>
                      <a:pt x="751" y="467"/>
                      <a:pt x="751" y="467"/>
                    </a:cubicBezTo>
                    <a:cubicBezTo>
                      <a:pt x="712" y="461"/>
                      <a:pt x="677" y="438"/>
                      <a:pt x="668" y="400"/>
                    </a:cubicBezTo>
                    <a:cubicBezTo>
                      <a:pt x="666" y="393"/>
                      <a:pt x="666" y="386"/>
                      <a:pt x="666" y="379"/>
                    </a:cubicBezTo>
                    <a:cubicBezTo>
                      <a:pt x="666" y="363"/>
                      <a:pt x="669" y="348"/>
                      <a:pt x="675" y="333"/>
                    </a:cubicBezTo>
                    <a:moveTo>
                      <a:pt x="210" y="109"/>
                    </a:moveTo>
                    <a:cubicBezTo>
                      <a:pt x="207" y="114"/>
                      <a:pt x="205" y="119"/>
                      <a:pt x="203" y="125"/>
                    </a:cubicBezTo>
                    <a:cubicBezTo>
                      <a:pt x="191" y="164"/>
                      <a:pt x="207" y="214"/>
                      <a:pt x="232" y="245"/>
                    </a:cubicBezTo>
                    <a:cubicBezTo>
                      <a:pt x="253" y="271"/>
                      <a:pt x="281" y="291"/>
                      <a:pt x="308" y="310"/>
                    </a:cubicBezTo>
                    <a:cubicBezTo>
                      <a:pt x="341" y="333"/>
                      <a:pt x="375" y="355"/>
                      <a:pt x="411" y="373"/>
                    </a:cubicBezTo>
                    <a:cubicBezTo>
                      <a:pt x="437" y="387"/>
                      <a:pt x="469" y="400"/>
                      <a:pt x="500" y="400"/>
                    </a:cubicBezTo>
                    <a:cubicBezTo>
                      <a:pt x="509" y="400"/>
                      <a:pt x="518" y="399"/>
                      <a:pt x="527" y="396"/>
                    </a:cubicBezTo>
                    <a:cubicBezTo>
                      <a:pt x="534" y="394"/>
                      <a:pt x="540" y="391"/>
                      <a:pt x="546" y="387"/>
                    </a:cubicBezTo>
                    <a:cubicBezTo>
                      <a:pt x="540" y="390"/>
                      <a:pt x="533" y="392"/>
                      <a:pt x="526" y="394"/>
                    </a:cubicBezTo>
                    <a:cubicBezTo>
                      <a:pt x="526" y="394"/>
                      <a:pt x="525" y="394"/>
                      <a:pt x="525" y="394"/>
                    </a:cubicBezTo>
                    <a:cubicBezTo>
                      <a:pt x="525" y="394"/>
                      <a:pt x="525" y="394"/>
                      <a:pt x="525" y="394"/>
                    </a:cubicBezTo>
                    <a:cubicBezTo>
                      <a:pt x="525" y="394"/>
                      <a:pt x="525" y="394"/>
                      <a:pt x="525" y="394"/>
                    </a:cubicBezTo>
                    <a:cubicBezTo>
                      <a:pt x="520" y="394"/>
                      <a:pt x="515" y="395"/>
                      <a:pt x="510" y="395"/>
                    </a:cubicBezTo>
                    <a:cubicBezTo>
                      <a:pt x="510" y="395"/>
                      <a:pt x="510" y="395"/>
                      <a:pt x="510" y="395"/>
                    </a:cubicBezTo>
                    <a:cubicBezTo>
                      <a:pt x="510" y="395"/>
                      <a:pt x="510" y="395"/>
                      <a:pt x="510" y="395"/>
                    </a:cubicBezTo>
                    <a:cubicBezTo>
                      <a:pt x="510" y="395"/>
                      <a:pt x="510" y="395"/>
                      <a:pt x="510" y="395"/>
                    </a:cubicBezTo>
                    <a:cubicBezTo>
                      <a:pt x="485" y="395"/>
                      <a:pt x="461" y="388"/>
                      <a:pt x="439" y="378"/>
                    </a:cubicBezTo>
                    <a:cubicBezTo>
                      <a:pt x="439" y="378"/>
                      <a:pt x="439" y="378"/>
                      <a:pt x="439" y="378"/>
                    </a:cubicBezTo>
                    <a:cubicBezTo>
                      <a:pt x="438" y="378"/>
                      <a:pt x="438" y="378"/>
                      <a:pt x="438" y="378"/>
                    </a:cubicBezTo>
                    <a:cubicBezTo>
                      <a:pt x="438" y="377"/>
                      <a:pt x="438" y="377"/>
                      <a:pt x="437" y="377"/>
                    </a:cubicBezTo>
                    <a:cubicBezTo>
                      <a:pt x="437" y="377"/>
                      <a:pt x="437" y="377"/>
                      <a:pt x="437" y="377"/>
                    </a:cubicBezTo>
                    <a:cubicBezTo>
                      <a:pt x="437" y="377"/>
                      <a:pt x="437" y="377"/>
                      <a:pt x="437" y="377"/>
                    </a:cubicBezTo>
                    <a:cubicBezTo>
                      <a:pt x="437" y="377"/>
                      <a:pt x="437" y="377"/>
                      <a:pt x="436" y="377"/>
                    </a:cubicBezTo>
                    <a:cubicBezTo>
                      <a:pt x="436" y="377"/>
                      <a:pt x="436" y="377"/>
                      <a:pt x="436" y="377"/>
                    </a:cubicBezTo>
                    <a:cubicBezTo>
                      <a:pt x="436" y="377"/>
                      <a:pt x="435" y="376"/>
                      <a:pt x="435" y="376"/>
                    </a:cubicBezTo>
                    <a:cubicBezTo>
                      <a:pt x="435" y="376"/>
                      <a:pt x="435" y="376"/>
                      <a:pt x="435" y="376"/>
                    </a:cubicBezTo>
                    <a:cubicBezTo>
                      <a:pt x="435" y="376"/>
                      <a:pt x="435" y="376"/>
                      <a:pt x="435" y="376"/>
                    </a:cubicBezTo>
                    <a:cubicBezTo>
                      <a:pt x="385" y="352"/>
                      <a:pt x="336" y="322"/>
                      <a:pt x="291" y="287"/>
                    </a:cubicBezTo>
                    <a:cubicBezTo>
                      <a:pt x="260" y="263"/>
                      <a:pt x="227" y="236"/>
                      <a:pt x="215" y="198"/>
                    </a:cubicBezTo>
                    <a:cubicBezTo>
                      <a:pt x="209" y="182"/>
                      <a:pt x="204" y="162"/>
                      <a:pt x="204" y="143"/>
                    </a:cubicBezTo>
                    <a:cubicBezTo>
                      <a:pt x="204" y="131"/>
                      <a:pt x="206" y="120"/>
                      <a:pt x="210" y="109"/>
                    </a:cubicBezTo>
                    <a:moveTo>
                      <a:pt x="599" y="395"/>
                    </a:moveTo>
                    <a:cubicBezTo>
                      <a:pt x="603" y="393"/>
                      <a:pt x="607" y="391"/>
                      <a:pt x="613" y="390"/>
                    </a:cubicBezTo>
                    <a:cubicBezTo>
                      <a:pt x="613" y="388"/>
                      <a:pt x="613" y="388"/>
                      <a:pt x="613" y="388"/>
                    </a:cubicBezTo>
                    <a:cubicBezTo>
                      <a:pt x="621" y="388"/>
                      <a:pt x="630" y="391"/>
                      <a:pt x="636" y="393"/>
                    </a:cubicBezTo>
                    <a:cubicBezTo>
                      <a:pt x="644" y="399"/>
                      <a:pt x="649" y="410"/>
                      <a:pt x="649" y="421"/>
                    </a:cubicBezTo>
                    <a:cubicBezTo>
                      <a:pt x="649" y="429"/>
                      <a:pt x="646" y="437"/>
                      <a:pt x="641" y="441"/>
                    </a:cubicBezTo>
                    <a:cubicBezTo>
                      <a:pt x="638" y="449"/>
                      <a:pt x="633" y="454"/>
                      <a:pt x="624" y="457"/>
                    </a:cubicBezTo>
                    <a:cubicBezTo>
                      <a:pt x="620" y="458"/>
                      <a:pt x="616" y="459"/>
                      <a:pt x="612" y="459"/>
                    </a:cubicBezTo>
                    <a:cubicBezTo>
                      <a:pt x="597" y="459"/>
                      <a:pt x="580" y="451"/>
                      <a:pt x="576" y="435"/>
                    </a:cubicBezTo>
                    <a:cubicBezTo>
                      <a:pt x="572" y="420"/>
                      <a:pt x="580" y="403"/>
                      <a:pt x="595" y="398"/>
                    </a:cubicBezTo>
                    <a:cubicBezTo>
                      <a:pt x="594" y="397"/>
                      <a:pt x="594" y="396"/>
                      <a:pt x="595" y="396"/>
                    </a:cubicBezTo>
                    <a:cubicBezTo>
                      <a:pt x="597" y="396"/>
                      <a:pt x="598" y="395"/>
                      <a:pt x="599" y="395"/>
                    </a:cubicBezTo>
                    <a:moveTo>
                      <a:pt x="763" y="127"/>
                    </a:moveTo>
                    <a:cubicBezTo>
                      <a:pt x="770" y="127"/>
                      <a:pt x="778" y="127"/>
                      <a:pt x="785" y="127"/>
                    </a:cubicBezTo>
                    <a:cubicBezTo>
                      <a:pt x="787" y="127"/>
                      <a:pt x="789" y="127"/>
                      <a:pt x="790" y="127"/>
                    </a:cubicBezTo>
                    <a:cubicBezTo>
                      <a:pt x="818" y="127"/>
                      <a:pt x="842" y="133"/>
                      <a:pt x="868" y="142"/>
                    </a:cubicBezTo>
                    <a:cubicBezTo>
                      <a:pt x="869" y="142"/>
                      <a:pt x="869" y="144"/>
                      <a:pt x="867" y="144"/>
                    </a:cubicBezTo>
                    <a:cubicBezTo>
                      <a:pt x="867" y="144"/>
                      <a:pt x="867" y="144"/>
                      <a:pt x="867" y="144"/>
                    </a:cubicBezTo>
                    <a:cubicBezTo>
                      <a:pt x="841" y="138"/>
                      <a:pt x="817" y="132"/>
                      <a:pt x="790" y="132"/>
                    </a:cubicBezTo>
                    <a:cubicBezTo>
                      <a:pt x="789" y="132"/>
                      <a:pt x="787" y="132"/>
                      <a:pt x="785" y="132"/>
                    </a:cubicBezTo>
                    <a:cubicBezTo>
                      <a:pt x="754" y="133"/>
                      <a:pt x="724" y="133"/>
                      <a:pt x="693" y="133"/>
                    </a:cubicBezTo>
                    <a:cubicBezTo>
                      <a:pt x="693" y="133"/>
                      <a:pt x="693" y="133"/>
                      <a:pt x="693" y="133"/>
                    </a:cubicBezTo>
                    <a:cubicBezTo>
                      <a:pt x="691" y="133"/>
                      <a:pt x="690" y="130"/>
                      <a:pt x="693" y="129"/>
                    </a:cubicBezTo>
                    <a:cubicBezTo>
                      <a:pt x="711" y="127"/>
                      <a:pt x="728" y="127"/>
                      <a:pt x="746" y="127"/>
                    </a:cubicBezTo>
                    <a:cubicBezTo>
                      <a:pt x="749" y="127"/>
                      <a:pt x="752" y="127"/>
                      <a:pt x="754" y="127"/>
                    </a:cubicBezTo>
                    <a:cubicBezTo>
                      <a:pt x="757" y="127"/>
                      <a:pt x="760" y="127"/>
                      <a:pt x="763" y="127"/>
                    </a:cubicBezTo>
                    <a:moveTo>
                      <a:pt x="363" y="23"/>
                    </a:moveTo>
                    <a:cubicBezTo>
                      <a:pt x="363" y="23"/>
                      <a:pt x="363" y="23"/>
                      <a:pt x="363" y="23"/>
                    </a:cubicBezTo>
                    <a:cubicBezTo>
                      <a:pt x="363" y="23"/>
                      <a:pt x="363" y="23"/>
                      <a:pt x="363" y="23"/>
                    </a:cubicBezTo>
                    <a:cubicBezTo>
                      <a:pt x="374" y="23"/>
                      <a:pt x="384" y="24"/>
                      <a:pt x="394" y="27"/>
                    </a:cubicBezTo>
                    <a:cubicBezTo>
                      <a:pt x="394" y="27"/>
                      <a:pt x="394" y="27"/>
                      <a:pt x="394" y="27"/>
                    </a:cubicBezTo>
                    <a:cubicBezTo>
                      <a:pt x="395" y="27"/>
                      <a:pt x="395" y="27"/>
                      <a:pt x="396" y="27"/>
                    </a:cubicBezTo>
                    <a:cubicBezTo>
                      <a:pt x="396" y="27"/>
                      <a:pt x="396" y="27"/>
                      <a:pt x="396" y="27"/>
                    </a:cubicBezTo>
                    <a:cubicBezTo>
                      <a:pt x="411" y="32"/>
                      <a:pt x="425" y="39"/>
                      <a:pt x="439" y="47"/>
                    </a:cubicBezTo>
                    <a:cubicBezTo>
                      <a:pt x="464" y="48"/>
                      <a:pt x="487" y="59"/>
                      <a:pt x="510" y="71"/>
                    </a:cubicBezTo>
                    <a:cubicBezTo>
                      <a:pt x="543" y="89"/>
                      <a:pt x="578" y="105"/>
                      <a:pt x="616" y="110"/>
                    </a:cubicBezTo>
                    <a:cubicBezTo>
                      <a:pt x="616" y="110"/>
                      <a:pt x="616" y="110"/>
                      <a:pt x="616" y="110"/>
                    </a:cubicBezTo>
                    <a:cubicBezTo>
                      <a:pt x="584" y="109"/>
                      <a:pt x="553" y="100"/>
                      <a:pt x="524" y="86"/>
                    </a:cubicBezTo>
                    <a:cubicBezTo>
                      <a:pt x="499" y="74"/>
                      <a:pt x="475" y="59"/>
                      <a:pt x="448" y="53"/>
                    </a:cubicBezTo>
                    <a:cubicBezTo>
                      <a:pt x="474" y="71"/>
                      <a:pt x="496" y="93"/>
                      <a:pt x="515" y="117"/>
                    </a:cubicBezTo>
                    <a:cubicBezTo>
                      <a:pt x="535" y="146"/>
                      <a:pt x="550" y="180"/>
                      <a:pt x="567" y="213"/>
                    </a:cubicBezTo>
                    <a:cubicBezTo>
                      <a:pt x="584" y="241"/>
                      <a:pt x="598" y="273"/>
                      <a:pt x="598" y="306"/>
                    </a:cubicBezTo>
                    <a:cubicBezTo>
                      <a:pt x="598" y="311"/>
                      <a:pt x="597" y="317"/>
                      <a:pt x="596" y="323"/>
                    </a:cubicBezTo>
                    <a:cubicBezTo>
                      <a:pt x="594" y="335"/>
                      <a:pt x="590" y="346"/>
                      <a:pt x="585" y="355"/>
                    </a:cubicBezTo>
                    <a:cubicBezTo>
                      <a:pt x="583" y="358"/>
                      <a:pt x="582" y="361"/>
                      <a:pt x="580" y="364"/>
                    </a:cubicBezTo>
                    <a:cubicBezTo>
                      <a:pt x="562" y="395"/>
                      <a:pt x="534" y="406"/>
                      <a:pt x="504" y="406"/>
                    </a:cubicBezTo>
                    <a:cubicBezTo>
                      <a:pt x="465" y="406"/>
                      <a:pt x="423" y="388"/>
                      <a:pt x="391" y="371"/>
                    </a:cubicBezTo>
                    <a:cubicBezTo>
                      <a:pt x="349" y="348"/>
                      <a:pt x="308" y="322"/>
                      <a:pt x="271" y="292"/>
                    </a:cubicBezTo>
                    <a:cubicBezTo>
                      <a:pt x="242" y="269"/>
                      <a:pt x="215" y="244"/>
                      <a:pt x="203" y="208"/>
                    </a:cubicBezTo>
                    <a:cubicBezTo>
                      <a:pt x="191" y="176"/>
                      <a:pt x="184" y="135"/>
                      <a:pt x="203" y="105"/>
                    </a:cubicBezTo>
                    <a:cubicBezTo>
                      <a:pt x="223" y="72"/>
                      <a:pt x="266" y="52"/>
                      <a:pt x="300" y="35"/>
                    </a:cubicBezTo>
                    <a:cubicBezTo>
                      <a:pt x="302" y="34"/>
                      <a:pt x="305" y="33"/>
                      <a:pt x="308" y="31"/>
                    </a:cubicBezTo>
                    <a:cubicBezTo>
                      <a:pt x="310" y="35"/>
                      <a:pt x="310" y="35"/>
                      <a:pt x="310" y="35"/>
                    </a:cubicBezTo>
                    <a:cubicBezTo>
                      <a:pt x="310" y="35"/>
                      <a:pt x="311" y="35"/>
                      <a:pt x="311" y="35"/>
                    </a:cubicBezTo>
                    <a:cubicBezTo>
                      <a:pt x="311" y="35"/>
                      <a:pt x="311" y="35"/>
                      <a:pt x="312" y="35"/>
                    </a:cubicBezTo>
                    <a:cubicBezTo>
                      <a:pt x="329" y="27"/>
                      <a:pt x="346" y="23"/>
                      <a:pt x="363" y="23"/>
                    </a:cubicBezTo>
                    <a:cubicBezTo>
                      <a:pt x="363" y="23"/>
                      <a:pt x="363" y="23"/>
                      <a:pt x="363" y="23"/>
                    </a:cubicBezTo>
                    <a:moveTo>
                      <a:pt x="397" y="0"/>
                    </a:moveTo>
                    <a:cubicBezTo>
                      <a:pt x="358" y="0"/>
                      <a:pt x="321" y="11"/>
                      <a:pt x="285" y="31"/>
                    </a:cubicBezTo>
                    <a:cubicBezTo>
                      <a:pt x="193" y="82"/>
                      <a:pt x="126" y="162"/>
                      <a:pt x="89" y="259"/>
                    </a:cubicBezTo>
                    <a:cubicBezTo>
                      <a:pt x="81" y="280"/>
                      <a:pt x="75" y="300"/>
                      <a:pt x="69" y="321"/>
                    </a:cubicBezTo>
                    <a:cubicBezTo>
                      <a:pt x="49" y="392"/>
                      <a:pt x="34" y="463"/>
                      <a:pt x="20" y="536"/>
                    </a:cubicBezTo>
                    <a:cubicBezTo>
                      <a:pt x="11" y="587"/>
                      <a:pt x="0" y="639"/>
                      <a:pt x="4" y="691"/>
                    </a:cubicBezTo>
                    <a:cubicBezTo>
                      <a:pt x="8" y="723"/>
                      <a:pt x="22" y="761"/>
                      <a:pt x="58" y="767"/>
                    </a:cubicBezTo>
                    <a:cubicBezTo>
                      <a:pt x="62" y="768"/>
                      <a:pt x="66" y="768"/>
                      <a:pt x="70" y="768"/>
                    </a:cubicBezTo>
                    <a:cubicBezTo>
                      <a:pt x="75" y="768"/>
                      <a:pt x="80" y="768"/>
                      <a:pt x="84" y="766"/>
                    </a:cubicBezTo>
                    <a:cubicBezTo>
                      <a:pt x="88" y="764"/>
                      <a:pt x="93" y="762"/>
                      <a:pt x="97" y="759"/>
                    </a:cubicBezTo>
                    <a:cubicBezTo>
                      <a:pt x="96" y="758"/>
                      <a:pt x="96" y="756"/>
                      <a:pt x="98" y="755"/>
                    </a:cubicBezTo>
                    <a:cubicBezTo>
                      <a:pt x="154" y="704"/>
                      <a:pt x="150" y="620"/>
                      <a:pt x="179" y="554"/>
                    </a:cubicBezTo>
                    <a:cubicBezTo>
                      <a:pt x="185" y="539"/>
                      <a:pt x="191" y="525"/>
                      <a:pt x="200" y="511"/>
                    </a:cubicBezTo>
                    <a:cubicBezTo>
                      <a:pt x="210" y="498"/>
                      <a:pt x="220" y="485"/>
                      <a:pt x="229" y="472"/>
                    </a:cubicBezTo>
                    <a:cubicBezTo>
                      <a:pt x="238" y="457"/>
                      <a:pt x="246" y="442"/>
                      <a:pt x="256" y="427"/>
                    </a:cubicBezTo>
                    <a:cubicBezTo>
                      <a:pt x="265" y="413"/>
                      <a:pt x="274" y="398"/>
                      <a:pt x="279" y="382"/>
                    </a:cubicBezTo>
                    <a:cubicBezTo>
                      <a:pt x="269" y="373"/>
                      <a:pt x="260" y="364"/>
                      <a:pt x="252" y="354"/>
                    </a:cubicBezTo>
                    <a:cubicBezTo>
                      <a:pt x="251" y="352"/>
                      <a:pt x="252" y="349"/>
                      <a:pt x="254" y="349"/>
                    </a:cubicBezTo>
                    <a:cubicBezTo>
                      <a:pt x="255" y="349"/>
                      <a:pt x="255" y="349"/>
                      <a:pt x="256" y="349"/>
                    </a:cubicBezTo>
                    <a:cubicBezTo>
                      <a:pt x="267" y="357"/>
                      <a:pt x="278" y="367"/>
                      <a:pt x="288" y="376"/>
                    </a:cubicBezTo>
                    <a:cubicBezTo>
                      <a:pt x="289" y="374"/>
                      <a:pt x="290" y="372"/>
                      <a:pt x="290" y="369"/>
                    </a:cubicBezTo>
                    <a:cubicBezTo>
                      <a:pt x="291" y="368"/>
                      <a:pt x="291" y="368"/>
                      <a:pt x="291" y="368"/>
                    </a:cubicBezTo>
                    <a:cubicBezTo>
                      <a:pt x="298" y="374"/>
                      <a:pt x="304" y="380"/>
                      <a:pt x="311" y="385"/>
                    </a:cubicBezTo>
                    <a:cubicBezTo>
                      <a:pt x="314" y="386"/>
                      <a:pt x="316" y="387"/>
                      <a:pt x="318" y="389"/>
                    </a:cubicBezTo>
                    <a:cubicBezTo>
                      <a:pt x="319" y="388"/>
                      <a:pt x="319" y="386"/>
                      <a:pt x="320" y="385"/>
                    </a:cubicBezTo>
                    <a:cubicBezTo>
                      <a:pt x="292" y="368"/>
                      <a:pt x="266" y="349"/>
                      <a:pt x="243" y="327"/>
                    </a:cubicBezTo>
                    <a:cubicBezTo>
                      <a:pt x="241" y="325"/>
                      <a:pt x="243" y="323"/>
                      <a:pt x="245" y="323"/>
                    </a:cubicBezTo>
                    <a:cubicBezTo>
                      <a:pt x="245" y="323"/>
                      <a:pt x="246" y="323"/>
                      <a:pt x="246" y="323"/>
                    </a:cubicBezTo>
                    <a:cubicBezTo>
                      <a:pt x="271" y="343"/>
                      <a:pt x="297" y="361"/>
                      <a:pt x="324" y="378"/>
                    </a:cubicBezTo>
                    <a:cubicBezTo>
                      <a:pt x="328" y="371"/>
                      <a:pt x="328" y="371"/>
                      <a:pt x="328" y="371"/>
                    </a:cubicBezTo>
                    <a:cubicBezTo>
                      <a:pt x="363" y="392"/>
                      <a:pt x="400" y="410"/>
                      <a:pt x="437" y="425"/>
                    </a:cubicBezTo>
                    <a:cubicBezTo>
                      <a:pt x="486" y="445"/>
                      <a:pt x="538" y="458"/>
                      <a:pt x="588" y="471"/>
                    </a:cubicBezTo>
                    <a:cubicBezTo>
                      <a:pt x="641" y="485"/>
                      <a:pt x="691" y="498"/>
                      <a:pt x="745" y="505"/>
                    </a:cubicBezTo>
                    <a:cubicBezTo>
                      <a:pt x="763" y="508"/>
                      <a:pt x="782" y="509"/>
                      <a:pt x="801" y="509"/>
                    </a:cubicBezTo>
                    <a:cubicBezTo>
                      <a:pt x="819" y="509"/>
                      <a:pt x="836" y="508"/>
                      <a:pt x="855" y="507"/>
                    </a:cubicBezTo>
                    <a:cubicBezTo>
                      <a:pt x="867" y="506"/>
                      <a:pt x="880" y="505"/>
                      <a:pt x="893" y="501"/>
                    </a:cubicBezTo>
                    <a:cubicBezTo>
                      <a:pt x="895" y="506"/>
                      <a:pt x="895" y="506"/>
                      <a:pt x="895" y="506"/>
                    </a:cubicBezTo>
                    <a:cubicBezTo>
                      <a:pt x="911" y="502"/>
                      <a:pt x="926" y="497"/>
                      <a:pt x="942" y="490"/>
                    </a:cubicBezTo>
                    <a:cubicBezTo>
                      <a:pt x="942" y="490"/>
                      <a:pt x="942" y="490"/>
                      <a:pt x="942" y="490"/>
                    </a:cubicBezTo>
                    <a:cubicBezTo>
                      <a:pt x="942" y="490"/>
                      <a:pt x="943" y="490"/>
                      <a:pt x="942" y="491"/>
                    </a:cubicBezTo>
                    <a:cubicBezTo>
                      <a:pt x="927" y="499"/>
                      <a:pt x="911" y="505"/>
                      <a:pt x="895" y="509"/>
                    </a:cubicBezTo>
                    <a:cubicBezTo>
                      <a:pt x="898" y="521"/>
                      <a:pt x="898" y="521"/>
                      <a:pt x="898" y="521"/>
                    </a:cubicBezTo>
                    <a:cubicBezTo>
                      <a:pt x="900" y="521"/>
                      <a:pt x="901" y="520"/>
                      <a:pt x="903" y="520"/>
                    </a:cubicBezTo>
                    <a:cubicBezTo>
                      <a:pt x="912" y="518"/>
                      <a:pt x="921" y="516"/>
                      <a:pt x="930" y="513"/>
                    </a:cubicBezTo>
                    <a:cubicBezTo>
                      <a:pt x="933" y="512"/>
                      <a:pt x="935" y="510"/>
                      <a:pt x="937" y="509"/>
                    </a:cubicBezTo>
                    <a:cubicBezTo>
                      <a:pt x="951" y="501"/>
                      <a:pt x="964" y="492"/>
                      <a:pt x="978" y="483"/>
                    </a:cubicBezTo>
                    <a:cubicBezTo>
                      <a:pt x="978" y="483"/>
                      <a:pt x="978" y="483"/>
                      <a:pt x="979" y="483"/>
                    </a:cubicBezTo>
                    <a:cubicBezTo>
                      <a:pt x="980" y="483"/>
                      <a:pt x="981" y="485"/>
                      <a:pt x="980" y="486"/>
                    </a:cubicBezTo>
                    <a:cubicBezTo>
                      <a:pt x="964" y="500"/>
                      <a:pt x="949" y="511"/>
                      <a:pt x="931" y="520"/>
                    </a:cubicBezTo>
                    <a:cubicBezTo>
                      <a:pt x="931" y="520"/>
                      <a:pt x="931" y="521"/>
                      <a:pt x="931" y="522"/>
                    </a:cubicBezTo>
                    <a:cubicBezTo>
                      <a:pt x="930" y="527"/>
                      <a:pt x="929" y="532"/>
                      <a:pt x="929" y="538"/>
                    </a:cubicBezTo>
                    <a:cubicBezTo>
                      <a:pt x="929" y="551"/>
                      <a:pt x="932" y="565"/>
                      <a:pt x="934" y="580"/>
                    </a:cubicBezTo>
                    <a:cubicBezTo>
                      <a:pt x="935" y="598"/>
                      <a:pt x="936" y="616"/>
                      <a:pt x="936" y="634"/>
                    </a:cubicBezTo>
                    <a:cubicBezTo>
                      <a:pt x="936" y="651"/>
                      <a:pt x="936" y="669"/>
                      <a:pt x="935" y="686"/>
                    </a:cubicBezTo>
                    <a:cubicBezTo>
                      <a:pt x="932" y="721"/>
                      <a:pt x="928" y="757"/>
                      <a:pt x="927" y="792"/>
                    </a:cubicBezTo>
                    <a:cubicBezTo>
                      <a:pt x="927" y="801"/>
                      <a:pt x="926" y="810"/>
                      <a:pt x="926" y="819"/>
                    </a:cubicBezTo>
                    <a:cubicBezTo>
                      <a:pt x="926" y="837"/>
                      <a:pt x="928" y="855"/>
                      <a:pt x="929" y="875"/>
                    </a:cubicBezTo>
                    <a:cubicBezTo>
                      <a:pt x="931" y="896"/>
                      <a:pt x="939" y="930"/>
                      <a:pt x="959" y="944"/>
                    </a:cubicBezTo>
                    <a:cubicBezTo>
                      <a:pt x="960" y="944"/>
                      <a:pt x="961" y="944"/>
                      <a:pt x="961" y="944"/>
                    </a:cubicBezTo>
                    <a:cubicBezTo>
                      <a:pt x="968" y="944"/>
                      <a:pt x="974" y="943"/>
                      <a:pt x="980" y="941"/>
                    </a:cubicBezTo>
                    <a:cubicBezTo>
                      <a:pt x="1007" y="928"/>
                      <a:pt x="1024" y="905"/>
                      <a:pt x="1037" y="879"/>
                    </a:cubicBezTo>
                    <a:cubicBezTo>
                      <a:pt x="1065" y="823"/>
                      <a:pt x="1076" y="760"/>
                      <a:pt x="1088" y="698"/>
                    </a:cubicBezTo>
                    <a:cubicBezTo>
                      <a:pt x="1109" y="588"/>
                      <a:pt x="1126" y="468"/>
                      <a:pt x="1099" y="357"/>
                    </a:cubicBezTo>
                    <a:cubicBezTo>
                      <a:pt x="1094" y="335"/>
                      <a:pt x="1086" y="312"/>
                      <a:pt x="1077" y="291"/>
                    </a:cubicBezTo>
                    <a:cubicBezTo>
                      <a:pt x="1077" y="294"/>
                      <a:pt x="1078" y="298"/>
                      <a:pt x="1078" y="302"/>
                    </a:cubicBezTo>
                    <a:cubicBezTo>
                      <a:pt x="1078" y="317"/>
                      <a:pt x="1074" y="333"/>
                      <a:pt x="1068" y="348"/>
                    </a:cubicBezTo>
                    <a:cubicBezTo>
                      <a:pt x="1066" y="351"/>
                      <a:pt x="1064" y="355"/>
                      <a:pt x="1062" y="358"/>
                    </a:cubicBezTo>
                    <a:cubicBezTo>
                      <a:pt x="1038" y="412"/>
                      <a:pt x="972" y="439"/>
                      <a:pt x="916" y="455"/>
                    </a:cubicBezTo>
                    <a:cubicBezTo>
                      <a:pt x="893" y="461"/>
                      <a:pt x="869" y="465"/>
                      <a:pt x="846" y="470"/>
                    </a:cubicBezTo>
                    <a:cubicBezTo>
                      <a:pt x="825" y="475"/>
                      <a:pt x="804" y="480"/>
                      <a:pt x="782" y="481"/>
                    </a:cubicBezTo>
                    <a:cubicBezTo>
                      <a:pt x="778" y="481"/>
                      <a:pt x="773" y="482"/>
                      <a:pt x="769" y="482"/>
                    </a:cubicBezTo>
                    <a:cubicBezTo>
                      <a:pt x="739" y="482"/>
                      <a:pt x="709" y="475"/>
                      <a:pt x="686" y="456"/>
                    </a:cubicBezTo>
                    <a:cubicBezTo>
                      <a:pt x="625" y="407"/>
                      <a:pt x="660" y="328"/>
                      <a:pt x="702" y="280"/>
                    </a:cubicBezTo>
                    <a:cubicBezTo>
                      <a:pt x="733" y="244"/>
                      <a:pt x="771" y="215"/>
                      <a:pt x="814" y="194"/>
                    </a:cubicBezTo>
                    <a:cubicBezTo>
                      <a:pt x="844" y="177"/>
                      <a:pt x="877" y="166"/>
                      <a:pt x="912" y="161"/>
                    </a:cubicBezTo>
                    <a:cubicBezTo>
                      <a:pt x="911" y="161"/>
                      <a:pt x="912" y="161"/>
                      <a:pt x="912" y="161"/>
                    </a:cubicBezTo>
                    <a:cubicBezTo>
                      <a:pt x="912" y="161"/>
                      <a:pt x="912" y="161"/>
                      <a:pt x="912" y="161"/>
                    </a:cubicBezTo>
                    <a:cubicBezTo>
                      <a:pt x="913" y="161"/>
                      <a:pt x="914" y="161"/>
                      <a:pt x="915" y="161"/>
                    </a:cubicBezTo>
                    <a:cubicBezTo>
                      <a:pt x="918" y="160"/>
                      <a:pt x="921" y="160"/>
                      <a:pt x="923" y="160"/>
                    </a:cubicBezTo>
                    <a:cubicBezTo>
                      <a:pt x="924" y="153"/>
                      <a:pt x="924" y="153"/>
                      <a:pt x="924" y="153"/>
                    </a:cubicBezTo>
                    <a:cubicBezTo>
                      <a:pt x="949" y="155"/>
                      <a:pt x="973" y="162"/>
                      <a:pt x="993" y="173"/>
                    </a:cubicBezTo>
                    <a:cubicBezTo>
                      <a:pt x="997" y="175"/>
                      <a:pt x="1001" y="178"/>
                      <a:pt x="1005" y="180"/>
                    </a:cubicBezTo>
                    <a:cubicBezTo>
                      <a:pt x="978" y="154"/>
                      <a:pt x="947" y="133"/>
                      <a:pt x="911" y="119"/>
                    </a:cubicBezTo>
                    <a:cubicBezTo>
                      <a:pt x="862" y="101"/>
                      <a:pt x="809" y="98"/>
                      <a:pt x="757" y="94"/>
                    </a:cubicBezTo>
                    <a:cubicBezTo>
                      <a:pt x="703" y="90"/>
                      <a:pt x="649" y="83"/>
                      <a:pt x="599" y="65"/>
                    </a:cubicBezTo>
                    <a:cubicBezTo>
                      <a:pt x="548" y="47"/>
                      <a:pt x="501" y="20"/>
                      <a:pt x="450" y="7"/>
                    </a:cubicBezTo>
                    <a:cubicBezTo>
                      <a:pt x="432" y="2"/>
                      <a:pt x="414" y="0"/>
                      <a:pt x="397" y="0"/>
                    </a:cubicBezTo>
                  </a:path>
                </a:pathLst>
              </a:custGeom>
              <a:solidFill>
                <a:srgbClr val="EF827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162" name="Freeform 74">
                <a:extLst>
                  <a:ext uri="{FF2B5EF4-FFF2-40B4-BE49-F238E27FC236}">
                    <a16:creationId xmlns:a16="http://schemas.microsoft.com/office/drawing/2014/main" id="{A3086A3F-2E78-4EF6-B6C9-A50C112CB1A3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777" y="1720"/>
                <a:ext cx="1215" cy="1025"/>
              </a:xfrm>
              <a:custGeom>
                <a:avLst/>
                <a:gdLst>
                  <a:gd name="T0" fmla="*/ 357 w 1147"/>
                  <a:gd name="T1" fmla="*/ 8 h 968"/>
                  <a:gd name="T2" fmla="*/ 117 w 1147"/>
                  <a:gd name="T3" fmla="*/ 227 h 968"/>
                  <a:gd name="T4" fmla="*/ 21 w 1147"/>
                  <a:gd name="T5" fmla="*/ 591 h 968"/>
                  <a:gd name="T6" fmla="*/ 83 w 1147"/>
                  <a:gd name="T7" fmla="*/ 793 h 968"/>
                  <a:gd name="T8" fmla="*/ 187 w 1147"/>
                  <a:gd name="T9" fmla="*/ 700 h 968"/>
                  <a:gd name="T10" fmla="*/ 185 w 1147"/>
                  <a:gd name="T11" fmla="*/ 696 h 968"/>
                  <a:gd name="T12" fmla="*/ 223 w 1147"/>
                  <a:gd name="T13" fmla="*/ 622 h 968"/>
                  <a:gd name="T14" fmla="*/ 317 w 1147"/>
                  <a:gd name="T15" fmla="*/ 441 h 968"/>
                  <a:gd name="T16" fmla="*/ 331 w 1147"/>
                  <a:gd name="T17" fmla="*/ 415 h 968"/>
                  <a:gd name="T18" fmla="*/ 247 w 1147"/>
                  <a:gd name="T19" fmla="*/ 551 h 968"/>
                  <a:gd name="T20" fmla="*/ 160 w 1147"/>
                  <a:gd name="T21" fmla="*/ 724 h 968"/>
                  <a:gd name="T22" fmla="*/ 120 w 1147"/>
                  <a:gd name="T23" fmla="*/ 773 h 968"/>
                  <a:gd name="T24" fmla="*/ 105 w 1147"/>
                  <a:gd name="T25" fmla="*/ 777 h 968"/>
                  <a:gd name="T26" fmla="*/ 48 w 1147"/>
                  <a:gd name="T27" fmla="*/ 770 h 968"/>
                  <a:gd name="T28" fmla="*/ 108 w 1147"/>
                  <a:gd name="T29" fmla="*/ 276 h 968"/>
                  <a:gd name="T30" fmla="*/ 306 w 1147"/>
                  <a:gd name="T31" fmla="*/ 42 h 968"/>
                  <a:gd name="T32" fmla="*/ 471 w 1147"/>
                  <a:gd name="T33" fmla="*/ 18 h 968"/>
                  <a:gd name="T34" fmla="*/ 778 w 1147"/>
                  <a:gd name="T35" fmla="*/ 105 h 968"/>
                  <a:gd name="T36" fmla="*/ 1026 w 1147"/>
                  <a:gd name="T37" fmla="*/ 191 h 968"/>
                  <a:gd name="T38" fmla="*/ 1098 w 1147"/>
                  <a:gd name="T39" fmla="*/ 302 h 968"/>
                  <a:gd name="T40" fmla="*/ 1120 w 1147"/>
                  <a:gd name="T41" fmla="*/ 368 h 968"/>
                  <a:gd name="T42" fmla="*/ 1058 w 1147"/>
                  <a:gd name="T43" fmla="*/ 890 h 968"/>
                  <a:gd name="T44" fmla="*/ 999 w 1147"/>
                  <a:gd name="T45" fmla="*/ 953 h 968"/>
                  <a:gd name="T46" fmla="*/ 971 w 1147"/>
                  <a:gd name="T47" fmla="*/ 958 h 968"/>
                  <a:gd name="T48" fmla="*/ 974 w 1147"/>
                  <a:gd name="T49" fmla="*/ 968 h 968"/>
                  <a:gd name="T50" fmla="*/ 1002 w 1147"/>
                  <a:gd name="T51" fmla="*/ 962 h 968"/>
                  <a:gd name="T52" fmla="*/ 1087 w 1147"/>
                  <a:gd name="T53" fmla="*/ 844 h 968"/>
                  <a:gd name="T54" fmla="*/ 1142 w 1147"/>
                  <a:gd name="T55" fmla="*/ 479 h 968"/>
                  <a:gd name="T56" fmla="*/ 876 w 1147"/>
                  <a:gd name="T57" fmla="*/ 105 h 968"/>
                  <a:gd name="T58" fmla="*/ 752 w 1147"/>
                  <a:gd name="T59" fmla="*/ 97 h 968"/>
                  <a:gd name="T60" fmla="*/ 748 w 1147"/>
                  <a:gd name="T61" fmla="*/ 91 h 968"/>
                  <a:gd name="T62" fmla="*/ 517 w 1147"/>
                  <a:gd name="T63" fmla="*/ 22 h 9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1147" h="968">
                    <a:moveTo>
                      <a:pt x="413" y="0"/>
                    </a:moveTo>
                    <a:cubicBezTo>
                      <a:pt x="395" y="0"/>
                      <a:pt x="376" y="2"/>
                      <a:pt x="357" y="8"/>
                    </a:cubicBezTo>
                    <a:cubicBezTo>
                      <a:pt x="355" y="8"/>
                      <a:pt x="353" y="9"/>
                      <a:pt x="351" y="10"/>
                    </a:cubicBezTo>
                    <a:cubicBezTo>
                      <a:pt x="249" y="44"/>
                      <a:pt x="162" y="131"/>
                      <a:pt x="117" y="227"/>
                    </a:cubicBezTo>
                    <a:cubicBezTo>
                      <a:pt x="90" y="283"/>
                      <a:pt x="74" y="344"/>
                      <a:pt x="59" y="405"/>
                    </a:cubicBezTo>
                    <a:cubicBezTo>
                      <a:pt x="44" y="467"/>
                      <a:pt x="32" y="529"/>
                      <a:pt x="21" y="591"/>
                    </a:cubicBezTo>
                    <a:cubicBezTo>
                      <a:pt x="12" y="642"/>
                      <a:pt x="0" y="703"/>
                      <a:pt x="22" y="752"/>
                    </a:cubicBezTo>
                    <a:cubicBezTo>
                      <a:pt x="34" y="779"/>
                      <a:pt x="57" y="793"/>
                      <a:pt x="83" y="793"/>
                    </a:cubicBezTo>
                    <a:cubicBezTo>
                      <a:pt x="95" y="793"/>
                      <a:pt x="107" y="790"/>
                      <a:pt x="119" y="783"/>
                    </a:cubicBezTo>
                    <a:cubicBezTo>
                      <a:pt x="151" y="765"/>
                      <a:pt x="171" y="733"/>
                      <a:pt x="187" y="700"/>
                    </a:cubicBezTo>
                    <a:cubicBezTo>
                      <a:pt x="187" y="700"/>
                      <a:pt x="187" y="700"/>
                      <a:pt x="187" y="700"/>
                    </a:cubicBezTo>
                    <a:cubicBezTo>
                      <a:pt x="185" y="700"/>
                      <a:pt x="183" y="698"/>
                      <a:pt x="185" y="696"/>
                    </a:cubicBezTo>
                    <a:cubicBezTo>
                      <a:pt x="199" y="674"/>
                      <a:pt x="209" y="650"/>
                      <a:pt x="220" y="627"/>
                    </a:cubicBezTo>
                    <a:cubicBezTo>
                      <a:pt x="221" y="625"/>
                      <a:pt x="222" y="624"/>
                      <a:pt x="223" y="622"/>
                    </a:cubicBezTo>
                    <a:cubicBezTo>
                      <a:pt x="244" y="578"/>
                      <a:pt x="266" y="534"/>
                      <a:pt x="290" y="491"/>
                    </a:cubicBezTo>
                    <a:cubicBezTo>
                      <a:pt x="299" y="474"/>
                      <a:pt x="308" y="458"/>
                      <a:pt x="317" y="441"/>
                    </a:cubicBezTo>
                    <a:cubicBezTo>
                      <a:pt x="317" y="441"/>
                      <a:pt x="317" y="441"/>
                      <a:pt x="317" y="441"/>
                    </a:cubicBezTo>
                    <a:cubicBezTo>
                      <a:pt x="322" y="432"/>
                      <a:pt x="326" y="424"/>
                      <a:pt x="331" y="415"/>
                    </a:cubicBezTo>
                    <a:cubicBezTo>
                      <a:pt x="329" y="414"/>
                      <a:pt x="327" y="413"/>
                      <a:pt x="325" y="411"/>
                    </a:cubicBezTo>
                    <a:cubicBezTo>
                      <a:pt x="300" y="459"/>
                      <a:pt x="273" y="504"/>
                      <a:pt x="247" y="551"/>
                    </a:cubicBezTo>
                    <a:cubicBezTo>
                      <a:pt x="221" y="600"/>
                      <a:pt x="201" y="652"/>
                      <a:pt x="174" y="701"/>
                    </a:cubicBezTo>
                    <a:cubicBezTo>
                      <a:pt x="171" y="708"/>
                      <a:pt x="166" y="716"/>
                      <a:pt x="160" y="724"/>
                    </a:cubicBezTo>
                    <a:cubicBezTo>
                      <a:pt x="152" y="743"/>
                      <a:pt x="140" y="762"/>
                      <a:pt x="122" y="772"/>
                    </a:cubicBezTo>
                    <a:cubicBezTo>
                      <a:pt x="122" y="773"/>
                      <a:pt x="121" y="773"/>
                      <a:pt x="120" y="773"/>
                    </a:cubicBezTo>
                    <a:cubicBezTo>
                      <a:pt x="119" y="773"/>
                      <a:pt x="118" y="771"/>
                      <a:pt x="118" y="770"/>
                    </a:cubicBezTo>
                    <a:cubicBezTo>
                      <a:pt x="114" y="773"/>
                      <a:pt x="109" y="775"/>
                      <a:pt x="105" y="777"/>
                    </a:cubicBezTo>
                    <a:cubicBezTo>
                      <a:pt x="97" y="781"/>
                      <a:pt x="89" y="784"/>
                      <a:pt x="81" y="784"/>
                    </a:cubicBezTo>
                    <a:cubicBezTo>
                      <a:pt x="70" y="784"/>
                      <a:pt x="59" y="779"/>
                      <a:pt x="48" y="770"/>
                    </a:cubicBezTo>
                    <a:cubicBezTo>
                      <a:pt x="7" y="734"/>
                      <a:pt x="20" y="661"/>
                      <a:pt x="27" y="615"/>
                    </a:cubicBezTo>
                    <a:cubicBezTo>
                      <a:pt x="45" y="501"/>
                      <a:pt x="68" y="384"/>
                      <a:pt x="108" y="276"/>
                    </a:cubicBezTo>
                    <a:cubicBezTo>
                      <a:pt x="108" y="274"/>
                      <a:pt x="109" y="272"/>
                      <a:pt x="110" y="270"/>
                    </a:cubicBezTo>
                    <a:cubicBezTo>
                      <a:pt x="147" y="173"/>
                      <a:pt x="214" y="93"/>
                      <a:pt x="306" y="42"/>
                    </a:cubicBezTo>
                    <a:cubicBezTo>
                      <a:pt x="342" y="22"/>
                      <a:pt x="379" y="11"/>
                      <a:pt x="418" y="11"/>
                    </a:cubicBezTo>
                    <a:cubicBezTo>
                      <a:pt x="435" y="11"/>
                      <a:pt x="453" y="13"/>
                      <a:pt x="471" y="18"/>
                    </a:cubicBezTo>
                    <a:cubicBezTo>
                      <a:pt x="522" y="31"/>
                      <a:pt x="569" y="58"/>
                      <a:pt x="620" y="76"/>
                    </a:cubicBezTo>
                    <a:cubicBezTo>
                      <a:pt x="670" y="94"/>
                      <a:pt x="724" y="101"/>
                      <a:pt x="778" y="105"/>
                    </a:cubicBezTo>
                    <a:cubicBezTo>
                      <a:pt x="830" y="109"/>
                      <a:pt x="883" y="112"/>
                      <a:pt x="932" y="130"/>
                    </a:cubicBezTo>
                    <a:cubicBezTo>
                      <a:pt x="968" y="144"/>
                      <a:pt x="999" y="165"/>
                      <a:pt x="1026" y="191"/>
                    </a:cubicBezTo>
                    <a:cubicBezTo>
                      <a:pt x="1026" y="191"/>
                      <a:pt x="1026" y="191"/>
                      <a:pt x="1026" y="191"/>
                    </a:cubicBezTo>
                    <a:cubicBezTo>
                      <a:pt x="1057" y="223"/>
                      <a:pt x="1081" y="261"/>
                      <a:pt x="1098" y="302"/>
                    </a:cubicBezTo>
                    <a:cubicBezTo>
                      <a:pt x="1098" y="302"/>
                      <a:pt x="1098" y="302"/>
                      <a:pt x="1098" y="302"/>
                    </a:cubicBezTo>
                    <a:cubicBezTo>
                      <a:pt x="1107" y="323"/>
                      <a:pt x="1115" y="346"/>
                      <a:pt x="1120" y="368"/>
                    </a:cubicBezTo>
                    <a:cubicBezTo>
                      <a:pt x="1147" y="479"/>
                      <a:pt x="1130" y="599"/>
                      <a:pt x="1109" y="709"/>
                    </a:cubicBezTo>
                    <a:cubicBezTo>
                      <a:pt x="1097" y="771"/>
                      <a:pt x="1086" y="834"/>
                      <a:pt x="1058" y="890"/>
                    </a:cubicBezTo>
                    <a:cubicBezTo>
                      <a:pt x="1045" y="916"/>
                      <a:pt x="1028" y="939"/>
                      <a:pt x="1001" y="952"/>
                    </a:cubicBezTo>
                    <a:cubicBezTo>
                      <a:pt x="1001" y="953"/>
                      <a:pt x="1000" y="953"/>
                      <a:pt x="999" y="953"/>
                    </a:cubicBezTo>
                    <a:cubicBezTo>
                      <a:pt x="991" y="957"/>
                      <a:pt x="983" y="959"/>
                      <a:pt x="976" y="959"/>
                    </a:cubicBezTo>
                    <a:cubicBezTo>
                      <a:pt x="974" y="959"/>
                      <a:pt x="972" y="958"/>
                      <a:pt x="971" y="958"/>
                    </a:cubicBezTo>
                    <a:cubicBezTo>
                      <a:pt x="972" y="960"/>
                      <a:pt x="973" y="961"/>
                      <a:pt x="975" y="962"/>
                    </a:cubicBezTo>
                    <a:cubicBezTo>
                      <a:pt x="977" y="964"/>
                      <a:pt x="976" y="967"/>
                      <a:pt x="974" y="968"/>
                    </a:cubicBezTo>
                    <a:cubicBezTo>
                      <a:pt x="975" y="968"/>
                      <a:pt x="975" y="968"/>
                      <a:pt x="976" y="968"/>
                    </a:cubicBezTo>
                    <a:cubicBezTo>
                      <a:pt x="984" y="968"/>
                      <a:pt x="993" y="966"/>
                      <a:pt x="1002" y="962"/>
                    </a:cubicBezTo>
                    <a:cubicBezTo>
                      <a:pt x="1043" y="944"/>
                      <a:pt x="1066" y="902"/>
                      <a:pt x="1081" y="862"/>
                    </a:cubicBezTo>
                    <a:cubicBezTo>
                      <a:pt x="1083" y="856"/>
                      <a:pt x="1085" y="850"/>
                      <a:pt x="1087" y="844"/>
                    </a:cubicBezTo>
                    <a:cubicBezTo>
                      <a:pt x="1106" y="787"/>
                      <a:pt x="1117" y="726"/>
                      <a:pt x="1126" y="666"/>
                    </a:cubicBezTo>
                    <a:cubicBezTo>
                      <a:pt x="1136" y="605"/>
                      <a:pt x="1143" y="542"/>
                      <a:pt x="1142" y="479"/>
                    </a:cubicBezTo>
                    <a:cubicBezTo>
                      <a:pt x="1142" y="368"/>
                      <a:pt x="1105" y="252"/>
                      <a:pt x="1022" y="175"/>
                    </a:cubicBezTo>
                    <a:cubicBezTo>
                      <a:pt x="981" y="137"/>
                      <a:pt x="931" y="115"/>
                      <a:pt x="876" y="105"/>
                    </a:cubicBezTo>
                    <a:cubicBezTo>
                      <a:pt x="837" y="98"/>
                      <a:pt x="797" y="96"/>
                      <a:pt x="758" y="92"/>
                    </a:cubicBezTo>
                    <a:cubicBezTo>
                      <a:pt x="757" y="95"/>
                      <a:pt x="755" y="97"/>
                      <a:pt x="752" y="97"/>
                    </a:cubicBezTo>
                    <a:cubicBezTo>
                      <a:pt x="750" y="97"/>
                      <a:pt x="748" y="96"/>
                      <a:pt x="748" y="93"/>
                    </a:cubicBezTo>
                    <a:cubicBezTo>
                      <a:pt x="748" y="92"/>
                      <a:pt x="748" y="92"/>
                      <a:pt x="748" y="91"/>
                    </a:cubicBezTo>
                    <a:cubicBezTo>
                      <a:pt x="730" y="90"/>
                      <a:pt x="711" y="87"/>
                      <a:pt x="693" y="84"/>
                    </a:cubicBezTo>
                    <a:cubicBezTo>
                      <a:pt x="631" y="71"/>
                      <a:pt x="576" y="45"/>
                      <a:pt x="517" y="22"/>
                    </a:cubicBezTo>
                    <a:cubicBezTo>
                      <a:pt x="483" y="8"/>
                      <a:pt x="448" y="0"/>
                      <a:pt x="413" y="0"/>
                    </a:cubicBezTo>
                  </a:path>
                </a:pathLst>
              </a:custGeom>
              <a:solidFill>
                <a:srgbClr val="544D4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163" name="Freeform 75">
                <a:extLst>
                  <a:ext uri="{FF2B5EF4-FFF2-40B4-BE49-F238E27FC236}">
                    <a16:creationId xmlns:a16="http://schemas.microsoft.com/office/drawing/2014/main" id="{F5ED65CD-9449-49DF-AA67-BAE08DC4DA8C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569" y="1816"/>
                <a:ext cx="11" cy="7"/>
              </a:xfrm>
              <a:custGeom>
                <a:avLst/>
                <a:gdLst>
                  <a:gd name="T0" fmla="*/ 0 w 10"/>
                  <a:gd name="T1" fmla="*/ 0 h 6"/>
                  <a:gd name="T2" fmla="*/ 0 w 10"/>
                  <a:gd name="T3" fmla="*/ 2 h 6"/>
                  <a:gd name="T4" fmla="*/ 4 w 10"/>
                  <a:gd name="T5" fmla="*/ 6 h 6"/>
                  <a:gd name="T6" fmla="*/ 10 w 10"/>
                  <a:gd name="T7" fmla="*/ 1 h 6"/>
                  <a:gd name="T8" fmla="*/ 0 w 10"/>
                  <a:gd name="T9" fmla="*/ 0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" h="6">
                    <a:moveTo>
                      <a:pt x="0" y="0"/>
                    </a:moveTo>
                    <a:cubicBezTo>
                      <a:pt x="0" y="1"/>
                      <a:pt x="0" y="1"/>
                      <a:pt x="0" y="2"/>
                    </a:cubicBezTo>
                    <a:cubicBezTo>
                      <a:pt x="0" y="5"/>
                      <a:pt x="2" y="6"/>
                      <a:pt x="4" y="6"/>
                    </a:cubicBezTo>
                    <a:cubicBezTo>
                      <a:pt x="7" y="6"/>
                      <a:pt x="9" y="4"/>
                      <a:pt x="10" y="1"/>
                    </a:cubicBezTo>
                    <a:cubicBezTo>
                      <a:pt x="6" y="1"/>
                      <a:pt x="3" y="1"/>
                      <a:pt x="0" y="0"/>
                    </a:cubicBezTo>
                  </a:path>
                </a:pathLst>
              </a:custGeom>
              <a:solidFill>
                <a:srgbClr val="14161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164" name="Freeform 76">
                <a:extLst>
                  <a:ext uri="{FF2B5EF4-FFF2-40B4-BE49-F238E27FC236}">
                    <a16:creationId xmlns:a16="http://schemas.microsoft.com/office/drawing/2014/main" id="{65DDB6E2-E8CA-42D9-9CDC-07EE009D1AEA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2127" y="2145"/>
                <a:ext cx="679" cy="600"/>
              </a:xfrm>
              <a:custGeom>
                <a:avLst/>
                <a:gdLst>
                  <a:gd name="T0" fmla="*/ 623 w 641"/>
                  <a:gd name="T1" fmla="*/ 551 h 567"/>
                  <a:gd name="T2" fmla="*/ 630 w 641"/>
                  <a:gd name="T3" fmla="*/ 561 h 567"/>
                  <a:gd name="T4" fmla="*/ 630 w 641"/>
                  <a:gd name="T5" fmla="*/ 565 h 567"/>
                  <a:gd name="T6" fmla="*/ 641 w 641"/>
                  <a:gd name="T7" fmla="*/ 567 h 567"/>
                  <a:gd name="T8" fmla="*/ 626 w 641"/>
                  <a:gd name="T9" fmla="*/ 553 h 567"/>
                  <a:gd name="T10" fmla="*/ 623 w 641"/>
                  <a:gd name="T11" fmla="*/ 551 h 567"/>
                  <a:gd name="T12" fmla="*/ 575 w 641"/>
                  <a:gd name="T13" fmla="*/ 145 h 567"/>
                  <a:gd name="T14" fmla="*/ 565 w 641"/>
                  <a:gd name="T15" fmla="*/ 148 h 567"/>
                  <a:gd name="T16" fmla="*/ 574 w 641"/>
                  <a:gd name="T17" fmla="*/ 292 h 567"/>
                  <a:gd name="T18" fmla="*/ 571 w 641"/>
                  <a:gd name="T19" fmla="*/ 340 h 567"/>
                  <a:gd name="T20" fmla="*/ 581 w 641"/>
                  <a:gd name="T21" fmla="*/ 510 h 567"/>
                  <a:gd name="T22" fmla="*/ 623 w 641"/>
                  <a:gd name="T23" fmla="*/ 562 h 567"/>
                  <a:gd name="T24" fmla="*/ 608 w 641"/>
                  <a:gd name="T25" fmla="*/ 539 h 567"/>
                  <a:gd name="T26" fmla="*/ 592 w 641"/>
                  <a:gd name="T27" fmla="*/ 512 h 567"/>
                  <a:gd name="T28" fmla="*/ 578 w 641"/>
                  <a:gd name="T29" fmla="*/ 446 h 567"/>
                  <a:gd name="T30" fmla="*/ 582 w 641"/>
                  <a:gd name="T31" fmla="*/ 327 h 567"/>
                  <a:gd name="T32" fmla="*/ 575 w 641"/>
                  <a:gd name="T33" fmla="*/ 145 h 567"/>
                  <a:gd name="T34" fmla="*/ 569 w 641"/>
                  <a:gd name="T35" fmla="*/ 137 h 567"/>
                  <a:gd name="T36" fmla="*/ 564 w 641"/>
                  <a:gd name="T37" fmla="*/ 140 h 567"/>
                  <a:gd name="T38" fmla="*/ 564 w 641"/>
                  <a:gd name="T39" fmla="*/ 141 h 567"/>
                  <a:gd name="T40" fmla="*/ 573 w 641"/>
                  <a:gd name="T41" fmla="*/ 138 h 567"/>
                  <a:gd name="T42" fmla="*/ 572 w 641"/>
                  <a:gd name="T43" fmla="*/ 137 h 567"/>
                  <a:gd name="T44" fmla="*/ 569 w 641"/>
                  <a:gd name="T45" fmla="*/ 137 h 567"/>
                  <a:gd name="T46" fmla="*/ 2 w 641"/>
                  <a:gd name="T47" fmla="*/ 0 h 567"/>
                  <a:gd name="T48" fmla="*/ 0 w 641"/>
                  <a:gd name="T49" fmla="*/ 1 h 567"/>
                  <a:gd name="T50" fmla="*/ 5 w 641"/>
                  <a:gd name="T51" fmla="*/ 5 h 567"/>
                  <a:gd name="T52" fmla="*/ 6 w 641"/>
                  <a:gd name="T53" fmla="*/ 4 h 567"/>
                  <a:gd name="T54" fmla="*/ 2 w 641"/>
                  <a:gd name="T55" fmla="*/ 0 h 5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641" h="567">
                    <a:moveTo>
                      <a:pt x="623" y="551"/>
                    </a:moveTo>
                    <a:cubicBezTo>
                      <a:pt x="625" y="555"/>
                      <a:pt x="627" y="558"/>
                      <a:pt x="630" y="561"/>
                    </a:cubicBezTo>
                    <a:cubicBezTo>
                      <a:pt x="631" y="562"/>
                      <a:pt x="630" y="564"/>
                      <a:pt x="630" y="565"/>
                    </a:cubicBezTo>
                    <a:cubicBezTo>
                      <a:pt x="633" y="566"/>
                      <a:pt x="637" y="567"/>
                      <a:pt x="641" y="567"/>
                    </a:cubicBezTo>
                    <a:cubicBezTo>
                      <a:pt x="635" y="564"/>
                      <a:pt x="630" y="559"/>
                      <a:pt x="626" y="553"/>
                    </a:cubicBezTo>
                    <a:cubicBezTo>
                      <a:pt x="625" y="553"/>
                      <a:pt x="624" y="552"/>
                      <a:pt x="623" y="551"/>
                    </a:cubicBezTo>
                    <a:moveTo>
                      <a:pt x="575" y="145"/>
                    </a:moveTo>
                    <a:cubicBezTo>
                      <a:pt x="572" y="146"/>
                      <a:pt x="569" y="147"/>
                      <a:pt x="565" y="148"/>
                    </a:cubicBezTo>
                    <a:cubicBezTo>
                      <a:pt x="577" y="196"/>
                      <a:pt x="577" y="243"/>
                      <a:pt x="574" y="292"/>
                    </a:cubicBezTo>
                    <a:cubicBezTo>
                      <a:pt x="573" y="308"/>
                      <a:pt x="572" y="324"/>
                      <a:pt x="571" y="340"/>
                    </a:cubicBezTo>
                    <a:cubicBezTo>
                      <a:pt x="567" y="396"/>
                      <a:pt x="564" y="456"/>
                      <a:pt x="581" y="510"/>
                    </a:cubicBezTo>
                    <a:cubicBezTo>
                      <a:pt x="589" y="534"/>
                      <a:pt x="604" y="553"/>
                      <a:pt x="623" y="562"/>
                    </a:cubicBezTo>
                    <a:cubicBezTo>
                      <a:pt x="617" y="555"/>
                      <a:pt x="612" y="548"/>
                      <a:pt x="608" y="539"/>
                    </a:cubicBezTo>
                    <a:cubicBezTo>
                      <a:pt x="601" y="532"/>
                      <a:pt x="596" y="523"/>
                      <a:pt x="592" y="512"/>
                    </a:cubicBezTo>
                    <a:cubicBezTo>
                      <a:pt x="584" y="491"/>
                      <a:pt x="580" y="469"/>
                      <a:pt x="578" y="446"/>
                    </a:cubicBezTo>
                    <a:cubicBezTo>
                      <a:pt x="575" y="406"/>
                      <a:pt x="579" y="365"/>
                      <a:pt x="582" y="327"/>
                    </a:cubicBezTo>
                    <a:cubicBezTo>
                      <a:pt x="586" y="265"/>
                      <a:pt x="589" y="206"/>
                      <a:pt x="575" y="145"/>
                    </a:cubicBezTo>
                    <a:moveTo>
                      <a:pt x="569" y="137"/>
                    </a:moveTo>
                    <a:cubicBezTo>
                      <a:pt x="567" y="137"/>
                      <a:pt x="564" y="138"/>
                      <a:pt x="564" y="140"/>
                    </a:cubicBezTo>
                    <a:cubicBezTo>
                      <a:pt x="564" y="140"/>
                      <a:pt x="564" y="141"/>
                      <a:pt x="564" y="141"/>
                    </a:cubicBezTo>
                    <a:cubicBezTo>
                      <a:pt x="567" y="140"/>
                      <a:pt x="570" y="139"/>
                      <a:pt x="573" y="138"/>
                    </a:cubicBezTo>
                    <a:cubicBezTo>
                      <a:pt x="572" y="138"/>
                      <a:pt x="572" y="138"/>
                      <a:pt x="572" y="137"/>
                    </a:cubicBezTo>
                    <a:cubicBezTo>
                      <a:pt x="571" y="137"/>
                      <a:pt x="570" y="137"/>
                      <a:pt x="569" y="137"/>
                    </a:cubicBezTo>
                    <a:moveTo>
                      <a:pt x="2" y="0"/>
                    </a:moveTo>
                    <a:cubicBezTo>
                      <a:pt x="1" y="0"/>
                      <a:pt x="0" y="0"/>
                      <a:pt x="0" y="1"/>
                    </a:cubicBezTo>
                    <a:cubicBezTo>
                      <a:pt x="2" y="3"/>
                      <a:pt x="3" y="4"/>
                      <a:pt x="5" y="5"/>
                    </a:cubicBezTo>
                    <a:cubicBezTo>
                      <a:pt x="5" y="5"/>
                      <a:pt x="6" y="5"/>
                      <a:pt x="6" y="4"/>
                    </a:cubicBezTo>
                    <a:cubicBezTo>
                      <a:pt x="7" y="2"/>
                      <a:pt x="5" y="0"/>
                      <a:pt x="2" y="0"/>
                    </a:cubicBezTo>
                  </a:path>
                </a:pathLst>
              </a:custGeom>
              <a:solidFill>
                <a:srgbClr val="544D4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165" name="Freeform 77">
                <a:extLst>
                  <a:ext uri="{FF2B5EF4-FFF2-40B4-BE49-F238E27FC236}">
                    <a16:creationId xmlns:a16="http://schemas.microsoft.com/office/drawing/2014/main" id="{DF23636E-CC8B-4CB3-8152-0B75EB1C9138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065" y="2101"/>
                <a:ext cx="774" cy="211"/>
              </a:xfrm>
              <a:custGeom>
                <a:avLst/>
                <a:gdLst>
                  <a:gd name="T0" fmla="*/ 3 w 730"/>
                  <a:gd name="T1" fmla="*/ 0 h 199"/>
                  <a:gd name="T2" fmla="*/ 1 w 730"/>
                  <a:gd name="T3" fmla="*/ 5 h 199"/>
                  <a:gd name="T4" fmla="*/ 28 w 730"/>
                  <a:gd name="T5" fmla="*/ 33 h 199"/>
                  <a:gd name="T6" fmla="*/ 29 w 730"/>
                  <a:gd name="T7" fmla="*/ 28 h 199"/>
                  <a:gd name="T8" fmla="*/ 31 w 730"/>
                  <a:gd name="T9" fmla="*/ 27 h 199"/>
                  <a:gd name="T10" fmla="*/ 32 w 730"/>
                  <a:gd name="T11" fmla="*/ 29 h 199"/>
                  <a:gd name="T12" fmla="*/ 31 w 730"/>
                  <a:gd name="T13" fmla="*/ 35 h 199"/>
                  <a:gd name="T14" fmla="*/ 34 w 730"/>
                  <a:gd name="T15" fmla="*/ 38 h 199"/>
                  <a:gd name="T16" fmla="*/ 34 w 730"/>
                  <a:gd name="T17" fmla="*/ 38 h 199"/>
                  <a:gd name="T18" fmla="*/ 53 w 730"/>
                  <a:gd name="T19" fmla="*/ 51 h 199"/>
                  <a:gd name="T20" fmla="*/ 59 w 730"/>
                  <a:gd name="T21" fmla="*/ 55 h 199"/>
                  <a:gd name="T22" fmla="*/ 59 w 730"/>
                  <a:gd name="T23" fmla="*/ 55 h 199"/>
                  <a:gd name="T24" fmla="*/ 59 w 730"/>
                  <a:gd name="T25" fmla="*/ 55 h 199"/>
                  <a:gd name="T26" fmla="*/ 75 w 730"/>
                  <a:gd name="T27" fmla="*/ 65 h 199"/>
                  <a:gd name="T28" fmla="*/ 78 w 730"/>
                  <a:gd name="T29" fmla="*/ 62 h 199"/>
                  <a:gd name="T30" fmla="*/ 78 w 730"/>
                  <a:gd name="T31" fmla="*/ 62 h 199"/>
                  <a:gd name="T32" fmla="*/ 80 w 730"/>
                  <a:gd name="T33" fmla="*/ 64 h 199"/>
                  <a:gd name="T34" fmla="*/ 78 w 730"/>
                  <a:gd name="T35" fmla="*/ 66 h 199"/>
                  <a:gd name="T36" fmla="*/ 170 w 730"/>
                  <a:gd name="T37" fmla="*/ 110 h 199"/>
                  <a:gd name="T38" fmla="*/ 269 w 730"/>
                  <a:gd name="T39" fmla="*/ 149 h 199"/>
                  <a:gd name="T40" fmla="*/ 369 w 730"/>
                  <a:gd name="T41" fmla="*/ 177 h 199"/>
                  <a:gd name="T42" fmla="*/ 562 w 730"/>
                  <a:gd name="T43" fmla="*/ 199 h 199"/>
                  <a:gd name="T44" fmla="*/ 566 w 730"/>
                  <a:gd name="T45" fmla="*/ 199 h 199"/>
                  <a:gd name="T46" fmla="*/ 623 w 730"/>
                  <a:gd name="T47" fmla="*/ 189 h 199"/>
                  <a:gd name="T48" fmla="*/ 633 w 730"/>
                  <a:gd name="T49" fmla="*/ 186 h 199"/>
                  <a:gd name="T50" fmla="*/ 638 w 730"/>
                  <a:gd name="T51" fmla="*/ 185 h 199"/>
                  <a:gd name="T52" fmla="*/ 650 w 730"/>
                  <a:gd name="T53" fmla="*/ 182 h 199"/>
                  <a:gd name="T54" fmla="*/ 670 w 730"/>
                  <a:gd name="T55" fmla="*/ 175 h 199"/>
                  <a:gd name="T56" fmla="*/ 678 w 730"/>
                  <a:gd name="T57" fmla="*/ 166 h 199"/>
                  <a:gd name="T58" fmla="*/ 679 w 730"/>
                  <a:gd name="T59" fmla="*/ 166 h 199"/>
                  <a:gd name="T60" fmla="*/ 680 w 730"/>
                  <a:gd name="T61" fmla="*/ 169 h 199"/>
                  <a:gd name="T62" fmla="*/ 677 w 730"/>
                  <a:gd name="T63" fmla="*/ 172 h 199"/>
                  <a:gd name="T64" fmla="*/ 680 w 730"/>
                  <a:gd name="T65" fmla="*/ 171 h 199"/>
                  <a:gd name="T66" fmla="*/ 729 w 730"/>
                  <a:gd name="T67" fmla="*/ 137 h 199"/>
                  <a:gd name="T68" fmla="*/ 728 w 730"/>
                  <a:gd name="T69" fmla="*/ 134 h 199"/>
                  <a:gd name="T70" fmla="*/ 727 w 730"/>
                  <a:gd name="T71" fmla="*/ 134 h 199"/>
                  <a:gd name="T72" fmla="*/ 686 w 730"/>
                  <a:gd name="T73" fmla="*/ 160 h 199"/>
                  <a:gd name="T74" fmla="*/ 679 w 730"/>
                  <a:gd name="T75" fmla="*/ 164 h 199"/>
                  <a:gd name="T76" fmla="*/ 679 w 730"/>
                  <a:gd name="T77" fmla="*/ 164 h 199"/>
                  <a:gd name="T78" fmla="*/ 642 w 730"/>
                  <a:gd name="T79" fmla="*/ 176 h 199"/>
                  <a:gd name="T80" fmla="*/ 636 w 730"/>
                  <a:gd name="T81" fmla="*/ 177 h 199"/>
                  <a:gd name="T82" fmla="*/ 631 w 730"/>
                  <a:gd name="T83" fmla="*/ 179 h 199"/>
                  <a:gd name="T84" fmla="*/ 622 w 730"/>
                  <a:gd name="T85" fmla="*/ 182 h 199"/>
                  <a:gd name="T86" fmla="*/ 601 w 730"/>
                  <a:gd name="T87" fmla="*/ 188 h 199"/>
                  <a:gd name="T88" fmla="*/ 573 w 730"/>
                  <a:gd name="T89" fmla="*/ 191 h 199"/>
                  <a:gd name="T90" fmla="*/ 548 w 730"/>
                  <a:gd name="T91" fmla="*/ 191 h 199"/>
                  <a:gd name="T92" fmla="*/ 460 w 730"/>
                  <a:gd name="T93" fmla="*/ 181 h 199"/>
                  <a:gd name="T94" fmla="*/ 364 w 730"/>
                  <a:gd name="T95" fmla="*/ 167 h 199"/>
                  <a:gd name="T96" fmla="*/ 271 w 730"/>
                  <a:gd name="T97" fmla="*/ 140 h 199"/>
                  <a:gd name="T98" fmla="*/ 174 w 730"/>
                  <a:gd name="T99" fmla="*/ 102 h 199"/>
                  <a:gd name="T100" fmla="*/ 91 w 730"/>
                  <a:gd name="T101" fmla="*/ 61 h 199"/>
                  <a:gd name="T102" fmla="*/ 84 w 730"/>
                  <a:gd name="T103" fmla="*/ 58 h 199"/>
                  <a:gd name="T104" fmla="*/ 64 w 730"/>
                  <a:gd name="T105" fmla="*/ 46 h 199"/>
                  <a:gd name="T106" fmla="*/ 64 w 730"/>
                  <a:gd name="T107" fmla="*/ 46 h 199"/>
                  <a:gd name="T108" fmla="*/ 63 w 730"/>
                  <a:gd name="T109" fmla="*/ 46 h 199"/>
                  <a:gd name="T110" fmla="*/ 58 w 730"/>
                  <a:gd name="T111" fmla="*/ 42 h 199"/>
                  <a:gd name="T112" fmla="*/ 43 w 730"/>
                  <a:gd name="T113" fmla="*/ 32 h 199"/>
                  <a:gd name="T114" fmla="*/ 37 w 730"/>
                  <a:gd name="T115" fmla="*/ 27 h 199"/>
                  <a:gd name="T116" fmla="*/ 37 w 730"/>
                  <a:gd name="T117" fmla="*/ 27 h 199"/>
                  <a:gd name="T118" fmla="*/ 5 w 730"/>
                  <a:gd name="T119" fmla="*/ 0 h 199"/>
                  <a:gd name="T120" fmla="*/ 3 w 730"/>
                  <a:gd name="T121" fmla="*/ 0 h 1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730" h="199">
                    <a:moveTo>
                      <a:pt x="3" y="0"/>
                    </a:moveTo>
                    <a:cubicBezTo>
                      <a:pt x="1" y="0"/>
                      <a:pt x="0" y="3"/>
                      <a:pt x="1" y="5"/>
                    </a:cubicBezTo>
                    <a:cubicBezTo>
                      <a:pt x="9" y="15"/>
                      <a:pt x="18" y="24"/>
                      <a:pt x="28" y="33"/>
                    </a:cubicBezTo>
                    <a:cubicBezTo>
                      <a:pt x="28" y="31"/>
                      <a:pt x="29" y="30"/>
                      <a:pt x="29" y="28"/>
                    </a:cubicBezTo>
                    <a:cubicBezTo>
                      <a:pt x="29" y="27"/>
                      <a:pt x="30" y="27"/>
                      <a:pt x="31" y="27"/>
                    </a:cubicBezTo>
                    <a:cubicBezTo>
                      <a:pt x="32" y="27"/>
                      <a:pt x="33" y="28"/>
                      <a:pt x="32" y="29"/>
                    </a:cubicBezTo>
                    <a:cubicBezTo>
                      <a:pt x="32" y="31"/>
                      <a:pt x="31" y="33"/>
                      <a:pt x="31" y="35"/>
                    </a:cubicBezTo>
                    <a:cubicBezTo>
                      <a:pt x="32" y="36"/>
                      <a:pt x="33" y="37"/>
                      <a:pt x="34" y="38"/>
                    </a:cubicBezTo>
                    <a:cubicBezTo>
                      <a:pt x="34" y="38"/>
                      <a:pt x="34" y="38"/>
                      <a:pt x="34" y="38"/>
                    </a:cubicBezTo>
                    <a:cubicBezTo>
                      <a:pt x="40" y="42"/>
                      <a:pt x="46" y="47"/>
                      <a:pt x="53" y="51"/>
                    </a:cubicBezTo>
                    <a:cubicBezTo>
                      <a:pt x="55" y="53"/>
                      <a:pt x="57" y="54"/>
                      <a:pt x="59" y="55"/>
                    </a:cubicBezTo>
                    <a:cubicBezTo>
                      <a:pt x="59" y="55"/>
                      <a:pt x="59" y="55"/>
                      <a:pt x="59" y="55"/>
                    </a:cubicBezTo>
                    <a:cubicBezTo>
                      <a:pt x="59" y="55"/>
                      <a:pt x="59" y="55"/>
                      <a:pt x="59" y="55"/>
                    </a:cubicBezTo>
                    <a:cubicBezTo>
                      <a:pt x="64" y="59"/>
                      <a:pt x="69" y="62"/>
                      <a:pt x="75" y="65"/>
                    </a:cubicBezTo>
                    <a:cubicBezTo>
                      <a:pt x="76" y="64"/>
                      <a:pt x="77" y="63"/>
                      <a:pt x="78" y="62"/>
                    </a:cubicBezTo>
                    <a:cubicBezTo>
                      <a:pt x="78" y="62"/>
                      <a:pt x="78" y="62"/>
                      <a:pt x="78" y="62"/>
                    </a:cubicBezTo>
                    <a:cubicBezTo>
                      <a:pt x="79" y="62"/>
                      <a:pt x="80" y="63"/>
                      <a:pt x="80" y="64"/>
                    </a:cubicBezTo>
                    <a:cubicBezTo>
                      <a:pt x="79" y="65"/>
                      <a:pt x="78" y="66"/>
                      <a:pt x="78" y="66"/>
                    </a:cubicBezTo>
                    <a:cubicBezTo>
                      <a:pt x="108" y="83"/>
                      <a:pt x="141" y="97"/>
                      <a:pt x="170" y="110"/>
                    </a:cubicBezTo>
                    <a:cubicBezTo>
                      <a:pt x="203" y="125"/>
                      <a:pt x="236" y="136"/>
                      <a:pt x="269" y="149"/>
                    </a:cubicBezTo>
                    <a:cubicBezTo>
                      <a:pt x="302" y="161"/>
                      <a:pt x="334" y="171"/>
                      <a:pt x="369" y="177"/>
                    </a:cubicBezTo>
                    <a:cubicBezTo>
                      <a:pt x="433" y="187"/>
                      <a:pt x="497" y="197"/>
                      <a:pt x="562" y="199"/>
                    </a:cubicBezTo>
                    <a:cubicBezTo>
                      <a:pt x="563" y="199"/>
                      <a:pt x="564" y="199"/>
                      <a:pt x="566" y="199"/>
                    </a:cubicBezTo>
                    <a:cubicBezTo>
                      <a:pt x="586" y="199"/>
                      <a:pt x="605" y="195"/>
                      <a:pt x="623" y="189"/>
                    </a:cubicBezTo>
                    <a:cubicBezTo>
                      <a:pt x="627" y="188"/>
                      <a:pt x="630" y="187"/>
                      <a:pt x="633" y="186"/>
                    </a:cubicBezTo>
                    <a:cubicBezTo>
                      <a:pt x="635" y="186"/>
                      <a:pt x="637" y="186"/>
                      <a:pt x="638" y="185"/>
                    </a:cubicBezTo>
                    <a:cubicBezTo>
                      <a:pt x="642" y="184"/>
                      <a:pt x="646" y="183"/>
                      <a:pt x="650" y="182"/>
                    </a:cubicBezTo>
                    <a:cubicBezTo>
                      <a:pt x="657" y="180"/>
                      <a:pt x="663" y="178"/>
                      <a:pt x="670" y="175"/>
                    </a:cubicBezTo>
                    <a:cubicBezTo>
                      <a:pt x="672" y="172"/>
                      <a:pt x="674" y="169"/>
                      <a:pt x="678" y="166"/>
                    </a:cubicBezTo>
                    <a:cubicBezTo>
                      <a:pt x="678" y="166"/>
                      <a:pt x="678" y="166"/>
                      <a:pt x="679" y="166"/>
                    </a:cubicBezTo>
                    <a:cubicBezTo>
                      <a:pt x="680" y="166"/>
                      <a:pt x="681" y="167"/>
                      <a:pt x="680" y="169"/>
                    </a:cubicBezTo>
                    <a:cubicBezTo>
                      <a:pt x="679" y="170"/>
                      <a:pt x="678" y="171"/>
                      <a:pt x="677" y="172"/>
                    </a:cubicBezTo>
                    <a:cubicBezTo>
                      <a:pt x="678" y="172"/>
                      <a:pt x="679" y="171"/>
                      <a:pt x="680" y="171"/>
                    </a:cubicBezTo>
                    <a:cubicBezTo>
                      <a:pt x="698" y="162"/>
                      <a:pt x="713" y="151"/>
                      <a:pt x="729" y="137"/>
                    </a:cubicBezTo>
                    <a:cubicBezTo>
                      <a:pt x="730" y="136"/>
                      <a:pt x="729" y="134"/>
                      <a:pt x="728" y="134"/>
                    </a:cubicBezTo>
                    <a:cubicBezTo>
                      <a:pt x="727" y="134"/>
                      <a:pt x="727" y="134"/>
                      <a:pt x="727" y="134"/>
                    </a:cubicBezTo>
                    <a:cubicBezTo>
                      <a:pt x="713" y="143"/>
                      <a:pt x="700" y="152"/>
                      <a:pt x="686" y="160"/>
                    </a:cubicBezTo>
                    <a:cubicBezTo>
                      <a:pt x="684" y="161"/>
                      <a:pt x="682" y="163"/>
                      <a:pt x="679" y="164"/>
                    </a:cubicBezTo>
                    <a:cubicBezTo>
                      <a:pt x="679" y="164"/>
                      <a:pt x="679" y="164"/>
                      <a:pt x="679" y="164"/>
                    </a:cubicBezTo>
                    <a:cubicBezTo>
                      <a:pt x="667" y="170"/>
                      <a:pt x="656" y="172"/>
                      <a:pt x="642" y="176"/>
                    </a:cubicBezTo>
                    <a:cubicBezTo>
                      <a:pt x="640" y="176"/>
                      <a:pt x="638" y="177"/>
                      <a:pt x="636" y="177"/>
                    </a:cubicBezTo>
                    <a:cubicBezTo>
                      <a:pt x="634" y="178"/>
                      <a:pt x="633" y="179"/>
                      <a:pt x="631" y="179"/>
                    </a:cubicBezTo>
                    <a:cubicBezTo>
                      <a:pt x="628" y="180"/>
                      <a:pt x="625" y="181"/>
                      <a:pt x="622" y="182"/>
                    </a:cubicBezTo>
                    <a:cubicBezTo>
                      <a:pt x="615" y="185"/>
                      <a:pt x="608" y="187"/>
                      <a:pt x="601" y="188"/>
                    </a:cubicBezTo>
                    <a:cubicBezTo>
                      <a:pt x="592" y="191"/>
                      <a:pt x="582" y="191"/>
                      <a:pt x="573" y="191"/>
                    </a:cubicBezTo>
                    <a:cubicBezTo>
                      <a:pt x="564" y="191"/>
                      <a:pt x="556" y="191"/>
                      <a:pt x="548" y="191"/>
                    </a:cubicBezTo>
                    <a:cubicBezTo>
                      <a:pt x="518" y="190"/>
                      <a:pt x="490" y="184"/>
                      <a:pt x="460" y="181"/>
                    </a:cubicBezTo>
                    <a:cubicBezTo>
                      <a:pt x="428" y="178"/>
                      <a:pt x="396" y="173"/>
                      <a:pt x="364" y="167"/>
                    </a:cubicBezTo>
                    <a:cubicBezTo>
                      <a:pt x="332" y="162"/>
                      <a:pt x="302" y="152"/>
                      <a:pt x="271" y="140"/>
                    </a:cubicBezTo>
                    <a:cubicBezTo>
                      <a:pt x="239" y="128"/>
                      <a:pt x="206" y="117"/>
                      <a:pt x="174" y="102"/>
                    </a:cubicBezTo>
                    <a:cubicBezTo>
                      <a:pt x="146" y="89"/>
                      <a:pt x="118" y="76"/>
                      <a:pt x="91" y="61"/>
                    </a:cubicBezTo>
                    <a:cubicBezTo>
                      <a:pt x="88" y="60"/>
                      <a:pt x="86" y="59"/>
                      <a:pt x="84" y="58"/>
                    </a:cubicBezTo>
                    <a:cubicBezTo>
                      <a:pt x="77" y="54"/>
                      <a:pt x="70" y="50"/>
                      <a:pt x="64" y="46"/>
                    </a:cubicBezTo>
                    <a:cubicBezTo>
                      <a:pt x="64" y="46"/>
                      <a:pt x="64" y="46"/>
                      <a:pt x="64" y="46"/>
                    </a:cubicBezTo>
                    <a:cubicBezTo>
                      <a:pt x="64" y="46"/>
                      <a:pt x="63" y="46"/>
                      <a:pt x="63" y="46"/>
                    </a:cubicBezTo>
                    <a:cubicBezTo>
                      <a:pt x="61" y="45"/>
                      <a:pt x="60" y="44"/>
                      <a:pt x="58" y="42"/>
                    </a:cubicBezTo>
                    <a:cubicBezTo>
                      <a:pt x="53" y="39"/>
                      <a:pt x="48" y="36"/>
                      <a:pt x="43" y="32"/>
                    </a:cubicBezTo>
                    <a:cubicBezTo>
                      <a:pt x="41" y="31"/>
                      <a:pt x="39" y="29"/>
                      <a:pt x="37" y="27"/>
                    </a:cubicBezTo>
                    <a:cubicBezTo>
                      <a:pt x="37" y="27"/>
                      <a:pt x="37" y="27"/>
                      <a:pt x="37" y="27"/>
                    </a:cubicBezTo>
                    <a:cubicBezTo>
                      <a:pt x="27" y="18"/>
                      <a:pt x="16" y="8"/>
                      <a:pt x="5" y="0"/>
                    </a:cubicBezTo>
                    <a:cubicBezTo>
                      <a:pt x="4" y="0"/>
                      <a:pt x="4" y="0"/>
                      <a:pt x="3" y="0"/>
                    </a:cubicBezTo>
                  </a:path>
                </a:pathLst>
              </a:custGeom>
              <a:solidFill>
                <a:srgbClr val="544D4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166" name="Freeform 78">
                <a:extLst>
                  <a:ext uri="{FF2B5EF4-FFF2-40B4-BE49-F238E27FC236}">
                    <a16:creationId xmlns:a16="http://schemas.microsoft.com/office/drawing/2014/main" id="{D57B28CC-353F-4EA2-AD3B-E7DFE2FE741D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901" y="2130"/>
                <a:ext cx="199" cy="408"/>
              </a:xfrm>
              <a:custGeom>
                <a:avLst/>
                <a:gdLst>
                  <a:gd name="T0" fmla="*/ 186 w 188"/>
                  <a:gd name="T1" fmla="*/ 0 h 386"/>
                  <a:gd name="T2" fmla="*/ 184 w 188"/>
                  <a:gd name="T3" fmla="*/ 1 h 386"/>
                  <a:gd name="T4" fmla="*/ 183 w 188"/>
                  <a:gd name="T5" fmla="*/ 6 h 386"/>
                  <a:gd name="T6" fmla="*/ 160 w 188"/>
                  <a:gd name="T7" fmla="*/ 51 h 386"/>
                  <a:gd name="T8" fmla="*/ 133 w 188"/>
                  <a:gd name="T9" fmla="*/ 96 h 386"/>
                  <a:gd name="T10" fmla="*/ 104 w 188"/>
                  <a:gd name="T11" fmla="*/ 135 h 386"/>
                  <a:gd name="T12" fmla="*/ 83 w 188"/>
                  <a:gd name="T13" fmla="*/ 178 h 386"/>
                  <a:gd name="T14" fmla="*/ 2 w 188"/>
                  <a:gd name="T15" fmla="*/ 379 h 386"/>
                  <a:gd name="T16" fmla="*/ 1 w 188"/>
                  <a:gd name="T17" fmla="*/ 383 h 386"/>
                  <a:gd name="T18" fmla="*/ 3 w 188"/>
                  <a:gd name="T19" fmla="*/ 386 h 386"/>
                  <a:gd name="T20" fmla="*/ 5 w 188"/>
                  <a:gd name="T21" fmla="*/ 385 h 386"/>
                  <a:gd name="T22" fmla="*/ 43 w 188"/>
                  <a:gd name="T23" fmla="*/ 337 h 386"/>
                  <a:gd name="T24" fmla="*/ 47 w 188"/>
                  <a:gd name="T25" fmla="*/ 329 h 386"/>
                  <a:gd name="T26" fmla="*/ 47 w 188"/>
                  <a:gd name="T27" fmla="*/ 329 h 386"/>
                  <a:gd name="T28" fmla="*/ 52 w 188"/>
                  <a:gd name="T29" fmla="*/ 314 h 386"/>
                  <a:gd name="T30" fmla="*/ 80 w 188"/>
                  <a:gd name="T31" fmla="*/ 201 h 386"/>
                  <a:gd name="T32" fmla="*/ 100 w 188"/>
                  <a:gd name="T33" fmla="*/ 152 h 386"/>
                  <a:gd name="T34" fmla="*/ 140 w 188"/>
                  <a:gd name="T35" fmla="*/ 92 h 386"/>
                  <a:gd name="T36" fmla="*/ 155 w 188"/>
                  <a:gd name="T37" fmla="*/ 67 h 386"/>
                  <a:gd name="T38" fmla="*/ 155 w 188"/>
                  <a:gd name="T39" fmla="*/ 67 h 386"/>
                  <a:gd name="T40" fmla="*/ 167 w 188"/>
                  <a:gd name="T41" fmla="*/ 48 h 386"/>
                  <a:gd name="T42" fmla="*/ 167 w 188"/>
                  <a:gd name="T43" fmla="*/ 48 h 386"/>
                  <a:gd name="T44" fmla="*/ 186 w 188"/>
                  <a:gd name="T45" fmla="*/ 8 h 386"/>
                  <a:gd name="T46" fmla="*/ 187 w 188"/>
                  <a:gd name="T47" fmla="*/ 2 h 386"/>
                  <a:gd name="T48" fmla="*/ 186 w 188"/>
                  <a:gd name="T49" fmla="*/ 0 h 3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188" h="386">
                    <a:moveTo>
                      <a:pt x="186" y="0"/>
                    </a:moveTo>
                    <a:cubicBezTo>
                      <a:pt x="185" y="0"/>
                      <a:pt x="184" y="0"/>
                      <a:pt x="184" y="1"/>
                    </a:cubicBezTo>
                    <a:cubicBezTo>
                      <a:pt x="184" y="3"/>
                      <a:pt x="183" y="4"/>
                      <a:pt x="183" y="6"/>
                    </a:cubicBezTo>
                    <a:cubicBezTo>
                      <a:pt x="178" y="22"/>
                      <a:pt x="169" y="37"/>
                      <a:pt x="160" y="51"/>
                    </a:cubicBezTo>
                    <a:cubicBezTo>
                      <a:pt x="150" y="66"/>
                      <a:pt x="142" y="81"/>
                      <a:pt x="133" y="96"/>
                    </a:cubicBezTo>
                    <a:cubicBezTo>
                      <a:pt x="124" y="109"/>
                      <a:pt x="114" y="122"/>
                      <a:pt x="104" y="135"/>
                    </a:cubicBezTo>
                    <a:cubicBezTo>
                      <a:pt x="95" y="149"/>
                      <a:pt x="89" y="163"/>
                      <a:pt x="83" y="178"/>
                    </a:cubicBezTo>
                    <a:cubicBezTo>
                      <a:pt x="54" y="244"/>
                      <a:pt x="58" y="328"/>
                      <a:pt x="2" y="379"/>
                    </a:cubicBezTo>
                    <a:cubicBezTo>
                      <a:pt x="0" y="380"/>
                      <a:pt x="0" y="382"/>
                      <a:pt x="1" y="383"/>
                    </a:cubicBezTo>
                    <a:cubicBezTo>
                      <a:pt x="1" y="384"/>
                      <a:pt x="2" y="386"/>
                      <a:pt x="3" y="386"/>
                    </a:cubicBezTo>
                    <a:cubicBezTo>
                      <a:pt x="4" y="386"/>
                      <a:pt x="5" y="386"/>
                      <a:pt x="5" y="385"/>
                    </a:cubicBezTo>
                    <a:cubicBezTo>
                      <a:pt x="23" y="375"/>
                      <a:pt x="35" y="356"/>
                      <a:pt x="43" y="337"/>
                    </a:cubicBezTo>
                    <a:cubicBezTo>
                      <a:pt x="45" y="334"/>
                      <a:pt x="46" y="331"/>
                      <a:pt x="47" y="329"/>
                    </a:cubicBezTo>
                    <a:cubicBezTo>
                      <a:pt x="47" y="329"/>
                      <a:pt x="47" y="329"/>
                      <a:pt x="47" y="329"/>
                    </a:cubicBezTo>
                    <a:cubicBezTo>
                      <a:pt x="48" y="324"/>
                      <a:pt x="50" y="319"/>
                      <a:pt x="52" y="314"/>
                    </a:cubicBezTo>
                    <a:cubicBezTo>
                      <a:pt x="63" y="277"/>
                      <a:pt x="68" y="238"/>
                      <a:pt x="80" y="201"/>
                    </a:cubicBezTo>
                    <a:cubicBezTo>
                      <a:pt x="85" y="185"/>
                      <a:pt x="92" y="168"/>
                      <a:pt x="100" y="152"/>
                    </a:cubicBezTo>
                    <a:cubicBezTo>
                      <a:pt x="110" y="131"/>
                      <a:pt x="127" y="112"/>
                      <a:pt x="140" y="92"/>
                    </a:cubicBezTo>
                    <a:cubicBezTo>
                      <a:pt x="144" y="83"/>
                      <a:pt x="150" y="75"/>
                      <a:pt x="155" y="67"/>
                    </a:cubicBezTo>
                    <a:cubicBezTo>
                      <a:pt x="155" y="67"/>
                      <a:pt x="155" y="67"/>
                      <a:pt x="155" y="67"/>
                    </a:cubicBezTo>
                    <a:cubicBezTo>
                      <a:pt x="159" y="61"/>
                      <a:pt x="163" y="55"/>
                      <a:pt x="167" y="48"/>
                    </a:cubicBezTo>
                    <a:cubicBezTo>
                      <a:pt x="167" y="48"/>
                      <a:pt x="167" y="48"/>
                      <a:pt x="167" y="48"/>
                    </a:cubicBezTo>
                    <a:cubicBezTo>
                      <a:pt x="175" y="36"/>
                      <a:pt x="181" y="22"/>
                      <a:pt x="186" y="8"/>
                    </a:cubicBezTo>
                    <a:cubicBezTo>
                      <a:pt x="186" y="6"/>
                      <a:pt x="187" y="4"/>
                      <a:pt x="187" y="2"/>
                    </a:cubicBezTo>
                    <a:cubicBezTo>
                      <a:pt x="188" y="1"/>
                      <a:pt x="187" y="0"/>
                      <a:pt x="186" y="0"/>
                    </a:cubicBezTo>
                  </a:path>
                </a:pathLst>
              </a:custGeom>
              <a:solidFill>
                <a:srgbClr val="544D4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167" name="Freeform 79">
                <a:extLst>
                  <a:ext uri="{FF2B5EF4-FFF2-40B4-BE49-F238E27FC236}">
                    <a16:creationId xmlns:a16="http://schemas.microsoft.com/office/drawing/2014/main" id="{E209295B-07D8-4EE0-90A3-CD9CC0FDFD27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763" y="2277"/>
                <a:ext cx="49" cy="468"/>
              </a:xfrm>
              <a:custGeom>
                <a:avLst/>
                <a:gdLst>
                  <a:gd name="T0" fmla="*/ 20 w 46"/>
                  <a:gd name="T1" fmla="*/ 0 h 442"/>
                  <a:gd name="T2" fmla="*/ 19 w 46"/>
                  <a:gd name="T3" fmla="*/ 0 h 442"/>
                  <a:gd name="T4" fmla="*/ 11 w 46"/>
                  <a:gd name="T5" fmla="*/ 9 h 442"/>
                  <a:gd name="T6" fmla="*/ 15 w 46"/>
                  <a:gd name="T7" fmla="*/ 92 h 442"/>
                  <a:gd name="T8" fmla="*/ 8 w 46"/>
                  <a:gd name="T9" fmla="*/ 244 h 442"/>
                  <a:gd name="T10" fmla="*/ 8 w 46"/>
                  <a:gd name="T11" fmla="*/ 373 h 442"/>
                  <a:gd name="T12" fmla="*/ 19 w 46"/>
                  <a:gd name="T13" fmla="*/ 416 h 442"/>
                  <a:gd name="T14" fmla="*/ 25 w 46"/>
                  <a:gd name="T15" fmla="*/ 428 h 442"/>
                  <a:gd name="T16" fmla="*/ 40 w 46"/>
                  <a:gd name="T17" fmla="*/ 442 h 442"/>
                  <a:gd name="T18" fmla="*/ 40 w 46"/>
                  <a:gd name="T19" fmla="*/ 442 h 442"/>
                  <a:gd name="T20" fmla="*/ 42 w 46"/>
                  <a:gd name="T21" fmla="*/ 442 h 442"/>
                  <a:gd name="T22" fmla="*/ 43 w 46"/>
                  <a:gd name="T23" fmla="*/ 442 h 442"/>
                  <a:gd name="T24" fmla="*/ 44 w 46"/>
                  <a:gd name="T25" fmla="*/ 436 h 442"/>
                  <a:gd name="T26" fmla="*/ 40 w 46"/>
                  <a:gd name="T27" fmla="*/ 432 h 442"/>
                  <a:gd name="T28" fmla="*/ 35 w 46"/>
                  <a:gd name="T29" fmla="*/ 426 h 442"/>
                  <a:gd name="T30" fmla="*/ 12 w 46"/>
                  <a:gd name="T31" fmla="*/ 347 h 442"/>
                  <a:gd name="T32" fmla="*/ 14 w 46"/>
                  <a:gd name="T33" fmla="*/ 237 h 442"/>
                  <a:gd name="T34" fmla="*/ 19 w 46"/>
                  <a:gd name="T35" fmla="*/ 127 h 442"/>
                  <a:gd name="T36" fmla="*/ 16 w 46"/>
                  <a:gd name="T37" fmla="*/ 66 h 442"/>
                  <a:gd name="T38" fmla="*/ 18 w 46"/>
                  <a:gd name="T39" fmla="*/ 6 h 442"/>
                  <a:gd name="T40" fmla="*/ 21 w 46"/>
                  <a:gd name="T41" fmla="*/ 3 h 442"/>
                  <a:gd name="T42" fmla="*/ 20 w 46"/>
                  <a:gd name="T43" fmla="*/ 0 h 4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46" h="442">
                    <a:moveTo>
                      <a:pt x="20" y="0"/>
                    </a:moveTo>
                    <a:cubicBezTo>
                      <a:pt x="19" y="0"/>
                      <a:pt x="19" y="0"/>
                      <a:pt x="19" y="0"/>
                    </a:cubicBezTo>
                    <a:cubicBezTo>
                      <a:pt x="15" y="3"/>
                      <a:pt x="13" y="6"/>
                      <a:pt x="11" y="9"/>
                    </a:cubicBezTo>
                    <a:cubicBezTo>
                      <a:pt x="0" y="31"/>
                      <a:pt x="14" y="73"/>
                      <a:pt x="15" y="92"/>
                    </a:cubicBezTo>
                    <a:cubicBezTo>
                      <a:pt x="17" y="143"/>
                      <a:pt x="12" y="193"/>
                      <a:pt x="8" y="244"/>
                    </a:cubicBezTo>
                    <a:cubicBezTo>
                      <a:pt x="5" y="287"/>
                      <a:pt x="3" y="330"/>
                      <a:pt x="8" y="373"/>
                    </a:cubicBezTo>
                    <a:cubicBezTo>
                      <a:pt x="9" y="386"/>
                      <a:pt x="12" y="402"/>
                      <a:pt x="19" y="416"/>
                    </a:cubicBezTo>
                    <a:cubicBezTo>
                      <a:pt x="20" y="421"/>
                      <a:pt x="23" y="425"/>
                      <a:pt x="25" y="428"/>
                    </a:cubicBezTo>
                    <a:cubicBezTo>
                      <a:pt x="29" y="434"/>
                      <a:pt x="34" y="439"/>
                      <a:pt x="40" y="442"/>
                    </a:cubicBezTo>
                    <a:cubicBezTo>
                      <a:pt x="40" y="442"/>
                      <a:pt x="40" y="442"/>
                      <a:pt x="40" y="442"/>
                    </a:cubicBezTo>
                    <a:cubicBezTo>
                      <a:pt x="41" y="442"/>
                      <a:pt x="41" y="442"/>
                      <a:pt x="42" y="442"/>
                    </a:cubicBezTo>
                    <a:cubicBezTo>
                      <a:pt x="42" y="442"/>
                      <a:pt x="43" y="442"/>
                      <a:pt x="43" y="442"/>
                    </a:cubicBezTo>
                    <a:cubicBezTo>
                      <a:pt x="45" y="441"/>
                      <a:pt x="46" y="438"/>
                      <a:pt x="44" y="436"/>
                    </a:cubicBezTo>
                    <a:cubicBezTo>
                      <a:pt x="42" y="435"/>
                      <a:pt x="41" y="434"/>
                      <a:pt x="40" y="432"/>
                    </a:cubicBezTo>
                    <a:cubicBezTo>
                      <a:pt x="38" y="430"/>
                      <a:pt x="36" y="428"/>
                      <a:pt x="35" y="426"/>
                    </a:cubicBezTo>
                    <a:cubicBezTo>
                      <a:pt x="17" y="404"/>
                      <a:pt x="14" y="376"/>
                      <a:pt x="12" y="347"/>
                    </a:cubicBezTo>
                    <a:cubicBezTo>
                      <a:pt x="10" y="310"/>
                      <a:pt x="11" y="273"/>
                      <a:pt x="14" y="237"/>
                    </a:cubicBezTo>
                    <a:cubicBezTo>
                      <a:pt x="17" y="200"/>
                      <a:pt x="20" y="164"/>
                      <a:pt x="19" y="127"/>
                    </a:cubicBezTo>
                    <a:cubicBezTo>
                      <a:pt x="19" y="106"/>
                      <a:pt x="18" y="86"/>
                      <a:pt x="16" y="66"/>
                    </a:cubicBezTo>
                    <a:cubicBezTo>
                      <a:pt x="15" y="50"/>
                      <a:pt x="8" y="22"/>
                      <a:pt x="18" y="6"/>
                    </a:cubicBezTo>
                    <a:cubicBezTo>
                      <a:pt x="19" y="5"/>
                      <a:pt x="20" y="4"/>
                      <a:pt x="21" y="3"/>
                    </a:cubicBezTo>
                    <a:cubicBezTo>
                      <a:pt x="22" y="1"/>
                      <a:pt x="21" y="0"/>
                      <a:pt x="20" y="0"/>
                    </a:cubicBezTo>
                  </a:path>
                </a:pathLst>
              </a:custGeom>
              <a:solidFill>
                <a:srgbClr val="544D4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168" name="Freeform 80">
                <a:extLst>
                  <a:ext uri="{FF2B5EF4-FFF2-40B4-BE49-F238E27FC236}">
                    <a16:creationId xmlns:a16="http://schemas.microsoft.com/office/drawing/2014/main" id="{B71DE814-C9D2-4E29-9D0F-BDD5CB89D4B1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035" y="2201"/>
                <a:ext cx="42" cy="74"/>
              </a:xfrm>
              <a:custGeom>
                <a:avLst/>
                <a:gdLst>
                  <a:gd name="T0" fmla="*/ 38 w 39"/>
                  <a:gd name="T1" fmla="*/ 0 h 70"/>
                  <a:gd name="T2" fmla="*/ 37 w 39"/>
                  <a:gd name="T3" fmla="*/ 0 h 70"/>
                  <a:gd name="T4" fmla="*/ 16 w 39"/>
                  <a:gd name="T5" fmla="*/ 33 h 70"/>
                  <a:gd name="T6" fmla="*/ 0 w 39"/>
                  <a:gd name="T7" fmla="*/ 70 h 70"/>
                  <a:gd name="T8" fmla="*/ 1 w 39"/>
                  <a:gd name="T9" fmla="*/ 70 h 70"/>
                  <a:gd name="T10" fmla="*/ 18 w 39"/>
                  <a:gd name="T11" fmla="*/ 39 h 70"/>
                  <a:gd name="T12" fmla="*/ 38 w 39"/>
                  <a:gd name="T13" fmla="*/ 1 h 70"/>
                  <a:gd name="T14" fmla="*/ 38 w 39"/>
                  <a:gd name="T15" fmla="*/ 0 h 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9" h="70">
                    <a:moveTo>
                      <a:pt x="38" y="0"/>
                    </a:moveTo>
                    <a:cubicBezTo>
                      <a:pt x="38" y="0"/>
                      <a:pt x="38" y="0"/>
                      <a:pt x="37" y="0"/>
                    </a:cubicBezTo>
                    <a:cubicBezTo>
                      <a:pt x="28" y="10"/>
                      <a:pt x="22" y="21"/>
                      <a:pt x="16" y="33"/>
                    </a:cubicBezTo>
                    <a:cubicBezTo>
                      <a:pt x="9" y="45"/>
                      <a:pt x="3" y="56"/>
                      <a:pt x="0" y="70"/>
                    </a:cubicBezTo>
                    <a:cubicBezTo>
                      <a:pt x="1" y="70"/>
                      <a:pt x="1" y="70"/>
                      <a:pt x="1" y="70"/>
                    </a:cubicBezTo>
                    <a:cubicBezTo>
                      <a:pt x="5" y="59"/>
                      <a:pt x="12" y="49"/>
                      <a:pt x="18" y="39"/>
                    </a:cubicBezTo>
                    <a:cubicBezTo>
                      <a:pt x="25" y="25"/>
                      <a:pt x="28" y="14"/>
                      <a:pt x="38" y="1"/>
                    </a:cubicBezTo>
                    <a:cubicBezTo>
                      <a:pt x="39" y="1"/>
                      <a:pt x="38" y="0"/>
                      <a:pt x="38" y="0"/>
                    </a:cubicBezTo>
                  </a:path>
                </a:pathLst>
              </a:custGeom>
              <a:solidFill>
                <a:srgbClr val="544D4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169" name="Freeform 81">
                <a:extLst>
                  <a:ext uri="{FF2B5EF4-FFF2-40B4-BE49-F238E27FC236}">
                    <a16:creationId xmlns:a16="http://schemas.microsoft.com/office/drawing/2014/main" id="{FBD7F60B-330B-4E23-81B7-37531D0928BD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087" y="2175"/>
                <a:ext cx="9" cy="13"/>
              </a:xfrm>
              <a:custGeom>
                <a:avLst/>
                <a:gdLst>
                  <a:gd name="T0" fmla="*/ 7 w 8"/>
                  <a:gd name="T1" fmla="*/ 0 h 12"/>
                  <a:gd name="T2" fmla="*/ 0 w 8"/>
                  <a:gd name="T3" fmla="*/ 12 h 12"/>
                  <a:gd name="T4" fmla="*/ 1 w 8"/>
                  <a:gd name="T5" fmla="*/ 12 h 12"/>
                  <a:gd name="T6" fmla="*/ 8 w 8"/>
                  <a:gd name="T7" fmla="*/ 0 h 12"/>
                  <a:gd name="T8" fmla="*/ 7 w 8"/>
                  <a:gd name="T9" fmla="*/ 0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12">
                    <a:moveTo>
                      <a:pt x="7" y="0"/>
                    </a:moveTo>
                    <a:cubicBezTo>
                      <a:pt x="4" y="4"/>
                      <a:pt x="1" y="7"/>
                      <a:pt x="0" y="12"/>
                    </a:cubicBezTo>
                    <a:cubicBezTo>
                      <a:pt x="1" y="12"/>
                      <a:pt x="1" y="12"/>
                      <a:pt x="1" y="12"/>
                    </a:cubicBezTo>
                    <a:cubicBezTo>
                      <a:pt x="2" y="7"/>
                      <a:pt x="5" y="4"/>
                      <a:pt x="8" y="0"/>
                    </a:cubicBezTo>
                    <a:cubicBezTo>
                      <a:pt x="7" y="0"/>
                      <a:pt x="7" y="0"/>
                      <a:pt x="7" y="0"/>
                    </a:cubicBezTo>
                  </a:path>
                </a:pathLst>
              </a:custGeom>
              <a:solidFill>
                <a:srgbClr val="544D4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170" name="Freeform 82">
                <a:extLst>
                  <a:ext uri="{FF2B5EF4-FFF2-40B4-BE49-F238E27FC236}">
                    <a16:creationId xmlns:a16="http://schemas.microsoft.com/office/drawing/2014/main" id="{1948B666-791A-484F-88CE-0B3B06325D60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102" y="2150"/>
                <a:ext cx="11" cy="16"/>
              </a:xfrm>
              <a:custGeom>
                <a:avLst/>
                <a:gdLst>
                  <a:gd name="T0" fmla="*/ 9 w 10"/>
                  <a:gd name="T1" fmla="*/ 0 h 15"/>
                  <a:gd name="T2" fmla="*/ 9 w 10"/>
                  <a:gd name="T3" fmla="*/ 1 h 15"/>
                  <a:gd name="T4" fmla="*/ 0 w 10"/>
                  <a:gd name="T5" fmla="*/ 14 h 15"/>
                  <a:gd name="T6" fmla="*/ 0 w 10"/>
                  <a:gd name="T7" fmla="*/ 15 h 15"/>
                  <a:gd name="T8" fmla="*/ 10 w 10"/>
                  <a:gd name="T9" fmla="*/ 2 h 15"/>
                  <a:gd name="T10" fmla="*/ 9 w 10"/>
                  <a:gd name="T11" fmla="*/ 0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0" h="15">
                    <a:moveTo>
                      <a:pt x="9" y="0"/>
                    </a:moveTo>
                    <a:cubicBezTo>
                      <a:pt x="9" y="0"/>
                      <a:pt x="9" y="0"/>
                      <a:pt x="9" y="1"/>
                    </a:cubicBezTo>
                    <a:cubicBezTo>
                      <a:pt x="6" y="5"/>
                      <a:pt x="2" y="9"/>
                      <a:pt x="0" y="14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0"/>
                      <a:pt x="6" y="6"/>
                      <a:pt x="10" y="2"/>
                    </a:cubicBezTo>
                    <a:cubicBezTo>
                      <a:pt x="10" y="1"/>
                      <a:pt x="10" y="0"/>
                      <a:pt x="9" y="0"/>
                    </a:cubicBezTo>
                  </a:path>
                </a:pathLst>
              </a:custGeom>
              <a:solidFill>
                <a:srgbClr val="544D4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171" name="Freeform 83">
                <a:extLst>
                  <a:ext uri="{FF2B5EF4-FFF2-40B4-BE49-F238E27FC236}">
                    <a16:creationId xmlns:a16="http://schemas.microsoft.com/office/drawing/2014/main" id="{E9E1CF0F-4F8B-4843-B681-6F59AAD6E5F6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023" y="2291"/>
                <a:ext cx="9" cy="10"/>
              </a:xfrm>
              <a:custGeom>
                <a:avLst/>
                <a:gdLst>
                  <a:gd name="T0" fmla="*/ 7 w 9"/>
                  <a:gd name="T1" fmla="*/ 0 h 10"/>
                  <a:gd name="T2" fmla="*/ 6 w 9"/>
                  <a:gd name="T3" fmla="*/ 0 h 10"/>
                  <a:gd name="T4" fmla="*/ 0 w 9"/>
                  <a:gd name="T5" fmla="*/ 9 h 10"/>
                  <a:gd name="T6" fmla="*/ 1 w 9"/>
                  <a:gd name="T7" fmla="*/ 10 h 10"/>
                  <a:gd name="T8" fmla="*/ 2 w 9"/>
                  <a:gd name="T9" fmla="*/ 9 h 10"/>
                  <a:gd name="T10" fmla="*/ 4 w 9"/>
                  <a:gd name="T11" fmla="*/ 5 h 10"/>
                  <a:gd name="T12" fmla="*/ 8 w 9"/>
                  <a:gd name="T13" fmla="*/ 2 h 10"/>
                  <a:gd name="T14" fmla="*/ 7 w 9"/>
                  <a:gd name="T15" fmla="*/ 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9" h="10">
                    <a:moveTo>
                      <a:pt x="7" y="0"/>
                    </a:moveTo>
                    <a:cubicBezTo>
                      <a:pt x="7" y="0"/>
                      <a:pt x="6" y="0"/>
                      <a:pt x="6" y="0"/>
                    </a:cubicBezTo>
                    <a:cubicBezTo>
                      <a:pt x="3" y="2"/>
                      <a:pt x="0" y="5"/>
                      <a:pt x="0" y="9"/>
                    </a:cubicBezTo>
                    <a:cubicBezTo>
                      <a:pt x="0" y="10"/>
                      <a:pt x="0" y="10"/>
                      <a:pt x="1" y="10"/>
                    </a:cubicBezTo>
                    <a:cubicBezTo>
                      <a:pt x="1" y="10"/>
                      <a:pt x="2" y="10"/>
                      <a:pt x="2" y="9"/>
                    </a:cubicBezTo>
                    <a:cubicBezTo>
                      <a:pt x="3" y="8"/>
                      <a:pt x="3" y="6"/>
                      <a:pt x="4" y="5"/>
                    </a:cubicBezTo>
                    <a:cubicBezTo>
                      <a:pt x="5" y="4"/>
                      <a:pt x="7" y="3"/>
                      <a:pt x="8" y="2"/>
                    </a:cubicBezTo>
                    <a:cubicBezTo>
                      <a:pt x="9" y="2"/>
                      <a:pt x="8" y="0"/>
                      <a:pt x="7" y="0"/>
                    </a:cubicBezTo>
                  </a:path>
                </a:pathLst>
              </a:custGeom>
              <a:solidFill>
                <a:srgbClr val="544D4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172" name="Freeform 84">
                <a:extLst>
                  <a:ext uri="{FF2B5EF4-FFF2-40B4-BE49-F238E27FC236}">
                    <a16:creationId xmlns:a16="http://schemas.microsoft.com/office/drawing/2014/main" id="{ADA03713-F802-426F-9E28-C74F1B5D87E9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752" y="2300"/>
                <a:ext cx="12" cy="246"/>
              </a:xfrm>
              <a:custGeom>
                <a:avLst/>
                <a:gdLst>
                  <a:gd name="T0" fmla="*/ 1 w 12"/>
                  <a:gd name="T1" fmla="*/ 0 h 232"/>
                  <a:gd name="T2" fmla="*/ 0 w 12"/>
                  <a:gd name="T3" fmla="*/ 2 h 232"/>
                  <a:gd name="T4" fmla="*/ 6 w 12"/>
                  <a:gd name="T5" fmla="*/ 52 h 232"/>
                  <a:gd name="T6" fmla="*/ 11 w 12"/>
                  <a:gd name="T7" fmla="*/ 113 h 232"/>
                  <a:gd name="T8" fmla="*/ 0 w 12"/>
                  <a:gd name="T9" fmla="*/ 231 h 232"/>
                  <a:gd name="T10" fmla="*/ 0 w 12"/>
                  <a:gd name="T11" fmla="*/ 232 h 232"/>
                  <a:gd name="T12" fmla="*/ 1 w 12"/>
                  <a:gd name="T13" fmla="*/ 231 h 232"/>
                  <a:gd name="T14" fmla="*/ 11 w 12"/>
                  <a:gd name="T15" fmla="*/ 113 h 232"/>
                  <a:gd name="T16" fmla="*/ 3 w 12"/>
                  <a:gd name="T17" fmla="*/ 2 h 232"/>
                  <a:gd name="T18" fmla="*/ 1 w 12"/>
                  <a:gd name="T19" fmla="*/ 0 h 2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2" h="232">
                    <a:moveTo>
                      <a:pt x="1" y="0"/>
                    </a:moveTo>
                    <a:cubicBezTo>
                      <a:pt x="1" y="0"/>
                      <a:pt x="0" y="1"/>
                      <a:pt x="0" y="2"/>
                    </a:cubicBezTo>
                    <a:cubicBezTo>
                      <a:pt x="0" y="19"/>
                      <a:pt x="5" y="35"/>
                      <a:pt x="6" y="52"/>
                    </a:cubicBezTo>
                    <a:cubicBezTo>
                      <a:pt x="8" y="72"/>
                      <a:pt x="11" y="93"/>
                      <a:pt x="11" y="113"/>
                    </a:cubicBezTo>
                    <a:cubicBezTo>
                      <a:pt x="10" y="152"/>
                      <a:pt x="2" y="192"/>
                      <a:pt x="0" y="231"/>
                    </a:cubicBezTo>
                    <a:cubicBezTo>
                      <a:pt x="0" y="232"/>
                      <a:pt x="0" y="232"/>
                      <a:pt x="0" y="232"/>
                    </a:cubicBezTo>
                    <a:cubicBezTo>
                      <a:pt x="1" y="232"/>
                      <a:pt x="1" y="232"/>
                      <a:pt x="1" y="231"/>
                    </a:cubicBezTo>
                    <a:cubicBezTo>
                      <a:pt x="5" y="192"/>
                      <a:pt x="11" y="153"/>
                      <a:pt x="11" y="113"/>
                    </a:cubicBezTo>
                    <a:cubicBezTo>
                      <a:pt x="12" y="76"/>
                      <a:pt x="5" y="39"/>
                      <a:pt x="3" y="2"/>
                    </a:cubicBezTo>
                    <a:cubicBezTo>
                      <a:pt x="3" y="1"/>
                      <a:pt x="2" y="0"/>
                      <a:pt x="1" y="0"/>
                    </a:cubicBezTo>
                  </a:path>
                </a:pathLst>
              </a:custGeom>
              <a:solidFill>
                <a:srgbClr val="544D4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173" name="Freeform 85">
                <a:extLst>
                  <a:ext uri="{FF2B5EF4-FFF2-40B4-BE49-F238E27FC236}">
                    <a16:creationId xmlns:a16="http://schemas.microsoft.com/office/drawing/2014/main" id="{2E22E9B7-40A8-48AE-A735-4A62B2AB4405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746" y="2585"/>
                <a:ext cx="49" cy="159"/>
              </a:xfrm>
              <a:custGeom>
                <a:avLst/>
                <a:gdLst>
                  <a:gd name="T0" fmla="*/ 3 w 46"/>
                  <a:gd name="T1" fmla="*/ 0 h 150"/>
                  <a:gd name="T2" fmla="*/ 2 w 46"/>
                  <a:gd name="T3" fmla="*/ 1 h 150"/>
                  <a:gd name="T4" fmla="*/ 4 w 46"/>
                  <a:gd name="T5" fmla="*/ 41 h 150"/>
                  <a:gd name="T6" fmla="*/ 7 w 46"/>
                  <a:gd name="T7" fmla="*/ 76 h 150"/>
                  <a:gd name="T8" fmla="*/ 9 w 46"/>
                  <a:gd name="T9" fmla="*/ 87 h 150"/>
                  <a:gd name="T10" fmla="*/ 23 w 46"/>
                  <a:gd name="T11" fmla="*/ 123 h 150"/>
                  <a:gd name="T12" fmla="*/ 38 w 46"/>
                  <a:gd name="T13" fmla="*/ 146 h 150"/>
                  <a:gd name="T14" fmla="*/ 40 w 46"/>
                  <a:gd name="T15" fmla="*/ 149 h 150"/>
                  <a:gd name="T16" fmla="*/ 42 w 46"/>
                  <a:gd name="T17" fmla="*/ 150 h 150"/>
                  <a:gd name="T18" fmla="*/ 45 w 46"/>
                  <a:gd name="T19" fmla="*/ 149 h 150"/>
                  <a:gd name="T20" fmla="*/ 45 w 46"/>
                  <a:gd name="T21" fmla="*/ 145 h 150"/>
                  <a:gd name="T22" fmla="*/ 38 w 46"/>
                  <a:gd name="T23" fmla="*/ 135 h 150"/>
                  <a:gd name="T24" fmla="*/ 26 w 46"/>
                  <a:gd name="T25" fmla="*/ 117 h 150"/>
                  <a:gd name="T26" fmla="*/ 12 w 46"/>
                  <a:gd name="T27" fmla="*/ 80 h 150"/>
                  <a:gd name="T28" fmla="*/ 9 w 46"/>
                  <a:gd name="T29" fmla="*/ 44 h 150"/>
                  <a:gd name="T30" fmla="*/ 5 w 46"/>
                  <a:gd name="T31" fmla="*/ 2 h 150"/>
                  <a:gd name="T32" fmla="*/ 3 w 46"/>
                  <a:gd name="T33" fmla="*/ 0 h 1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46" h="150">
                    <a:moveTo>
                      <a:pt x="3" y="0"/>
                    </a:moveTo>
                    <a:cubicBezTo>
                      <a:pt x="3" y="0"/>
                      <a:pt x="2" y="1"/>
                      <a:pt x="2" y="1"/>
                    </a:cubicBezTo>
                    <a:cubicBezTo>
                      <a:pt x="0" y="15"/>
                      <a:pt x="3" y="28"/>
                      <a:pt x="4" y="41"/>
                    </a:cubicBezTo>
                    <a:cubicBezTo>
                      <a:pt x="5" y="53"/>
                      <a:pt x="5" y="64"/>
                      <a:pt x="7" y="76"/>
                    </a:cubicBezTo>
                    <a:cubicBezTo>
                      <a:pt x="8" y="80"/>
                      <a:pt x="8" y="83"/>
                      <a:pt x="9" y="87"/>
                    </a:cubicBezTo>
                    <a:cubicBezTo>
                      <a:pt x="12" y="99"/>
                      <a:pt x="17" y="112"/>
                      <a:pt x="23" y="123"/>
                    </a:cubicBezTo>
                    <a:cubicBezTo>
                      <a:pt x="27" y="132"/>
                      <a:pt x="32" y="139"/>
                      <a:pt x="38" y="146"/>
                    </a:cubicBezTo>
                    <a:cubicBezTo>
                      <a:pt x="39" y="147"/>
                      <a:pt x="40" y="148"/>
                      <a:pt x="40" y="149"/>
                    </a:cubicBezTo>
                    <a:cubicBezTo>
                      <a:pt x="41" y="149"/>
                      <a:pt x="42" y="150"/>
                      <a:pt x="42" y="150"/>
                    </a:cubicBezTo>
                    <a:cubicBezTo>
                      <a:pt x="43" y="150"/>
                      <a:pt x="44" y="149"/>
                      <a:pt x="45" y="149"/>
                    </a:cubicBezTo>
                    <a:cubicBezTo>
                      <a:pt x="45" y="148"/>
                      <a:pt x="46" y="146"/>
                      <a:pt x="45" y="145"/>
                    </a:cubicBezTo>
                    <a:cubicBezTo>
                      <a:pt x="42" y="142"/>
                      <a:pt x="40" y="139"/>
                      <a:pt x="38" y="135"/>
                    </a:cubicBezTo>
                    <a:cubicBezTo>
                      <a:pt x="33" y="129"/>
                      <a:pt x="30" y="123"/>
                      <a:pt x="26" y="117"/>
                    </a:cubicBezTo>
                    <a:cubicBezTo>
                      <a:pt x="20" y="105"/>
                      <a:pt x="15" y="93"/>
                      <a:pt x="12" y="80"/>
                    </a:cubicBezTo>
                    <a:cubicBezTo>
                      <a:pt x="10" y="68"/>
                      <a:pt x="10" y="56"/>
                      <a:pt x="9" y="44"/>
                    </a:cubicBezTo>
                    <a:cubicBezTo>
                      <a:pt x="7" y="30"/>
                      <a:pt x="4" y="16"/>
                      <a:pt x="5" y="2"/>
                    </a:cubicBezTo>
                    <a:cubicBezTo>
                      <a:pt x="5" y="1"/>
                      <a:pt x="4" y="0"/>
                      <a:pt x="3" y="0"/>
                    </a:cubicBezTo>
                  </a:path>
                </a:pathLst>
              </a:custGeom>
              <a:solidFill>
                <a:srgbClr val="544D4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174" name="Freeform 86">
                <a:extLst>
                  <a:ext uri="{FF2B5EF4-FFF2-40B4-BE49-F238E27FC236}">
                    <a16:creationId xmlns:a16="http://schemas.microsoft.com/office/drawing/2014/main" id="{BE9027FD-D596-4F38-AF63-B6D18AE7CCBA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2709" y="2308"/>
                <a:ext cx="22" cy="320"/>
              </a:xfrm>
              <a:custGeom>
                <a:avLst/>
                <a:gdLst>
                  <a:gd name="T0" fmla="*/ 11 w 20"/>
                  <a:gd name="T1" fmla="*/ 23 h 303"/>
                  <a:gd name="T2" fmla="*/ 10 w 20"/>
                  <a:gd name="T3" fmla="*/ 23 h 303"/>
                  <a:gd name="T4" fmla="*/ 6 w 20"/>
                  <a:gd name="T5" fmla="*/ 25 h 303"/>
                  <a:gd name="T6" fmla="*/ 11 w 20"/>
                  <a:gd name="T7" fmla="*/ 73 h 303"/>
                  <a:gd name="T8" fmla="*/ 13 w 20"/>
                  <a:gd name="T9" fmla="*/ 155 h 303"/>
                  <a:gd name="T10" fmla="*/ 10 w 20"/>
                  <a:gd name="T11" fmla="*/ 230 h 303"/>
                  <a:gd name="T12" fmla="*/ 15 w 20"/>
                  <a:gd name="T13" fmla="*/ 302 h 303"/>
                  <a:gd name="T14" fmla="*/ 17 w 20"/>
                  <a:gd name="T15" fmla="*/ 303 h 303"/>
                  <a:gd name="T16" fmla="*/ 19 w 20"/>
                  <a:gd name="T17" fmla="*/ 301 h 303"/>
                  <a:gd name="T18" fmla="*/ 18 w 20"/>
                  <a:gd name="T19" fmla="*/ 144 h 303"/>
                  <a:gd name="T20" fmla="*/ 16 w 20"/>
                  <a:gd name="T21" fmla="*/ 72 h 303"/>
                  <a:gd name="T22" fmla="*/ 11 w 20"/>
                  <a:gd name="T23" fmla="*/ 23 h 303"/>
                  <a:gd name="T24" fmla="*/ 3 w 20"/>
                  <a:gd name="T25" fmla="*/ 0 h 303"/>
                  <a:gd name="T26" fmla="*/ 1 w 20"/>
                  <a:gd name="T27" fmla="*/ 2 h 303"/>
                  <a:gd name="T28" fmla="*/ 4 w 20"/>
                  <a:gd name="T29" fmla="*/ 16 h 303"/>
                  <a:gd name="T30" fmla="*/ 5 w 20"/>
                  <a:gd name="T31" fmla="*/ 19 h 303"/>
                  <a:gd name="T32" fmla="*/ 9 w 20"/>
                  <a:gd name="T33" fmla="*/ 18 h 303"/>
                  <a:gd name="T34" fmla="*/ 9 w 20"/>
                  <a:gd name="T35" fmla="*/ 18 h 303"/>
                  <a:gd name="T36" fmla="*/ 9 w 20"/>
                  <a:gd name="T37" fmla="*/ 15 h 303"/>
                  <a:gd name="T38" fmla="*/ 4 w 20"/>
                  <a:gd name="T39" fmla="*/ 1 h 303"/>
                  <a:gd name="T40" fmla="*/ 3 w 20"/>
                  <a:gd name="T41" fmla="*/ 0 h 3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0" h="303">
                    <a:moveTo>
                      <a:pt x="11" y="23"/>
                    </a:moveTo>
                    <a:cubicBezTo>
                      <a:pt x="10" y="23"/>
                      <a:pt x="10" y="23"/>
                      <a:pt x="10" y="23"/>
                    </a:cubicBezTo>
                    <a:cubicBezTo>
                      <a:pt x="9" y="24"/>
                      <a:pt x="7" y="24"/>
                      <a:pt x="6" y="25"/>
                    </a:cubicBezTo>
                    <a:cubicBezTo>
                      <a:pt x="8" y="41"/>
                      <a:pt x="10" y="58"/>
                      <a:pt x="11" y="73"/>
                    </a:cubicBezTo>
                    <a:cubicBezTo>
                      <a:pt x="14" y="100"/>
                      <a:pt x="13" y="128"/>
                      <a:pt x="13" y="155"/>
                    </a:cubicBezTo>
                    <a:cubicBezTo>
                      <a:pt x="13" y="180"/>
                      <a:pt x="11" y="205"/>
                      <a:pt x="10" y="230"/>
                    </a:cubicBezTo>
                    <a:cubicBezTo>
                      <a:pt x="9" y="253"/>
                      <a:pt x="9" y="280"/>
                      <a:pt x="15" y="302"/>
                    </a:cubicBezTo>
                    <a:cubicBezTo>
                      <a:pt x="15" y="303"/>
                      <a:pt x="16" y="303"/>
                      <a:pt x="17" y="303"/>
                    </a:cubicBezTo>
                    <a:cubicBezTo>
                      <a:pt x="18" y="303"/>
                      <a:pt x="20" y="302"/>
                      <a:pt x="19" y="301"/>
                    </a:cubicBezTo>
                    <a:cubicBezTo>
                      <a:pt x="13" y="249"/>
                      <a:pt x="19" y="196"/>
                      <a:pt x="18" y="144"/>
                    </a:cubicBezTo>
                    <a:cubicBezTo>
                      <a:pt x="18" y="120"/>
                      <a:pt x="19" y="96"/>
                      <a:pt x="16" y="72"/>
                    </a:cubicBezTo>
                    <a:cubicBezTo>
                      <a:pt x="14" y="57"/>
                      <a:pt x="14" y="39"/>
                      <a:pt x="11" y="23"/>
                    </a:cubicBezTo>
                    <a:moveTo>
                      <a:pt x="3" y="0"/>
                    </a:moveTo>
                    <a:cubicBezTo>
                      <a:pt x="2" y="0"/>
                      <a:pt x="0" y="1"/>
                      <a:pt x="1" y="2"/>
                    </a:cubicBezTo>
                    <a:cubicBezTo>
                      <a:pt x="2" y="6"/>
                      <a:pt x="3" y="11"/>
                      <a:pt x="4" y="16"/>
                    </a:cubicBezTo>
                    <a:cubicBezTo>
                      <a:pt x="4" y="17"/>
                      <a:pt x="5" y="18"/>
                      <a:pt x="5" y="19"/>
                    </a:cubicBezTo>
                    <a:cubicBezTo>
                      <a:pt x="6" y="19"/>
                      <a:pt x="8" y="18"/>
                      <a:pt x="9" y="18"/>
                    </a:cubicBezTo>
                    <a:cubicBezTo>
                      <a:pt x="9" y="18"/>
                      <a:pt x="9" y="18"/>
                      <a:pt x="9" y="18"/>
                    </a:cubicBezTo>
                    <a:cubicBezTo>
                      <a:pt x="9" y="17"/>
                      <a:pt x="9" y="16"/>
                      <a:pt x="9" y="15"/>
                    </a:cubicBezTo>
                    <a:cubicBezTo>
                      <a:pt x="7" y="10"/>
                      <a:pt x="6" y="5"/>
                      <a:pt x="4" y="1"/>
                    </a:cubicBezTo>
                    <a:cubicBezTo>
                      <a:pt x="4" y="0"/>
                      <a:pt x="3" y="0"/>
                      <a:pt x="3" y="0"/>
                    </a:cubicBezTo>
                  </a:path>
                </a:pathLst>
              </a:custGeom>
              <a:solidFill>
                <a:srgbClr val="544D4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175" name="Freeform 87">
                <a:extLst>
                  <a:ext uri="{FF2B5EF4-FFF2-40B4-BE49-F238E27FC236}">
                    <a16:creationId xmlns:a16="http://schemas.microsoft.com/office/drawing/2014/main" id="{A0554DAF-9B0F-4E9C-BE8A-5AC6DA3EAEB8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1971" y="2167"/>
                <a:ext cx="179" cy="294"/>
              </a:xfrm>
              <a:custGeom>
                <a:avLst/>
                <a:gdLst>
                  <a:gd name="T0" fmla="*/ 137 w 169"/>
                  <a:gd name="T1" fmla="*/ 40 h 278"/>
                  <a:gd name="T2" fmla="*/ 126 w 169"/>
                  <a:gd name="T3" fmla="*/ 59 h 278"/>
                  <a:gd name="T4" fmla="*/ 81 w 169"/>
                  <a:gd name="T5" fmla="*/ 132 h 278"/>
                  <a:gd name="T6" fmla="*/ 40 w 169"/>
                  <a:gd name="T7" fmla="*/ 200 h 278"/>
                  <a:gd name="T8" fmla="*/ 37 w 169"/>
                  <a:gd name="T9" fmla="*/ 205 h 278"/>
                  <a:gd name="T10" fmla="*/ 2 w 169"/>
                  <a:gd name="T11" fmla="*/ 274 h 278"/>
                  <a:gd name="T12" fmla="*/ 4 w 169"/>
                  <a:gd name="T13" fmla="*/ 278 h 278"/>
                  <a:gd name="T14" fmla="*/ 4 w 169"/>
                  <a:gd name="T15" fmla="*/ 278 h 278"/>
                  <a:gd name="T16" fmla="*/ 6 w 169"/>
                  <a:gd name="T17" fmla="*/ 277 h 278"/>
                  <a:gd name="T18" fmla="*/ 23 w 169"/>
                  <a:gd name="T19" fmla="*/ 250 h 278"/>
                  <a:gd name="T20" fmla="*/ 40 w 169"/>
                  <a:gd name="T21" fmla="*/ 215 h 278"/>
                  <a:gd name="T22" fmla="*/ 53 w 169"/>
                  <a:gd name="T23" fmla="*/ 188 h 278"/>
                  <a:gd name="T24" fmla="*/ 83 w 169"/>
                  <a:gd name="T25" fmla="*/ 138 h 278"/>
                  <a:gd name="T26" fmla="*/ 89 w 169"/>
                  <a:gd name="T27" fmla="*/ 128 h 278"/>
                  <a:gd name="T28" fmla="*/ 139 w 169"/>
                  <a:gd name="T29" fmla="*/ 41 h 278"/>
                  <a:gd name="T30" fmla="*/ 138 w 169"/>
                  <a:gd name="T31" fmla="*/ 40 h 278"/>
                  <a:gd name="T32" fmla="*/ 137 w 169"/>
                  <a:gd name="T33" fmla="*/ 40 h 278"/>
                  <a:gd name="T34" fmla="*/ 167 w 169"/>
                  <a:gd name="T35" fmla="*/ 0 h 278"/>
                  <a:gd name="T36" fmla="*/ 167 w 169"/>
                  <a:gd name="T37" fmla="*/ 0 h 278"/>
                  <a:gd name="T38" fmla="*/ 164 w 169"/>
                  <a:gd name="T39" fmla="*/ 3 h 278"/>
                  <a:gd name="T40" fmla="*/ 141 w 169"/>
                  <a:gd name="T41" fmla="*/ 33 h 278"/>
                  <a:gd name="T42" fmla="*/ 141 w 169"/>
                  <a:gd name="T43" fmla="*/ 34 h 278"/>
                  <a:gd name="T44" fmla="*/ 143 w 169"/>
                  <a:gd name="T45" fmla="*/ 35 h 278"/>
                  <a:gd name="T46" fmla="*/ 153 w 169"/>
                  <a:gd name="T47" fmla="*/ 21 h 278"/>
                  <a:gd name="T48" fmla="*/ 167 w 169"/>
                  <a:gd name="T49" fmla="*/ 4 h 278"/>
                  <a:gd name="T50" fmla="*/ 169 w 169"/>
                  <a:gd name="T51" fmla="*/ 2 h 278"/>
                  <a:gd name="T52" fmla="*/ 167 w 169"/>
                  <a:gd name="T53" fmla="*/ 0 h 2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169" h="278">
                    <a:moveTo>
                      <a:pt x="137" y="40"/>
                    </a:moveTo>
                    <a:cubicBezTo>
                      <a:pt x="134" y="46"/>
                      <a:pt x="130" y="53"/>
                      <a:pt x="126" y="59"/>
                    </a:cubicBezTo>
                    <a:cubicBezTo>
                      <a:pt x="111" y="83"/>
                      <a:pt x="97" y="108"/>
                      <a:pt x="81" y="132"/>
                    </a:cubicBezTo>
                    <a:cubicBezTo>
                      <a:pt x="66" y="154"/>
                      <a:pt x="52" y="176"/>
                      <a:pt x="40" y="200"/>
                    </a:cubicBezTo>
                    <a:cubicBezTo>
                      <a:pt x="39" y="202"/>
                      <a:pt x="38" y="203"/>
                      <a:pt x="37" y="205"/>
                    </a:cubicBezTo>
                    <a:cubicBezTo>
                      <a:pt x="26" y="228"/>
                      <a:pt x="16" y="252"/>
                      <a:pt x="2" y="274"/>
                    </a:cubicBezTo>
                    <a:cubicBezTo>
                      <a:pt x="0" y="276"/>
                      <a:pt x="2" y="278"/>
                      <a:pt x="4" y="278"/>
                    </a:cubicBezTo>
                    <a:cubicBezTo>
                      <a:pt x="4" y="278"/>
                      <a:pt x="4" y="278"/>
                      <a:pt x="4" y="278"/>
                    </a:cubicBezTo>
                    <a:cubicBezTo>
                      <a:pt x="5" y="278"/>
                      <a:pt x="6" y="278"/>
                      <a:pt x="6" y="277"/>
                    </a:cubicBezTo>
                    <a:cubicBezTo>
                      <a:pt x="13" y="269"/>
                      <a:pt x="18" y="260"/>
                      <a:pt x="23" y="250"/>
                    </a:cubicBezTo>
                    <a:cubicBezTo>
                      <a:pt x="29" y="239"/>
                      <a:pt x="34" y="226"/>
                      <a:pt x="40" y="215"/>
                    </a:cubicBezTo>
                    <a:cubicBezTo>
                      <a:pt x="44" y="206"/>
                      <a:pt x="49" y="197"/>
                      <a:pt x="53" y="188"/>
                    </a:cubicBezTo>
                    <a:cubicBezTo>
                      <a:pt x="63" y="171"/>
                      <a:pt x="72" y="154"/>
                      <a:pt x="83" y="138"/>
                    </a:cubicBezTo>
                    <a:cubicBezTo>
                      <a:pt x="85" y="135"/>
                      <a:pt x="87" y="131"/>
                      <a:pt x="89" y="128"/>
                    </a:cubicBezTo>
                    <a:cubicBezTo>
                      <a:pt x="107" y="100"/>
                      <a:pt x="121" y="69"/>
                      <a:pt x="139" y="41"/>
                    </a:cubicBezTo>
                    <a:cubicBezTo>
                      <a:pt x="139" y="41"/>
                      <a:pt x="138" y="41"/>
                      <a:pt x="138" y="40"/>
                    </a:cubicBezTo>
                    <a:cubicBezTo>
                      <a:pt x="137" y="40"/>
                      <a:pt x="137" y="40"/>
                      <a:pt x="137" y="40"/>
                    </a:cubicBezTo>
                    <a:moveTo>
                      <a:pt x="167" y="0"/>
                    </a:moveTo>
                    <a:cubicBezTo>
                      <a:pt x="167" y="0"/>
                      <a:pt x="167" y="0"/>
                      <a:pt x="167" y="0"/>
                    </a:cubicBezTo>
                    <a:cubicBezTo>
                      <a:pt x="166" y="1"/>
                      <a:pt x="165" y="2"/>
                      <a:pt x="164" y="3"/>
                    </a:cubicBezTo>
                    <a:cubicBezTo>
                      <a:pt x="154" y="11"/>
                      <a:pt x="147" y="22"/>
                      <a:pt x="141" y="33"/>
                    </a:cubicBezTo>
                    <a:cubicBezTo>
                      <a:pt x="141" y="34"/>
                      <a:pt x="141" y="34"/>
                      <a:pt x="141" y="34"/>
                    </a:cubicBezTo>
                    <a:cubicBezTo>
                      <a:pt x="142" y="34"/>
                      <a:pt x="143" y="34"/>
                      <a:pt x="143" y="35"/>
                    </a:cubicBezTo>
                    <a:cubicBezTo>
                      <a:pt x="146" y="30"/>
                      <a:pt x="149" y="26"/>
                      <a:pt x="153" y="21"/>
                    </a:cubicBezTo>
                    <a:cubicBezTo>
                      <a:pt x="157" y="15"/>
                      <a:pt x="162" y="10"/>
                      <a:pt x="167" y="4"/>
                    </a:cubicBezTo>
                    <a:cubicBezTo>
                      <a:pt x="167" y="4"/>
                      <a:pt x="168" y="3"/>
                      <a:pt x="169" y="2"/>
                    </a:cubicBezTo>
                    <a:cubicBezTo>
                      <a:pt x="169" y="1"/>
                      <a:pt x="168" y="0"/>
                      <a:pt x="167" y="0"/>
                    </a:cubicBezTo>
                  </a:path>
                </a:pathLst>
              </a:custGeom>
              <a:solidFill>
                <a:srgbClr val="544D4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176" name="Freeform 88">
                <a:extLst>
                  <a:ext uri="{FF2B5EF4-FFF2-40B4-BE49-F238E27FC236}">
                    <a16:creationId xmlns:a16="http://schemas.microsoft.com/office/drawing/2014/main" id="{44D2608E-0810-41FE-A8A5-DC315DB06C4C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2504" y="2321"/>
                <a:ext cx="219" cy="33"/>
              </a:xfrm>
              <a:custGeom>
                <a:avLst/>
                <a:gdLst>
                  <a:gd name="T0" fmla="*/ 204 w 207"/>
                  <a:gd name="T1" fmla="*/ 5 h 31"/>
                  <a:gd name="T2" fmla="*/ 203 w 207"/>
                  <a:gd name="T3" fmla="*/ 5 h 31"/>
                  <a:gd name="T4" fmla="*/ 203 w 207"/>
                  <a:gd name="T5" fmla="*/ 5 h 31"/>
                  <a:gd name="T6" fmla="*/ 199 w 207"/>
                  <a:gd name="T7" fmla="*/ 6 h 31"/>
                  <a:gd name="T8" fmla="*/ 108 w 207"/>
                  <a:gd name="T9" fmla="*/ 21 h 31"/>
                  <a:gd name="T10" fmla="*/ 62 w 207"/>
                  <a:gd name="T11" fmla="*/ 24 h 31"/>
                  <a:gd name="T12" fmla="*/ 60 w 207"/>
                  <a:gd name="T13" fmla="*/ 24 h 31"/>
                  <a:gd name="T14" fmla="*/ 9 w 207"/>
                  <a:gd name="T15" fmla="*/ 8 h 31"/>
                  <a:gd name="T16" fmla="*/ 0 w 207"/>
                  <a:gd name="T17" fmla="*/ 7 h 31"/>
                  <a:gd name="T18" fmla="*/ 56 w 207"/>
                  <a:gd name="T19" fmla="*/ 31 h 31"/>
                  <a:gd name="T20" fmla="*/ 80 w 207"/>
                  <a:gd name="T21" fmla="*/ 30 h 31"/>
                  <a:gd name="T22" fmla="*/ 200 w 207"/>
                  <a:gd name="T23" fmla="*/ 12 h 31"/>
                  <a:gd name="T24" fmla="*/ 204 w 207"/>
                  <a:gd name="T25" fmla="*/ 10 h 31"/>
                  <a:gd name="T26" fmla="*/ 205 w 207"/>
                  <a:gd name="T27" fmla="*/ 10 h 31"/>
                  <a:gd name="T28" fmla="*/ 204 w 207"/>
                  <a:gd name="T29" fmla="*/ 5 h 31"/>
                  <a:gd name="T30" fmla="*/ 4 w 207"/>
                  <a:gd name="T31" fmla="*/ 0 h 31"/>
                  <a:gd name="T32" fmla="*/ 3 w 207"/>
                  <a:gd name="T33" fmla="*/ 0 h 31"/>
                  <a:gd name="T34" fmla="*/ 5 w 207"/>
                  <a:gd name="T35" fmla="*/ 1 h 31"/>
                  <a:gd name="T36" fmla="*/ 4 w 207"/>
                  <a:gd name="T37" fmla="*/ 0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207" h="31">
                    <a:moveTo>
                      <a:pt x="204" y="5"/>
                    </a:moveTo>
                    <a:cubicBezTo>
                      <a:pt x="204" y="5"/>
                      <a:pt x="204" y="5"/>
                      <a:pt x="203" y="5"/>
                    </a:cubicBezTo>
                    <a:cubicBezTo>
                      <a:pt x="203" y="5"/>
                      <a:pt x="203" y="5"/>
                      <a:pt x="203" y="5"/>
                    </a:cubicBezTo>
                    <a:cubicBezTo>
                      <a:pt x="202" y="5"/>
                      <a:pt x="200" y="6"/>
                      <a:pt x="199" y="6"/>
                    </a:cubicBezTo>
                    <a:cubicBezTo>
                      <a:pt x="169" y="13"/>
                      <a:pt x="139" y="18"/>
                      <a:pt x="108" y="21"/>
                    </a:cubicBezTo>
                    <a:cubicBezTo>
                      <a:pt x="93" y="22"/>
                      <a:pt x="78" y="24"/>
                      <a:pt x="62" y="24"/>
                    </a:cubicBezTo>
                    <a:cubicBezTo>
                      <a:pt x="61" y="24"/>
                      <a:pt x="60" y="24"/>
                      <a:pt x="60" y="24"/>
                    </a:cubicBezTo>
                    <a:cubicBezTo>
                      <a:pt x="44" y="24"/>
                      <a:pt x="18" y="22"/>
                      <a:pt x="9" y="8"/>
                    </a:cubicBezTo>
                    <a:cubicBezTo>
                      <a:pt x="6" y="8"/>
                      <a:pt x="3" y="7"/>
                      <a:pt x="0" y="7"/>
                    </a:cubicBezTo>
                    <a:cubicBezTo>
                      <a:pt x="8" y="28"/>
                      <a:pt x="33" y="31"/>
                      <a:pt x="56" y="31"/>
                    </a:cubicBezTo>
                    <a:cubicBezTo>
                      <a:pt x="65" y="31"/>
                      <a:pt x="74" y="31"/>
                      <a:pt x="80" y="30"/>
                    </a:cubicBezTo>
                    <a:cubicBezTo>
                      <a:pt x="120" y="28"/>
                      <a:pt x="161" y="22"/>
                      <a:pt x="200" y="12"/>
                    </a:cubicBezTo>
                    <a:cubicBezTo>
                      <a:pt x="201" y="11"/>
                      <a:pt x="203" y="11"/>
                      <a:pt x="204" y="10"/>
                    </a:cubicBezTo>
                    <a:cubicBezTo>
                      <a:pt x="204" y="10"/>
                      <a:pt x="204" y="10"/>
                      <a:pt x="205" y="10"/>
                    </a:cubicBezTo>
                    <a:cubicBezTo>
                      <a:pt x="207" y="9"/>
                      <a:pt x="206" y="5"/>
                      <a:pt x="204" y="5"/>
                    </a:cubicBezTo>
                    <a:moveTo>
                      <a:pt x="4" y="0"/>
                    </a:moveTo>
                    <a:cubicBezTo>
                      <a:pt x="4" y="0"/>
                      <a:pt x="3" y="0"/>
                      <a:pt x="3" y="0"/>
                    </a:cubicBezTo>
                    <a:cubicBezTo>
                      <a:pt x="4" y="0"/>
                      <a:pt x="4" y="0"/>
                      <a:pt x="5" y="1"/>
                    </a:cubicBezTo>
                    <a:cubicBezTo>
                      <a:pt x="5" y="0"/>
                      <a:pt x="4" y="0"/>
                      <a:pt x="4" y="0"/>
                    </a:cubicBezTo>
                  </a:path>
                </a:pathLst>
              </a:custGeom>
              <a:solidFill>
                <a:srgbClr val="544D4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177" name="Freeform 89">
                <a:extLst>
                  <a:ext uri="{FF2B5EF4-FFF2-40B4-BE49-F238E27FC236}">
                    <a16:creationId xmlns:a16="http://schemas.microsoft.com/office/drawing/2014/main" id="{38E2F24E-B076-4D36-A3EE-B59A7C5B435F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2260" y="2258"/>
                <a:ext cx="270" cy="72"/>
              </a:xfrm>
              <a:custGeom>
                <a:avLst/>
                <a:gdLst>
                  <a:gd name="T0" fmla="*/ 51 w 255"/>
                  <a:gd name="T1" fmla="*/ 16 h 68"/>
                  <a:gd name="T2" fmla="*/ 51 w 255"/>
                  <a:gd name="T3" fmla="*/ 17 h 68"/>
                  <a:gd name="T4" fmla="*/ 44 w 255"/>
                  <a:gd name="T5" fmla="*/ 22 h 68"/>
                  <a:gd name="T6" fmla="*/ 63 w 255"/>
                  <a:gd name="T7" fmla="*/ 28 h 68"/>
                  <a:gd name="T8" fmla="*/ 131 w 255"/>
                  <a:gd name="T9" fmla="*/ 46 h 68"/>
                  <a:gd name="T10" fmla="*/ 203 w 255"/>
                  <a:gd name="T11" fmla="*/ 61 h 68"/>
                  <a:gd name="T12" fmla="*/ 230 w 255"/>
                  <a:gd name="T13" fmla="*/ 67 h 68"/>
                  <a:gd name="T14" fmla="*/ 239 w 255"/>
                  <a:gd name="T15" fmla="*/ 68 h 68"/>
                  <a:gd name="T16" fmla="*/ 240 w 255"/>
                  <a:gd name="T17" fmla="*/ 68 h 68"/>
                  <a:gd name="T18" fmla="*/ 248 w 255"/>
                  <a:gd name="T19" fmla="*/ 67 h 68"/>
                  <a:gd name="T20" fmla="*/ 252 w 255"/>
                  <a:gd name="T21" fmla="*/ 66 h 68"/>
                  <a:gd name="T22" fmla="*/ 251 w 255"/>
                  <a:gd name="T23" fmla="*/ 61 h 68"/>
                  <a:gd name="T24" fmla="*/ 251 w 255"/>
                  <a:gd name="T25" fmla="*/ 61 h 68"/>
                  <a:gd name="T26" fmla="*/ 245 w 255"/>
                  <a:gd name="T27" fmla="*/ 61 h 68"/>
                  <a:gd name="T28" fmla="*/ 244 w 255"/>
                  <a:gd name="T29" fmla="*/ 61 h 68"/>
                  <a:gd name="T30" fmla="*/ 235 w 255"/>
                  <a:gd name="T31" fmla="*/ 61 h 68"/>
                  <a:gd name="T32" fmla="*/ 233 w 255"/>
                  <a:gd name="T33" fmla="*/ 60 h 68"/>
                  <a:gd name="T34" fmla="*/ 196 w 255"/>
                  <a:gd name="T35" fmla="*/ 52 h 68"/>
                  <a:gd name="T36" fmla="*/ 132 w 255"/>
                  <a:gd name="T37" fmla="*/ 38 h 68"/>
                  <a:gd name="T38" fmla="*/ 51 w 255"/>
                  <a:gd name="T39" fmla="*/ 16 h 68"/>
                  <a:gd name="T40" fmla="*/ 3 w 255"/>
                  <a:gd name="T41" fmla="*/ 0 h 68"/>
                  <a:gd name="T42" fmla="*/ 2 w 255"/>
                  <a:gd name="T43" fmla="*/ 6 h 68"/>
                  <a:gd name="T44" fmla="*/ 34 w 255"/>
                  <a:gd name="T45" fmla="*/ 19 h 68"/>
                  <a:gd name="T46" fmla="*/ 36 w 255"/>
                  <a:gd name="T47" fmla="*/ 20 h 68"/>
                  <a:gd name="T48" fmla="*/ 47 w 255"/>
                  <a:gd name="T49" fmla="*/ 15 h 68"/>
                  <a:gd name="T50" fmla="*/ 46 w 255"/>
                  <a:gd name="T51" fmla="*/ 14 h 68"/>
                  <a:gd name="T52" fmla="*/ 4 w 255"/>
                  <a:gd name="T53" fmla="*/ 0 h 68"/>
                  <a:gd name="T54" fmla="*/ 3 w 255"/>
                  <a:gd name="T55" fmla="*/ 0 h 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255" h="68">
                    <a:moveTo>
                      <a:pt x="51" y="16"/>
                    </a:moveTo>
                    <a:cubicBezTo>
                      <a:pt x="51" y="16"/>
                      <a:pt x="51" y="16"/>
                      <a:pt x="51" y="17"/>
                    </a:cubicBezTo>
                    <a:cubicBezTo>
                      <a:pt x="49" y="19"/>
                      <a:pt x="46" y="21"/>
                      <a:pt x="44" y="22"/>
                    </a:cubicBezTo>
                    <a:cubicBezTo>
                      <a:pt x="50" y="24"/>
                      <a:pt x="57" y="26"/>
                      <a:pt x="63" y="28"/>
                    </a:cubicBezTo>
                    <a:cubicBezTo>
                      <a:pt x="85" y="36"/>
                      <a:pt x="108" y="41"/>
                      <a:pt x="131" y="46"/>
                    </a:cubicBezTo>
                    <a:cubicBezTo>
                      <a:pt x="155" y="51"/>
                      <a:pt x="179" y="56"/>
                      <a:pt x="203" y="61"/>
                    </a:cubicBezTo>
                    <a:cubicBezTo>
                      <a:pt x="210" y="63"/>
                      <a:pt x="220" y="66"/>
                      <a:pt x="230" y="67"/>
                    </a:cubicBezTo>
                    <a:cubicBezTo>
                      <a:pt x="233" y="67"/>
                      <a:pt x="236" y="68"/>
                      <a:pt x="239" y="68"/>
                    </a:cubicBezTo>
                    <a:cubicBezTo>
                      <a:pt x="239" y="68"/>
                      <a:pt x="240" y="68"/>
                      <a:pt x="240" y="68"/>
                    </a:cubicBezTo>
                    <a:cubicBezTo>
                      <a:pt x="243" y="68"/>
                      <a:pt x="245" y="67"/>
                      <a:pt x="248" y="67"/>
                    </a:cubicBezTo>
                    <a:cubicBezTo>
                      <a:pt x="249" y="67"/>
                      <a:pt x="251" y="66"/>
                      <a:pt x="252" y="66"/>
                    </a:cubicBezTo>
                    <a:cubicBezTo>
                      <a:pt x="255" y="65"/>
                      <a:pt x="254" y="61"/>
                      <a:pt x="251" y="61"/>
                    </a:cubicBezTo>
                    <a:cubicBezTo>
                      <a:pt x="251" y="61"/>
                      <a:pt x="251" y="61"/>
                      <a:pt x="251" y="61"/>
                    </a:cubicBezTo>
                    <a:cubicBezTo>
                      <a:pt x="249" y="61"/>
                      <a:pt x="247" y="61"/>
                      <a:pt x="245" y="61"/>
                    </a:cubicBezTo>
                    <a:cubicBezTo>
                      <a:pt x="245" y="61"/>
                      <a:pt x="244" y="61"/>
                      <a:pt x="244" y="61"/>
                    </a:cubicBezTo>
                    <a:cubicBezTo>
                      <a:pt x="241" y="61"/>
                      <a:pt x="238" y="61"/>
                      <a:pt x="235" y="61"/>
                    </a:cubicBezTo>
                    <a:cubicBezTo>
                      <a:pt x="234" y="60"/>
                      <a:pt x="234" y="60"/>
                      <a:pt x="233" y="60"/>
                    </a:cubicBezTo>
                    <a:cubicBezTo>
                      <a:pt x="220" y="58"/>
                      <a:pt x="207" y="54"/>
                      <a:pt x="196" y="52"/>
                    </a:cubicBezTo>
                    <a:cubicBezTo>
                      <a:pt x="175" y="47"/>
                      <a:pt x="153" y="43"/>
                      <a:pt x="132" y="38"/>
                    </a:cubicBezTo>
                    <a:cubicBezTo>
                      <a:pt x="104" y="32"/>
                      <a:pt x="78" y="24"/>
                      <a:pt x="51" y="16"/>
                    </a:cubicBezTo>
                    <a:moveTo>
                      <a:pt x="3" y="0"/>
                    </a:moveTo>
                    <a:cubicBezTo>
                      <a:pt x="1" y="0"/>
                      <a:pt x="0" y="4"/>
                      <a:pt x="2" y="6"/>
                    </a:cubicBezTo>
                    <a:cubicBezTo>
                      <a:pt x="12" y="12"/>
                      <a:pt x="23" y="16"/>
                      <a:pt x="34" y="19"/>
                    </a:cubicBezTo>
                    <a:cubicBezTo>
                      <a:pt x="34" y="20"/>
                      <a:pt x="35" y="20"/>
                      <a:pt x="36" y="20"/>
                    </a:cubicBezTo>
                    <a:cubicBezTo>
                      <a:pt x="40" y="19"/>
                      <a:pt x="44" y="17"/>
                      <a:pt x="47" y="15"/>
                    </a:cubicBezTo>
                    <a:cubicBezTo>
                      <a:pt x="47" y="15"/>
                      <a:pt x="46" y="14"/>
                      <a:pt x="46" y="14"/>
                    </a:cubicBezTo>
                    <a:cubicBezTo>
                      <a:pt x="32" y="10"/>
                      <a:pt x="18" y="5"/>
                      <a:pt x="4" y="0"/>
                    </a:cubicBezTo>
                    <a:cubicBezTo>
                      <a:pt x="4" y="0"/>
                      <a:pt x="4" y="0"/>
                      <a:pt x="3" y="0"/>
                    </a:cubicBezTo>
                  </a:path>
                </a:pathLst>
              </a:custGeom>
              <a:solidFill>
                <a:srgbClr val="544D4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178" name="Freeform 90">
                <a:extLst>
                  <a:ext uri="{FF2B5EF4-FFF2-40B4-BE49-F238E27FC236}">
                    <a16:creationId xmlns:a16="http://schemas.microsoft.com/office/drawing/2014/main" id="{A28FEFE2-D8BE-42B7-BCED-985F29232EA6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113" y="2202"/>
                <a:ext cx="202" cy="89"/>
              </a:xfrm>
              <a:custGeom>
                <a:avLst/>
                <a:gdLst>
                  <a:gd name="T0" fmla="*/ 6 w 191"/>
                  <a:gd name="T1" fmla="*/ 0 h 84"/>
                  <a:gd name="T2" fmla="*/ 3 w 191"/>
                  <a:gd name="T3" fmla="*/ 7 h 84"/>
                  <a:gd name="T4" fmla="*/ 4 w 191"/>
                  <a:gd name="T5" fmla="*/ 7 h 84"/>
                  <a:gd name="T6" fmla="*/ 5 w 191"/>
                  <a:gd name="T7" fmla="*/ 8 h 84"/>
                  <a:gd name="T8" fmla="*/ 7 w 191"/>
                  <a:gd name="T9" fmla="*/ 10 h 84"/>
                  <a:gd name="T10" fmla="*/ 21 w 191"/>
                  <a:gd name="T11" fmla="*/ 23 h 84"/>
                  <a:gd name="T12" fmla="*/ 46 w 191"/>
                  <a:gd name="T13" fmla="*/ 41 h 84"/>
                  <a:gd name="T14" fmla="*/ 106 w 191"/>
                  <a:gd name="T15" fmla="*/ 71 h 84"/>
                  <a:gd name="T16" fmla="*/ 157 w 191"/>
                  <a:gd name="T17" fmla="*/ 84 h 84"/>
                  <a:gd name="T18" fmla="*/ 183 w 191"/>
                  <a:gd name="T19" fmla="*/ 75 h 84"/>
                  <a:gd name="T20" fmla="*/ 190 w 191"/>
                  <a:gd name="T21" fmla="*/ 70 h 84"/>
                  <a:gd name="T22" fmla="*/ 190 w 191"/>
                  <a:gd name="T23" fmla="*/ 69 h 84"/>
                  <a:gd name="T24" fmla="*/ 188 w 191"/>
                  <a:gd name="T25" fmla="*/ 66 h 84"/>
                  <a:gd name="T26" fmla="*/ 188 w 191"/>
                  <a:gd name="T27" fmla="*/ 67 h 84"/>
                  <a:gd name="T28" fmla="*/ 186 w 191"/>
                  <a:gd name="T29" fmla="*/ 68 h 84"/>
                  <a:gd name="T30" fmla="*/ 175 w 191"/>
                  <a:gd name="T31" fmla="*/ 73 h 84"/>
                  <a:gd name="T32" fmla="*/ 156 w 191"/>
                  <a:gd name="T33" fmla="*/ 76 h 84"/>
                  <a:gd name="T34" fmla="*/ 80 w 191"/>
                  <a:gd name="T35" fmla="*/ 51 h 84"/>
                  <a:gd name="T36" fmla="*/ 34 w 191"/>
                  <a:gd name="T37" fmla="*/ 23 h 84"/>
                  <a:gd name="T38" fmla="*/ 11 w 191"/>
                  <a:gd name="T39" fmla="*/ 3 h 84"/>
                  <a:gd name="T40" fmla="*/ 9 w 191"/>
                  <a:gd name="T41" fmla="*/ 2 h 84"/>
                  <a:gd name="T42" fmla="*/ 7 w 191"/>
                  <a:gd name="T43" fmla="*/ 1 h 84"/>
                  <a:gd name="T44" fmla="*/ 7 w 191"/>
                  <a:gd name="T45" fmla="*/ 0 h 84"/>
                  <a:gd name="T46" fmla="*/ 6 w 191"/>
                  <a:gd name="T47" fmla="*/ 0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191" h="84">
                    <a:moveTo>
                      <a:pt x="6" y="0"/>
                    </a:moveTo>
                    <a:cubicBezTo>
                      <a:pt x="3" y="0"/>
                      <a:pt x="0" y="5"/>
                      <a:pt x="3" y="7"/>
                    </a:cubicBezTo>
                    <a:cubicBezTo>
                      <a:pt x="3" y="7"/>
                      <a:pt x="3" y="7"/>
                      <a:pt x="4" y="7"/>
                    </a:cubicBezTo>
                    <a:cubicBezTo>
                      <a:pt x="4" y="8"/>
                      <a:pt x="5" y="8"/>
                      <a:pt x="5" y="8"/>
                    </a:cubicBezTo>
                    <a:cubicBezTo>
                      <a:pt x="6" y="9"/>
                      <a:pt x="7" y="9"/>
                      <a:pt x="7" y="10"/>
                    </a:cubicBezTo>
                    <a:cubicBezTo>
                      <a:pt x="12" y="14"/>
                      <a:pt x="17" y="19"/>
                      <a:pt x="21" y="23"/>
                    </a:cubicBezTo>
                    <a:cubicBezTo>
                      <a:pt x="30" y="29"/>
                      <a:pt x="38" y="35"/>
                      <a:pt x="46" y="41"/>
                    </a:cubicBezTo>
                    <a:cubicBezTo>
                      <a:pt x="65" y="53"/>
                      <a:pt x="85" y="64"/>
                      <a:pt x="106" y="71"/>
                    </a:cubicBezTo>
                    <a:cubicBezTo>
                      <a:pt x="123" y="76"/>
                      <a:pt x="140" y="84"/>
                      <a:pt x="157" y="84"/>
                    </a:cubicBezTo>
                    <a:cubicBezTo>
                      <a:pt x="166" y="84"/>
                      <a:pt x="175" y="81"/>
                      <a:pt x="183" y="75"/>
                    </a:cubicBezTo>
                    <a:cubicBezTo>
                      <a:pt x="185" y="74"/>
                      <a:pt x="188" y="72"/>
                      <a:pt x="190" y="70"/>
                    </a:cubicBezTo>
                    <a:cubicBezTo>
                      <a:pt x="190" y="69"/>
                      <a:pt x="190" y="69"/>
                      <a:pt x="190" y="69"/>
                    </a:cubicBezTo>
                    <a:cubicBezTo>
                      <a:pt x="191" y="68"/>
                      <a:pt x="190" y="66"/>
                      <a:pt x="188" y="66"/>
                    </a:cubicBezTo>
                    <a:cubicBezTo>
                      <a:pt x="188" y="66"/>
                      <a:pt x="188" y="66"/>
                      <a:pt x="188" y="67"/>
                    </a:cubicBezTo>
                    <a:cubicBezTo>
                      <a:pt x="187" y="67"/>
                      <a:pt x="187" y="67"/>
                      <a:pt x="186" y="68"/>
                    </a:cubicBezTo>
                    <a:cubicBezTo>
                      <a:pt x="183" y="70"/>
                      <a:pt x="179" y="72"/>
                      <a:pt x="175" y="73"/>
                    </a:cubicBezTo>
                    <a:cubicBezTo>
                      <a:pt x="169" y="75"/>
                      <a:pt x="163" y="76"/>
                      <a:pt x="156" y="76"/>
                    </a:cubicBezTo>
                    <a:cubicBezTo>
                      <a:pt x="130" y="76"/>
                      <a:pt x="100" y="62"/>
                      <a:pt x="80" y="51"/>
                    </a:cubicBezTo>
                    <a:cubicBezTo>
                      <a:pt x="64" y="43"/>
                      <a:pt x="48" y="34"/>
                      <a:pt x="34" y="23"/>
                    </a:cubicBezTo>
                    <a:cubicBezTo>
                      <a:pt x="26" y="17"/>
                      <a:pt x="19" y="8"/>
                      <a:pt x="11" y="3"/>
                    </a:cubicBezTo>
                    <a:cubicBezTo>
                      <a:pt x="10" y="2"/>
                      <a:pt x="10" y="2"/>
                      <a:pt x="9" y="2"/>
                    </a:cubicBezTo>
                    <a:cubicBezTo>
                      <a:pt x="9" y="1"/>
                      <a:pt x="8" y="1"/>
                      <a:pt x="7" y="1"/>
                    </a:cubicBezTo>
                    <a:cubicBezTo>
                      <a:pt x="7" y="1"/>
                      <a:pt x="7" y="1"/>
                      <a:pt x="7" y="0"/>
                    </a:cubicBezTo>
                    <a:cubicBezTo>
                      <a:pt x="6" y="0"/>
                      <a:pt x="6" y="0"/>
                      <a:pt x="6" y="0"/>
                    </a:cubicBezTo>
                  </a:path>
                </a:pathLst>
              </a:custGeom>
              <a:solidFill>
                <a:srgbClr val="544D4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179" name="Freeform 91">
                <a:extLst>
                  <a:ext uri="{FF2B5EF4-FFF2-40B4-BE49-F238E27FC236}">
                    <a16:creationId xmlns:a16="http://schemas.microsoft.com/office/drawing/2014/main" id="{4945280C-F587-4E7D-8E84-3B8595F9FEB5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2405" y="2149"/>
                <a:ext cx="75" cy="69"/>
              </a:xfrm>
              <a:custGeom>
                <a:avLst/>
                <a:gdLst>
                  <a:gd name="T0" fmla="*/ 17 w 71"/>
                  <a:gd name="T1" fmla="*/ 16 h 65"/>
                  <a:gd name="T2" fmla="*/ 33 w 71"/>
                  <a:gd name="T3" fmla="*/ 8 h 65"/>
                  <a:gd name="T4" fmla="*/ 35 w 71"/>
                  <a:gd name="T5" fmla="*/ 5 h 65"/>
                  <a:gd name="T6" fmla="*/ 62 w 71"/>
                  <a:gd name="T7" fmla="*/ 19 h 65"/>
                  <a:gd name="T8" fmla="*/ 60 w 71"/>
                  <a:gd name="T9" fmla="*/ 52 h 65"/>
                  <a:gd name="T10" fmla="*/ 55 w 71"/>
                  <a:gd name="T11" fmla="*/ 56 h 65"/>
                  <a:gd name="T12" fmla="*/ 41 w 71"/>
                  <a:gd name="T13" fmla="*/ 59 h 65"/>
                  <a:gd name="T14" fmla="*/ 11 w 71"/>
                  <a:gd name="T15" fmla="*/ 42 h 65"/>
                  <a:gd name="T16" fmla="*/ 14 w 71"/>
                  <a:gd name="T17" fmla="*/ 19 h 65"/>
                  <a:gd name="T18" fmla="*/ 17 w 71"/>
                  <a:gd name="T19" fmla="*/ 16 h 65"/>
                  <a:gd name="T20" fmla="*/ 17 w 71"/>
                  <a:gd name="T21" fmla="*/ 16 h 65"/>
                  <a:gd name="T22" fmla="*/ 36 w 71"/>
                  <a:gd name="T23" fmla="*/ 0 h 65"/>
                  <a:gd name="T24" fmla="*/ 27 w 71"/>
                  <a:gd name="T25" fmla="*/ 1 h 65"/>
                  <a:gd name="T26" fmla="*/ 27 w 71"/>
                  <a:gd name="T27" fmla="*/ 1 h 65"/>
                  <a:gd name="T28" fmla="*/ 23 w 71"/>
                  <a:gd name="T29" fmla="*/ 2 h 65"/>
                  <a:gd name="T30" fmla="*/ 23 w 71"/>
                  <a:gd name="T31" fmla="*/ 4 h 65"/>
                  <a:gd name="T32" fmla="*/ 4 w 71"/>
                  <a:gd name="T33" fmla="*/ 41 h 65"/>
                  <a:gd name="T34" fmla="*/ 40 w 71"/>
                  <a:gd name="T35" fmla="*/ 65 h 65"/>
                  <a:gd name="T36" fmla="*/ 52 w 71"/>
                  <a:gd name="T37" fmla="*/ 63 h 65"/>
                  <a:gd name="T38" fmla="*/ 69 w 71"/>
                  <a:gd name="T39" fmla="*/ 47 h 65"/>
                  <a:gd name="T40" fmla="*/ 69 w 71"/>
                  <a:gd name="T41" fmla="*/ 24 h 65"/>
                  <a:gd name="T42" fmla="*/ 36 w 71"/>
                  <a:gd name="T43" fmla="*/ 0 h 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71" h="65">
                    <a:moveTo>
                      <a:pt x="17" y="16"/>
                    </a:moveTo>
                    <a:cubicBezTo>
                      <a:pt x="21" y="12"/>
                      <a:pt x="28" y="10"/>
                      <a:pt x="33" y="8"/>
                    </a:cubicBezTo>
                    <a:cubicBezTo>
                      <a:pt x="35" y="7"/>
                      <a:pt x="35" y="6"/>
                      <a:pt x="35" y="5"/>
                    </a:cubicBezTo>
                    <a:cubicBezTo>
                      <a:pt x="46" y="6"/>
                      <a:pt x="57" y="10"/>
                      <a:pt x="62" y="19"/>
                    </a:cubicBezTo>
                    <a:cubicBezTo>
                      <a:pt x="66" y="29"/>
                      <a:pt x="67" y="43"/>
                      <a:pt x="60" y="52"/>
                    </a:cubicBezTo>
                    <a:cubicBezTo>
                      <a:pt x="59" y="53"/>
                      <a:pt x="57" y="55"/>
                      <a:pt x="55" y="56"/>
                    </a:cubicBezTo>
                    <a:cubicBezTo>
                      <a:pt x="51" y="58"/>
                      <a:pt x="46" y="59"/>
                      <a:pt x="41" y="59"/>
                    </a:cubicBezTo>
                    <a:cubicBezTo>
                      <a:pt x="28" y="59"/>
                      <a:pt x="15" y="53"/>
                      <a:pt x="11" y="42"/>
                    </a:cubicBezTo>
                    <a:cubicBezTo>
                      <a:pt x="9" y="36"/>
                      <a:pt x="10" y="26"/>
                      <a:pt x="14" y="19"/>
                    </a:cubicBezTo>
                    <a:cubicBezTo>
                      <a:pt x="15" y="18"/>
                      <a:pt x="16" y="17"/>
                      <a:pt x="17" y="16"/>
                    </a:cubicBezTo>
                    <a:cubicBezTo>
                      <a:pt x="17" y="16"/>
                      <a:pt x="17" y="16"/>
                      <a:pt x="17" y="16"/>
                    </a:cubicBezTo>
                    <a:moveTo>
                      <a:pt x="36" y="0"/>
                    </a:moveTo>
                    <a:cubicBezTo>
                      <a:pt x="33" y="0"/>
                      <a:pt x="30" y="1"/>
                      <a:pt x="27" y="1"/>
                    </a:cubicBezTo>
                    <a:cubicBezTo>
                      <a:pt x="27" y="1"/>
                      <a:pt x="27" y="1"/>
                      <a:pt x="27" y="1"/>
                    </a:cubicBezTo>
                    <a:cubicBezTo>
                      <a:pt x="26" y="1"/>
                      <a:pt x="25" y="2"/>
                      <a:pt x="23" y="2"/>
                    </a:cubicBezTo>
                    <a:cubicBezTo>
                      <a:pt x="22" y="2"/>
                      <a:pt x="22" y="3"/>
                      <a:pt x="23" y="4"/>
                    </a:cubicBezTo>
                    <a:cubicBezTo>
                      <a:pt x="8" y="9"/>
                      <a:pt x="0" y="26"/>
                      <a:pt x="4" y="41"/>
                    </a:cubicBezTo>
                    <a:cubicBezTo>
                      <a:pt x="8" y="57"/>
                      <a:pt x="25" y="65"/>
                      <a:pt x="40" y="65"/>
                    </a:cubicBezTo>
                    <a:cubicBezTo>
                      <a:pt x="44" y="65"/>
                      <a:pt x="48" y="64"/>
                      <a:pt x="52" y="63"/>
                    </a:cubicBezTo>
                    <a:cubicBezTo>
                      <a:pt x="61" y="60"/>
                      <a:pt x="66" y="55"/>
                      <a:pt x="69" y="47"/>
                    </a:cubicBezTo>
                    <a:cubicBezTo>
                      <a:pt x="71" y="40"/>
                      <a:pt x="71" y="32"/>
                      <a:pt x="69" y="24"/>
                    </a:cubicBezTo>
                    <a:cubicBezTo>
                      <a:pt x="64" y="8"/>
                      <a:pt x="51" y="0"/>
                      <a:pt x="36" y="0"/>
                    </a:cubicBezTo>
                  </a:path>
                </a:pathLst>
              </a:custGeom>
              <a:solidFill>
                <a:srgbClr val="544D4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180" name="Freeform 92">
                <a:extLst>
                  <a:ext uri="{FF2B5EF4-FFF2-40B4-BE49-F238E27FC236}">
                    <a16:creationId xmlns:a16="http://schemas.microsoft.com/office/drawing/2014/main" id="{6A5B5F7B-3177-4B7F-B55D-807C0C0292DF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055" y="2074"/>
                <a:ext cx="743" cy="209"/>
              </a:xfrm>
              <a:custGeom>
                <a:avLst/>
                <a:gdLst>
                  <a:gd name="T0" fmla="*/ 4 w 702"/>
                  <a:gd name="T1" fmla="*/ 0 h 198"/>
                  <a:gd name="T2" fmla="*/ 2 w 702"/>
                  <a:gd name="T3" fmla="*/ 4 h 198"/>
                  <a:gd name="T4" fmla="*/ 79 w 702"/>
                  <a:gd name="T5" fmla="*/ 62 h 198"/>
                  <a:gd name="T6" fmla="*/ 79 w 702"/>
                  <a:gd name="T7" fmla="*/ 62 h 198"/>
                  <a:gd name="T8" fmla="*/ 331 w 702"/>
                  <a:gd name="T9" fmla="*/ 158 h 198"/>
                  <a:gd name="T10" fmla="*/ 523 w 702"/>
                  <a:gd name="T11" fmla="*/ 196 h 198"/>
                  <a:gd name="T12" fmla="*/ 560 w 702"/>
                  <a:gd name="T13" fmla="*/ 198 h 198"/>
                  <a:gd name="T14" fmla="*/ 654 w 702"/>
                  <a:gd name="T15" fmla="*/ 186 h 198"/>
                  <a:gd name="T16" fmla="*/ 654 w 702"/>
                  <a:gd name="T17" fmla="*/ 186 h 198"/>
                  <a:gd name="T18" fmla="*/ 701 w 702"/>
                  <a:gd name="T19" fmla="*/ 168 h 198"/>
                  <a:gd name="T20" fmla="*/ 701 w 702"/>
                  <a:gd name="T21" fmla="*/ 167 h 198"/>
                  <a:gd name="T22" fmla="*/ 701 w 702"/>
                  <a:gd name="T23" fmla="*/ 167 h 198"/>
                  <a:gd name="T24" fmla="*/ 654 w 702"/>
                  <a:gd name="T25" fmla="*/ 183 h 198"/>
                  <a:gd name="T26" fmla="*/ 654 w 702"/>
                  <a:gd name="T27" fmla="*/ 183 h 198"/>
                  <a:gd name="T28" fmla="*/ 567 w 702"/>
                  <a:gd name="T29" fmla="*/ 194 h 198"/>
                  <a:gd name="T30" fmla="*/ 325 w 702"/>
                  <a:gd name="T31" fmla="*/ 150 h 198"/>
                  <a:gd name="T32" fmla="*/ 151 w 702"/>
                  <a:gd name="T33" fmla="*/ 91 h 198"/>
                  <a:gd name="T34" fmla="*/ 83 w 702"/>
                  <a:gd name="T35" fmla="*/ 55 h 198"/>
                  <a:gd name="T36" fmla="*/ 83 w 702"/>
                  <a:gd name="T37" fmla="*/ 55 h 198"/>
                  <a:gd name="T38" fmla="*/ 5 w 702"/>
                  <a:gd name="T39" fmla="*/ 0 h 198"/>
                  <a:gd name="T40" fmla="*/ 4 w 702"/>
                  <a:gd name="T41" fmla="*/ 0 h 1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702" h="198">
                    <a:moveTo>
                      <a:pt x="4" y="0"/>
                    </a:moveTo>
                    <a:cubicBezTo>
                      <a:pt x="2" y="0"/>
                      <a:pt x="0" y="2"/>
                      <a:pt x="2" y="4"/>
                    </a:cubicBezTo>
                    <a:cubicBezTo>
                      <a:pt x="25" y="26"/>
                      <a:pt x="51" y="45"/>
                      <a:pt x="79" y="62"/>
                    </a:cubicBezTo>
                    <a:cubicBezTo>
                      <a:pt x="79" y="62"/>
                      <a:pt x="79" y="62"/>
                      <a:pt x="79" y="62"/>
                    </a:cubicBezTo>
                    <a:cubicBezTo>
                      <a:pt x="156" y="109"/>
                      <a:pt x="245" y="136"/>
                      <a:pt x="331" y="158"/>
                    </a:cubicBezTo>
                    <a:cubicBezTo>
                      <a:pt x="394" y="174"/>
                      <a:pt x="458" y="192"/>
                      <a:pt x="523" y="196"/>
                    </a:cubicBezTo>
                    <a:cubicBezTo>
                      <a:pt x="536" y="197"/>
                      <a:pt x="548" y="198"/>
                      <a:pt x="560" y="198"/>
                    </a:cubicBezTo>
                    <a:cubicBezTo>
                      <a:pt x="592" y="198"/>
                      <a:pt x="624" y="195"/>
                      <a:pt x="654" y="186"/>
                    </a:cubicBezTo>
                    <a:cubicBezTo>
                      <a:pt x="654" y="186"/>
                      <a:pt x="654" y="186"/>
                      <a:pt x="654" y="186"/>
                    </a:cubicBezTo>
                    <a:cubicBezTo>
                      <a:pt x="670" y="182"/>
                      <a:pt x="686" y="176"/>
                      <a:pt x="701" y="168"/>
                    </a:cubicBezTo>
                    <a:cubicBezTo>
                      <a:pt x="702" y="167"/>
                      <a:pt x="701" y="167"/>
                      <a:pt x="701" y="167"/>
                    </a:cubicBezTo>
                    <a:cubicBezTo>
                      <a:pt x="701" y="167"/>
                      <a:pt x="701" y="167"/>
                      <a:pt x="701" y="167"/>
                    </a:cubicBezTo>
                    <a:cubicBezTo>
                      <a:pt x="685" y="174"/>
                      <a:pt x="670" y="179"/>
                      <a:pt x="654" y="183"/>
                    </a:cubicBezTo>
                    <a:cubicBezTo>
                      <a:pt x="654" y="183"/>
                      <a:pt x="654" y="183"/>
                      <a:pt x="654" y="183"/>
                    </a:cubicBezTo>
                    <a:cubicBezTo>
                      <a:pt x="625" y="191"/>
                      <a:pt x="596" y="194"/>
                      <a:pt x="567" y="194"/>
                    </a:cubicBezTo>
                    <a:cubicBezTo>
                      <a:pt x="485" y="194"/>
                      <a:pt x="402" y="170"/>
                      <a:pt x="325" y="150"/>
                    </a:cubicBezTo>
                    <a:cubicBezTo>
                      <a:pt x="266" y="135"/>
                      <a:pt x="207" y="117"/>
                      <a:pt x="151" y="91"/>
                    </a:cubicBezTo>
                    <a:cubicBezTo>
                      <a:pt x="128" y="80"/>
                      <a:pt x="105" y="68"/>
                      <a:pt x="83" y="55"/>
                    </a:cubicBezTo>
                    <a:cubicBezTo>
                      <a:pt x="83" y="55"/>
                      <a:pt x="83" y="55"/>
                      <a:pt x="83" y="55"/>
                    </a:cubicBezTo>
                    <a:cubicBezTo>
                      <a:pt x="56" y="38"/>
                      <a:pt x="30" y="20"/>
                      <a:pt x="5" y="0"/>
                    </a:cubicBezTo>
                    <a:cubicBezTo>
                      <a:pt x="5" y="0"/>
                      <a:pt x="4" y="0"/>
                      <a:pt x="4" y="0"/>
                    </a:cubicBezTo>
                  </a:path>
                </a:pathLst>
              </a:custGeom>
              <a:solidFill>
                <a:srgbClr val="544D4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181" name="Freeform 93">
                <a:extLst>
                  <a:ext uri="{FF2B5EF4-FFF2-40B4-BE49-F238E27FC236}">
                    <a16:creationId xmlns:a16="http://schemas.microsoft.com/office/drawing/2014/main" id="{D8A0008D-5189-44FC-92A3-ADEEB7E7BEE3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1994" y="1764"/>
                <a:ext cx="439" cy="398"/>
              </a:xfrm>
              <a:custGeom>
                <a:avLst/>
                <a:gdLst>
                  <a:gd name="T0" fmla="*/ 117 w 414"/>
                  <a:gd name="T1" fmla="*/ 15 h 376"/>
                  <a:gd name="T2" fmla="*/ 118 w 414"/>
                  <a:gd name="T3" fmla="*/ 15 h 376"/>
                  <a:gd name="T4" fmla="*/ 172 w 414"/>
                  <a:gd name="T5" fmla="*/ 5 h 376"/>
                  <a:gd name="T6" fmla="*/ 228 w 414"/>
                  <a:gd name="T7" fmla="*/ 18 h 376"/>
                  <a:gd name="T8" fmla="*/ 304 w 414"/>
                  <a:gd name="T9" fmla="*/ 78 h 376"/>
                  <a:gd name="T10" fmla="*/ 362 w 414"/>
                  <a:gd name="T11" fmla="*/ 174 h 376"/>
                  <a:gd name="T12" fmla="*/ 401 w 414"/>
                  <a:gd name="T13" fmla="*/ 288 h 376"/>
                  <a:gd name="T14" fmla="*/ 362 w 414"/>
                  <a:gd name="T15" fmla="*/ 357 h 376"/>
                  <a:gd name="T16" fmla="*/ 343 w 414"/>
                  <a:gd name="T17" fmla="*/ 366 h 376"/>
                  <a:gd name="T18" fmla="*/ 316 w 414"/>
                  <a:gd name="T19" fmla="*/ 370 h 376"/>
                  <a:gd name="T20" fmla="*/ 227 w 414"/>
                  <a:gd name="T21" fmla="*/ 343 h 376"/>
                  <a:gd name="T22" fmla="*/ 124 w 414"/>
                  <a:gd name="T23" fmla="*/ 280 h 376"/>
                  <a:gd name="T24" fmla="*/ 48 w 414"/>
                  <a:gd name="T25" fmla="*/ 215 h 376"/>
                  <a:gd name="T26" fmla="*/ 19 w 414"/>
                  <a:gd name="T27" fmla="*/ 95 h 376"/>
                  <a:gd name="T28" fmla="*/ 26 w 414"/>
                  <a:gd name="T29" fmla="*/ 79 h 376"/>
                  <a:gd name="T30" fmla="*/ 26 w 414"/>
                  <a:gd name="T31" fmla="*/ 79 h 376"/>
                  <a:gd name="T32" fmla="*/ 116 w 414"/>
                  <a:gd name="T33" fmla="*/ 13 h 376"/>
                  <a:gd name="T34" fmla="*/ 117 w 414"/>
                  <a:gd name="T35" fmla="*/ 15 h 376"/>
                  <a:gd name="T36" fmla="*/ 170 w 414"/>
                  <a:gd name="T37" fmla="*/ 0 h 376"/>
                  <a:gd name="T38" fmla="*/ 118 w 414"/>
                  <a:gd name="T39" fmla="*/ 12 h 376"/>
                  <a:gd name="T40" fmla="*/ 120 w 414"/>
                  <a:gd name="T41" fmla="*/ 10 h 376"/>
                  <a:gd name="T42" fmla="*/ 119 w 414"/>
                  <a:gd name="T43" fmla="*/ 4 h 376"/>
                  <a:gd name="T44" fmla="*/ 117 w 414"/>
                  <a:gd name="T45" fmla="*/ 5 h 376"/>
                  <a:gd name="T46" fmla="*/ 116 w 414"/>
                  <a:gd name="T47" fmla="*/ 5 h 376"/>
                  <a:gd name="T48" fmla="*/ 116 w 414"/>
                  <a:gd name="T49" fmla="*/ 5 h 376"/>
                  <a:gd name="T50" fmla="*/ 19 w 414"/>
                  <a:gd name="T51" fmla="*/ 75 h 376"/>
                  <a:gd name="T52" fmla="*/ 19 w 414"/>
                  <a:gd name="T53" fmla="*/ 178 h 376"/>
                  <a:gd name="T54" fmla="*/ 87 w 414"/>
                  <a:gd name="T55" fmla="*/ 262 h 376"/>
                  <a:gd name="T56" fmla="*/ 207 w 414"/>
                  <a:gd name="T57" fmla="*/ 341 h 376"/>
                  <a:gd name="T58" fmla="*/ 320 w 414"/>
                  <a:gd name="T59" fmla="*/ 376 h 376"/>
                  <a:gd name="T60" fmla="*/ 396 w 414"/>
                  <a:gd name="T61" fmla="*/ 334 h 376"/>
                  <a:gd name="T62" fmla="*/ 401 w 414"/>
                  <a:gd name="T63" fmla="*/ 325 h 376"/>
                  <a:gd name="T64" fmla="*/ 396 w 414"/>
                  <a:gd name="T65" fmla="*/ 227 h 376"/>
                  <a:gd name="T66" fmla="*/ 367 w 414"/>
                  <a:gd name="T67" fmla="*/ 170 h 376"/>
                  <a:gd name="T68" fmla="*/ 333 w 414"/>
                  <a:gd name="T69" fmla="*/ 106 h 376"/>
                  <a:gd name="T70" fmla="*/ 244 w 414"/>
                  <a:gd name="T71" fmla="*/ 22 h 376"/>
                  <a:gd name="T72" fmla="*/ 170 w 414"/>
                  <a:gd name="T73" fmla="*/ 0 h 3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414" h="376">
                    <a:moveTo>
                      <a:pt x="117" y="15"/>
                    </a:moveTo>
                    <a:cubicBezTo>
                      <a:pt x="118" y="15"/>
                      <a:pt x="118" y="15"/>
                      <a:pt x="118" y="15"/>
                    </a:cubicBezTo>
                    <a:cubicBezTo>
                      <a:pt x="136" y="8"/>
                      <a:pt x="154" y="5"/>
                      <a:pt x="172" y="5"/>
                    </a:cubicBezTo>
                    <a:cubicBezTo>
                      <a:pt x="191" y="5"/>
                      <a:pt x="209" y="9"/>
                      <a:pt x="228" y="18"/>
                    </a:cubicBezTo>
                    <a:cubicBezTo>
                      <a:pt x="258" y="32"/>
                      <a:pt x="283" y="54"/>
                      <a:pt x="304" y="78"/>
                    </a:cubicBezTo>
                    <a:cubicBezTo>
                      <a:pt x="329" y="107"/>
                      <a:pt x="345" y="140"/>
                      <a:pt x="362" y="174"/>
                    </a:cubicBezTo>
                    <a:cubicBezTo>
                      <a:pt x="380" y="210"/>
                      <a:pt x="403" y="245"/>
                      <a:pt x="401" y="288"/>
                    </a:cubicBezTo>
                    <a:cubicBezTo>
                      <a:pt x="400" y="318"/>
                      <a:pt x="386" y="343"/>
                      <a:pt x="362" y="357"/>
                    </a:cubicBezTo>
                    <a:cubicBezTo>
                      <a:pt x="356" y="361"/>
                      <a:pt x="350" y="364"/>
                      <a:pt x="343" y="366"/>
                    </a:cubicBezTo>
                    <a:cubicBezTo>
                      <a:pt x="334" y="369"/>
                      <a:pt x="325" y="370"/>
                      <a:pt x="316" y="370"/>
                    </a:cubicBezTo>
                    <a:cubicBezTo>
                      <a:pt x="285" y="370"/>
                      <a:pt x="253" y="357"/>
                      <a:pt x="227" y="343"/>
                    </a:cubicBezTo>
                    <a:cubicBezTo>
                      <a:pt x="191" y="325"/>
                      <a:pt x="157" y="303"/>
                      <a:pt x="124" y="280"/>
                    </a:cubicBezTo>
                    <a:cubicBezTo>
                      <a:pt x="97" y="261"/>
                      <a:pt x="69" y="241"/>
                      <a:pt x="48" y="215"/>
                    </a:cubicBezTo>
                    <a:cubicBezTo>
                      <a:pt x="23" y="184"/>
                      <a:pt x="7" y="134"/>
                      <a:pt x="19" y="95"/>
                    </a:cubicBezTo>
                    <a:cubicBezTo>
                      <a:pt x="21" y="89"/>
                      <a:pt x="23" y="84"/>
                      <a:pt x="26" y="79"/>
                    </a:cubicBezTo>
                    <a:cubicBezTo>
                      <a:pt x="26" y="79"/>
                      <a:pt x="26" y="79"/>
                      <a:pt x="26" y="79"/>
                    </a:cubicBezTo>
                    <a:cubicBezTo>
                      <a:pt x="44" y="47"/>
                      <a:pt x="85" y="31"/>
                      <a:pt x="116" y="13"/>
                    </a:cubicBezTo>
                    <a:cubicBezTo>
                      <a:pt x="115" y="14"/>
                      <a:pt x="116" y="15"/>
                      <a:pt x="117" y="15"/>
                    </a:cubicBezTo>
                    <a:moveTo>
                      <a:pt x="170" y="0"/>
                    </a:moveTo>
                    <a:cubicBezTo>
                      <a:pt x="153" y="0"/>
                      <a:pt x="135" y="4"/>
                      <a:pt x="118" y="12"/>
                    </a:cubicBezTo>
                    <a:cubicBezTo>
                      <a:pt x="119" y="11"/>
                      <a:pt x="120" y="11"/>
                      <a:pt x="120" y="10"/>
                    </a:cubicBezTo>
                    <a:cubicBezTo>
                      <a:pt x="124" y="8"/>
                      <a:pt x="122" y="4"/>
                      <a:pt x="119" y="4"/>
                    </a:cubicBezTo>
                    <a:cubicBezTo>
                      <a:pt x="118" y="4"/>
                      <a:pt x="117" y="5"/>
                      <a:pt x="117" y="5"/>
                    </a:cubicBezTo>
                    <a:cubicBezTo>
                      <a:pt x="116" y="5"/>
                      <a:pt x="116" y="5"/>
                      <a:pt x="116" y="5"/>
                    </a:cubicBezTo>
                    <a:cubicBezTo>
                      <a:pt x="116" y="5"/>
                      <a:pt x="116" y="5"/>
                      <a:pt x="116" y="5"/>
                    </a:cubicBezTo>
                    <a:cubicBezTo>
                      <a:pt x="82" y="22"/>
                      <a:pt x="39" y="42"/>
                      <a:pt x="19" y="75"/>
                    </a:cubicBezTo>
                    <a:cubicBezTo>
                      <a:pt x="0" y="105"/>
                      <a:pt x="7" y="146"/>
                      <a:pt x="19" y="178"/>
                    </a:cubicBezTo>
                    <a:cubicBezTo>
                      <a:pt x="31" y="214"/>
                      <a:pt x="58" y="239"/>
                      <a:pt x="87" y="262"/>
                    </a:cubicBezTo>
                    <a:cubicBezTo>
                      <a:pt x="124" y="292"/>
                      <a:pt x="165" y="318"/>
                      <a:pt x="207" y="341"/>
                    </a:cubicBezTo>
                    <a:cubicBezTo>
                      <a:pt x="239" y="358"/>
                      <a:pt x="281" y="376"/>
                      <a:pt x="320" y="376"/>
                    </a:cubicBezTo>
                    <a:cubicBezTo>
                      <a:pt x="350" y="376"/>
                      <a:pt x="378" y="365"/>
                      <a:pt x="396" y="334"/>
                    </a:cubicBezTo>
                    <a:cubicBezTo>
                      <a:pt x="398" y="331"/>
                      <a:pt x="399" y="328"/>
                      <a:pt x="401" y="325"/>
                    </a:cubicBezTo>
                    <a:cubicBezTo>
                      <a:pt x="414" y="294"/>
                      <a:pt x="409" y="258"/>
                      <a:pt x="396" y="227"/>
                    </a:cubicBezTo>
                    <a:cubicBezTo>
                      <a:pt x="388" y="207"/>
                      <a:pt x="377" y="189"/>
                      <a:pt x="367" y="170"/>
                    </a:cubicBezTo>
                    <a:cubicBezTo>
                      <a:pt x="356" y="149"/>
                      <a:pt x="346" y="127"/>
                      <a:pt x="333" y="106"/>
                    </a:cubicBezTo>
                    <a:cubicBezTo>
                      <a:pt x="311" y="72"/>
                      <a:pt x="279" y="43"/>
                      <a:pt x="244" y="22"/>
                    </a:cubicBezTo>
                    <a:cubicBezTo>
                      <a:pt x="219" y="8"/>
                      <a:pt x="195" y="0"/>
                      <a:pt x="170" y="0"/>
                    </a:cubicBezTo>
                  </a:path>
                </a:pathLst>
              </a:custGeom>
              <a:solidFill>
                <a:srgbClr val="544D4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182" name="Freeform 94">
                <a:extLst>
                  <a:ext uri="{FF2B5EF4-FFF2-40B4-BE49-F238E27FC236}">
                    <a16:creationId xmlns:a16="http://schemas.microsoft.com/office/drawing/2014/main" id="{1ADD61C3-CF98-4BC2-B598-4ED005D77F56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461" y="1902"/>
                <a:ext cx="479" cy="340"/>
              </a:xfrm>
              <a:custGeom>
                <a:avLst/>
                <a:gdLst>
                  <a:gd name="T0" fmla="*/ 287 w 452"/>
                  <a:gd name="T1" fmla="*/ 0 h 321"/>
                  <a:gd name="T2" fmla="*/ 287 w 452"/>
                  <a:gd name="T3" fmla="*/ 0 h 321"/>
                  <a:gd name="T4" fmla="*/ 287 w 452"/>
                  <a:gd name="T5" fmla="*/ 0 h 321"/>
                  <a:gd name="T6" fmla="*/ 287 w 452"/>
                  <a:gd name="T7" fmla="*/ 1 h 321"/>
                  <a:gd name="T8" fmla="*/ 438 w 452"/>
                  <a:gd name="T9" fmla="*/ 127 h 321"/>
                  <a:gd name="T10" fmla="*/ 352 w 452"/>
                  <a:gd name="T11" fmla="*/ 263 h 321"/>
                  <a:gd name="T12" fmla="*/ 314 w 452"/>
                  <a:gd name="T13" fmla="*/ 278 h 321"/>
                  <a:gd name="T14" fmla="*/ 208 w 452"/>
                  <a:gd name="T15" fmla="*/ 304 h 321"/>
                  <a:gd name="T16" fmla="*/ 143 w 452"/>
                  <a:gd name="T17" fmla="*/ 312 h 321"/>
                  <a:gd name="T18" fmla="*/ 97 w 452"/>
                  <a:gd name="T19" fmla="*/ 305 h 321"/>
                  <a:gd name="T20" fmla="*/ 36 w 452"/>
                  <a:gd name="T21" fmla="*/ 228 h 321"/>
                  <a:gd name="T22" fmla="*/ 50 w 452"/>
                  <a:gd name="T23" fmla="*/ 172 h 321"/>
                  <a:gd name="T24" fmla="*/ 50 w 452"/>
                  <a:gd name="T25" fmla="*/ 172 h 321"/>
                  <a:gd name="T26" fmla="*/ 77 w 452"/>
                  <a:gd name="T27" fmla="*/ 132 h 321"/>
                  <a:gd name="T28" fmla="*/ 290 w 452"/>
                  <a:gd name="T29" fmla="*/ 11 h 321"/>
                  <a:gd name="T30" fmla="*/ 290 w 452"/>
                  <a:gd name="T31" fmla="*/ 4 h 321"/>
                  <a:gd name="T32" fmla="*/ 289 w 452"/>
                  <a:gd name="T33" fmla="*/ 4 h 321"/>
                  <a:gd name="T34" fmla="*/ 189 w 452"/>
                  <a:gd name="T35" fmla="*/ 33 h 321"/>
                  <a:gd name="T36" fmla="*/ 189 w 452"/>
                  <a:gd name="T37" fmla="*/ 33 h 321"/>
                  <a:gd name="T38" fmla="*/ 77 w 452"/>
                  <a:gd name="T39" fmla="*/ 119 h 321"/>
                  <a:gd name="T40" fmla="*/ 61 w 452"/>
                  <a:gd name="T41" fmla="*/ 295 h 321"/>
                  <a:gd name="T42" fmla="*/ 144 w 452"/>
                  <a:gd name="T43" fmla="*/ 321 h 321"/>
                  <a:gd name="T44" fmla="*/ 157 w 452"/>
                  <a:gd name="T45" fmla="*/ 320 h 321"/>
                  <a:gd name="T46" fmla="*/ 221 w 452"/>
                  <a:gd name="T47" fmla="*/ 309 h 321"/>
                  <a:gd name="T48" fmla="*/ 291 w 452"/>
                  <a:gd name="T49" fmla="*/ 294 h 321"/>
                  <a:gd name="T50" fmla="*/ 437 w 452"/>
                  <a:gd name="T51" fmla="*/ 197 h 321"/>
                  <a:gd name="T52" fmla="*/ 447 w 452"/>
                  <a:gd name="T53" fmla="*/ 157 h 321"/>
                  <a:gd name="T54" fmla="*/ 290 w 452"/>
                  <a:gd name="T55" fmla="*/ 0 h 321"/>
                  <a:gd name="T56" fmla="*/ 290 w 452"/>
                  <a:gd name="T57" fmla="*/ 0 h 321"/>
                  <a:gd name="T58" fmla="*/ 287 w 452"/>
                  <a:gd name="T59" fmla="*/ 0 h 321"/>
                  <a:gd name="T60" fmla="*/ 287 w 452"/>
                  <a:gd name="T61" fmla="*/ 0 h 3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452" h="321">
                    <a:moveTo>
                      <a:pt x="287" y="0"/>
                    </a:moveTo>
                    <a:cubicBezTo>
                      <a:pt x="287" y="0"/>
                      <a:pt x="286" y="0"/>
                      <a:pt x="287" y="0"/>
                    </a:cubicBezTo>
                    <a:cubicBezTo>
                      <a:pt x="287" y="0"/>
                      <a:pt x="287" y="0"/>
                      <a:pt x="287" y="0"/>
                    </a:cubicBezTo>
                    <a:cubicBezTo>
                      <a:pt x="287" y="1"/>
                      <a:pt x="287" y="1"/>
                      <a:pt x="287" y="1"/>
                    </a:cubicBezTo>
                    <a:cubicBezTo>
                      <a:pt x="355" y="9"/>
                      <a:pt x="423" y="56"/>
                      <a:pt x="438" y="127"/>
                    </a:cubicBezTo>
                    <a:cubicBezTo>
                      <a:pt x="452" y="193"/>
                      <a:pt x="406" y="238"/>
                      <a:pt x="352" y="263"/>
                    </a:cubicBezTo>
                    <a:cubicBezTo>
                      <a:pt x="340" y="269"/>
                      <a:pt x="327" y="274"/>
                      <a:pt x="314" y="278"/>
                    </a:cubicBezTo>
                    <a:cubicBezTo>
                      <a:pt x="280" y="290"/>
                      <a:pt x="244" y="296"/>
                      <a:pt x="208" y="304"/>
                    </a:cubicBezTo>
                    <a:cubicBezTo>
                      <a:pt x="187" y="308"/>
                      <a:pt x="165" y="312"/>
                      <a:pt x="143" y="312"/>
                    </a:cubicBezTo>
                    <a:cubicBezTo>
                      <a:pt x="127" y="312"/>
                      <a:pt x="112" y="310"/>
                      <a:pt x="97" y="305"/>
                    </a:cubicBezTo>
                    <a:cubicBezTo>
                      <a:pt x="63" y="293"/>
                      <a:pt x="37" y="266"/>
                      <a:pt x="36" y="228"/>
                    </a:cubicBezTo>
                    <a:cubicBezTo>
                      <a:pt x="36" y="208"/>
                      <a:pt x="41" y="190"/>
                      <a:pt x="50" y="172"/>
                    </a:cubicBezTo>
                    <a:cubicBezTo>
                      <a:pt x="50" y="172"/>
                      <a:pt x="50" y="172"/>
                      <a:pt x="50" y="172"/>
                    </a:cubicBezTo>
                    <a:cubicBezTo>
                      <a:pt x="57" y="158"/>
                      <a:pt x="67" y="145"/>
                      <a:pt x="77" y="132"/>
                    </a:cubicBezTo>
                    <a:cubicBezTo>
                      <a:pt x="129" y="67"/>
                      <a:pt x="208" y="21"/>
                      <a:pt x="290" y="11"/>
                    </a:cubicBezTo>
                    <a:cubicBezTo>
                      <a:pt x="295" y="11"/>
                      <a:pt x="294" y="4"/>
                      <a:pt x="290" y="4"/>
                    </a:cubicBezTo>
                    <a:cubicBezTo>
                      <a:pt x="290" y="4"/>
                      <a:pt x="290" y="4"/>
                      <a:pt x="289" y="4"/>
                    </a:cubicBezTo>
                    <a:cubicBezTo>
                      <a:pt x="254" y="8"/>
                      <a:pt x="220" y="18"/>
                      <a:pt x="189" y="33"/>
                    </a:cubicBezTo>
                    <a:cubicBezTo>
                      <a:pt x="189" y="33"/>
                      <a:pt x="189" y="33"/>
                      <a:pt x="189" y="33"/>
                    </a:cubicBezTo>
                    <a:cubicBezTo>
                      <a:pt x="146" y="54"/>
                      <a:pt x="108" y="83"/>
                      <a:pt x="77" y="119"/>
                    </a:cubicBezTo>
                    <a:cubicBezTo>
                      <a:pt x="35" y="167"/>
                      <a:pt x="0" y="246"/>
                      <a:pt x="61" y="295"/>
                    </a:cubicBezTo>
                    <a:cubicBezTo>
                      <a:pt x="84" y="314"/>
                      <a:pt x="114" y="321"/>
                      <a:pt x="144" y="321"/>
                    </a:cubicBezTo>
                    <a:cubicBezTo>
                      <a:pt x="148" y="321"/>
                      <a:pt x="153" y="320"/>
                      <a:pt x="157" y="320"/>
                    </a:cubicBezTo>
                    <a:cubicBezTo>
                      <a:pt x="179" y="319"/>
                      <a:pt x="200" y="314"/>
                      <a:pt x="221" y="309"/>
                    </a:cubicBezTo>
                    <a:cubicBezTo>
                      <a:pt x="244" y="304"/>
                      <a:pt x="268" y="300"/>
                      <a:pt x="291" y="294"/>
                    </a:cubicBezTo>
                    <a:cubicBezTo>
                      <a:pt x="347" y="278"/>
                      <a:pt x="413" y="251"/>
                      <a:pt x="437" y="197"/>
                    </a:cubicBezTo>
                    <a:cubicBezTo>
                      <a:pt x="443" y="185"/>
                      <a:pt x="446" y="171"/>
                      <a:pt x="447" y="157"/>
                    </a:cubicBezTo>
                    <a:cubicBezTo>
                      <a:pt x="452" y="73"/>
                      <a:pt x="369" y="4"/>
                      <a:pt x="290" y="0"/>
                    </a:cubicBezTo>
                    <a:cubicBezTo>
                      <a:pt x="290" y="0"/>
                      <a:pt x="290" y="0"/>
                      <a:pt x="290" y="0"/>
                    </a:cubicBezTo>
                    <a:cubicBezTo>
                      <a:pt x="289" y="0"/>
                      <a:pt x="288" y="0"/>
                      <a:pt x="287" y="0"/>
                    </a:cubicBezTo>
                    <a:cubicBezTo>
                      <a:pt x="287" y="0"/>
                      <a:pt x="287" y="0"/>
                      <a:pt x="287" y="0"/>
                    </a:cubicBezTo>
                  </a:path>
                </a:pathLst>
              </a:custGeom>
              <a:solidFill>
                <a:srgbClr val="544D4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183" name="Freeform 95">
                <a:extLst>
                  <a:ext uri="{FF2B5EF4-FFF2-40B4-BE49-F238E27FC236}">
                    <a16:creationId xmlns:a16="http://schemas.microsoft.com/office/drawing/2014/main" id="{AC746C51-BC2C-4B8F-9E9E-E0B851DC5833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555" y="2027"/>
                <a:ext cx="146" cy="148"/>
              </a:xfrm>
              <a:custGeom>
                <a:avLst/>
                <a:gdLst>
                  <a:gd name="T0" fmla="*/ 67 w 138"/>
                  <a:gd name="T1" fmla="*/ 0 h 140"/>
                  <a:gd name="T2" fmla="*/ 66 w 138"/>
                  <a:gd name="T3" fmla="*/ 0 h 140"/>
                  <a:gd name="T4" fmla="*/ 34 w 138"/>
                  <a:gd name="T5" fmla="*/ 10 h 140"/>
                  <a:gd name="T6" fmla="*/ 34 w 138"/>
                  <a:gd name="T7" fmla="*/ 10 h 140"/>
                  <a:gd name="T8" fmla="*/ 17 w 138"/>
                  <a:gd name="T9" fmla="*/ 24 h 140"/>
                  <a:gd name="T10" fmla="*/ 17 w 138"/>
                  <a:gd name="T11" fmla="*/ 24 h 140"/>
                  <a:gd name="T12" fmla="*/ 12 w 138"/>
                  <a:gd name="T13" fmla="*/ 30 h 140"/>
                  <a:gd name="T14" fmla="*/ 13 w 138"/>
                  <a:gd name="T15" fmla="*/ 30 h 140"/>
                  <a:gd name="T16" fmla="*/ 14 w 138"/>
                  <a:gd name="T17" fmla="*/ 30 h 140"/>
                  <a:gd name="T18" fmla="*/ 14 w 138"/>
                  <a:gd name="T19" fmla="*/ 34 h 140"/>
                  <a:gd name="T20" fmla="*/ 9 w 138"/>
                  <a:gd name="T21" fmla="*/ 35 h 140"/>
                  <a:gd name="T22" fmla="*/ 1 w 138"/>
                  <a:gd name="T23" fmla="*/ 75 h 140"/>
                  <a:gd name="T24" fmla="*/ 66 w 138"/>
                  <a:gd name="T25" fmla="*/ 140 h 140"/>
                  <a:gd name="T26" fmla="*/ 70 w 138"/>
                  <a:gd name="T27" fmla="*/ 140 h 140"/>
                  <a:gd name="T28" fmla="*/ 117 w 138"/>
                  <a:gd name="T29" fmla="*/ 121 h 140"/>
                  <a:gd name="T30" fmla="*/ 120 w 138"/>
                  <a:gd name="T31" fmla="*/ 112 h 140"/>
                  <a:gd name="T32" fmla="*/ 122 w 138"/>
                  <a:gd name="T33" fmla="*/ 111 h 140"/>
                  <a:gd name="T34" fmla="*/ 124 w 138"/>
                  <a:gd name="T35" fmla="*/ 113 h 140"/>
                  <a:gd name="T36" fmla="*/ 124 w 138"/>
                  <a:gd name="T37" fmla="*/ 114 h 140"/>
                  <a:gd name="T38" fmla="*/ 131 w 138"/>
                  <a:gd name="T39" fmla="*/ 105 h 140"/>
                  <a:gd name="T40" fmla="*/ 133 w 138"/>
                  <a:gd name="T41" fmla="*/ 100 h 140"/>
                  <a:gd name="T42" fmla="*/ 137 w 138"/>
                  <a:gd name="T43" fmla="*/ 79 h 140"/>
                  <a:gd name="T44" fmla="*/ 121 w 138"/>
                  <a:gd name="T45" fmla="*/ 30 h 140"/>
                  <a:gd name="T46" fmla="*/ 76 w 138"/>
                  <a:gd name="T47" fmla="*/ 2 h 140"/>
                  <a:gd name="T48" fmla="*/ 75 w 138"/>
                  <a:gd name="T49" fmla="*/ 2 h 140"/>
                  <a:gd name="T50" fmla="*/ 75 w 138"/>
                  <a:gd name="T51" fmla="*/ 5 h 140"/>
                  <a:gd name="T52" fmla="*/ 129 w 138"/>
                  <a:gd name="T53" fmla="*/ 65 h 140"/>
                  <a:gd name="T54" fmla="*/ 115 w 138"/>
                  <a:gd name="T55" fmla="*/ 114 h 140"/>
                  <a:gd name="T56" fmla="*/ 106 w 138"/>
                  <a:gd name="T57" fmla="*/ 122 h 140"/>
                  <a:gd name="T58" fmla="*/ 106 w 138"/>
                  <a:gd name="T59" fmla="*/ 122 h 140"/>
                  <a:gd name="T60" fmla="*/ 71 w 138"/>
                  <a:gd name="T61" fmla="*/ 134 h 140"/>
                  <a:gd name="T62" fmla="*/ 61 w 138"/>
                  <a:gd name="T63" fmla="*/ 133 h 140"/>
                  <a:gd name="T64" fmla="*/ 9 w 138"/>
                  <a:gd name="T65" fmla="*/ 69 h 140"/>
                  <a:gd name="T66" fmla="*/ 20 w 138"/>
                  <a:gd name="T67" fmla="*/ 32 h 140"/>
                  <a:gd name="T68" fmla="*/ 28 w 138"/>
                  <a:gd name="T69" fmla="*/ 22 h 140"/>
                  <a:gd name="T70" fmla="*/ 68 w 138"/>
                  <a:gd name="T71" fmla="*/ 7 h 140"/>
                  <a:gd name="T72" fmla="*/ 67 w 138"/>
                  <a:gd name="T73" fmla="*/ 0 h 1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138" h="140">
                    <a:moveTo>
                      <a:pt x="67" y="0"/>
                    </a:moveTo>
                    <a:cubicBezTo>
                      <a:pt x="67" y="0"/>
                      <a:pt x="67" y="0"/>
                      <a:pt x="66" y="0"/>
                    </a:cubicBezTo>
                    <a:cubicBezTo>
                      <a:pt x="54" y="2"/>
                      <a:pt x="43" y="5"/>
                      <a:pt x="34" y="10"/>
                    </a:cubicBezTo>
                    <a:cubicBezTo>
                      <a:pt x="34" y="10"/>
                      <a:pt x="34" y="10"/>
                      <a:pt x="34" y="10"/>
                    </a:cubicBezTo>
                    <a:cubicBezTo>
                      <a:pt x="27" y="14"/>
                      <a:pt x="21" y="18"/>
                      <a:pt x="17" y="24"/>
                    </a:cubicBezTo>
                    <a:cubicBezTo>
                      <a:pt x="17" y="24"/>
                      <a:pt x="17" y="24"/>
                      <a:pt x="17" y="24"/>
                    </a:cubicBezTo>
                    <a:cubicBezTo>
                      <a:pt x="15" y="26"/>
                      <a:pt x="13" y="28"/>
                      <a:pt x="12" y="30"/>
                    </a:cubicBezTo>
                    <a:cubicBezTo>
                      <a:pt x="12" y="30"/>
                      <a:pt x="13" y="30"/>
                      <a:pt x="13" y="30"/>
                    </a:cubicBezTo>
                    <a:cubicBezTo>
                      <a:pt x="13" y="30"/>
                      <a:pt x="14" y="30"/>
                      <a:pt x="14" y="30"/>
                    </a:cubicBezTo>
                    <a:cubicBezTo>
                      <a:pt x="17" y="30"/>
                      <a:pt x="17" y="34"/>
                      <a:pt x="14" y="34"/>
                    </a:cubicBezTo>
                    <a:cubicBezTo>
                      <a:pt x="12" y="34"/>
                      <a:pt x="10" y="34"/>
                      <a:pt x="9" y="35"/>
                    </a:cubicBezTo>
                    <a:cubicBezTo>
                      <a:pt x="3" y="46"/>
                      <a:pt x="0" y="59"/>
                      <a:pt x="1" y="75"/>
                    </a:cubicBezTo>
                    <a:cubicBezTo>
                      <a:pt x="2" y="105"/>
                      <a:pt x="35" y="137"/>
                      <a:pt x="66" y="140"/>
                    </a:cubicBezTo>
                    <a:cubicBezTo>
                      <a:pt x="67" y="140"/>
                      <a:pt x="68" y="140"/>
                      <a:pt x="70" y="140"/>
                    </a:cubicBezTo>
                    <a:cubicBezTo>
                      <a:pt x="86" y="140"/>
                      <a:pt x="104" y="133"/>
                      <a:pt x="117" y="121"/>
                    </a:cubicBezTo>
                    <a:cubicBezTo>
                      <a:pt x="118" y="118"/>
                      <a:pt x="119" y="115"/>
                      <a:pt x="120" y="112"/>
                    </a:cubicBezTo>
                    <a:cubicBezTo>
                      <a:pt x="121" y="112"/>
                      <a:pt x="122" y="111"/>
                      <a:pt x="122" y="111"/>
                    </a:cubicBezTo>
                    <a:cubicBezTo>
                      <a:pt x="123" y="111"/>
                      <a:pt x="124" y="112"/>
                      <a:pt x="124" y="113"/>
                    </a:cubicBezTo>
                    <a:cubicBezTo>
                      <a:pt x="124" y="114"/>
                      <a:pt x="124" y="114"/>
                      <a:pt x="124" y="114"/>
                    </a:cubicBezTo>
                    <a:cubicBezTo>
                      <a:pt x="127" y="111"/>
                      <a:pt x="129" y="108"/>
                      <a:pt x="131" y="105"/>
                    </a:cubicBezTo>
                    <a:cubicBezTo>
                      <a:pt x="132" y="103"/>
                      <a:pt x="133" y="101"/>
                      <a:pt x="133" y="100"/>
                    </a:cubicBezTo>
                    <a:cubicBezTo>
                      <a:pt x="136" y="93"/>
                      <a:pt x="138" y="86"/>
                      <a:pt x="137" y="79"/>
                    </a:cubicBezTo>
                    <a:cubicBezTo>
                      <a:pt x="137" y="62"/>
                      <a:pt x="131" y="43"/>
                      <a:pt x="121" y="30"/>
                    </a:cubicBezTo>
                    <a:cubicBezTo>
                      <a:pt x="110" y="13"/>
                      <a:pt x="94" y="8"/>
                      <a:pt x="76" y="2"/>
                    </a:cubicBezTo>
                    <a:cubicBezTo>
                      <a:pt x="76" y="2"/>
                      <a:pt x="76" y="2"/>
                      <a:pt x="75" y="2"/>
                    </a:cubicBezTo>
                    <a:cubicBezTo>
                      <a:pt x="74" y="2"/>
                      <a:pt x="73" y="4"/>
                      <a:pt x="75" y="5"/>
                    </a:cubicBezTo>
                    <a:cubicBezTo>
                      <a:pt x="103" y="19"/>
                      <a:pt x="122" y="32"/>
                      <a:pt x="129" y="65"/>
                    </a:cubicBezTo>
                    <a:cubicBezTo>
                      <a:pt x="133" y="85"/>
                      <a:pt x="130" y="100"/>
                      <a:pt x="115" y="114"/>
                    </a:cubicBezTo>
                    <a:cubicBezTo>
                      <a:pt x="112" y="117"/>
                      <a:pt x="109" y="119"/>
                      <a:pt x="106" y="122"/>
                    </a:cubicBezTo>
                    <a:cubicBezTo>
                      <a:pt x="106" y="122"/>
                      <a:pt x="106" y="122"/>
                      <a:pt x="106" y="122"/>
                    </a:cubicBezTo>
                    <a:cubicBezTo>
                      <a:pt x="95" y="129"/>
                      <a:pt x="83" y="134"/>
                      <a:pt x="71" y="134"/>
                    </a:cubicBezTo>
                    <a:cubicBezTo>
                      <a:pt x="68" y="134"/>
                      <a:pt x="64" y="133"/>
                      <a:pt x="61" y="133"/>
                    </a:cubicBezTo>
                    <a:cubicBezTo>
                      <a:pt x="35" y="127"/>
                      <a:pt x="8" y="96"/>
                      <a:pt x="9" y="69"/>
                    </a:cubicBezTo>
                    <a:cubicBezTo>
                      <a:pt x="9" y="57"/>
                      <a:pt x="13" y="42"/>
                      <a:pt x="20" y="32"/>
                    </a:cubicBezTo>
                    <a:cubicBezTo>
                      <a:pt x="22" y="28"/>
                      <a:pt x="25" y="25"/>
                      <a:pt x="28" y="22"/>
                    </a:cubicBezTo>
                    <a:cubicBezTo>
                      <a:pt x="39" y="13"/>
                      <a:pt x="54" y="11"/>
                      <a:pt x="68" y="7"/>
                    </a:cubicBezTo>
                    <a:cubicBezTo>
                      <a:pt x="71" y="6"/>
                      <a:pt x="70" y="0"/>
                      <a:pt x="67" y="0"/>
                    </a:cubicBezTo>
                  </a:path>
                </a:pathLst>
              </a:custGeom>
              <a:solidFill>
                <a:srgbClr val="544D4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184" name="Freeform 96">
                <a:extLst>
                  <a:ext uri="{FF2B5EF4-FFF2-40B4-BE49-F238E27FC236}">
                    <a16:creationId xmlns:a16="http://schemas.microsoft.com/office/drawing/2014/main" id="{CDEE7370-934E-4CA4-A1AA-EF75B6A3688D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527" y="2059"/>
                <a:ext cx="159" cy="143"/>
              </a:xfrm>
              <a:custGeom>
                <a:avLst/>
                <a:gdLst>
                  <a:gd name="T0" fmla="*/ 39 w 150"/>
                  <a:gd name="T1" fmla="*/ 0 h 135"/>
                  <a:gd name="T2" fmla="*/ 38 w 150"/>
                  <a:gd name="T3" fmla="*/ 0 h 135"/>
                  <a:gd name="T4" fmla="*/ 31 w 150"/>
                  <a:gd name="T5" fmla="*/ 2 h 135"/>
                  <a:gd name="T6" fmla="*/ 31 w 150"/>
                  <a:gd name="T7" fmla="*/ 2 h 135"/>
                  <a:gd name="T8" fmla="*/ 8 w 150"/>
                  <a:gd name="T9" fmla="*/ 35 h 135"/>
                  <a:gd name="T10" fmla="*/ 29 w 150"/>
                  <a:gd name="T11" fmla="*/ 109 h 135"/>
                  <a:gd name="T12" fmla="*/ 86 w 150"/>
                  <a:gd name="T13" fmla="*/ 135 h 135"/>
                  <a:gd name="T14" fmla="*/ 144 w 150"/>
                  <a:gd name="T15" fmla="*/ 102 h 135"/>
                  <a:gd name="T16" fmla="*/ 150 w 150"/>
                  <a:gd name="T17" fmla="*/ 84 h 135"/>
                  <a:gd name="T18" fmla="*/ 150 w 150"/>
                  <a:gd name="T19" fmla="*/ 83 h 135"/>
                  <a:gd name="T20" fmla="*/ 148 w 150"/>
                  <a:gd name="T21" fmla="*/ 81 h 135"/>
                  <a:gd name="T22" fmla="*/ 146 w 150"/>
                  <a:gd name="T23" fmla="*/ 82 h 135"/>
                  <a:gd name="T24" fmla="*/ 143 w 150"/>
                  <a:gd name="T25" fmla="*/ 91 h 135"/>
                  <a:gd name="T26" fmla="*/ 119 w 150"/>
                  <a:gd name="T27" fmla="*/ 121 h 135"/>
                  <a:gd name="T28" fmla="*/ 92 w 150"/>
                  <a:gd name="T29" fmla="*/ 130 h 135"/>
                  <a:gd name="T30" fmla="*/ 91 w 150"/>
                  <a:gd name="T31" fmla="*/ 130 h 135"/>
                  <a:gd name="T32" fmla="*/ 27 w 150"/>
                  <a:gd name="T33" fmla="*/ 96 h 135"/>
                  <a:gd name="T34" fmla="*/ 13 w 150"/>
                  <a:gd name="T35" fmla="*/ 38 h 135"/>
                  <a:gd name="T36" fmla="*/ 26 w 150"/>
                  <a:gd name="T37" fmla="*/ 9 h 135"/>
                  <a:gd name="T38" fmla="*/ 26 w 150"/>
                  <a:gd name="T39" fmla="*/ 9 h 135"/>
                  <a:gd name="T40" fmla="*/ 35 w 150"/>
                  <a:gd name="T41" fmla="*/ 5 h 135"/>
                  <a:gd name="T42" fmla="*/ 40 w 150"/>
                  <a:gd name="T43" fmla="*/ 4 h 135"/>
                  <a:gd name="T44" fmla="*/ 40 w 150"/>
                  <a:gd name="T45" fmla="*/ 0 h 135"/>
                  <a:gd name="T46" fmla="*/ 39 w 150"/>
                  <a:gd name="T47" fmla="*/ 0 h 1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150" h="135">
                    <a:moveTo>
                      <a:pt x="39" y="0"/>
                    </a:moveTo>
                    <a:cubicBezTo>
                      <a:pt x="39" y="0"/>
                      <a:pt x="38" y="0"/>
                      <a:pt x="38" y="0"/>
                    </a:cubicBezTo>
                    <a:cubicBezTo>
                      <a:pt x="35" y="0"/>
                      <a:pt x="33" y="1"/>
                      <a:pt x="31" y="2"/>
                    </a:cubicBezTo>
                    <a:cubicBezTo>
                      <a:pt x="31" y="2"/>
                      <a:pt x="31" y="2"/>
                      <a:pt x="31" y="2"/>
                    </a:cubicBezTo>
                    <a:cubicBezTo>
                      <a:pt x="19" y="7"/>
                      <a:pt x="12" y="23"/>
                      <a:pt x="8" y="35"/>
                    </a:cubicBezTo>
                    <a:cubicBezTo>
                      <a:pt x="0" y="62"/>
                      <a:pt x="10" y="88"/>
                      <a:pt x="29" y="109"/>
                    </a:cubicBezTo>
                    <a:cubicBezTo>
                      <a:pt x="44" y="127"/>
                      <a:pt x="65" y="135"/>
                      <a:pt x="86" y="135"/>
                    </a:cubicBezTo>
                    <a:cubicBezTo>
                      <a:pt x="109" y="135"/>
                      <a:pt x="132" y="124"/>
                      <a:pt x="144" y="102"/>
                    </a:cubicBezTo>
                    <a:cubicBezTo>
                      <a:pt x="146" y="97"/>
                      <a:pt x="149" y="91"/>
                      <a:pt x="150" y="84"/>
                    </a:cubicBezTo>
                    <a:cubicBezTo>
                      <a:pt x="150" y="84"/>
                      <a:pt x="150" y="84"/>
                      <a:pt x="150" y="83"/>
                    </a:cubicBezTo>
                    <a:cubicBezTo>
                      <a:pt x="150" y="82"/>
                      <a:pt x="149" y="81"/>
                      <a:pt x="148" y="81"/>
                    </a:cubicBezTo>
                    <a:cubicBezTo>
                      <a:pt x="148" y="81"/>
                      <a:pt x="147" y="82"/>
                      <a:pt x="146" y="82"/>
                    </a:cubicBezTo>
                    <a:cubicBezTo>
                      <a:pt x="145" y="85"/>
                      <a:pt x="144" y="88"/>
                      <a:pt x="143" y="91"/>
                    </a:cubicBezTo>
                    <a:cubicBezTo>
                      <a:pt x="138" y="103"/>
                      <a:pt x="130" y="114"/>
                      <a:pt x="119" y="121"/>
                    </a:cubicBezTo>
                    <a:cubicBezTo>
                      <a:pt x="112" y="126"/>
                      <a:pt x="102" y="130"/>
                      <a:pt x="92" y="130"/>
                    </a:cubicBezTo>
                    <a:cubicBezTo>
                      <a:pt x="92" y="130"/>
                      <a:pt x="91" y="130"/>
                      <a:pt x="91" y="130"/>
                    </a:cubicBezTo>
                    <a:cubicBezTo>
                      <a:pt x="66" y="130"/>
                      <a:pt x="41" y="116"/>
                      <a:pt x="27" y="96"/>
                    </a:cubicBezTo>
                    <a:cubicBezTo>
                      <a:pt x="15" y="78"/>
                      <a:pt x="8" y="60"/>
                      <a:pt x="13" y="38"/>
                    </a:cubicBezTo>
                    <a:cubicBezTo>
                      <a:pt x="15" y="28"/>
                      <a:pt x="18" y="16"/>
                      <a:pt x="26" y="9"/>
                    </a:cubicBezTo>
                    <a:cubicBezTo>
                      <a:pt x="26" y="9"/>
                      <a:pt x="26" y="9"/>
                      <a:pt x="26" y="9"/>
                    </a:cubicBezTo>
                    <a:cubicBezTo>
                      <a:pt x="28" y="7"/>
                      <a:pt x="31" y="6"/>
                      <a:pt x="35" y="5"/>
                    </a:cubicBezTo>
                    <a:cubicBezTo>
                      <a:pt x="36" y="4"/>
                      <a:pt x="38" y="4"/>
                      <a:pt x="40" y="4"/>
                    </a:cubicBezTo>
                    <a:cubicBezTo>
                      <a:pt x="43" y="4"/>
                      <a:pt x="43" y="0"/>
                      <a:pt x="40" y="0"/>
                    </a:cubicBezTo>
                    <a:cubicBezTo>
                      <a:pt x="40" y="0"/>
                      <a:pt x="39" y="0"/>
                      <a:pt x="39" y="0"/>
                    </a:cubicBezTo>
                  </a:path>
                </a:pathLst>
              </a:custGeom>
              <a:solidFill>
                <a:srgbClr val="544D4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185" name="Freeform 97">
                <a:extLst>
                  <a:ext uri="{FF2B5EF4-FFF2-40B4-BE49-F238E27FC236}">
                    <a16:creationId xmlns:a16="http://schemas.microsoft.com/office/drawing/2014/main" id="{B4E8E765-A8BE-40C6-89DF-6A92B99EEAC8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751" y="1942"/>
                <a:ext cx="40" cy="50"/>
              </a:xfrm>
              <a:custGeom>
                <a:avLst/>
                <a:gdLst>
                  <a:gd name="T0" fmla="*/ 21 w 38"/>
                  <a:gd name="T1" fmla="*/ 0 h 47"/>
                  <a:gd name="T2" fmla="*/ 8 w 38"/>
                  <a:gd name="T3" fmla="*/ 4 h 47"/>
                  <a:gd name="T4" fmla="*/ 0 w 38"/>
                  <a:gd name="T5" fmla="*/ 8 h 47"/>
                  <a:gd name="T6" fmla="*/ 0 w 38"/>
                  <a:gd name="T7" fmla="*/ 8 h 47"/>
                  <a:gd name="T8" fmla="*/ 5 w 38"/>
                  <a:gd name="T9" fmla="*/ 12 h 47"/>
                  <a:gd name="T10" fmla="*/ 13 w 38"/>
                  <a:gd name="T11" fmla="*/ 8 h 47"/>
                  <a:gd name="T12" fmla="*/ 25 w 38"/>
                  <a:gd name="T13" fmla="*/ 3 h 47"/>
                  <a:gd name="T14" fmla="*/ 29 w 38"/>
                  <a:gd name="T15" fmla="*/ 6 h 47"/>
                  <a:gd name="T16" fmla="*/ 29 w 38"/>
                  <a:gd name="T17" fmla="*/ 24 h 47"/>
                  <a:gd name="T18" fmla="*/ 29 w 38"/>
                  <a:gd name="T19" fmla="*/ 27 h 47"/>
                  <a:gd name="T20" fmla="*/ 29 w 38"/>
                  <a:gd name="T21" fmla="*/ 38 h 47"/>
                  <a:gd name="T22" fmla="*/ 35 w 38"/>
                  <a:gd name="T23" fmla="*/ 41 h 47"/>
                  <a:gd name="T24" fmla="*/ 34 w 38"/>
                  <a:gd name="T25" fmla="*/ 43 h 47"/>
                  <a:gd name="T26" fmla="*/ 34 w 38"/>
                  <a:gd name="T27" fmla="*/ 43 h 47"/>
                  <a:gd name="T28" fmla="*/ 30 w 38"/>
                  <a:gd name="T29" fmla="*/ 42 h 47"/>
                  <a:gd name="T30" fmla="*/ 31 w 38"/>
                  <a:gd name="T31" fmla="*/ 45 h 47"/>
                  <a:gd name="T32" fmla="*/ 33 w 38"/>
                  <a:gd name="T33" fmla="*/ 47 h 47"/>
                  <a:gd name="T34" fmla="*/ 37 w 38"/>
                  <a:gd name="T35" fmla="*/ 43 h 47"/>
                  <a:gd name="T36" fmla="*/ 35 w 38"/>
                  <a:gd name="T37" fmla="*/ 29 h 47"/>
                  <a:gd name="T38" fmla="*/ 31 w 38"/>
                  <a:gd name="T39" fmla="*/ 1 h 47"/>
                  <a:gd name="T40" fmla="*/ 24 w 38"/>
                  <a:gd name="T41" fmla="*/ 2 h 47"/>
                  <a:gd name="T42" fmla="*/ 23 w 38"/>
                  <a:gd name="T43" fmla="*/ 2 h 47"/>
                  <a:gd name="T44" fmla="*/ 21 w 38"/>
                  <a:gd name="T45" fmla="*/ 0 h 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38" h="47">
                    <a:moveTo>
                      <a:pt x="21" y="0"/>
                    </a:moveTo>
                    <a:cubicBezTo>
                      <a:pt x="17" y="1"/>
                      <a:pt x="13" y="2"/>
                      <a:pt x="8" y="4"/>
                    </a:cubicBezTo>
                    <a:cubicBezTo>
                      <a:pt x="6" y="5"/>
                      <a:pt x="3" y="7"/>
                      <a:pt x="0" y="8"/>
                    </a:cubicBezTo>
                    <a:cubicBezTo>
                      <a:pt x="0" y="8"/>
                      <a:pt x="0" y="8"/>
                      <a:pt x="0" y="8"/>
                    </a:cubicBezTo>
                    <a:cubicBezTo>
                      <a:pt x="2" y="9"/>
                      <a:pt x="3" y="10"/>
                      <a:pt x="5" y="12"/>
                    </a:cubicBezTo>
                    <a:cubicBezTo>
                      <a:pt x="7" y="11"/>
                      <a:pt x="10" y="9"/>
                      <a:pt x="13" y="8"/>
                    </a:cubicBezTo>
                    <a:cubicBezTo>
                      <a:pt x="17" y="5"/>
                      <a:pt x="22" y="3"/>
                      <a:pt x="25" y="3"/>
                    </a:cubicBezTo>
                    <a:cubicBezTo>
                      <a:pt x="27" y="3"/>
                      <a:pt x="28" y="4"/>
                      <a:pt x="29" y="6"/>
                    </a:cubicBezTo>
                    <a:cubicBezTo>
                      <a:pt x="31" y="10"/>
                      <a:pt x="30" y="18"/>
                      <a:pt x="29" y="24"/>
                    </a:cubicBezTo>
                    <a:cubicBezTo>
                      <a:pt x="29" y="25"/>
                      <a:pt x="29" y="26"/>
                      <a:pt x="29" y="27"/>
                    </a:cubicBezTo>
                    <a:cubicBezTo>
                      <a:pt x="29" y="31"/>
                      <a:pt x="29" y="34"/>
                      <a:pt x="29" y="38"/>
                    </a:cubicBezTo>
                    <a:cubicBezTo>
                      <a:pt x="31" y="39"/>
                      <a:pt x="33" y="40"/>
                      <a:pt x="35" y="41"/>
                    </a:cubicBezTo>
                    <a:cubicBezTo>
                      <a:pt x="36" y="41"/>
                      <a:pt x="35" y="43"/>
                      <a:pt x="34" y="43"/>
                    </a:cubicBezTo>
                    <a:cubicBezTo>
                      <a:pt x="34" y="43"/>
                      <a:pt x="34" y="43"/>
                      <a:pt x="34" y="43"/>
                    </a:cubicBezTo>
                    <a:cubicBezTo>
                      <a:pt x="33" y="43"/>
                      <a:pt x="31" y="42"/>
                      <a:pt x="30" y="42"/>
                    </a:cubicBezTo>
                    <a:cubicBezTo>
                      <a:pt x="30" y="43"/>
                      <a:pt x="30" y="44"/>
                      <a:pt x="31" y="45"/>
                    </a:cubicBezTo>
                    <a:cubicBezTo>
                      <a:pt x="31" y="47"/>
                      <a:pt x="32" y="47"/>
                      <a:pt x="33" y="47"/>
                    </a:cubicBezTo>
                    <a:cubicBezTo>
                      <a:pt x="35" y="47"/>
                      <a:pt x="38" y="45"/>
                      <a:pt x="37" y="43"/>
                    </a:cubicBezTo>
                    <a:cubicBezTo>
                      <a:pt x="36" y="38"/>
                      <a:pt x="36" y="34"/>
                      <a:pt x="35" y="29"/>
                    </a:cubicBezTo>
                    <a:cubicBezTo>
                      <a:pt x="34" y="20"/>
                      <a:pt x="34" y="10"/>
                      <a:pt x="31" y="1"/>
                    </a:cubicBezTo>
                    <a:cubicBezTo>
                      <a:pt x="29" y="1"/>
                      <a:pt x="26" y="1"/>
                      <a:pt x="24" y="2"/>
                    </a:cubicBezTo>
                    <a:cubicBezTo>
                      <a:pt x="24" y="2"/>
                      <a:pt x="23" y="2"/>
                      <a:pt x="23" y="2"/>
                    </a:cubicBezTo>
                    <a:cubicBezTo>
                      <a:pt x="22" y="2"/>
                      <a:pt x="21" y="1"/>
                      <a:pt x="21" y="0"/>
                    </a:cubicBezTo>
                  </a:path>
                </a:pathLst>
              </a:custGeom>
              <a:solidFill>
                <a:srgbClr val="544D4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186" name="Freeform 98">
                <a:extLst>
                  <a:ext uri="{FF2B5EF4-FFF2-40B4-BE49-F238E27FC236}">
                    <a16:creationId xmlns:a16="http://schemas.microsoft.com/office/drawing/2014/main" id="{35A0EFED-B7B9-4E5E-80A2-16CF9C36D57A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773" y="1936"/>
                <a:ext cx="87" cy="65"/>
              </a:xfrm>
              <a:custGeom>
                <a:avLst/>
                <a:gdLst>
                  <a:gd name="T0" fmla="*/ 16 w 82"/>
                  <a:gd name="T1" fmla="*/ 0 h 61"/>
                  <a:gd name="T2" fmla="*/ 1 w 82"/>
                  <a:gd name="T3" fmla="*/ 4 h 61"/>
                  <a:gd name="T4" fmla="*/ 0 w 82"/>
                  <a:gd name="T5" fmla="*/ 6 h 61"/>
                  <a:gd name="T6" fmla="*/ 2 w 82"/>
                  <a:gd name="T7" fmla="*/ 8 h 61"/>
                  <a:gd name="T8" fmla="*/ 3 w 82"/>
                  <a:gd name="T9" fmla="*/ 8 h 61"/>
                  <a:gd name="T10" fmla="*/ 10 w 82"/>
                  <a:gd name="T11" fmla="*/ 7 h 61"/>
                  <a:gd name="T12" fmla="*/ 14 w 82"/>
                  <a:gd name="T13" fmla="*/ 7 h 61"/>
                  <a:gd name="T14" fmla="*/ 19 w 82"/>
                  <a:gd name="T15" fmla="*/ 7 h 61"/>
                  <a:gd name="T16" fmla="*/ 19 w 82"/>
                  <a:gd name="T17" fmla="*/ 7 h 61"/>
                  <a:gd name="T18" fmla="*/ 35 w 82"/>
                  <a:gd name="T19" fmla="*/ 10 h 61"/>
                  <a:gd name="T20" fmla="*/ 48 w 82"/>
                  <a:gd name="T21" fmla="*/ 13 h 61"/>
                  <a:gd name="T22" fmla="*/ 72 w 82"/>
                  <a:gd name="T23" fmla="*/ 22 h 61"/>
                  <a:gd name="T24" fmla="*/ 64 w 82"/>
                  <a:gd name="T25" fmla="*/ 41 h 61"/>
                  <a:gd name="T26" fmla="*/ 53 w 82"/>
                  <a:gd name="T27" fmla="*/ 57 h 61"/>
                  <a:gd name="T28" fmla="*/ 55 w 82"/>
                  <a:gd name="T29" fmla="*/ 61 h 61"/>
                  <a:gd name="T30" fmla="*/ 56 w 82"/>
                  <a:gd name="T31" fmla="*/ 61 h 61"/>
                  <a:gd name="T32" fmla="*/ 58 w 82"/>
                  <a:gd name="T33" fmla="*/ 61 h 61"/>
                  <a:gd name="T34" fmla="*/ 56 w 82"/>
                  <a:gd name="T35" fmla="*/ 58 h 61"/>
                  <a:gd name="T36" fmla="*/ 58 w 82"/>
                  <a:gd name="T37" fmla="*/ 56 h 61"/>
                  <a:gd name="T38" fmla="*/ 59 w 82"/>
                  <a:gd name="T39" fmla="*/ 56 h 61"/>
                  <a:gd name="T40" fmla="*/ 61 w 82"/>
                  <a:gd name="T41" fmla="*/ 57 h 61"/>
                  <a:gd name="T42" fmla="*/ 62 w 82"/>
                  <a:gd name="T43" fmla="*/ 57 h 61"/>
                  <a:gd name="T44" fmla="*/ 66 w 82"/>
                  <a:gd name="T45" fmla="*/ 49 h 61"/>
                  <a:gd name="T46" fmla="*/ 66 w 82"/>
                  <a:gd name="T47" fmla="*/ 49 h 61"/>
                  <a:gd name="T48" fmla="*/ 67 w 82"/>
                  <a:gd name="T49" fmla="*/ 48 h 61"/>
                  <a:gd name="T50" fmla="*/ 67 w 82"/>
                  <a:gd name="T51" fmla="*/ 48 h 61"/>
                  <a:gd name="T52" fmla="*/ 67 w 82"/>
                  <a:gd name="T53" fmla="*/ 48 h 61"/>
                  <a:gd name="T54" fmla="*/ 73 w 82"/>
                  <a:gd name="T55" fmla="*/ 39 h 61"/>
                  <a:gd name="T56" fmla="*/ 73 w 82"/>
                  <a:gd name="T57" fmla="*/ 39 h 61"/>
                  <a:gd name="T58" fmla="*/ 77 w 82"/>
                  <a:gd name="T59" fmla="*/ 32 h 61"/>
                  <a:gd name="T60" fmla="*/ 75 w 82"/>
                  <a:gd name="T61" fmla="*/ 30 h 61"/>
                  <a:gd name="T62" fmla="*/ 77 w 82"/>
                  <a:gd name="T63" fmla="*/ 26 h 61"/>
                  <a:gd name="T64" fmla="*/ 79 w 82"/>
                  <a:gd name="T65" fmla="*/ 27 h 61"/>
                  <a:gd name="T66" fmla="*/ 80 w 82"/>
                  <a:gd name="T67" fmla="*/ 27 h 61"/>
                  <a:gd name="T68" fmla="*/ 81 w 82"/>
                  <a:gd name="T69" fmla="*/ 23 h 61"/>
                  <a:gd name="T70" fmla="*/ 82 w 82"/>
                  <a:gd name="T71" fmla="*/ 22 h 61"/>
                  <a:gd name="T72" fmla="*/ 82 w 82"/>
                  <a:gd name="T73" fmla="*/ 22 h 61"/>
                  <a:gd name="T74" fmla="*/ 80 w 82"/>
                  <a:gd name="T75" fmla="*/ 19 h 61"/>
                  <a:gd name="T76" fmla="*/ 34 w 82"/>
                  <a:gd name="T77" fmla="*/ 2 h 61"/>
                  <a:gd name="T78" fmla="*/ 18 w 82"/>
                  <a:gd name="T79" fmla="*/ 0 h 61"/>
                  <a:gd name="T80" fmla="*/ 18 w 82"/>
                  <a:gd name="T81" fmla="*/ 0 h 61"/>
                  <a:gd name="T82" fmla="*/ 16 w 82"/>
                  <a:gd name="T83" fmla="*/ 0 h 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82" h="61">
                    <a:moveTo>
                      <a:pt x="16" y="0"/>
                    </a:moveTo>
                    <a:cubicBezTo>
                      <a:pt x="11" y="0"/>
                      <a:pt x="6" y="1"/>
                      <a:pt x="1" y="4"/>
                    </a:cubicBezTo>
                    <a:cubicBezTo>
                      <a:pt x="1" y="4"/>
                      <a:pt x="0" y="5"/>
                      <a:pt x="0" y="6"/>
                    </a:cubicBezTo>
                    <a:cubicBezTo>
                      <a:pt x="0" y="7"/>
                      <a:pt x="1" y="8"/>
                      <a:pt x="2" y="8"/>
                    </a:cubicBezTo>
                    <a:cubicBezTo>
                      <a:pt x="2" y="8"/>
                      <a:pt x="3" y="8"/>
                      <a:pt x="3" y="8"/>
                    </a:cubicBezTo>
                    <a:cubicBezTo>
                      <a:pt x="5" y="7"/>
                      <a:pt x="8" y="7"/>
                      <a:pt x="10" y="7"/>
                    </a:cubicBezTo>
                    <a:cubicBezTo>
                      <a:pt x="12" y="7"/>
                      <a:pt x="13" y="7"/>
                      <a:pt x="14" y="7"/>
                    </a:cubicBezTo>
                    <a:cubicBezTo>
                      <a:pt x="16" y="7"/>
                      <a:pt x="17" y="7"/>
                      <a:pt x="19" y="7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24" y="7"/>
                      <a:pt x="29" y="8"/>
                      <a:pt x="35" y="10"/>
                    </a:cubicBezTo>
                    <a:cubicBezTo>
                      <a:pt x="39" y="11"/>
                      <a:pt x="44" y="12"/>
                      <a:pt x="48" y="13"/>
                    </a:cubicBezTo>
                    <a:cubicBezTo>
                      <a:pt x="52" y="14"/>
                      <a:pt x="71" y="18"/>
                      <a:pt x="72" y="22"/>
                    </a:cubicBezTo>
                    <a:cubicBezTo>
                      <a:pt x="73" y="26"/>
                      <a:pt x="66" y="37"/>
                      <a:pt x="64" y="41"/>
                    </a:cubicBezTo>
                    <a:cubicBezTo>
                      <a:pt x="61" y="47"/>
                      <a:pt x="58" y="53"/>
                      <a:pt x="53" y="57"/>
                    </a:cubicBezTo>
                    <a:cubicBezTo>
                      <a:pt x="51" y="59"/>
                      <a:pt x="53" y="61"/>
                      <a:pt x="55" y="61"/>
                    </a:cubicBezTo>
                    <a:cubicBezTo>
                      <a:pt x="55" y="61"/>
                      <a:pt x="56" y="61"/>
                      <a:pt x="56" y="61"/>
                    </a:cubicBezTo>
                    <a:cubicBezTo>
                      <a:pt x="57" y="61"/>
                      <a:pt x="57" y="61"/>
                      <a:pt x="58" y="61"/>
                    </a:cubicBezTo>
                    <a:cubicBezTo>
                      <a:pt x="57" y="60"/>
                      <a:pt x="57" y="59"/>
                      <a:pt x="56" y="58"/>
                    </a:cubicBezTo>
                    <a:cubicBezTo>
                      <a:pt x="56" y="57"/>
                      <a:pt x="57" y="56"/>
                      <a:pt x="58" y="56"/>
                    </a:cubicBezTo>
                    <a:cubicBezTo>
                      <a:pt x="58" y="56"/>
                      <a:pt x="58" y="56"/>
                      <a:pt x="59" y="56"/>
                    </a:cubicBezTo>
                    <a:cubicBezTo>
                      <a:pt x="59" y="57"/>
                      <a:pt x="60" y="57"/>
                      <a:pt x="61" y="57"/>
                    </a:cubicBezTo>
                    <a:cubicBezTo>
                      <a:pt x="61" y="57"/>
                      <a:pt x="62" y="57"/>
                      <a:pt x="62" y="57"/>
                    </a:cubicBezTo>
                    <a:cubicBezTo>
                      <a:pt x="64" y="55"/>
                      <a:pt x="65" y="52"/>
                      <a:pt x="66" y="49"/>
                    </a:cubicBezTo>
                    <a:cubicBezTo>
                      <a:pt x="66" y="49"/>
                      <a:pt x="66" y="49"/>
                      <a:pt x="66" y="49"/>
                    </a:cubicBezTo>
                    <a:cubicBezTo>
                      <a:pt x="66" y="49"/>
                      <a:pt x="67" y="49"/>
                      <a:pt x="67" y="48"/>
                    </a:cubicBezTo>
                    <a:cubicBezTo>
                      <a:pt x="67" y="48"/>
                      <a:pt x="67" y="48"/>
                      <a:pt x="67" y="48"/>
                    </a:cubicBezTo>
                    <a:cubicBezTo>
                      <a:pt x="67" y="48"/>
                      <a:pt x="67" y="48"/>
                      <a:pt x="67" y="48"/>
                    </a:cubicBezTo>
                    <a:cubicBezTo>
                      <a:pt x="69" y="45"/>
                      <a:pt x="71" y="42"/>
                      <a:pt x="73" y="39"/>
                    </a:cubicBezTo>
                    <a:cubicBezTo>
                      <a:pt x="73" y="39"/>
                      <a:pt x="73" y="39"/>
                      <a:pt x="73" y="39"/>
                    </a:cubicBezTo>
                    <a:cubicBezTo>
                      <a:pt x="74" y="36"/>
                      <a:pt x="75" y="34"/>
                      <a:pt x="77" y="32"/>
                    </a:cubicBezTo>
                    <a:cubicBezTo>
                      <a:pt x="76" y="32"/>
                      <a:pt x="76" y="31"/>
                      <a:pt x="75" y="30"/>
                    </a:cubicBezTo>
                    <a:cubicBezTo>
                      <a:pt x="73" y="28"/>
                      <a:pt x="75" y="26"/>
                      <a:pt x="77" y="26"/>
                    </a:cubicBezTo>
                    <a:cubicBezTo>
                      <a:pt x="78" y="26"/>
                      <a:pt x="79" y="26"/>
                      <a:pt x="79" y="27"/>
                    </a:cubicBezTo>
                    <a:cubicBezTo>
                      <a:pt x="79" y="27"/>
                      <a:pt x="79" y="27"/>
                      <a:pt x="80" y="27"/>
                    </a:cubicBezTo>
                    <a:cubicBezTo>
                      <a:pt x="80" y="26"/>
                      <a:pt x="81" y="24"/>
                      <a:pt x="81" y="23"/>
                    </a:cubicBezTo>
                    <a:cubicBezTo>
                      <a:pt x="82" y="23"/>
                      <a:pt x="82" y="23"/>
                      <a:pt x="82" y="22"/>
                    </a:cubicBezTo>
                    <a:cubicBezTo>
                      <a:pt x="82" y="22"/>
                      <a:pt x="82" y="22"/>
                      <a:pt x="82" y="22"/>
                    </a:cubicBezTo>
                    <a:cubicBezTo>
                      <a:pt x="82" y="21"/>
                      <a:pt x="81" y="20"/>
                      <a:pt x="80" y="19"/>
                    </a:cubicBezTo>
                    <a:cubicBezTo>
                      <a:pt x="65" y="11"/>
                      <a:pt x="50" y="6"/>
                      <a:pt x="34" y="2"/>
                    </a:cubicBezTo>
                    <a:cubicBezTo>
                      <a:pt x="28" y="1"/>
                      <a:pt x="23" y="0"/>
                      <a:pt x="18" y="0"/>
                    </a:cubicBezTo>
                    <a:cubicBezTo>
                      <a:pt x="18" y="0"/>
                      <a:pt x="18" y="0"/>
                      <a:pt x="18" y="0"/>
                    </a:cubicBezTo>
                    <a:cubicBezTo>
                      <a:pt x="17" y="0"/>
                      <a:pt x="17" y="0"/>
                      <a:pt x="16" y="0"/>
                    </a:cubicBezTo>
                  </a:path>
                </a:pathLst>
              </a:custGeom>
              <a:solidFill>
                <a:srgbClr val="544D4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187" name="Freeform 99">
                <a:extLst>
                  <a:ext uri="{FF2B5EF4-FFF2-40B4-BE49-F238E27FC236}">
                    <a16:creationId xmlns:a16="http://schemas.microsoft.com/office/drawing/2014/main" id="{138FA3DE-71EA-4E8C-AEE2-E285862EC968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2832" y="1993"/>
                <a:ext cx="65" cy="63"/>
              </a:xfrm>
              <a:custGeom>
                <a:avLst/>
                <a:gdLst>
                  <a:gd name="T0" fmla="*/ 51 w 61"/>
                  <a:gd name="T1" fmla="*/ 58 h 59"/>
                  <a:gd name="T2" fmla="*/ 51 w 61"/>
                  <a:gd name="T3" fmla="*/ 59 h 59"/>
                  <a:gd name="T4" fmla="*/ 52 w 61"/>
                  <a:gd name="T5" fmla="*/ 59 h 59"/>
                  <a:gd name="T6" fmla="*/ 53 w 61"/>
                  <a:gd name="T7" fmla="*/ 58 h 59"/>
                  <a:gd name="T8" fmla="*/ 51 w 61"/>
                  <a:gd name="T9" fmla="*/ 58 h 59"/>
                  <a:gd name="T10" fmla="*/ 23 w 61"/>
                  <a:gd name="T11" fmla="*/ 0 h 59"/>
                  <a:gd name="T12" fmla="*/ 18 w 61"/>
                  <a:gd name="T13" fmla="*/ 0 h 59"/>
                  <a:gd name="T14" fmla="*/ 6 w 61"/>
                  <a:gd name="T15" fmla="*/ 3 h 59"/>
                  <a:gd name="T16" fmla="*/ 5 w 61"/>
                  <a:gd name="T17" fmla="*/ 3 h 59"/>
                  <a:gd name="T18" fmla="*/ 3 w 61"/>
                  <a:gd name="T19" fmla="*/ 2 h 59"/>
                  <a:gd name="T20" fmla="*/ 2 w 61"/>
                  <a:gd name="T21" fmla="*/ 2 h 59"/>
                  <a:gd name="T22" fmla="*/ 0 w 61"/>
                  <a:gd name="T23" fmla="*/ 4 h 59"/>
                  <a:gd name="T24" fmla="*/ 2 w 61"/>
                  <a:gd name="T25" fmla="*/ 7 h 59"/>
                  <a:gd name="T26" fmla="*/ 7 w 61"/>
                  <a:gd name="T27" fmla="*/ 9 h 59"/>
                  <a:gd name="T28" fmla="*/ 8 w 61"/>
                  <a:gd name="T29" fmla="*/ 9 h 59"/>
                  <a:gd name="T30" fmla="*/ 20 w 61"/>
                  <a:gd name="T31" fmla="*/ 7 h 59"/>
                  <a:gd name="T32" fmla="*/ 24 w 61"/>
                  <a:gd name="T33" fmla="*/ 6 h 59"/>
                  <a:gd name="T34" fmla="*/ 41 w 61"/>
                  <a:gd name="T35" fmla="*/ 8 h 59"/>
                  <a:gd name="T36" fmla="*/ 51 w 61"/>
                  <a:gd name="T37" fmla="*/ 10 h 59"/>
                  <a:gd name="T38" fmla="*/ 55 w 61"/>
                  <a:gd name="T39" fmla="*/ 19 h 59"/>
                  <a:gd name="T40" fmla="*/ 52 w 61"/>
                  <a:gd name="T41" fmla="*/ 37 h 59"/>
                  <a:gd name="T42" fmla="*/ 51 w 61"/>
                  <a:gd name="T43" fmla="*/ 51 h 59"/>
                  <a:gd name="T44" fmla="*/ 51 w 61"/>
                  <a:gd name="T45" fmla="*/ 52 h 59"/>
                  <a:gd name="T46" fmla="*/ 51 w 61"/>
                  <a:gd name="T47" fmla="*/ 54 h 59"/>
                  <a:gd name="T48" fmla="*/ 54 w 61"/>
                  <a:gd name="T49" fmla="*/ 55 h 59"/>
                  <a:gd name="T50" fmla="*/ 55 w 61"/>
                  <a:gd name="T51" fmla="*/ 55 h 59"/>
                  <a:gd name="T52" fmla="*/ 59 w 61"/>
                  <a:gd name="T53" fmla="*/ 23 h 59"/>
                  <a:gd name="T54" fmla="*/ 57 w 61"/>
                  <a:gd name="T55" fmla="*/ 7 h 59"/>
                  <a:gd name="T56" fmla="*/ 47 w 61"/>
                  <a:gd name="T57" fmla="*/ 4 h 59"/>
                  <a:gd name="T58" fmla="*/ 39 w 61"/>
                  <a:gd name="T59" fmla="*/ 2 h 59"/>
                  <a:gd name="T60" fmla="*/ 39 w 61"/>
                  <a:gd name="T61" fmla="*/ 3 h 59"/>
                  <a:gd name="T62" fmla="*/ 37 w 61"/>
                  <a:gd name="T63" fmla="*/ 4 h 59"/>
                  <a:gd name="T64" fmla="*/ 35 w 61"/>
                  <a:gd name="T65" fmla="*/ 3 h 59"/>
                  <a:gd name="T66" fmla="*/ 35 w 61"/>
                  <a:gd name="T67" fmla="*/ 1 h 59"/>
                  <a:gd name="T68" fmla="*/ 32 w 61"/>
                  <a:gd name="T69" fmla="*/ 0 h 59"/>
                  <a:gd name="T70" fmla="*/ 23 w 61"/>
                  <a:gd name="T71" fmla="*/ 0 h 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61" h="59">
                    <a:moveTo>
                      <a:pt x="51" y="58"/>
                    </a:moveTo>
                    <a:cubicBezTo>
                      <a:pt x="51" y="58"/>
                      <a:pt x="51" y="59"/>
                      <a:pt x="51" y="59"/>
                    </a:cubicBezTo>
                    <a:cubicBezTo>
                      <a:pt x="52" y="59"/>
                      <a:pt x="52" y="59"/>
                      <a:pt x="52" y="59"/>
                    </a:cubicBezTo>
                    <a:cubicBezTo>
                      <a:pt x="52" y="59"/>
                      <a:pt x="53" y="59"/>
                      <a:pt x="53" y="58"/>
                    </a:cubicBezTo>
                    <a:cubicBezTo>
                      <a:pt x="53" y="58"/>
                      <a:pt x="52" y="58"/>
                      <a:pt x="51" y="58"/>
                    </a:cubicBezTo>
                    <a:moveTo>
                      <a:pt x="23" y="0"/>
                    </a:moveTo>
                    <a:cubicBezTo>
                      <a:pt x="21" y="0"/>
                      <a:pt x="19" y="0"/>
                      <a:pt x="18" y="0"/>
                    </a:cubicBezTo>
                    <a:cubicBezTo>
                      <a:pt x="15" y="0"/>
                      <a:pt x="10" y="3"/>
                      <a:pt x="6" y="3"/>
                    </a:cubicBezTo>
                    <a:cubicBezTo>
                      <a:pt x="6" y="3"/>
                      <a:pt x="5" y="3"/>
                      <a:pt x="5" y="3"/>
                    </a:cubicBezTo>
                    <a:cubicBezTo>
                      <a:pt x="4" y="3"/>
                      <a:pt x="3" y="3"/>
                      <a:pt x="3" y="2"/>
                    </a:cubicBezTo>
                    <a:cubicBezTo>
                      <a:pt x="2" y="2"/>
                      <a:pt x="2" y="2"/>
                      <a:pt x="2" y="2"/>
                    </a:cubicBezTo>
                    <a:cubicBezTo>
                      <a:pt x="1" y="2"/>
                      <a:pt x="0" y="3"/>
                      <a:pt x="0" y="4"/>
                    </a:cubicBezTo>
                    <a:cubicBezTo>
                      <a:pt x="1" y="5"/>
                      <a:pt x="1" y="6"/>
                      <a:pt x="2" y="7"/>
                    </a:cubicBezTo>
                    <a:cubicBezTo>
                      <a:pt x="3" y="8"/>
                      <a:pt x="5" y="8"/>
                      <a:pt x="7" y="9"/>
                    </a:cubicBezTo>
                    <a:cubicBezTo>
                      <a:pt x="7" y="9"/>
                      <a:pt x="8" y="9"/>
                      <a:pt x="8" y="9"/>
                    </a:cubicBezTo>
                    <a:cubicBezTo>
                      <a:pt x="12" y="9"/>
                      <a:pt x="16" y="7"/>
                      <a:pt x="20" y="7"/>
                    </a:cubicBezTo>
                    <a:cubicBezTo>
                      <a:pt x="21" y="6"/>
                      <a:pt x="23" y="6"/>
                      <a:pt x="24" y="6"/>
                    </a:cubicBezTo>
                    <a:cubicBezTo>
                      <a:pt x="30" y="6"/>
                      <a:pt x="35" y="7"/>
                      <a:pt x="41" y="8"/>
                    </a:cubicBezTo>
                    <a:cubicBezTo>
                      <a:pt x="44" y="8"/>
                      <a:pt x="49" y="8"/>
                      <a:pt x="51" y="10"/>
                    </a:cubicBezTo>
                    <a:cubicBezTo>
                      <a:pt x="55" y="11"/>
                      <a:pt x="55" y="15"/>
                      <a:pt x="55" y="19"/>
                    </a:cubicBezTo>
                    <a:cubicBezTo>
                      <a:pt x="55" y="25"/>
                      <a:pt x="53" y="31"/>
                      <a:pt x="52" y="37"/>
                    </a:cubicBezTo>
                    <a:cubicBezTo>
                      <a:pt x="52" y="42"/>
                      <a:pt x="52" y="47"/>
                      <a:pt x="51" y="51"/>
                    </a:cubicBezTo>
                    <a:cubicBezTo>
                      <a:pt x="51" y="51"/>
                      <a:pt x="51" y="51"/>
                      <a:pt x="51" y="52"/>
                    </a:cubicBezTo>
                    <a:cubicBezTo>
                      <a:pt x="51" y="52"/>
                      <a:pt x="51" y="53"/>
                      <a:pt x="51" y="54"/>
                    </a:cubicBezTo>
                    <a:cubicBezTo>
                      <a:pt x="52" y="54"/>
                      <a:pt x="53" y="55"/>
                      <a:pt x="54" y="55"/>
                    </a:cubicBezTo>
                    <a:cubicBezTo>
                      <a:pt x="55" y="55"/>
                      <a:pt x="55" y="55"/>
                      <a:pt x="55" y="55"/>
                    </a:cubicBezTo>
                    <a:cubicBezTo>
                      <a:pt x="59" y="46"/>
                      <a:pt x="58" y="33"/>
                      <a:pt x="59" y="23"/>
                    </a:cubicBezTo>
                    <a:cubicBezTo>
                      <a:pt x="60" y="18"/>
                      <a:pt x="61" y="10"/>
                      <a:pt x="57" y="7"/>
                    </a:cubicBezTo>
                    <a:cubicBezTo>
                      <a:pt x="54" y="5"/>
                      <a:pt x="50" y="5"/>
                      <a:pt x="47" y="4"/>
                    </a:cubicBezTo>
                    <a:cubicBezTo>
                      <a:pt x="45" y="3"/>
                      <a:pt x="42" y="3"/>
                      <a:pt x="39" y="2"/>
                    </a:cubicBezTo>
                    <a:cubicBezTo>
                      <a:pt x="39" y="2"/>
                      <a:pt x="39" y="3"/>
                      <a:pt x="39" y="3"/>
                    </a:cubicBezTo>
                    <a:cubicBezTo>
                      <a:pt x="38" y="4"/>
                      <a:pt x="38" y="4"/>
                      <a:pt x="37" y="4"/>
                    </a:cubicBezTo>
                    <a:cubicBezTo>
                      <a:pt x="36" y="4"/>
                      <a:pt x="36" y="3"/>
                      <a:pt x="35" y="3"/>
                    </a:cubicBezTo>
                    <a:cubicBezTo>
                      <a:pt x="35" y="2"/>
                      <a:pt x="35" y="1"/>
                      <a:pt x="35" y="1"/>
                    </a:cubicBezTo>
                    <a:cubicBezTo>
                      <a:pt x="34" y="1"/>
                      <a:pt x="33" y="1"/>
                      <a:pt x="32" y="0"/>
                    </a:cubicBezTo>
                    <a:cubicBezTo>
                      <a:pt x="29" y="0"/>
                      <a:pt x="26" y="0"/>
                      <a:pt x="23" y="0"/>
                    </a:cubicBezTo>
                  </a:path>
                </a:pathLst>
              </a:custGeom>
              <a:solidFill>
                <a:srgbClr val="544D4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188" name="Freeform 100">
                <a:extLst>
                  <a:ext uri="{FF2B5EF4-FFF2-40B4-BE49-F238E27FC236}">
                    <a16:creationId xmlns:a16="http://schemas.microsoft.com/office/drawing/2014/main" id="{7684CDA7-2923-4EFC-9560-7C5DB9D75DD6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2828" y="2030"/>
                <a:ext cx="64" cy="26"/>
              </a:xfrm>
              <a:custGeom>
                <a:avLst/>
                <a:gdLst>
                  <a:gd name="T0" fmla="*/ 55 w 60"/>
                  <a:gd name="T1" fmla="*/ 19 h 24"/>
                  <a:gd name="T2" fmla="*/ 55 w 60"/>
                  <a:gd name="T3" fmla="*/ 23 h 24"/>
                  <a:gd name="T4" fmla="*/ 57 w 60"/>
                  <a:gd name="T5" fmla="*/ 23 h 24"/>
                  <a:gd name="T6" fmla="*/ 58 w 60"/>
                  <a:gd name="T7" fmla="*/ 24 h 24"/>
                  <a:gd name="T8" fmla="*/ 58 w 60"/>
                  <a:gd name="T9" fmla="*/ 24 h 24"/>
                  <a:gd name="T10" fmla="*/ 59 w 60"/>
                  <a:gd name="T11" fmla="*/ 20 h 24"/>
                  <a:gd name="T12" fmla="*/ 58 w 60"/>
                  <a:gd name="T13" fmla="*/ 20 h 24"/>
                  <a:gd name="T14" fmla="*/ 55 w 60"/>
                  <a:gd name="T15" fmla="*/ 19 h 24"/>
                  <a:gd name="T16" fmla="*/ 53 w 60"/>
                  <a:gd name="T17" fmla="*/ 18 h 24"/>
                  <a:gd name="T18" fmla="*/ 54 w 60"/>
                  <a:gd name="T19" fmla="*/ 18 h 24"/>
                  <a:gd name="T20" fmla="*/ 54 w 60"/>
                  <a:gd name="T21" fmla="*/ 18 h 24"/>
                  <a:gd name="T22" fmla="*/ 53 w 60"/>
                  <a:gd name="T23" fmla="*/ 18 h 24"/>
                  <a:gd name="T24" fmla="*/ 6 w 60"/>
                  <a:gd name="T25" fmla="*/ 0 h 24"/>
                  <a:gd name="T26" fmla="*/ 4 w 60"/>
                  <a:gd name="T27" fmla="*/ 0 h 24"/>
                  <a:gd name="T28" fmla="*/ 3 w 60"/>
                  <a:gd name="T29" fmla="*/ 7 h 24"/>
                  <a:gd name="T30" fmla="*/ 5 w 60"/>
                  <a:gd name="T31" fmla="*/ 8 h 24"/>
                  <a:gd name="T32" fmla="*/ 4 w 60"/>
                  <a:gd name="T33" fmla="*/ 7 h 24"/>
                  <a:gd name="T34" fmla="*/ 6 w 60"/>
                  <a:gd name="T35" fmla="*/ 4 h 24"/>
                  <a:gd name="T36" fmla="*/ 8 w 60"/>
                  <a:gd name="T37" fmla="*/ 5 h 24"/>
                  <a:gd name="T38" fmla="*/ 19 w 60"/>
                  <a:gd name="T39" fmla="*/ 13 h 24"/>
                  <a:gd name="T40" fmla="*/ 30 w 60"/>
                  <a:gd name="T41" fmla="*/ 16 h 24"/>
                  <a:gd name="T42" fmla="*/ 50 w 60"/>
                  <a:gd name="T43" fmla="*/ 22 h 24"/>
                  <a:gd name="T44" fmla="*/ 51 w 60"/>
                  <a:gd name="T45" fmla="*/ 18 h 24"/>
                  <a:gd name="T46" fmla="*/ 51 w 60"/>
                  <a:gd name="T47" fmla="*/ 17 h 24"/>
                  <a:gd name="T48" fmla="*/ 31 w 60"/>
                  <a:gd name="T49" fmla="*/ 8 h 24"/>
                  <a:gd name="T50" fmla="*/ 6 w 60"/>
                  <a:gd name="T51" fmla="*/ 0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60" h="24">
                    <a:moveTo>
                      <a:pt x="55" y="19"/>
                    </a:moveTo>
                    <a:cubicBezTo>
                      <a:pt x="55" y="20"/>
                      <a:pt x="55" y="22"/>
                      <a:pt x="55" y="23"/>
                    </a:cubicBezTo>
                    <a:cubicBezTo>
                      <a:pt x="56" y="23"/>
                      <a:pt x="57" y="23"/>
                      <a:pt x="57" y="23"/>
                    </a:cubicBezTo>
                    <a:cubicBezTo>
                      <a:pt x="58" y="24"/>
                      <a:pt x="58" y="24"/>
                      <a:pt x="58" y="24"/>
                    </a:cubicBezTo>
                    <a:cubicBezTo>
                      <a:pt x="58" y="24"/>
                      <a:pt x="58" y="24"/>
                      <a:pt x="58" y="24"/>
                    </a:cubicBezTo>
                    <a:cubicBezTo>
                      <a:pt x="60" y="24"/>
                      <a:pt x="60" y="22"/>
                      <a:pt x="59" y="20"/>
                    </a:cubicBezTo>
                    <a:cubicBezTo>
                      <a:pt x="59" y="20"/>
                      <a:pt x="59" y="20"/>
                      <a:pt x="58" y="20"/>
                    </a:cubicBezTo>
                    <a:cubicBezTo>
                      <a:pt x="57" y="20"/>
                      <a:pt x="56" y="19"/>
                      <a:pt x="55" y="19"/>
                    </a:cubicBezTo>
                    <a:moveTo>
                      <a:pt x="53" y="18"/>
                    </a:moveTo>
                    <a:cubicBezTo>
                      <a:pt x="53" y="18"/>
                      <a:pt x="54" y="18"/>
                      <a:pt x="54" y="18"/>
                    </a:cubicBezTo>
                    <a:cubicBezTo>
                      <a:pt x="54" y="18"/>
                      <a:pt x="54" y="18"/>
                      <a:pt x="54" y="18"/>
                    </a:cubicBezTo>
                    <a:cubicBezTo>
                      <a:pt x="54" y="18"/>
                      <a:pt x="54" y="18"/>
                      <a:pt x="53" y="18"/>
                    </a:cubicBezTo>
                    <a:moveTo>
                      <a:pt x="6" y="0"/>
                    </a:moveTo>
                    <a:cubicBezTo>
                      <a:pt x="5" y="0"/>
                      <a:pt x="5" y="0"/>
                      <a:pt x="4" y="0"/>
                    </a:cubicBezTo>
                    <a:cubicBezTo>
                      <a:pt x="1" y="0"/>
                      <a:pt x="0" y="5"/>
                      <a:pt x="3" y="7"/>
                    </a:cubicBezTo>
                    <a:cubicBezTo>
                      <a:pt x="4" y="7"/>
                      <a:pt x="4" y="7"/>
                      <a:pt x="5" y="8"/>
                    </a:cubicBezTo>
                    <a:cubicBezTo>
                      <a:pt x="5" y="7"/>
                      <a:pt x="5" y="7"/>
                      <a:pt x="4" y="7"/>
                    </a:cubicBezTo>
                    <a:cubicBezTo>
                      <a:pt x="3" y="6"/>
                      <a:pt x="5" y="4"/>
                      <a:pt x="6" y="4"/>
                    </a:cubicBezTo>
                    <a:cubicBezTo>
                      <a:pt x="7" y="4"/>
                      <a:pt x="7" y="4"/>
                      <a:pt x="8" y="5"/>
                    </a:cubicBezTo>
                    <a:cubicBezTo>
                      <a:pt x="10" y="7"/>
                      <a:pt x="15" y="10"/>
                      <a:pt x="19" y="13"/>
                    </a:cubicBezTo>
                    <a:cubicBezTo>
                      <a:pt x="23" y="14"/>
                      <a:pt x="27" y="15"/>
                      <a:pt x="30" y="16"/>
                    </a:cubicBezTo>
                    <a:cubicBezTo>
                      <a:pt x="36" y="19"/>
                      <a:pt x="43" y="21"/>
                      <a:pt x="50" y="22"/>
                    </a:cubicBezTo>
                    <a:cubicBezTo>
                      <a:pt x="51" y="21"/>
                      <a:pt x="51" y="20"/>
                      <a:pt x="51" y="18"/>
                    </a:cubicBezTo>
                    <a:cubicBezTo>
                      <a:pt x="51" y="18"/>
                      <a:pt x="51" y="17"/>
                      <a:pt x="51" y="17"/>
                    </a:cubicBezTo>
                    <a:cubicBezTo>
                      <a:pt x="45" y="14"/>
                      <a:pt x="38" y="11"/>
                      <a:pt x="31" y="8"/>
                    </a:cubicBezTo>
                    <a:cubicBezTo>
                      <a:pt x="23" y="5"/>
                      <a:pt x="14" y="0"/>
                      <a:pt x="6" y="0"/>
                    </a:cubicBezTo>
                  </a:path>
                </a:pathLst>
              </a:custGeom>
              <a:solidFill>
                <a:srgbClr val="544D4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189" name="Freeform 101">
                <a:extLst>
                  <a:ext uri="{FF2B5EF4-FFF2-40B4-BE49-F238E27FC236}">
                    <a16:creationId xmlns:a16="http://schemas.microsoft.com/office/drawing/2014/main" id="{34A4CD78-9693-4C48-9517-B7085769F8E7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868" y="2048"/>
                <a:ext cx="17" cy="17"/>
              </a:xfrm>
              <a:custGeom>
                <a:avLst/>
                <a:gdLst>
                  <a:gd name="T0" fmla="*/ 14 w 16"/>
                  <a:gd name="T1" fmla="*/ 0 h 16"/>
                  <a:gd name="T2" fmla="*/ 13 w 16"/>
                  <a:gd name="T3" fmla="*/ 0 h 16"/>
                  <a:gd name="T4" fmla="*/ 13 w 16"/>
                  <a:gd name="T5" fmla="*/ 1 h 16"/>
                  <a:gd name="T6" fmla="*/ 12 w 16"/>
                  <a:gd name="T7" fmla="*/ 5 h 16"/>
                  <a:gd name="T8" fmla="*/ 3 w 16"/>
                  <a:gd name="T9" fmla="*/ 9 h 16"/>
                  <a:gd name="T10" fmla="*/ 0 w 16"/>
                  <a:gd name="T11" fmla="*/ 11 h 16"/>
                  <a:gd name="T12" fmla="*/ 4 w 16"/>
                  <a:gd name="T13" fmla="*/ 16 h 16"/>
                  <a:gd name="T14" fmla="*/ 13 w 16"/>
                  <a:gd name="T15" fmla="*/ 10 h 16"/>
                  <a:gd name="T16" fmla="*/ 14 w 16"/>
                  <a:gd name="T17" fmla="*/ 10 h 16"/>
                  <a:gd name="T18" fmla="*/ 16 w 16"/>
                  <a:gd name="T19" fmla="*/ 1 h 16"/>
                  <a:gd name="T20" fmla="*/ 15 w 16"/>
                  <a:gd name="T21" fmla="*/ 1 h 16"/>
                  <a:gd name="T22" fmla="*/ 15 w 16"/>
                  <a:gd name="T23" fmla="*/ 1 h 16"/>
                  <a:gd name="T24" fmla="*/ 14 w 16"/>
                  <a:gd name="T25" fmla="*/ 0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6" h="16">
                    <a:moveTo>
                      <a:pt x="14" y="0"/>
                    </a:moveTo>
                    <a:cubicBezTo>
                      <a:pt x="14" y="0"/>
                      <a:pt x="14" y="0"/>
                      <a:pt x="13" y="0"/>
                    </a:cubicBezTo>
                    <a:cubicBezTo>
                      <a:pt x="13" y="0"/>
                      <a:pt x="13" y="1"/>
                      <a:pt x="13" y="1"/>
                    </a:cubicBezTo>
                    <a:cubicBezTo>
                      <a:pt x="13" y="3"/>
                      <a:pt x="13" y="4"/>
                      <a:pt x="12" y="5"/>
                    </a:cubicBezTo>
                    <a:cubicBezTo>
                      <a:pt x="10" y="7"/>
                      <a:pt x="6" y="8"/>
                      <a:pt x="3" y="9"/>
                    </a:cubicBezTo>
                    <a:cubicBezTo>
                      <a:pt x="2" y="9"/>
                      <a:pt x="1" y="10"/>
                      <a:pt x="0" y="11"/>
                    </a:cubicBezTo>
                    <a:cubicBezTo>
                      <a:pt x="1" y="12"/>
                      <a:pt x="3" y="14"/>
                      <a:pt x="4" y="16"/>
                    </a:cubicBezTo>
                    <a:cubicBezTo>
                      <a:pt x="7" y="15"/>
                      <a:pt x="11" y="12"/>
                      <a:pt x="13" y="10"/>
                    </a:cubicBezTo>
                    <a:cubicBezTo>
                      <a:pt x="13" y="10"/>
                      <a:pt x="13" y="10"/>
                      <a:pt x="14" y="10"/>
                    </a:cubicBezTo>
                    <a:cubicBezTo>
                      <a:pt x="14" y="7"/>
                      <a:pt x="15" y="4"/>
                      <a:pt x="16" y="1"/>
                    </a:cubicBezTo>
                    <a:cubicBezTo>
                      <a:pt x="16" y="1"/>
                      <a:pt x="15" y="1"/>
                      <a:pt x="15" y="1"/>
                    </a:cubicBezTo>
                    <a:cubicBezTo>
                      <a:pt x="15" y="1"/>
                      <a:pt x="15" y="1"/>
                      <a:pt x="15" y="1"/>
                    </a:cubicBezTo>
                    <a:cubicBezTo>
                      <a:pt x="15" y="0"/>
                      <a:pt x="15" y="0"/>
                      <a:pt x="14" y="0"/>
                    </a:cubicBezTo>
                  </a:path>
                </a:pathLst>
              </a:custGeom>
              <a:solidFill>
                <a:srgbClr val="544D4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190" name="Freeform 102">
                <a:extLst>
                  <a:ext uri="{FF2B5EF4-FFF2-40B4-BE49-F238E27FC236}">
                    <a16:creationId xmlns:a16="http://schemas.microsoft.com/office/drawing/2014/main" id="{C30D9003-72E3-42BF-BBB8-A73919B37C9C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785" y="2035"/>
                <a:ext cx="93" cy="64"/>
              </a:xfrm>
              <a:custGeom>
                <a:avLst/>
                <a:gdLst>
                  <a:gd name="T0" fmla="*/ 47 w 88"/>
                  <a:gd name="T1" fmla="*/ 0 h 61"/>
                  <a:gd name="T2" fmla="*/ 45 w 88"/>
                  <a:gd name="T3" fmla="*/ 3 h 61"/>
                  <a:gd name="T4" fmla="*/ 46 w 88"/>
                  <a:gd name="T5" fmla="*/ 4 h 61"/>
                  <a:gd name="T6" fmla="*/ 68 w 88"/>
                  <a:gd name="T7" fmla="*/ 25 h 61"/>
                  <a:gd name="T8" fmla="*/ 73 w 88"/>
                  <a:gd name="T9" fmla="*/ 40 h 61"/>
                  <a:gd name="T10" fmla="*/ 68 w 88"/>
                  <a:gd name="T11" fmla="*/ 42 h 61"/>
                  <a:gd name="T12" fmla="*/ 58 w 88"/>
                  <a:gd name="T13" fmla="*/ 51 h 61"/>
                  <a:gd name="T14" fmla="*/ 50 w 88"/>
                  <a:gd name="T15" fmla="*/ 52 h 61"/>
                  <a:gd name="T16" fmla="*/ 35 w 88"/>
                  <a:gd name="T17" fmla="*/ 50 h 61"/>
                  <a:gd name="T18" fmla="*/ 8 w 88"/>
                  <a:gd name="T19" fmla="*/ 42 h 61"/>
                  <a:gd name="T20" fmla="*/ 5 w 88"/>
                  <a:gd name="T21" fmla="*/ 44 h 61"/>
                  <a:gd name="T22" fmla="*/ 5 w 88"/>
                  <a:gd name="T23" fmla="*/ 44 h 61"/>
                  <a:gd name="T24" fmla="*/ 3 w 88"/>
                  <a:gd name="T25" fmla="*/ 44 h 61"/>
                  <a:gd name="T26" fmla="*/ 3 w 88"/>
                  <a:gd name="T27" fmla="*/ 44 h 61"/>
                  <a:gd name="T28" fmla="*/ 0 w 88"/>
                  <a:gd name="T29" fmla="*/ 44 h 61"/>
                  <a:gd name="T30" fmla="*/ 0 w 88"/>
                  <a:gd name="T31" fmla="*/ 45 h 61"/>
                  <a:gd name="T32" fmla="*/ 41 w 88"/>
                  <a:gd name="T33" fmla="*/ 60 h 61"/>
                  <a:gd name="T34" fmla="*/ 50 w 88"/>
                  <a:gd name="T35" fmla="*/ 61 h 61"/>
                  <a:gd name="T36" fmla="*/ 58 w 88"/>
                  <a:gd name="T37" fmla="*/ 60 h 61"/>
                  <a:gd name="T38" fmla="*/ 75 w 88"/>
                  <a:gd name="T39" fmla="*/ 48 h 61"/>
                  <a:gd name="T40" fmla="*/ 85 w 88"/>
                  <a:gd name="T41" fmla="*/ 33 h 61"/>
                  <a:gd name="T42" fmla="*/ 83 w 88"/>
                  <a:gd name="T43" fmla="*/ 29 h 61"/>
                  <a:gd name="T44" fmla="*/ 79 w 88"/>
                  <a:gd name="T45" fmla="*/ 24 h 61"/>
                  <a:gd name="T46" fmla="*/ 60 w 88"/>
                  <a:gd name="T47" fmla="*/ 9 h 61"/>
                  <a:gd name="T48" fmla="*/ 49 w 88"/>
                  <a:gd name="T49" fmla="*/ 1 h 61"/>
                  <a:gd name="T50" fmla="*/ 47 w 88"/>
                  <a:gd name="T51" fmla="*/ 0 h 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88" h="61">
                    <a:moveTo>
                      <a:pt x="47" y="0"/>
                    </a:moveTo>
                    <a:cubicBezTo>
                      <a:pt x="46" y="0"/>
                      <a:pt x="44" y="2"/>
                      <a:pt x="45" y="3"/>
                    </a:cubicBezTo>
                    <a:cubicBezTo>
                      <a:pt x="46" y="3"/>
                      <a:pt x="46" y="3"/>
                      <a:pt x="46" y="4"/>
                    </a:cubicBezTo>
                    <a:cubicBezTo>
                      <a:pt x="52" y="12"/>
                      <a:pt x="61" y="18"/>
                      <a:pt x="68" y="25"/>
                    </a:cubicBezTo>
                    <a:cubicBezTo>
                      <a:pt x="73" y="29"/>
                      <a:pt x="78" y="33"/>
                      <a:pt x="73" y="40"/>
                    </a:cubicBezTo>
                    <a:cubicBezTo>
                      <a:pt x="73" y="41"/>
                      <a:pt x="70" y="41"/>
                      <a:pt x="68" y="42"/>
                    </a:cubicBezTo>
                    <a:cubicBezTo>
                      <a:pt x="66" y="45"/>
                      <a:pt x="62" y="49"/>
                      <a:pt x="58" y="51"/>
                    </a:cubicBezTo>
                    <a:cubicBezTo>
                      <a:pt x="56" y="52"/>
                      <a:pt x="53" y="52"/>
                      <a:pt x="50" y="52"/>
                    </a:cubicBezTo>
                    <a:cubicBezTo>
                      <a:pt x="45" y="52"/>
                      <a:pt x="40" y="51"/>
                      <a:pt x="35" y="50"/>
                    </a:cubicBezTo>
                    <a:cubicBezTo>
                      <a:pt x="25" y="48"/>
                      <a:pt x="17" y="45"/>
                      <a:pt x="8" y="42"/>
                    </a:cubicBezTo>
                    <a:cubicBezTo>
                      <a:pt x="8" y="43"/>
                      <a:pt x="7" y="44"/>
                      <a:pt x="5" y="44"/>
                    </a:cubicBezTo>
                    <a:cubicBezTo>
                      <a:pt x="5" y="44"/>
                      <a:pt x="5" y="44"/>
                      <a:pt x="5" y="44"/>
                    </a:cubicBezTo>
                    <a:cubicBezTo>
                      <a:pt x="5" y="44"/>
                      <a:pt x="4" y="44"/>
                      <a:pt x="3" y="44"/>
                    </a:cubicBezTo>
                    <a:cubicBezTo>
                      <a:pt x="3" y="44"/>
                      <a:pt x="3" y="44"/>
                      <a:pt x="3" y="44"/>
                    </a:cubicBezTo>
                    <a:cubicBezTo>
                      <a:pt x="2" y="44"/>
                      <a:pt x="1" y="44"/>
                      <a:pt x="0" y="44"/>
                    </a:cubicBezTo>
                    <a:cubicBezTo>
                      <a:pt x="0" y="44"/>
                      <a:pt x="0" y="45"/>
                      <a:pt x="0" y="45"/>
                    </a:cubicBezTo>
                    <a:cubicBezTo>
                      <a:pt x="7" y="58"/>
                      <a:pt x="28" y="59"/>
                      <a:pt x="41" y="60"/>
                    </a:cubicBezTo>
                    <a:cubicBezTo>
                      <a:pt x="44" y="61"/>
                      <a:pt x="47" y="61"/>
                      <a:pt x="50" y="61"/>
                    </a:cubicBezTo>
                    <a:cubicBezTo>
                      <a:pt x="53" y="61"/>
                      <a:pt x="56" y="61"/>
                      <a:pt x="58" y="60"/>
                    </a:cubicBezTo>
                    <a:cubicBezTo>
                      <a:pt x="65" y="58"/>
                      <a:pt x="69" y="52"/>
                      <a:pt x="75" y="48"/>
                    </a:cubicBezTo>
                    <a:cubicBezTo>
                      <a:pt x="81" y="44"/>
                      <a:pt x="88" y="43"/>
                      <a:pt x="85" y="33"/>
                    </a:cubicBezTo>
                    <a:cubicBezTo>
                      <a:pt x="84" y="32"/>
                      <a:pt x="84" y="30"/>
                      <a:pt x="83" y="29"/>
                    </a:cubicBezTo>
                    <a:cubicBezTo>
                      <a:pt x="82" y="27"/>
                      <a:pt x="80" y="25"/>
                      <a:pt x="79" y="24"/>
                    </a:cubicBezTo>
                    <a:cubicBezTo>
                      <a:pt x="74" y="18"/>
                      <a:pt x="67" y="13"/>
                      <a:pt x="60" y="9"/>
                    </a:cubicBezTo>
                    <a:cubicBezTo>
                      <a:pt x="56" y="6"/>
                      <a:pt x="51" y="3"/>
                      <a:pt x="49" y="1"/>
                    </a:cubicBezTo>
                    <a:cubicBezTo>
                      <a:pt x="48" y="0"/>
                      <a:pt x="48" y="0"/>
                      <a:pt x="47" y="0"/>
                    </a:cubicBezTo>
                  </a:path>
                </a:pathLst>
              </a:custGeom>
              <a:solidFill>
                <a:srgbClr val="544D4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191" name="Freeform 103">
                <a:extLst>
                  <a:ext uri="{FF2B5EF4-FFF2-40B4-BE49-F238E27FC236}">
                    <a16:creationId xmlns:a16="http://schemas.microsoft.com/office/drawing/2014/main" id="{4C7D94C9-4286-4557-8C6D-15178F8DE0AF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2785" y="2026"/>
                <a:ext cx="14" cy="55"/>
              </a:xfrm>
              <a:custGeom>
                <a:avLst/>
                <a:gdLst>
                  <a:gd name="T0" fmla="*/ 14 w 14"/>
                  <a:gd name="T1" fmla="*/ 4 h 52"/>
                  <a:gd name="T2" fmla="*/ 4 w 14"/>
                  <a:gd name="T3" fmla="*/ 16 h 52"/>
                  <a:gd name="T4" fmla="*/ 2 w 14"/>
                  <a:gd name="T5" fmla="*/ 30 h 52"/>
                  <a:gd name="T6" fmla="*/ 1 w 14"/>
                  <a:gd name="T7" fmla="*/ 45 h 52"/>
                  <a:gd name="T8" fmla="*/ 4 w 14"/>
                  <a:gd name="T9" fmla="*/ 46 h 52"/>
                  <a:gd name="T10" fmla="*/ 5 w 14"/>
                  <a:gd name="T11" fmla="*/ 52 h 52"/>
                  <a:gd name="T12" fmla="*/ 5 w 14"/>
                  <a:gd name="T13" fmla="*/ 52 h 52"/>
                  <a:gd name="T14" fmla="*/ 8 w 14"/>
                  <a:gd name="T15" fmla="*/ 50 h 52"/>
                  <a:gd name="T16" fmla="*/ 7 w 14"/>
                  <a:gd name="T17" fmla="*/ 48 h 52"/>
                  <a:gd name="T18" fmla="*/ 9 w 14"/>
                  <a:gd name="T19" fmla="*/ 28 h 52"/>
                  <a:gd name="T20" fmla="*/ 14 w 14"/>
                  <a:gd name="T21" fmla="*/ 4 h 52"/>
                  <a:gd name="T22" fmla="*/ 11 w 14"/>
                  <a:gd name="T23" fmla="*/ 0 h 52"/>
                  <a:gd name="T24" fmla="*/ 9 w 14"/>
                  <a:gd name="T25" fmla="*/ 1 h 52"/>
                  <a:gd name="T26" fmla="*/ 8 w 14"/>
                  <a:gd name="T27" fmla="*/ 4 h 52"/>
                  <a:gd name="T28" fmla="*/ 13 w 14"/>
                  <a:gd name="T29" fmla="*/ 1 h 52"/>
                  <a:gd name="T30" fmla="*/ 14 w 14"/>
                  <a:gd name="T31" fmla="*/ 1 h 52"/>
                  <a:gd name="T32" fmla="*/ 11 w 14"/>
                  <a:gd name="T33" fmla="*/ 0 h 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4" h="52">
                    <a:moveTo>
                      <a:pt x="14" y="4"/>
                    </a:moveTo>
                    <a:cubicBezTo>
                      <a:pt x="10" y="8"/>
                      <a:pt x="7" y="12"/>
                      <a:pt x="4" y="16"/>
                    </a:cubicBezTo>
                    <a:cubicBezTo>
                      <a:pt x="3" y="21"/>
                      <a:pt x="2" y="26"/>
                      <a:pt x="2" y="30"/>
                    </a:cubicBezTo>
                    <a:cubicBezTo>
                      <a:pt x="1" y="34"/>
                      <a:pt x="0" y="40"/>
                      <a:pt x="1" y="45"/>
                    </a:cubicBezTo>
                    <a:cubicBezTo>
                      <a:pt x="2" y="45"/>
                      <a:pt x="3" y="46"/>
                      <a:pt x="4" y="46"/>
                    </a:cubicBezTo>
                    <a:cubicBezTo>
                      <a:pt x="7" y="47"/>
                      <a:pt x="7" y="50"/>
                      <a:pt x="5" y="52"/>
                    </a:cubicBezTo>
                    <a:cubicBezTo>
                      <a:pt x="5" y="52"/>
                      <a:pt x="5" y="52"/>
                      <a:pt x="5" y="52"/>
                    </a:cubicBezTo>
                    <a:cubicBezTo>
                      <a:pt x="7" y="52"/>
                      <a:pt x="8" y="51"/>
                      <a:pt x="8" y="50"/>
                    </a:cubicBezTo>
                    <a:cubicBezTo>
                      <a:pt x="8" y="49"/>
                      <a:pt x="8" y="49"/>
                      <a:pt x="7" y="48"/>
                    </a:cubicBezTo>
                    <a:cubicBezTo>
                      <a:pt x="5" y="44"/>
                      <a:pt x="8" y="33"/>
                      <a:pt x="9" y="28"/>
                    </a:cubicBezTo>
                    <a:cubicBezTo>
                      <a:pt x="11" y="20"/>
                      <a:pt x="14" y="12"/>
                      <a:pt x="14" y="4"/>
                    </a:cubicBezTo>
                    <a:moveTo>
                      <a:pt x="11" y="0"/>
                    </a:moveTo>
                    <a:cubicBezTo>
                      <a:pt x="10" y="0"/>
                      <a:pt x="10" y="0"/>
                      <a:pt x="9" y="1"/>
                    </a:cubicBezTo>
                    <a:cubicBezTo>
                      <a:pt x="9" y="2"/>
                      <a:pt x="8" y="3"/>
                      <a:pt x="8" y="4"/>
                    </a:cubicBezTo>
                    <a:cubicBezTo>
                      <a:pt x="9" y="3"/>
                      <a:pt x="11" y="2"/>
                      <a:pt x="13" y="1"/>
                    </a:cubicBezTo>
                    <a:cubicBezTo>
                      <a:pt x="13" y="1"/>
                      <a:pt x="13" y="1"/>
                      <a:pt x="14" y="1"/>
                    </a:cubicBezTo>
                    <a:cubicBezTo>
                      <a:pt x="13" y="0"/>
                      <a:pt x="12" y="0"/>
                      <a:pt x="11" y="0"/>
                    </a:cubicBezTo>
                  </a:path>
                </a:pathLst>
              </a:custGeom>
              <a:solidFill>
                <a:srgbClr val="544D4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192" name="Freeform 104">
                <a:extLst>
                  <a:ext uri="{FF2B5EF4-FFF2-40B4-BE49-F238E27FC236}">
                    <a16:creationId xmlns:a16="http://schemas.microsoft.com/office/drawing/2014/main" id="{5422A7BC-3E37-4E16-8DD8-EA418BF9FE95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763" y="2027"/>
                <a:ext cx="39" cy="42"/>
              </a:xfrm>
              <a:custGeom>
                <a:avLst/>
                <a:gdLst>
                  <a:gd name="T0" fmla="*/ 34 w 36"/>
                  <a:gd name="T1" fmla="*/ 0 h 40"/>
                  <a:gd name="T2" fmla="*/ 34 w 36"/>
                  <a:gd name="T3" fmla="*/ 0 h 40"/>
                  <a:gd name="T4" fmla="*/ 33 w 36"/>
                  <a:gd name="T5" fmla="*/ 0 h 40"/>
                  <a:gd name="T6" fmla="*/ 28 w 36"/>
                  <a:gd name="T7" fmla="*/ 3 h 40"/>
                  <a:gd name="T8" fmla="*/ 15 w 36"/>
                  <a:gd name="T9" fmla="*/ 18 h 40"/>
                  <a:gd name="T10" fmla="*/ 4 w 36"/>
                  <a:gd name="T11" fmla="*/ 29 h 40"/>
                  <a:gd name="T12" fmla="*/ 0 w 36"/>
                  <a:gd name="T13" fmla="*/ 34 h 40"/>
                  <a:gd name="T14" fmla="*/ 4 w 36"/>
                  <a:gd name="T15" fmla="*/ 40 h 40"/>
                  <a:gd name="T16" fmla="*/ 11 w 36"/>
                  <a:gd name="T17" fmla="*/ 33 h 40"/>
                  <a:gd name="T18" fmla="*/ 18 w 36"/>
                  <a:gd name="T19" fmla="*/ 26 h 40"/>
                  <a:gd name="T20" fmla="*/ 24 w 36"/>
                  <a:gd name="T21" fmla="*/ 15 h 40"/>
                  <a:gd name="T22" fmla="*/ 34 w 36"/>
                  <a:gd name="T23" fmla="*/ 3 h 40"/>
                  <a:gd name="T24" fmla="*/ 34 w 36"/>
                  <a:gd name="T25" fmla="*/ 3 h 40"/>
                  <a:gd name="T26" fmla="*/ 34 w 36"/>
                  <a:gd name="T27" fmla="*/ 0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36" h="40">
                    <a:moveTo>
                      <a:pt x="34" y="0"/>
                    </a:moveTo>
                    <a:cubicBezTo>
                      <a:pt x="34" y="0"/>
                      <a:pt x="34" y="0"/>
                      <a:pt x="34" y="0"/>
                    </a:cubicBezTo>
                    <a:cubicBezTo>
                      <a:pt x="33" y="0"/>
                      <a:pt x="33" y="0"/>
                      <a:pt x="33" y="0"/>
                    </a:cubicBezTo>
                    <a:cubicBezTo>
                      <a:pt x="31" y="1"/>
                      <a:pt x="29" y="2"/>
                      <a:pt x="28" y="3"/>
                    </a:cubicBezTo>
                    <a:cubicBezTo>
                      <a:pt x="22" y="7"/>
                      <a:pt x="19" y="13"/>
                      <a:pt x="15" y="18"/>
                    </a:cubicBezTo>
                    <a:cubicBezTo>
                      <a:pt x="12" y="23"/>
                      <a:pt x="9" y="25"/>
                      <a:pt x="4" y="29"/>
                    </a:cubicBezTo>
                    <a:cubicBezTo>
                      <a:pt x="2" y="31"/>
                      <a:pt x="1" y="32"/>
                      <a:pt x="0" y="34"/>
                    </a:cubicBezTo>
                    <a:cubicBezTo>
                      <a:pt x="1" y="36"/>
                      <a:pt x="3" y="38"/>
                      <a:pt x="4" y="40"/>
                    </a:cubicBezTo>
                    <a:cubicBezTo>
                      <a:pt x="7" y="38"/>
                      <a:pt x="8" y="35"/>
                      <a:pt x="11" y="33"/>
                    </a:cubicBezTo>
                    <a:cubicBezTo>
                      <a:pt x="14" y="31"/>
                      <a:pt x="16" y="29"/>
                      <a:pt x="18" y="26"/>
                    </a:cubicBezTo>
                    <a:cubicBezTo>
                      <a:pt x="20" y="22"/>
                      <a:pt x="22" y="19"/>
                      <a:pt x="24" y="15"/>
                    </a:cubicBezTo>
                    <a:cubicBezTo>
                      <a:pt x="27" y="11"/>
                      <a:pt x="30" y="7"/>
                      <a:pt x="34" y="3"/>
                    </a:cubicBezTo>
                    <a:cubicBezTo>
                      <a:pt x="34" y="3"/>
                      <a:pt x="34" y="3"/>
                      <a:pt x="34" y="3"/>
                    </a:cubicBezTo>
                    <a:cubicBezTo>
                      <a:pt x="36" y="2"/>
                      <a:pt x="35" y="0"/>
                      <a:pt x="34" y="0"/>
                    </a:cubicBezTo>
                  </a:path>
                </a:pathLst>
              </a:custGeom>
              <a:solidFill>
                <a:srgbClr val="544D4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193" name="Freeform 105">
                <a:extLst>
                  <a:ext uri="{FF2B5EF4-FFF2-40B4-BE49-F238E27FC236}">
                    <a16:creationId xmlns:a16="http://schemas.microsoft.com/office/drawing/2014/main" id="{7DE27AD5-7362-4F03-A158-4EEF7249B6CC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770" y="2071"/>
                <a:ext cx="15" cy="3"/>
              </a:xfrm>
              <a:custGeom>
                <a:avLst/>
                <a:gdLst>
                  <a:gd name="T0" fmla="*/ 0 w 14"/>
                  <a:gd name="T1" fmla="*/ 0 h 3"/>
                  <a:gd name="T2" fmla="*/ 0 w 14"/>
                  <a:gd name="T3" fmla="*/ 0 h 3"/>
                  <a:gd name="T4" fmla="*/ 14 w 14"/>
                  <a:gd name="T5" fmla="*/ 3 h 3"/>
                  <a:gd name="T6" fmla="*/ 11 w 14"/>
                  <a:gd name="T7" fmla="*/ 1 h 3"/>
                  <a:gd name="T8" fmla="*/ 10 w 14"/>
                  <a:gd name="T9" fmla="*/ 1 h 3"/>
                  <a:gd name="T10" fmla="*/ 9 w 14"/>
                  <a:gd name="T11" fmla="*/ 1 h 3"/>
                  <a:gd name="T12" fmla="*/ 5 w 14"/>
                  <a:gd name="T13" fmla="*/ 1 h 3"/>
                  <a:gd name="T14" fmla="*/ 1 w 14"/>
                  <a:gd name="T15" fmla="*/ 0 h 3"/>
                  <a:gd name="T16" fmla="*/ 0 w 14"/>
                  <a:gd name="T17" fmla="*/ 0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4" h="3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3" y="2"/>
                      <a:pt x="9" y="2"/>
                      <a:pt x="14" y="3"/>
                    </a:cubicBezTo>
                    <a:cubicBezTo>
                      <a:pt x="14" y="2"/>
                      <a:pt x="13" y="1"/>
                      <a:pt x="11" y="1"/>
                    </a:cubicBezTo>
                    <a:cubicBezTo>
                      <a:pt x="11" y="1"/>
                      <a:pt x="11" y="1"/>
                      <a:pt x="10" y="1"/>
                    </a:cubicBezTo>
                    <a:cubicBezTo>
                      <a:pt x="10" y="1"/>
                      <a:pt x="9" y="1"/>
                      <a:pt x="9" y="1"/>
                    </a:cubicBezTo>
                    <a:cubicBezTo>
                      <a:pt x="8" y="1"/>
                      <a:pt x="6" y="1"/>
                      <a:pt x="5" y="1"/>
                    </a:cubicBezTo>
                    <a:cubicBezTo>
                      <a:pt x="4" y="0"/>
                      <a:pt x="2" y="0"/>
                      <a:pt x="1" y="0"/>
                    </a:cubicBezTo>
                    <a:cubicBezTo>
                      <a:pt x="1" y="0"/>
                      <a:pt x="1" y="0"/>
                      <a:pt x="0" y="0"/>
                    </a:cubicBezTo>
                  </a:path>
                </a:pathLst>
              </a:custGeom>
              <a:solidFill>
                <a:srgbClr val="544D4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194" name="Freeform 106">
                <a:extLst>
                  <a:ext uri="{FF2B5EF4-FFF2-40B4-BE49-F238E27FC236}">
                    <a16:creationId xmlns:a16="http://schemas.microsoft.com/office/drawing/2014/main" id="{745E42E1-0053-4526-A035-15F08CD09E4A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2732" y="2018"/>
                <a:ext cx="68" cy="17"/>
              </a:xfrm>
              <a:custGeom>
                <a:avLst/>
                <a:gdLst>
                  <a:gd name="T0" fmla="*/ 49 w 65"/>
                  <a:gd name="T1" fmla="*/ 5 h 16"/>
                  <a:gd name="T2" fmla="*/ 39 w 65"/>
                  <a:gd name="T3" fmla="*/ 6 h 16"/>
                  <a:gd name="T4" fmla="*/ 29 w 65"/>
                  <a:gd name="T5" fmla="*/ 6 h 16"/>
                  <a:gd name="T6" fmla="*/ 20 w 65"/>
                  <a:gd name="T7" fmla="*/ 6 h 16"/>
                  <a:gd name="T8" fmla="*/ 2 w 65"/>
                  <a:gd name="T9" fmla="*/ 8 h 16"/>
                  <a:gd name="T10" fmla="*/ 2 w 65"/>
                  <a:gd name="T11" fmla="*/ 13 h 16"/>
                  <a:gd name="T12" fmla="*/ 17 w 65"/>
                  <a:gd name="T13" fmla="*/ 16 h 16"/>
                  <a:gd name="T14" fmla="*/ 36 w 65"/>
                  <a:gd name="T15" fmla="*/ 14 h 16"/>
                  <a:gd name="T16" fmla="*/ 43 w 65"/>
                  <a:gd name="T17" fmla="*/ 13 h 16"/>
                  <a:gd name="T18" fmla="*/ 45 w 65"/>
                  <a:gd name="T19" fmla="*/ 10 h 16"/>
                  <a:gd name="T20" fmla="*/ 49 w 65"/>
                  <a:gd name="T21" fmla="*/ 5 h 16"/>
                  <a:gd name="T22" fmla="*/ 63 w 65"/>
                  <a:gd name="T23" fmla="*/ 0 h 16"/>
                  <a:gd name="T24" fmla="*/ 62 w 65"/>
                  <a:gd name="T25" fmla="*/ 0 h 16"/>
                  <a:gd name="T26" fmla="*/ 61 w 65"/>
                  <a:gd name="T27" fmla="*/ 1 h 16"/>
                  <a:gd name="T28" fmla="*/ 60 w 65"/>
                  <a:gd name="T29" fmla="*/ 3 h 16"/>
                  <a:gd name="T30" fmla="*/ 51 w 65"/>
                  <a:gd name="T31" fmla="*/ 11 h 16"/>
                  <a:gd name="T32" fmla="*/ 65 w 65"/>
                  <a:gd name="T33" fmla="*/ 3 h 16"/>
                  <a:gd name="T34" fmla="*/ 63 w 65"/>
                  <a:gd name="T35" fmla="*/ 0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65" h="16">
                    <a:moveTo>
                      <a:pt x="49" y="5"/>
                    </a:moveTo>
                    <a:cubicBezTo>
                      <a:pt x="46" y="6"/>
                      <a:pt x="42" y="6"/>
                      <a:pt x="39" y="6"/>
                    </a:cubicBezTo>
                    <a:cubicBezTo>
                      <a:pt x="36" y="6"/>
                      <a:pt x="32" y="6"/>
                      <a:pt x="29" y="6"/>
                    </a:cubicBezTo>
                    <a:cubicBezTo>
                      <a:pt x="26" y="6"/>
                      <a:pt x="23" y="6"/>
                      <a:pt x="20" y="6"/>
                    </a:cubicBezTo>
                    <a:cubicBezTo>
                      <a:pt x="13" y="6"/>
                      <a:pt x="8" y="6"/>
                      <a:pt x="2" y="8"/>
                    </a:cubicBezTo>
                    <a:cubicBezTo>
                      <a:pt x="0" y="9"/>
                      <a:pt x="0" y="13"/>
                      <a:pt x="2" y="13"/>
                    </a:cubicBezTo>
                    <a:cubicBezTo>
                      <a:pt x="7" y="16"/>
                      <a:pt x="12" y="16"/>
                      <a:pt x="17" y="16"/>
                    </a:cubicBezTo>
                    <a:cubicBezTo>
                      <a:pt x="24" y="16"/>
                      <a:pt x="30" y="15"/>
                      <a:pt x="36" y="14"/>
                    </a:cubicBezTo>
                    <a:cubicBezTo>
                      <a:pt x="38" y="14"/>
                      <a:pt x="41" y="13"/>
                      <a:pt x="43" y="13"/>
                    </a:cubicBezTo>
                    <a:cubicBezTo>
                      <a:pt x="44" y="12"/>
                      <a:pt x="44" y="11"/>
                      <a:pt x="45" y="10"/>
                    </a:cubicBezTo>
                    <a:cubicBezTo>
                      <a:pt x="46" y="9"/>
                      <a:pt x="48" y="7"/>
                      <a:pt x="49" y="5"/>
                    </a:cubicBezTo>
                    <a:moveTo>
                      <a:pt x="63" y="0"/>
                    </a:moveTo>
                    <a:cubicBezTo>
                      <a:pt x="63" y="0"/>
                      <a:pt x="63" y="0"/>
                      <a:pt x="62" y="0"/>
                    </a:cubicBezTo>
                    <a:cubicBezTo>
                      <a:pt x="62" y="1"/>
                      <a:pt x="61" y="1"/>
                      <a:pt x="61" y="1"/>
                    </a:cubicBezTo>
                    <a:cubicBezTo>
                      <a:pt x="61" y="2"/>
                      <a:pt x="61" y="2"/>
                      <a:pt x="60" y="3"/>
                    </a:cubicBezTo>
                    <a:cubicBezTo>
                      <a:pt x="56" y="4"/>
                      <a:pt x="54" y="8"/>
                      <a:pt x="51" y="11"/>
                    </a:cubicBezTo>
                    <a:cubicBezTo>
                      <a:pt x="57" y="10"/>
                      <a:pt x="61" y="7"/>
                      <a:pt x="65" y="3"/>
                    </a:cubicBezTo>
                    <a:cubicBezTo>
                      <a:pt x="65" y="2"/>
                      <a:pt x="64" y="0"/>
                      <a:pt x="63" y="0"/>
                    </a:cubicBezTo>
                  </a:path>
                </a:pathLst>
              </a:custGeom>
              <a:solidFill>
                <a:srgbClr val="544D4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195" name="Freeform 107">
                <a:extLst>
                  <a:ext uri="{FF2B5EF4-FFF2-40B4-BE49-F238E27FC236}">
                    <a16:creationId xmlns:a16="http://schemas.microsoft.com/office/drawing/2014/main" id="{58394C56-25AB-4D95-9153-A6CF20C2A1B8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727" y="1955"/>
                <a:ext cx="22" cy="68"/>
              </a:xfrm>
              <a:custGeom>
                <a:avLst/>
                <a:gdLst>
                  <a:gd name="T0" fmla="*/ 15 w 20"/>
                  <a:gd name="T1" fmla="*/ 0 h 64"/>
                  <a:gd name="T2" fmla="*/ 5 w 20"/>
                  <a:gd name="T3" fmla="*/ 27 h 64"/>
                  <a:gd name="T4" fmla="*/ 6 w 20"/>
                  <a:gd name="T5" fmla="*/ 64 h 64"/>
                  <a:gd name="T6" fmla="*/ 7 w 20"/>
                  <a:gd name="T7" fmla="*/ 64 h 64"/>
                  <a:gd name="T8" fmla="*/ 8 w 20"/>
                  <a:gd name="T9" fmla="*/ 63 h 64"/>
                  <a:gd name="T10" fmla="*/ 12 w 20"/>
                  <a:gd name="T11" fmla="*/ 27 h 64"/>
                  <a:gd name="T12" fmla="*/ 20 w 20"/>
                  <a:gd name="T13" fmla="*/ 4 h 64"/>
                  <a:gd name="T14" fmla="*/ 15 w 20"/>
                  <a:gd name="T15" fmla="*/ 0 h 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0" h="64">
                    <a:moveTo>
                      <a:pt x="15" y="0"/>
                    </a:moveTo>
                    <a:cubicBezTo>
                      <a:pt x="9" y="8"/>
                      <a:pt x="7" y="17"/>
                      <a:pt x="5" y="27"/>
                    </a:cubicBezTo>
                    <a:cubicBezTo>
                      <a:pt x="2" y="40"/>
                      <a:pt x="0" y="51"/>
                      <a:pt x="6" y="64"/>
                    </a:cubicBezTo>
                    <a:cubicBezTo>
                      <a:pt x="6" y="64"/>
                      <a:pt x="7" y="64"/>
                      <a:pt x="7" y="64"/>
                    </a:cubicBezTo>
                    <a:cubicBezTo>
                      <a:pt x="8" y="64"/>
                      <a:pt x="8" y="64"/>
                      <a:pt x="8" y="63"/>
                    </a:cubicBezTo>
                    <a:cubicBezTo>
                      <a:pt x="4" y="51"/>
                      <a:pt x="8" y="38"/>
                      <a:pt x="12" y="27"/>
                    </a:cubicBezTo>
                    <a:cubicBezTo>
                      <a:pt x="14" y="19"/>
                      <a:pt x="15" y="11"/>
                      <a:pt x="20" y="4"/>
                    </a:cubicBezTo>
                    <a:cubicBezTo>
                      <a:pt x="18" y="3"/>
                      <a:pt x="17" y="2"/>
                      <a:pt x="15" y="0"/>
                    </a:cubicBezTo>
                  </a:path>
                </a:pathLst>
              </a:custGeom>
              <a:solidFill>
                <a:srgbClr val="544D4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196" name="Freeform 108">
                <a:extLst>
                  <a:ext uri="{FF2B5EF4-FFF2-40B4-BE49-F238E27FC236}">
                    <a16:creationId xmlns:a16="http://schemas.microsoft.com/office/drawing/2014/main" id="{AF4765A9-B3E8-4FF7-AE5A-971A4E38E98E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741" y="1949"/>
                <a:ext cx="48" cy="39"/>
              </a:xfrm>
              <a:custGeom>
                <a:avLst/>
                <a:gdLst>
                  <a:gd name="T0" fmla="*/ 2 w 45"/>
                  <a:gd name="T1" fmla="*/ 0 h 37"/>
                  <a:gd name="T2" fmla="*/ 0 w 45"/>
                  <a:gd name="T3" fmla="*/ 3 h 37"/>
                  <a:gd name="T4" fmla="*/ 0 w 45"/>
                  <a:gd name="T5" fmla="*/ 3 h 37"/>
                  <a:gd name="T6" fmla="*/ 0 w 45"/>
                  <a:gd name="T7" fmla="*/ 3 h 37"/>
                  <a:gd name="T8" fmla="*/ 0 w 45"/>
                  <a:gd name="T9" fmla="*/ 4 h 37"/>
                  <a:gd name="T10" fmla="*/ 2 w 45"/>
                  <a:gd name="T11" fmla="*/ 6 h 37"/>
                  <a:gd name="T12" fmla="*/ 7 w 45"/>
                  <a:gd name="T13" fmla="*/ 10 h 37"/>
                  <a:gd name="T14" fmla="*/ 11 w 45"/>
                  <a:gd name="T15" fmla="*/ 13 h 37"/>
                  <a:gd name="T16" fmla="*/ 22 w 45"/>
                  <a:gd name="T17" fmla="*/ 23 h 37"/>
                  <a:gd name="T18" fmla="*/ 39 w 45"/>
                  <a:gd name="T19" fmla="*/ 36 h 37"/>
                  <a:gd name="T20" fmla="*/ 43 w 45"/>
                  <a:gd name="T21" fmla="*/ 37 h 37"/>
                  <a:gd name="T22" fmla="*/ 43 w 45"/>
                  <a:gd name="T23" fmla="*/ 37 h 37"/>
                  <a:gd name="T24" fmla="*/ 44 w 45"/>
                  <a:gd name="T25" fmla="*/ 35 h 37"/>
                  <a:gd name="T26" fmla="*/ 38 w 45"/>
                  <a:gd name="T27" fmla="*/ 32 h 37"/>
                  <a:gd name="T28" fmla="*/ 21 w 45"/>
                  <a:gd name="T29" fmla="*/ 13 h 37"/>
                  <a:gd name="T30" fmla="*/ 14 w 45"/>
                  <a:gd name="T31" fmla="*/ 6 h 37"/>
                  <a:gd name="T32" fmla="*/ 9 w 45"/>
                  <a:gd name="T33" fmla="*/ 2 h 37"/>
                  <a:gd name="T34" fmla="*/ 2 w 45"/>
                  <a:gd name="T35" fmla="*/ 0 h 37"/>
                  <a:gd name="T36" fmla="*/ 2 w 45"/>
                  <a:gd name="T37" fmla="*/ 0 h 37"/>
                  <a:gd name="T38" fmla="*/ 2 w 45"/>
                  <a:gd name="T39" fmla="*/ 0 h 37"/>
                  <a:gd name="T40" fmla="*/ 2 w 45"/>
                  <a:gd name="T41" fmla="*/ 0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45" h="37">
                    <a:moveTo>
                      <a:pt x="2" y="0"/>
                    </a:moveTo>
                    <a:cubicBezTo>
                      <a:pt x="0" y="0"/>
                      <a:pt x="0" y="1"/>
                      <a:pt x="0" y="3"/>
                    </a:cubicBezTo>
                    <a:cubicBezTo>
                      <a:pt x="0" y="3"/>
                      <a:pt x="0" y="3"/>
                      <a:pt x="0" y="3"/>
                    </a:cubicBezTo>
                    <a:cubicBezTo>
                      <a:pt x="0" y="3"/>
                      <a:pt x="0" y="3"/>
                      <a:pt x="0" y="3"/>
                    </a:cubicBezTo>
                    <a:cubicBezTo>
                      <a:pt x="0" y="3"/>
                      <a:pt x="0" y="4"/>
                      <a:pt x="0" y="4"/>
                    </a:cubicBezTo>
                    <a:cubicBezTo>
                      <a:pt x="1" y="5"/>
                      <a:pt x="1" y="6"/>
                      <a:pt x="2" y="6"/>
                    </a:cubicBezTo>
                    <a:cubicBezTo>
                      <a:pt x="4" y="8"/>
                      <a:pt x="5" y="9"/>
                      <a:pt x="7" y="10"/>
                    </a:cubicBezTo>
                    <a:cubicBezTo>
                      <a:pt x="9" y="11"/>
                      <a:pt x="10" y="12"/>
                      <a:pt x="11" y="13"/>
                    </a:cubicBezTo>
                    <a:cubicBezTo>
                      <a:pt x="15" y="16"/>
                      <a:pt x="18" y="20"/>
                      <a:pt x="22" y="23"/>
                    </a:cubicBezTo>
                    <a:cubicBezTo>
                      <a:pt x="27" y="28"/>
                      <a:pt x="32" y="33"/>
                      <a:pt x="39" y="36"/>
                    </a:cubicBezTo>
                    <a:cubicBezTo>
                      <a:pt x="40" y="36"/>
                      <a:pt x="42" y="37"/>
                      <a:pt x="43" y="37"/>
                    </a:cubicBezTo>
                    <a:cubicBezTo>
                      <a:pt x="43" y="37"/>
                      <a:pt x="43" y="37"/>
                      <a:pt x="43" y="37"/>
                    </a:cubicBezTo>
                    <a:cubicBezTo>
                      <a:pt x="44" y="37"/>
                      <a:pt x="45" y="35"/>
                      <a:pt x="44" y="35"/>
                    </a:cubicBezTo>
                    <a:cubicBezTo>
                      <a:pt x="42" y="34"/>
                      <a:pt x="40" y="33"/>
                      <a:pt x="38" y="32"/>
                    </a:cubicBezTo>
                    <a:cubicBezTo>
                      <a:pt x="32" y="27"/>
                      <a:pt x="26" y="19"/>
                      <a:pt x="21" y="13"/>
                    </a:cubicBezTo>
                    <a:cubicBezTo>
                      <a:pt x="19" y="11"/>
                      <a:pt x="17" y="8"/>
                      <a:pt x="14" y="6"/>
                    </a:cubicBezTo>
                    <a:cubicBezTo>
                      <a:pt x="12" y="4"/>
                      <a:pt x="11" y="3"/>
                      <a:pt x="9" y="2"/>
                    </a:cubicBezTo>
                    <a:cubicBezTo>
                      <a:pt x="7" y="1"/>
                      <a:pt x="5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544D4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197" name="Freeform 109">
                <a:extLst>
                  <a:ext uri="{FF2B5EF4-FFF2-40B4-BE49-F238E27FC236}">
                    <a16:creationId xmlns:a16="http://schemas.microsoft.com/office/drawing/2014/main" id="{415508FC-1753-4308-BA72-9B6C939DD13F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708" y="1952"/>
                <a:ext cx="33" cy="82"/>
              </a:xfrm>
              <a:custGeom>
                <a:avLst/>
                <a:gdLst>
                  <a:gd name="T0" fmla="*/ 30 w 31"/>
                  <a:gd name="T1" fmla="*/ 0 h 77"/>
                  <a:gd name="T2" fmla="*/ 30 w 31"/>
                  <a:gd name="T3" fmla="*/ 0 h 77"/>
                  <a:gd name="T4" fmla="*/ 1 w 31"/>
                  <a:gd name="T5" fmla="*/ 41 h 77"/>
                  <a:gd name="T6" fmla="*/ 3 w 31"/>
                  <a:gd name="T7" fmla="*/ 45 h 77"/>
                  <a:gd name="T8" fmla="*/ 6 w 31"/>
                  <a:gd name="T9" fmla="*/ 48 h 77"/>
                  <a:gd name="T10" fmla="*/ 7 w 31"/>
                  <a:gd name="T11" fmla="*/ 47 h 77"/>
                  <a:gd name="T12" fmla="*/ 8 w 31"/>
                  <a:gd name="T13" fmla="*/ 49 h 77"/>
                  <a:gd name="T14" fmla="*/ 8 w 31"/>
                  <a:gd name="T15" fmla="*/ 58 h 77"/>
                  <a:gd name="T16" fmla="*/ 9 w 31"/>
                  <a:gd name="T17" fmla="*/ 59 h 77"/>
                  <a:gd name="T18" fmla="*/ 16 w 31"/>
                  <a:gd name="T19" fmla="*/ 75 h 77"/>
                  <a:gd name="T20" fmla="*/ 18 w 31"/>
                  <a:gd name="T21" fmla="*/ 77 h 77"/>
                  <a:gd name="T22" fmla="*/ 19 w 31"/>
                  <a:gd name="T23" fmla="*/ 77 h 77"/>
                  <a:gd name="T24" fmla="*/ 22 w 31"/>
                  <a:gd name="T25" fmla="*/ 73 h 77"/>
                  <a:gd name="T26" fmla="*/ 16 w 31"/>
                  <a:gd name="T27" fmla="*/ 60 h 77"/>
                  <a:gd name="T28" fmla="*/ 9 w 31"/>
                  <a:gd name="T29" fmla="*/ 43 h 77"/>
                  <a:gd name="T30" fmla="*/ 22 w 31"/>
                  <a:gd name="T31" fmla="*/ 12 h 77"/>
                  <a:gd name="T32" fmla="*/ 22 w 31"/>
                  <a:gd name="T33" fmla="*/ 12 h 77"/>
                  <a:gd name="T34" fmla="*/ 31 w 31"/>
                  <a:gd name="T35" fmla="*/ 2 h 77"/>
                  <a:gd name="T36" fmla="*/ 31 w 31"/>
                  <a:gd name="T37" fmla="*/ 1 h 77"/>
                  <a:gd name="T38" fmla="*/ 31 w 31"/>
                  <a:gd name="T39" fmla="*/ 0 h 77"/>
                  <a:gd name="T40" fmla="*/ 30 w 31"/>
                  <a:gd name="T41" fmla="*/ 0 h 77"/>
                  <a:gd name="T42" fmla="*/ 30 w 31"/>
                  <a:gd name="T43" fmla="*/ 0 h 77"/>
                  <a:gd name="T44" fmla="*/ 30 w 31"/>
                  <a:gd name="T45" fmla="*/ 0 h 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31" h="77">
                    <a:moveTo>
                      <a:pt x="30" y="0"/>
                    </a:moveTo>
                    <a:cubicBezTo>
                      <a:pt x="30" y="0"/>
                      <a:pt x="30" y="0"/>
                      <a:pt x="30" y="0"/>
                    </a:cubicBezTo>
                    <a:cubicBezTo>
                      <a:pt x="15" y="9"/>
                      <a:pt x="5" y="25"/>
                      <a:pt x="1" y="41"/>
                    </a:cubicBezTo>
                    <a:cubicBezTo>
                      <a:pt x="0" y="43"/>
                      <a:pt x="1" y="44"/>
                      <a:pt x="3" y="45"/>
                    </a:cubicBezTo>
                    <a:cubicBezTo>
                      <a:pt x="4" y="45"/>
                      <a:pt x="5" y="46"/>
                      <a:pt x="6" y="48"/>
                    </a:cubicBezTo>
                    <a:cubicBezTo>
                      <a:pt x="6" y="47"/>
                      <a:pt x="6" y="47"/>
                      <a:pt x="7" y="47"/>
                    </a:cubicBezTo>
                    <a:cubicBezTo>
                      <a:pt x="7" y="47"/>
                      <a:pt x="8" y="48"/>
                      <a:pt x="8" y="49"/>
                    </a:cubicBezTo>
                    <a:cubicBezTo>
                      <a:pt x="8" y="52"/>
                      <a:pt x="8" y="55"/>
                      <a:pt x="8" y="58"/>
                    </a:cubicBezTo>
                    <a:cubicBezTo>
                      <a:pt x="8" y="59"/>
                      <a:pt x="9" y="59"/>
                      <a:pt x="9" y="59"/>
                    </a:cubicBezTo>
                    <a:cubicBezTo>
                      <a:pt x="11" y="65"/>
                      <a:pt x="14" y="69"/>
                      <a:pt x="16" y="75"/>
                    </a:cubicBezTo>
                    <a:cubicBezTo>
                      <a:pt x="16" y="76"/>
                      <a:pt x="17" y="77"/>
                      <a:pt x="18" y="77"/>
                    </a:cubicBezTo>
                    <a:cubicBezTo>
                      <a:pt x="19" y="77"/>
                      <a:pt x="19" y="77"/>
                      <a:pt x="19" y="77"/>
                    </a:cubicBezTo>
                    <a:cubicBezTo>
                      <a:pt x="21" y="77"/>
                      <a:pt x="23" y="75"/>
                      <a:pt x="22" y="73"/>
                    </a:cubicBezTo>
                    <a:cubicBezTo>
                      <a:pt x="21" y="68"/>
                      <a:pt x="18" y="64"/>
                      <a:pt x="16" y="60"/>
                    </a:cubicBezTo>
                    <a:cubicBezTo>
                      <a:pt x="12" y="54"/>
                      <a:pt x="9" y="49"/>
                      <a:pt x="9" y="43"/>
                    </a:cubicBezTo>
                    <a:cubicBezTo>
                      <a:pt x="8" y="34"/>
                      <a:pt x="15" y="21"/>
                      <a:pt x="22" y="12"/>
                    </a:cubicBezTo>
                    <a:cubicBezTo>
                      <a:pt x="22" y="12"/>
                      <a:pt x="22" y="12"/>
                      <a:pt x="22" y="12"/>
                    </a:cubicBezTo>
                    <a:cubicBezTo>
                      <a:pt x="25" y="7"/>
                      <a:pt x="29" y="4"/>
                      <a:pt x="31" y="2"/>
                    </a:cubicBezTo>
                    <a:cubicBezTo>
                      <a:pt x="31" y="2"/>
                      <a:pt x="31" y="2"/>
                      <a:pt x="31" y="1"/>
                    </a:cubicBezTo>
                    <a:cubicBezTo>
                      <a:pt x="31" y="1"/>
                      <a:pt x="31" y="0"/>
                      <a:pt x="31" y="0"/>
                    </a:cubicBezTo>
                    <a:cubicBezTo>
                      <a:pt x="31" y="0"/>
                      <a:pt x="31" y="0"/>
                      <a:pt x="30" y="0"/>
                    </a:cubicBezTo>
                    <a:cubicBezTo>
                      <a:pt x="30" y="0"/>
                      <a:pt x="30" y="0"/>
                      <a:pt x="30" y="0"/>
                    </a:cubicBezTo>
                    <a:cubicBezTo>
                      <a:pt x="30" y="0"/>
                      <a:pt x="30" y="0"/>
                      <a:pt x="30" y="0"/>
                    </a:cubicBezTo>
                  </a:path>
                </a:pathLst>
              </a:custGeom>
              <a:solidFill>
                <a:srgbClr val="544D4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198" name="Freeform 110">
                <a:extLst>
                  <a:ext uri="{FF2B5EF4-FFF2-40B4-BE49-F238E27FC236}">
                    <a16:creationId xmlns:a16="http://schemas.microsoft.com/office/drawing/2014/main" id="{78B92F66-B54E-42DC-B320-5D7CDB8ECFC4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850" y="1964"/>
                <a:ext cx="26" cy="34"/>
              </a:xfrm>
              <a:custGeom>
                <a:avLst/>
                <a:gdLst>
                  <a:gd name="T0" fmla="*/ 4 w 24"/>
                  <a:gd name="T1" fmla="*/ 0 h 32"/>
                  <a:gd name="T2" fmla="*/ 2 w 24"/>
                  <a:gd name="T3" fmla="*/ 4 h 32"/>
                  <a:gd name="T4" fmla="*/ 4 w 24"/>
                  <a:gd name="T5" fmla="*/ 6 h 32"/>
                  <a:gd name="T6" fmla="*/ 13 w 24"/>
                  <a:gd name="T7" fmla="*/ 18 h 32"/>
                  <a:gd name="T8" fmla="*/ 16 w 24"/>
                  <a:gd name="T9" fmla="*/ 22 h 32"/>
                  <a:gd name="T10" fmla="*/ 16 w 24"/>
                  <a:gd name="T11" fmla="*/ 22 h 32"/>
                  <a:gd name="T12" fmla="*/ 17 w 24"/>
                  <a:gd name="T13" fmla="*/ 24 h 32"/>
                  <a:gd name="T14" fmla="*/ 18 w 24"/>
                  <a:gd name="T15" fmla="*/ 29 h 32"/>
                  <a:gd name="T16" fmla="*/ 18 w 24"/>
                  <a:gd name="T17" fmla="*/ 31 h 32"/>
                  <a:gd name="T18" fmla="*/ 20 w 24"/>
                  <a:gd name="T19" fmla="*/ 32 h 32"/>
                  <a:gd name="T20" fmla="*/ 22 w 24"/>
                  <a:gd name="T21" fmla="*/ 31 h 32"/>
                  <a:gd name="T22" fmla="*/ 22 w 24"/>
                  <a:gd name="T23" fmla="*/ 30 h 32"/>
                  <a:gd name="T24" fmla="*/ 24 w 24"/>
                  <a:gd name="T25" fmla="*/ 25 h 32"/>
                  <a:gd name="T26" fmla="*/ 23 w 24"/>
                  <a:gd name="T27" fmla="*/ 23 h 32"/>
                  <a:gd name="T28" fmla="*/ 23 w 24"/>
                  <a:gd name="T29" fmla="*/ 23 h 32"/>
                  <a:gd name="T30" fmla="*/ 20 w 24"/>
                  <a:gd name="T31" fmla="*/ 17 h 32"/>
                  <a:gd name="T32" fmla="*/ 7 w 24"/>
                  <a:gd name="T33" fmla="*/ 1 h 32"/>
                  <a:gd name="T34" fmla="*/ 6 w 24"/>
                  <a:gd name="T35" fmla="*/ 1 h 32"/>
                  <a:gd name="T36" fmla="*/ 4 w 24"/>
                  <a:gd name="T37" fmla="*/ 0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24" h="32">
                    <a:moveTo>
                      <a:pt x="4" y="0"/>
                    </a:moveTo>
                    <a:cubicBezTo>
                      <a:pt x="2" y="0"/>
                      <a:pt x="0" y="2"/>
                      <a:pt x="2" y="4"/>
                    </a:cubicBezTo>
                    <a:cubicBezTo>
                      <a:pt x="3" y="5"/>
                      <a:pt x="3" y="6"/>
                      <a:pt x="4" y="6"/>
                    </a:cubicBezTo>
                    <a:cubicBezTo>
                      <a:pt x="7" y="10"/>
                      <a:pt x="10" y="14"/>
                      <a:pt x="13" y="18"/>
                    </a:cubicBezTo>
                    <a:cubicBezTo>
                      <a:pt x="14" y="19"/>
                      <a:pt x="15" y="21"/>
                      <a:pt x="16" y="22"/>
                    </a:cubicBezTo>
                    <a:cubicBezTo>
                      <a:pt x="16" y="22"/>
                      <a:pt x="16" y="22"/>
                      <a:pt x="16" y="22"/>
                    </a:cubicBezTo>
                    <a:cubicBezTo>
                      <a:pt x="16" y="23"/>
                      <a:pt x="17" y="24"/>
                      <a:pt x="17" y="24"/>
                    </a:cubicBezTo>
                    <a:cubicBezTo>
                      <a:pt x="18" y="26"/>
                      <a:pt x="18" y="27"/>
                      <a:pt x="18" y="29"/>
                    </a:cubicBezTo>
                    <a:cubicBezTo>
                      <a:pt x="18" y="29"/>
                      <a:pt x="18" y="30"/>
                      <a:pt x="18" y="31"/>
                    </a:cubicBezTo>
                    <a:cubicBezTo>
                      <a:pt x="19" y="31"/>
                      <a:pt x="19" y="32"/>
                      <a:pt x="20" y="32"/>
                    </a:cubicBezTo>
                    <a:cubicBezTo>
                      <a:pt x="21" y="32"/>
                      <a:pt x="21" y="32"/>
                      <a:pt x="22" y="31"/>
                    </a:cubicBezTo>
                    <a:cubicBezTo>
                      <a:pt x="22" y="31"/>
                      <a:pt x="22" y="30"/>
                      <a:pt x="22" y="30"/>
                    </a:cubicBezTo>
                    <a:cubicBezTo>
                      <a:pt x="23" y="29"/>
                      <a:pt x="24" y="27"/>
                      <a:pt x="24" y="25"/>
                    </a:cubicBezTo>
                    <a:cubicBezTo>
                      <a:pt x="24" y="25"/>
                      <a:pt x="24" y="24"/>
                      <a:pt x="23" y="23"/>
                    </a:cubicBezTo>
                    <a:cubicBezTo>
                      <a:pt x="23" y="23"/>
                      <a:pt x="23" y="23"/>
                      <a:pt x="23" y="23"/>
                    </a:cubicBezTo>
                    <a:cubicBezTo>
                      <a:pt x="22" y="21"/>
                      <a:pt x="21" y="18"/>
                      <a:pt x="20" y="17"/>
                    </a:cubicBezTo>
                    <a:cubicBezTo>
                      <a:pt x="16" y="11"/>
                      <a:pt x="12" y="6"/>
                      <a:pt x="7" y="1"/>
                    </a:cubicBezTo>
                    <a:cubicBezTo>
                      <a:pt x="6" y="1"/>
                      <a:pt x="6" y="1"/>
                      <a:pt x="6" y="1"/>
                    </a:cubicBezTo>
                    <a:cubicBezTo>
                      <a:pt x="6" y="0"/>
                      <a:pt x="5" y="0"/>
                      <a:pt x="4" y="0"/>
                    </a:cubicBezTo>
                  </a:path>
                </a:pathLst>
              </a:custGeom>
              <a:solidFill>
                <a:srgbClr val="544D4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199" name="Freeform 111">
                <a:extLst>
                  <a:ext uri="{FF2B5EF4-FFF2-40B4-BE49-F238E27FC236}">
                    <a16:creationId xmlns:a16="http://schemas.microsoft.com/office/drawing/2014/main" id="{09B2124E-4B70-460F-A265-67ADC7ACA31A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713" y="2002"/>
                <a:ext cx="174" cy="120"/>
              </a:xfrm>
              <a:custGeom>
                <a:avLst/>
                <a:gdLst>
                  <a:gd name="T0" fmla="*/ 3 w 165"/>
                  <a:gd name="T1" fmla="*/ 0 h 114"/>
                  <a:gd name="T2" fmla="*/ 2 w 165"/>
                  <a:gd name="T3" fmla="*/ 1 h 114"/>
                  <a:gd name="T4" fmla="*/ 1 w 165"/>
                  <a:gd name="T5" fmla="*/ 2 h 114"/>
                  <a:gd name="T6" fmla="*/ 76 w 165"/>
                  <a:gd name="T7" fmla="*/ 113 h 114"/>
                  <a:gd name="T8" fmla="*/ 89 w 165"/>
                  <a:gd name="T9" fmla="*/ 114 h 114"/>
                  <a:gd name="T10" fmla="*/ 131 w 165"/>
                  <a:gd name="T11" fmla="*/ 104 h 114"/>
                  <a:gd name="T12" fmla="*/ 162 w 165"/>
                  <a:gd name="T13" fmla="*/ 74 h 114"/>
                  <a:gd name="T14" fmla="*/ 162 w 165"/>
                  <a:gd name="T15" fmla="*/ 74 h 114"/>
                  <a:gd name="T16" fmla="*/ 164 w 165"/>
                  <a:gd name="T17" fmla="*/ 51 h 114"/>
                  <a:gd name="T18" fmla="*/ 164 w 165"/>
                  <a:gd name="T19" fmla="*/ 50 h 114"/>
                  <a:gd name="T20" fmla="*/ 164 w 165"/>
                  <a:gd name="T21" fmla="*/ 46 h 114"/>
                  <a:gd name="T22" fmla="*/ 164 w 165"/>
                  <a:gd name="T23" fmla="*/ 44 h 114"/>
                  <a:gd name="T24" fmla="*/ 164 w 165"/>
                  <a:gd name="T25" fmla="*/ 43 h 114"/>
                  <a:gd name="T26" fmla="*/ 164 w 165"/>
                  <a:gd name="T27" fmla="*/ 43 h 114"/>
                  <a:gd name="T28" fmla="*/ 163 w 165"/>
                  <a:gd name="T29" fmla="*/ 43 h 114"/>
                  <a:gd name="T30" fmla="*/ 163 w 165"/>
                  <a:gd name="T31" fmla="*/ 45 h 114"/>
                  <a:gd name="T32" fmla="*/ 163 w 165"/>
                  <a:gd name="T33" fmla="*/ 45 h 114"/>
                  <a:gd name="T34" fmla="*/ 161 w 165"/>
                  <a:gd name="T35" fmla="*/ 54 h 114"/>
                  <a:gd name="T36" fmla="*/ 137 w 165"/>
                  <a:gd name="T37" fmla="*/ 93 h 114"/>
                  <a:gd name="T38" fmla="*/ 123 w 165"/>
                  <a:gd name="T39" fmla="*/ 101 h 114"/>
                  <a:gd name="T40" fmla="*/ 94 w 165"/>
                  <a:gd name="T41" fmla="*/ 106 h 114"/>
                  <a:gd name="T42" fmla="*/ 59 w 165"/>
                  <a:gd name="T43" fmla="*/ 98 h 114"/>
                  <a:gd name="T44" fmla="*/ 4 w 165"/>
                  <a:gd name="T45" fmla="*/ 11 h 114"/>
                  <a:gd name="T46" fmla="*/ 4 w 165"/>
                  <a:gd name="T47" fmla="*/ 2 h 114"/>
                  <a:gd name="T48" fmla="*/ 3 w 165"/>
                  <a:gd name="T49" fmla="*/ 0 h 1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165" h="114">
                    <a:moveTo>
                      <a:pt x="3" y="0"/>
                    </a:moveTo>
                    <a:cubicBezTo>
                      <a:pt x="2" y="0"/>
                      <a:pt x="2" y="0"/>
                      <a:pt x="2" y="1"/>
                    </a:cubicBezTo>
                    <a:cubicBezTo>
                      <a:pt x="1" y="1"/>
                      <a:pt x="1" y="1"/>
                      <a:pt x="1" y="2"/>
                    </a:cubicBezTo>
                    <a:cubicBezTo>
                      <a:pt x="0" y="50"/>
                      <a:pt x="23" y="104"/>
                      <a:pt x="76" y="113"/>
                    </a:cubicBezTo>
                    <a:cubicBezTo>
                      <a:pt x="80" y="114"/>
                      <a:pt x="85" y="114"/>
                      <a:pt x="89" y="114"/>
                    </a:cubicBezTo>
                    <a:cubicBezTo>
                      <a:pt x="104" y="114"/>
                      <a:pt x="119" y="110"/>
                      <a:pt x="131" y="104"/>
                    </a:cubicBezTo>
                    <a:cubicBezTo>
                      <a:pt x="144" y="98"/>
                      <a:pt x="157" y="88"/>
                      <a:pt x="162" y="74"/>
                    </a:cubicBezTo>
                    <a:cubicBezTo>
                      <a:pt x="162" y="74"/>
                      <a:pt x="162" y="74"/>
                      <a:pt x="162" y="74"/>
                    </a:cubicBezTo>
                    <a:cubicBezTo>
                      <a:pt x="165" y="66"/>
                      <a:pt x="165" y="59"/>
                      <a:pt x="164" y="51"/>
                    </a:cubicBezTo>
                    <a:cubicBezTo>
                      <a:pt x="164" y="51"/>
                      <a:pt x="164" y="50"/>
                      <a:pt x="164" y="50"/>
                    </a:cubicBezTo>
                    <a:cubicBezTo>
                      <a:pt x="164" y="49"/>
                      <a:pt x="164" y="47"/>
                      <a:pt x="164" y="46"/>
                    </a:cubicBezTo>
                    <a:cubicBezTo>
                      <a:pt x="164" y="45"/>
                      <a:pt x="164" y="44"/>
                      <a:pt x="164" y="44"/>
                    </a:cubicBezTo>
                    <a:cubicBezTo>
                      <a:pt x="164" y="43"/>
                      <a:pt x="164" y="43"/>
                      <a:pt x="164" y="43"/>
                    </a:cubicBezTo>
                    <a:cubicBezTo>
                      <a:pt x="164" y="43"/>
                      <a:pt x="164" y="43"/>
                      <a:pt x="164" y="43"/>
                    </a:cubicBezTo>
                    <a:cubicBezTo>
                      <a:pt x="163" y="43"/>
                      <a:pt x="163" y="43"/>
                      <a:pt x="163" y="43"/>
                    </a:cubicBezTo>
                    <a:cubicBezTo>
                      <a:pt x="163" y="44"/>
                      <a:pt x="163" y="45"/>
                      <a:pt x="163" y="45"/>
                    </a:cubicBezTo>
                    <a:cubicBezTo>
                      <a:pt x="163" y="45"/>
                      <a:pt x="163" y="45"/>
                      <a:pt x="163" y="45"/>
                    </a:cubicBezTo>
                    <a:cubicBezTo>
                      <a:pt x="162" y="48"/>
                      <a:pt x="161" y="51"/>
                      <a:pt x="161" y="54"/>
                    </a:cubicBezTo>
                    <a:cubicBezTo>
                      <a:pt x="156" y="70"/>
                      <a:pt x="150" y="84"/>
                      <a:pt x="137" y="93"/>
                    </a:cubicBezTo>
                    <a:cubicBezTo>
                      <a:pt x="133" y="96"/>
                      <a:pt x="128" y="99"/>
                      <a:pt x="123" y="101"/>
                    </a:cubicBezTo>
                    <a:cubicBezTo>
                      <a:pt x="114" y="104"/>
                      <a:pt x="104" y="106"/>
                      <a:pt x="94" y="106"/>
                    </a:cubicBezTo>
                    <a:cubicBezTo>
                      <a:pt x="82" y="106"/>
                      <a:pt x="70" y="103"/>
                      <a:pt x="59" y="98"/>
                    </a:cubicBezTo>
                    <a:cubicBezTo>
                      <a:pt x="25" y="82"/>
                      <a:pt x="6" y="48"/>
                      <a:pt x="4" y="11"/>
                    </a:cubicBezTo>
                    <a:cubicBezTo>
                      <a:pt x="4" y="8"/>
                      <a:pt x="4" y="5"/>
                      <a:pt x="4" y="2"/>
                    </a:cubicBezTo>
                    <a:cubicBezTo>
                      <a:pt x="4" y="1"/>
                      <a:pt x="3" y="0"/>
                      <a:pt x="3" y="0"/>
                    </a:cubicBezTo>
                  </a:path>
                </a:pathLst>
              </a:custGeom>
              <a:solidFill>
                <a:srgbClr val="544D4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200" name="Freeform 112">
                <a:extLst>
                  <a:ext uri="{FF2B5EF4-FFF2-40B4-BE49-F238E27FC236}">
                    <a16:creationId xmlns:a16="http://schemas.microsoft.com/office/drawing/2014/main" id="{7E68C211-84AA-4085-8719-459148304C9A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746" y="2017"/>
                <a:ext cx="50" cy="64"/>
              </a:xfrm>
              <a:custGeom>
                <a:avLst/>
                <a:gdLst>
                  <a:gd name="T0" fmla="*/ 45 w 47"/>
                  <a:gd name="T1" fmla="*/ 0 h 61"/>
                  <a:gd name="T2" fmla="*/ 44 w 47"/>
                  <a:gd name="T3" fmla="*/ 0 h 61"/>
                  <a:gd name="T4" fmla="*/ 35 w 47"/>
                  <a:gd name="T5" fmla="*/ 6 h 61"/>
                  <a:gd name="T6" fmla="*/ 31 w 47"/>
                  <a:gd name="T7" fmla="*/ 11 h 61"/>
                  <a:gd name="T8" fmla="*/ 29 w 47"/>
                  <a:gd name="T9" fmla="*/ 14 h 61"/>
                  <a:gd name="T10" fmla="*/ 10 w 47"/>
                  <a:gd name="T11" fmla="*/ 40 h 61"/>
                  <a:gd name="T12" fmla="*/ 36 w 47"/>
                  <a:gd name="T13" fmla="*/ 61 h 61"/>
                  <a:gd name="T14" fmla="*/ 39 w 47"/>
                  <a:gd name="T15" fmla="*/ 61 h 61"/>
                  <a:gd name="T16" fmla="*/ 39 w 47"/>
                  <a:gd name="T17" fmla="*/ 61 h 61"/>
                  <a:gd name="T18" fmla="*/ 41 w 47"/>
                  <a:gd name="T19" fmla="*/ 61 h 61"/>
                  <a:gd name="T20" fmla="*/ 40 w 47"/>
                  <a:gd name="T21" fmla="*/ 55 h 61"/>
                  <a:gd name="T22" fmla="*/ 37 w 47"/>
                  <a:gd name="T23" fmla="*/ 54 h 61"/>
                  <a:gd name="T24" fmla="*/ 36 w 47"/>
                  <a:gd name="T25" fmla="*/ 54 h 61"/>
                  <a:gd name="T26" fmla="*/ 22 w 47"/>
                  <a:gd name="T27" fmla="*/ 51 h 61"/>
                  <a:gd name="T28" fmla="*/ 21 w 47"/>
                  <a:gd name="T29" fmla="*/ 51 h 61"/>
                  <a:gd name="T30" fmla="*/ 20 w 47"/>
                  <a:gd name="T31" fmla="*/ 50 h 61"/>
                  <a:gd name="T32" fmla="*/ 16 w 47"/>
                  <a:gd name="T33" fmla="*/ 44 h 61"/>
                  <a:gd name="T34" fmla="*/ 15 w 47"/>
                  <a:gd name="T35" fmla="*/ 44 h 61"/>
                  <a:gd name="T36" fmla="*/ 17 w 47"/>
                  <a:gd name="T37" fmla="*/ 41 h 61"/>
                  <a:gd name="T38" fmla="*/ 22 w 47"/>
                  <a:gd name="T39" fmla="*/ 33 h 61"/>
                  <a:gd name="T40" fmla="*/ 34 w 47"/>
                  <a:gd name="T41" fmla="*/ 16 h 61"/>
                  <a:gd name="T42" fmla="*/ 37 w 47"/>
                  <a:gd name="T43" fmla="*/ 12 h 61"/>
                  <a:gd name="T44" fmla="*/ 46 w 47"/>
                  <a:gd name="T45" fmla="*/ 4 h 61"/>
                  <a:gd name="T46" fmla="*/ 47 w 47"/>
                  <a:gd name="T47" fmla="*/ 2 h 61"/>
                  <a:gd name="T48" fmla="*/ 45 w 47"/>
                  <a:gd name="T49" fmla="*/ 0 h 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47" h="61">
                    <a:moveTo>
                      <a:pt x="45" y="0"/>
                    </a:moveTo>
                    <a:cubicBezTo>
                      <a:pt x="45" y="0"/>
                      <a:pt x="45" y="0"/>
                      <a:pt x="44" y="0"/>
                    </a:cubicBezTo>
                    <a:cubicBezTo>
                      <a:pt x="41" y="1"/>
                      <a:pt x="38" y="4"/>
                      <a:pt x="35" y="6"/>
                    </a:cubicBezTo>
                    <a:cubicBezTo>
                      <a:pt x="34" y="8"/>
                      <a:pt x="32" y="10"/>
                      <a:pt x="31" y="11"/>
                    </a:cubicBezTo>
                    <a:cubicBezTo>
                      <a:pt x="30" y="12"/>
                      <a:pt x="30" y="13"/>
                      <a:pt x="29" y="14"/>
                    </a:cubicBezTo>
                    <a:cubicBezTo>
                      <a:pt x="22" y="23"/>
                      <a:pt x="16" y="31"/>
                      <a:pt x="10" y="40"/>
                    </a:cubicBezTo>
                    <a:cubicBezTo>
                      <a:pt x="0" y="55"/>
                      <a:pt x="23" y="59"/>
                      <a:pt x="36" y="61"/>
                    </a:cubicBezTo>
                    <a:cubicBezTo>
                      <a:pt x="37" y="61"/>
                      <a:pt x="38" y="61"/>
                      <a:pt x="39" y="61"/>
                    </a:cubicBezTo>
                    <a:cubicBezTo>
                      <a:pt x="39" y="61"/>
                      <a:pt x="39" y="61"/>
                      <a:pt x="39" y="61"/>
                    </a:cubicBezTo>
                    <a:cubicBezTo>
                      <a:pt x="40" y="61"/>
                      <a:pt x="41" y="61"/>
                      <a:pt x="41" y="61"/>
                    </a:cubicBezTo>
                    <a:cubicBezTo>
                      <a:pt x="43" y="59"/>
                      <a:pt x="43" y="56"/>
                      <a:pt x="40" y="55"/>
                    </a:cubicBezTo>
                    <a:cubicBezTo>
                      <a:pt x="39" y="55"/>
                      <a:pt x="38" y="54"/>
                      <a:pt x="37" y="54"/>
                    </a:cubicBezTo>
                    <a:cubicBezTo>
                      <a:pt x="37" y="54"/>
                      <a:pt x="36" y="54"/>
                      <a:pt x="36" y="54"/>
                    </a:cubicBezTo>
                    <a:cubicBezTo>
                      <a:pt x="31" y="53"/>
                      <a:pt x="25" y="53"/>
                      <a:pt x="22" y="51"/>
                    </a:cubicBezTo>
                    <a:cubicBezTo>
                      <a:pt x="21" y="51"/>
                      <a:pt x="21" y="51"/>
                      <a:pt x="21" y="51"/>
                    </a:cubicBezTo>
                    <a:cubicBezTo>
                      <a:pt x="21" y="50"/>
                      <a:pt x="20" y="50"/>
                      <a:pt x="20" y="50"/>
                    </a:cubicBezTo>
                    <a:cubicBezTo>
                      <a:pt x="19" y="48"/>
                      <a:pt x="17" y="46"/>
                      <a:pt x="16" y="44"/>
                    </a:cubicBezTo>
                    <a:cubicBezTo>
                      <a:pt x="15" y="44"/>
                      <a:pt x="15" y="44"/>
                      <a:pt x="15" y="44"/>
                    </a:cubicBezTo>
                    <a:cubicBezTo>
                      <a:pt x="16" y="43"/>
                      <a:pt x="17" y="42"/>
                      <a:pt x="17" y="41"/>
                    </a:cubicBezTo>
                    <a:cubicBezTo>
                      <a:pt x="18" y="39"/>
                      <a:pt x="20" y="35"/>
                      <a:pt x="22" y="33"/>
                    </a:cubicBezTo>
                    <a:cubicBezTo>
                      <a:pt x="26" y="27"/>
                      <a:pt x="30" y="22"/>
                      <a:pt x="34" y="16"/>
                    </a:cubicBezTo>
                    <a:cubicBezTo>
                      <a:pt x="35" y="15"/>
                      <a:pt x="36" y="14"/>
                      <a:pt x="37" y="12"/>
                    </a:cubicBezTo>
                    <a:cubicBezTo>
                      <a:pt x="40" y="9"/>
                      <a:pt x="42" y="5"/>
                      <a:pt x="46" y="4"/>
                    </a:cubicBezTo>
                    <a:cubicBezTo>
                      <a:pt x="47" y="3"/>
                      <a:pt x="47" y="3"/>
                      <a:pt x="47" y="2"/>
                    </a:cubicBezTo>
                    <a:cubicBezTo>
                      <a:pt x="47" y="1"/>
                      <a:pt x="46" y="0"/>
                      <a:pt x="45" y="0"/>
                    </a:cubicBezTo>
                  </a:path>
                </a:pathLst>
              </a:custGeom>
              <a:solidFill>
                <a:srgbClr val="544D4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201" name="Freeform 113">
                <a:extLst>
                  <a:ext uri="{FF2B5EF4-FFF2-40B4-BE49-F238E27FC236}">
                    <a16:creationId xmlns:a16="http://schemas.microsoft.com/office/drawing/2014/main" id="{09CAB5CE-5C99-4B8A-9FE4-9BDC7599ACAC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2125" y="1787"/>
                <a:ext cx="91" cy="79"/>
              </a:xfrm>
              <a:custGeom>
                <a:avLst/>
                <a:gdLst>
                  <a:gd name="T0" fmla="*/ 17 w 85"/>
                  <a:gd name="T1" fmla="*/ 21 h 75"/>
                  <a:gd name="T2" fmla="*/ 48 w 85"/>
                  <a:gd name="T3" fmla="*/ 7 h 75"/>
                  <a:gd name="T4" fmla="*/ 51 w 85"/>
                  <a:gd name="T5" fmla="*/ 3 h 75"/>
                  <a:gd name="T6" fmla="*/ 75 w 85"/>
                  <a:gd name="T7" fmla="*/ 20 h 75"/>
                  <a:gd name="T8" fmla="*/ 76 w 85"/>
                  <a:gd name="T9" fmla="*/ 44 h 75"/>
                  <a:gd name="T10" fmla="*/ 64 w 85"/>
                  <a:gd name="T11" fmla="*/ 62 h 75"/>
                  <a:gd name="T12" fmla="*/ 46 w 85"/>
                  <a:gd name="T13" fmla="*/ 67 h 75"/>
                  <a:gd name="T14" fmla="*/ 37 w 85"/>
                  <a:gd name="T15" fmla="*/ 66 h 75"/>
                  <a:gd name="T16" fmla="*/ 12 w 85"/>
                  <a:gd name="T17" fmla="*/ 35 h 75"/>
                  <a:gd name="T18" fmla="*/ 17 w 85"/>
                  <a:gd name="T19" fmla="*/ 21 h 75"/>
                  <a:gd name="T20" fmla="*/ 41 w 85"/>
                  <a:gd name="T21" fmla="*/ 0 h 75"/>
                  <a:gd name="T22" fmla="*/ 33 w 85"/>
                  <a:gd name="T23" fmla="*/ 1 h 75"/>
                  <a:gd name="T24" fmla="*/ 33 w 85"/>
                  <a:gd name="T25" fmla="*/ 1 h 75"/>
                  <a:gd name="T26" fmla="*/ 15 w 85"/>
                  <a:gd name="T27" fmla="*/ 12 h 75"/>
                  <a:gd name="T28" fmla="*/ 15 w 85"/>
                  <a:gd name="T29" fmla="*/ 12 h 75"/>
                  <a:gd name="T30" fmla="*/ 10 w 85"/>
                  <a:gd name="T31" fmla="*/ 19 h 75"/>
                  <a:gd name="T32" fmla="*/ 11 w 85"/>
                  <a:gd name="T33" fmla="*/ 19 h 75"/>
                  <a:gd name="T34" fmla="*/ 11 w 85"/>
                  <a:gd name="T35" fmla="*/ 19 h 75"/>
                  <a:gd name="T36" fmla="*/ 12 w 85"/>
                  <a:gd name="T37" fmla="*/ 21 h 75"/>
                  <a:gd name="T38" fmla="*/ 8 w 85"/>
                  <a:gd name="T39" fmla="*/ 22 h 75"/>
                  <a:gd name="T40" fmla="*/ 4 w 85"/>
                  <a:gd name="T41" fmla="*/ 34 h 75"/>
                  <a:gd name="T42" fmla="*/ 38 w 85"/>
                  <a:gd name="T43" fmla="*/ 74 h 75"/>
                  <a:gd name="T44" fmla="*/ 46 w 85"/>
                  <a:gd name="T45" fmla="*/ 75 h 75"/>
                  <a:gd name="T46" fmla="*/ 81 w 85"/>
                  <a:gd name="T47" fmla="*/ 50 h 75"/>
                  <a:gd name="T48" fmla="*/ 81 w 85"/>
                  <a:gd name="T49" fmla="*/ 50 h 75"/>
                  <a:gd name="T50" fmla="*/ 83 w 85"/>
                  <a:gd name="T51" fmla="*/ 42 h 75"/>
                  <a:gd name="T52" fmla="*/ 77 w 85"/>
                  <a:gd name="T53" fmla="*/ 13 h 75"/>
                  <a:gd name="T54" fmla="*/ 48 w 85"/>
                  <a:gd name="T55" fmla="*/ 0 h 75"/>
                  <a:gd name="T56" fmla="*/ 46 w 85"/>
                  <a:gd name="T57" fmla="*/ 0 h 75"/>
                  <a:gd name="T58" fmla="*/ 46 w 85"/>
                  <a:gd name="T59" fmla="*/ 0 h 75"/>
                  <a:gd name="T60" fmla="*/ 41 w 85"/>
                  <a:gd name="T61" fmla="*/ 0 h 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85" h="75">
                    <a:moveTo>
                      <a:pt x="17" y="21"/>
                    </a:moveTo>
                    <a:cubicBezTo>
                      <a:pt x="24" y="12"/>
                      <a:pt x="36" y="7"/>
                      <a:pt x="48" y="7"/>
                    </a:cubicBezTo>
                    <a:cubicBezTo>
                      <a:pt x="50" y="7"/>
                      <a:pt x="51" y="5"/>
                      <a:pt x="51" y="3"/>
                    </a:cubicBezTo>
                    <a:cubicBezTo>
                      <a:pt x="62" y="5"/>
                      <a:pt x="70" y="9"/>
                      <a:pt x="75" y="20"/>
                    </a:cubicBezTo>
                    <a:cubicBezTo>
                      <a:pt x="79" y="28"/>
                      <a:pt x="78" y="37"/>
                      <a:pt x="76" y="44"/>
                    </a:cubicBezTo>
                    <a:cubicBezTo>
                      <a:pt x="74" y="52"/>
                      <a:pt x="70" y="58"/>
                      <a:pt x="64" y="62"/>
                    </a:cubicBezTo>
                    <a:cubicBezTo>
                      <a:pt x="59" y="65"/>
                      <a:pt x="53" y="67"/>
                      <a:pt x="46" y="67"/>
                    </a:cubicBezTo>
                    <a:cubicBezTo>
                      <a:pt x="43" y="67"/>
                      <a:pt x="40" y="67"/>
                      <a:pt x="37" y="66"/>
                    </a:cubicBezTo>
                    <a:cubicBezTo>
                      <a:pt x="23" y="62"/>
                      <a:pt x="9" y="51"/>
                      <a:pt x="12" y="35"/>
                    </a:cubicBezTo>
                    <a:cubicBezTo>
                      <a:pt x="12" y="30"/>
                      <a:pt x="15" y="25"/>
                      <a:pt x="17" y="21"/>
                    </a:cubicBezTo>
                    <a:moveTo>
                      <a:pt x="41" y="0"/>
                    </a:moveTo>
                    <a:cubicBezTo>
                      <a:pt x="38" y="0"/>
                      <a:pt x="35" y="0"/>
                      <a:pt x="33" y="1"/>
                    </a:cubicBezTo>
                    <a:cubicBezTo>
                      <a:pt x="33" y="1"/>
                      <a:pt x="33" y="1"/>
                      <a:pt x="33" y="1"/>
                    </a:cubicBezTo>
                    <a:cubicBezTo>
                      <a:pt x="26" y="3"/>
                      <a:pt x="20" y="7"/>
                      <a:pt x="15" y="12"/>
                    </a:cubicBezTo>
                    <a:cubicBezTo>
                      <a:pt x="15" y="12"/>
                      <a:pt x="15" y="12"/>
                      <a:pt x="15" y="12"/>
                    </a:cubicBezTo>
                    <a:cubicBezTo>
                      <a:pt x="13" y="14"/>
                      <a:pt x="12" y="17"/>
                      <a:pt x="10" y="19"/>
                    </a:cubicBezTo>
                    <a:cubicBezTo>
                      <a:pt x="10" y="19"/>
                      <a:pt x="11" y="19"/>
                      <a:pt x="11" y="19"/>
                    </a:cubicBezTo>
                    <a:cubicBezTo>
                      <a:pt x="11" y="19"/>
                      <a:pt x="11" y="19"/>
                      <a:pt x="11" y="19"/>
                    </a:cubicBezTo>
                    <a:cubicBezTo>
                      <a:pt x="13" y="19"/>
                      <a:pt x="13" y="21"/>
                      <a:pt x="12" y="21"/>
                    </a:cubicBezTo>
                    <a:cubicBezTo>
                      <a:pt x="10" y="22"/>
                      <a:pt x="9" y="22"/>
                      <a:pt x="8" y="22"/>
                    </a:cubicBezTo>
                    <a:cubicBezTo>
                      <a:pt x="6" y="26"/>
                      <a:pt x="5" y="30"/>
                      <a:pt x="4" y="34"/>
                    </a:cubicBezTo>
                    <a:cubicBezTo>
                      <a:pt x="0" y="54"/>
                      <a:pt x="20" y="71"/>
                      <a:pt x="38" y="74"/>
                    </a:cubicBezTo>
                    <a:cubicBezTo>
                      <a:pt x="41" y="75"/>
                      <a:pt x="43" y="75"/>
                      <a:pt x="46" y="75"/>
                    </a:cubicBezTo>
                    <a:cubicBezTo>
                      <a:pt x="62" y="75"/>
                      <a:pt x="75" y="65"/>
                      <a:pt x="81" y="50"/>
                    </a:cubicBezTo>
                    <a:cubicBezTo>
                      <a:pt x="81" y="50"/>
                      <a:pt x="81" y="50"/>
                      <a:pt x="81" y="50"/>
                    </a:cubicBezTo>
                    <a:cubicBezTo>
                      <a:pt x="82" y="48"/>
                      <a:pt x="83" y="45"/>
                      <a:pt x="83" y="42"/>
                    </a:cubicBezTo>
                    <a:cubicBezTo>
                      <a:pt x="85" y="31"/>
                      <a:pt x="83" y="21"/>
                      <a:pt x="77" y="13"/>
                    </a:cubicBezTo>
                    <a:cubicBezTo>
                      <a:pt x="68" y="1"/>
                      <a:pt x="62" y="0"/>
                      <a:pt x="48" y="0"/>
                    </a:cubicBezTo>
                    <a:cubicBezTo>
                      <a:pt x="48" y="0"/>
                      <a:pt x="47" y="0"/>
                      <a:pt x="46" y="0"/>
                    </a:cubicBezTo>
                    <a:cubicBezTo>
                      <a:pt x="46" y="0"/>
                      <a:pt x="46" y="0"/>
                      <a:pt x="46" y="0"/>
                    </a:cubicBezTo>
                    <a:cubicBezTo>
                      <a:pt x="44" y="0"/>
                      <a:pt x="42" y="0"/>
                      <a:pt x="41" y="0"/>
                    </a:cubicBezTo>
                  </a:path>
                </a:pathLst>
              </a:custGeom>
              <a:solidFill>
                <a:srgbClr val="544D4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202" name="Freeform 114">
                <a:extLst>
                  <a:ext uri="{FF2B5EF4-FFF2-40B4-BE49-F238E27FC236}">
                    <a16:creationId xmlns:a16="http://schemas.microsoft.com/office/drawing/2014/main" id="{92D88442-9580-45C4-B918-32321F160C6D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195" y="1868"/>
                <a:ext cx="89" cy="71"/>
              </a:xfrm>
              <a:custGeom>
                <a:avLst/>
                <a:gdLst>
                  <a:gd name="T0" fmla="*/ 38 w 84"/>
                  <a:gd name="T1" fmla="*/ 0 h 67"/>
                  <a:gd name="T2" fmla="*/ 21 w 84"/>
                  <a:gd name="T3" fmla="*/ 3 h 67"/>
                  <a:gd name="T4" fmla="*/ 1 w 84"/>
                  <a:gd name="T5" fmla="*/ 26 h 67"/>
                  <a:gd name="T6" fmla="*/ 27 w 84"/>
                  <a:gd name="T7" fmla="*/ 64 h 67"/>
                  <a:gd name="T8" fmla="*/ 30 w 84"/>
                  <a:gd name="T9" fmla="*/ 58 h 67"/>
                  <a:gd name="T10" fmla="*/ 31 w 84"/>
                  <a:gd name="T11" fmla="*/ 58 h 67"/>
                  <a:gd name="T12" fmla="*/ 32 w 84"/>
                  <a:gd name="T13" fmla="*/ 59 h 67"/>
                  <a:gd name="T14" fmla="*/ 30 w 84"/>
                  <a:gd name="T15" fmla="*/ 65 h 67"/>
                  <a:gd name="T16" fmla="*/ 31 w 84"/>
                  <a:gd name="T17" fmla="*/ 65 h 67"/>
                  <a:gd name="T18" fmla="*/ 34 w 84"/>
                  <a:gd name="T19" fmla="*/ 66 h 67"/>
                  <a:gd name="T20" fmla="*/ 41 w 84"/>
                  <a:gd name="T21" fmla="*/ 67 h 67"/>
                  <a:gd name="T22" fmla="*/ 76 w 84"/>
                  <a:gd name="T23" fmla="*/ 41 h 67"/>
                  <a:gd name="T24" fmla="*/ 76 w 84"/>
                  <a:gd name="T25" fmla="*/ 41 h 67"/>
                  <a:gd name="T26" fmla="*/ 54 w 84"/>
                  <a:gd name="T27" fmla="*/ 3 h 67"/>
                  <a:gd name="T28" fmla="*/ 54 w 84"/>
                  <a:gd name="T29" fmla="*/ 3 h 67"/>
                  <a:gd name="T30" fmla="*/ 53 w 84"/>
                  <a:gd name="T31" fmla="*/ 5 h 67"/>
                  <a:gd name="T32" fmla="*/ 69 w 84"/>
                  <a:gd name="T33" fmla="*/ 41 h 67"/>
                  <a:gd name="T34" fmla="*/ 60 w 84"/>
                  <a:gd name="T35" fmla="*/ 53 h 67"/>
                  <a:gd name="T36" fmla="*/ 41 w 84"/>
                  <a:gd name="T37" fmla="*/ 60 h 67"/>
                  <a:gd name="T38" fmla="*/ 38 w 84"/>
                  <a:gd name="T39" fmla="*/ 60 h 67"/>
                  <a:gd name="T40" fmla="*/ 36 w 84"/>
                  <a:gd name="T41" fmla="*/ 59 h 67"/>
                  <a:gd name="T42" fmla="*/ 9 w 84"/>
                  <a:gd name="T43" fmla="*/ 32 h 67"/>
                  <a:gd name="T44" fmla="*/ 14 w 84"/>
                  <a:gd name="T45" fmla="*/ 15 h 67"/>
                  <a:gd name="T46" fmla="*/ 43 w 84"/>
                  <a:gd name="T47" fmla="*/ 8 h 67"/>
                  <a:gd name="T48" fmla="*/ 46 w 84"/>
                  <a:gd name="T49" fmla="*/ 2 h 67"/>
                  <a:gd name="T50" fmla="*/ 46 w 84"/>
                  <a:gd name="T51" fmla="*/ 2 h 67"/>
                  <a:gd name="T52" fmla="*/ 44 w 84"/>
                  <a:gd name="T53" fmla="*/ 1 h 67"/>
                  <a:gd name="T54" fmla="*/ 43 w 84"/>
                  <a:gd name="T55" fmla="*/ 1 h 67"/>
                  <a:gd name="T56" fmla="*/ 43 w 84"/>
                  <a:gd name="T57" fmla="*/ 0 h 67"/>
                  <a:gd name="T58" fmla="*/ 38 w 84"/>
                  <a:gd name="T59" fmla="*/ 0 h 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84" h="67">
                    <a:moveTo>
                      <a:pt x="38" y="0"/>
                    </a:moveTo>
                    <a:cubicBezTo>
                      <a:pt x="33" y="0"/>
                      <a:pt x="27" y="1"/>
                      <a:pt x="21" y="3"/>
                    </a:cubicBezTo>
                    <a:cubicBezTo>
                      <a:pt x="11" y="6"/>
                      <a:pt x="2" y="13"/>
                      <a:pt x="1" y="26"/>
                    </a:cubicBezTo>
                    <a:cubicBezTo>
                      <a:pt x="0" y="42"/>
                      <a:pt x="13" y="58"/>
                      <a:pt x="27" y="64"/>
                    </a:cubicBezTo>
                    <a:cubicBezTo>
                      <a:pt x="28" y="62"/>
                      <a:pt x="29" y="60"/>
                      <a:pt x="30" y="58"/>
                    </a:cubicBezTo>
                    <a:cubicBezTo>
                      <a:pt x="30" y="58"/>
                      <a:pt x="30" y="58"/>
                      <a:pt x="31" y="58"/>
                    </a:cubicBezTo>
                    <a:cubicBezTo>
                      <a:pt x="31" y="58"/>
                      <a:pt x="32" y="58"/>
                      <a:pt x="32" y="59"/>
                    </a:cubicBezTo>
                    <a:cubicBezTo>
                      <a:pt x="31" y="61"/>
                      <a:pt x="31" y="63"/>
                      <a:pt x="30" y="65"/>
                    </a:cubicBezTo>
                    <a:cubicBezTo>
                      <a:pt x="30" y="65"/>
                      <a:pt x="31" y="65"/>
                      <a:pt x="31" y="65"/>
                    </a:cubicBezTo>
                    <a:cubicBezTo>
                      <a:pt x="32" y="65"/>
                      <a:pt x="33" y="66"/>
                      <a:pt x="34" y="66"/>
                    </a:cubicBezTo>
                    <a:cubicBezTo>
                      <a:pt x="36" y="66"/>
                      <a:pt x="38" y="67"/>
                      <a:pt x="41" y="67"/>
                    </a:cubicBezTo>
                    <a:cubicBezTo>
                      <a:pt x="56" y="67"/>
                      <a:pt x="70" y="56"/>
                      <a:pt x="76" y="41"/>
                    </a:cubicBezTo>
                    <a:cubicBezTo>
                      <a:pt x="76" y="41"/>
                      <a:pt x="76" y="41"/>
                      <a:pt x="76" y="41"/>
                    </a:cubicBezTo>
                    <a:cubicBezTo>
                      <a:pt x="84" y="21"/>
                      <a:pt x="69" y="13"/>
                      <a:pt x="54" y="3"/>
                    </a:cubicBezTo>
                    <a:cubicBezTo>
                      <a:pt x="54" y="3"/>
                      <a:pt x="54" y="3"/>
                      <a:pt x="54" y="3"/>
                    </a:cubicBezTo>
                    <a:cubicBezTo>
                      <a:pt x="53" y="3"/>
                      <a:pt x="52" y="4"/>
                      <a:pt x="53" y="5"/>
                    </a:cubicBezTo>
                    <a:cubicBezTo>
                      <a:pt x="64" y="15"/>
                      <a:pt x="78" y="24"/>
                      <a:pt x="69" y="41"/>
                    </a:cubicBezTo>
                    <a:cubicBezTo>
                      <a:pt x="67" y="46"/>
                      <a:pt x="64" y="50"/>
                      <a:pt x="60" y="53"/>
                    </a:cubicBezTo>
                    <a:cubicBezTo>
                      <a:pt x="55" y="57"/>
                      <a:pt x="48" y="60"/>
                      <a:pt x="41" y="60"/>
                    </a:cubicBezTo>
                    <a:cubicBezTo>
                      <a:pt x="40" y="60"/>
                      <a:pt x="39" y="60"/>
                      <a:pt x="38" y="60"/>
                    </a:cubicBezTo>
                    <a:cubicBezTo>
                      <a:pt x="37" y="59"/>
                      <a:pt x="37" y="59"/>
                      <a:pt x="36" y="59"/>
                    </a:cubicBezTo>
                    <a:cubicBezTo>
                      <a:pt x="23" y="56"/>
                      <a:pt x="12" y="45"/>
                      <a:pt x="9" y="32"/>
                    </a:cubicBezTo>
                    <a:cubicBezTo>
                      <a:pt x="8" y="24"/>
                      <a:pt x="10" y="19"/>
                      <a:pt x="14" y="15"/>
                    </a:cubicBezTo>
                    <a:cubicBezTo>
                      <a:pt x="21" y="9"/>
                      <a:pt x="34" y="8"/>
                      <a:pt x="43" y="8"/>
                    </a:cubicBezTo>
                    <a:cubicBezTo>
                      <a:pt x="46" y="8"/>
                      <a:pt x="47" y="4"/>
                      <a:pt x="46" y="2"/>
                    </a:cubicBezTo>
                    <a:cubicBezTo>
                      <a:pt x="46" y="2"/>
                      <a:pt x="46" y="2"/>
                      <a:pt x="46" y="2"/>
                    </a:cubicBezTo>
                    <a:cubicBezTo>
                      <a:pt x="45" y="2"/>
                      <a:pt x="45" y="2"/>
                      <a:pt x="44" y="1"/>
                    </a:cubicBezTo>
                    <a:cubicBezTo>
                      <a:pt x="44" y="1"/>
                      <a:pt x="44" y="1"/>
                      <a:pt x="43" y="1"/>
                    </a:cubicBezTo>
                    <a:cubicBezTo>
                      <a:pt x="43" y="1"/>
                      <a:pt x="43" y="1"/>
                      <a:pt x="43" y="0"/>
                    </a:cubicBezTo>
                    <a:cubicBezTo>
                      <a:pt x="41" y="0"/>
                      <a:pt x="40" y="0"/>
                      <a:pt x="38" y="0"/>
                    </a:cubicBezTo>
                  </a:path>
                </a:pathLst>
              </a:custGeom>
              <a:solidFill>
                <a:srgbClr val="544D4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203" name="Freeform 115">
                <a:extLst>
                  <a:ext uri="{FF2B5EF4-FFF2-40B4-BE49-F238E27FC236}">
                    <a16:creationId xmlns:a16="http://schemas.microsoft.com/office/drawing/2014/main" id="{63CC3C96-79BD-46FC-8F71-D2DEABE5CF66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2022" y="1834"/>
                <a:ext cx="91" cy="77"/>
              </a:xfrm>
              <a:custGeom>
                <a:avLst/>
                <a:gdLst>
                  <a:gd name="T0" fmla="*/ 18 w 86"/>
                  <a:gd name="T1" fmla="*/ 19 h 72"/>
                  <a:gd name="T2" fmla="*/ 27 w 86"/>
                  <a:gd name="T3" fmla="*/ 11 h 72"/>
                  <a:gd name="T4" fmla="*/ 38 w 86"/>
                  <a:gd name="T5" fmla="*/ 8 h 72"/>
                  <a:gd name="T6" fmla="*/ 56 w 86"/>
                  <a:gd name="T7" fmla="*/ 13 h 72"/>
                  <a:gd name="T8" fmla="*/ 58 w 86"/>
                  <a:gd name="T9" fmla="*/ 14 h 72"/>
                  <a:gd name="T10" fmla="*/ 61 w 86"/>
                  <a:gd name="T11" fmla="*/ 11 h 72"/>
                  <a:gd name="T12" fmla="*/ 69 w 86"/>
                  <a:gd name="T13" fmla="*/ 53 h 72"/>
                  <a:gd name="T14" fmla="*/ 64 w 86"/>
                  <a:gd name="T15" fmla="*/ 58 h 72"/>
                  <a:gd name="T16" fmla="*/ 64 w 86"/>
                  <a:gd name="T17" fmla="*/ 58 h 72"/>
                  <a:gd name="T18" fmla="*/ 44 w 86"/>
                  <a:gd name="T19" fmla="*/ 64 h 72"/>
                  <a:gd name="T20" fmla="*/ 38 w 86"/>
                  <a:gd name="T21" fmla="*/ 64 h 72"/>
                  <a:gd name="T22" fmla="*/ 38 w 86"/>
                  <a:gd name="T23" fmla="*/ 64 h 72"/>
                  <a:gd name="T24" fmla="*/ 34 w 86"/>
                  <a:gd name="T25" fmla="*/ 63 h 72"/>
                  <a:gd name="T26" fmla="*/ 13 w 86"/>
                  <a:gd name="T27" fmla="*/ 32 h 72"/>
                  <a:gd name="T28" fmla="*/ 18 w 86"/>
                  <a:gd name="T29" fmla="*/ 19 h 72"/>
                  <a:gd name="T30" fmla="*/ 18 w 86"/>
                  <a:gd name="T31" fmla="*/ 19 h 72"/>
                  <a:gd name="T32" fmla="*/ 37 w 86"/>
                  <a:gd name="T33" fmla="*/ 0 h 72"/>
                  <a:gd name="T34" fmla="*/ 29 w 86"/>
                  <a:gd name="T35" fmla="*/ 1 h 72"/>
                  <a:gd name="T36" fmla="*/ 29 w 86"/>
                  <a:gd name="T37" fmla="*/ 1 h 72"/>
                  <a:gd name="T38" fmla="*/ 7 w 86"/>
                  <a:gd name="T39" fmla="*/ 22 h 72"/>
                  <a:gd name="T40" fmla="*/ 23 w 86"/>
                  <a:gd name="T41" fmla="*/ 69 h 72"/>
                  <a:gd name="T42" fmla="*/ 27 w 86"/>
                  <a:gd name="T43" fmla="*/ 70 h 72"/>
                  <a:gd name="T44" fmla="*/ 28 w 86"/>
                  <a:gd name="T45" fmla="*/ 68 h 72"/>
                  <a:gd name="T46" fmla="*/ 29 w 86"/>
                  <a:gd name="T47" fmla="*/ 66 h 72"/>
                  <a:gd name="T48" fmla="*/ 32 w 86"/>
                  <a:gd name="T49" fmla="*/ 69 h 72"/>
                  <a:gd name="T50" fmla="*/ 32 w 86"/>
                  <a:gd name="T51" fmla="*/ 71 h 72"/>
                  <a:gd name="T52" fmla="*/ 39 w 86"/>
                  <a:gd name="T53" fmla="*/ 72 h 72"/>
                  <a:gd name="T54" fmla="*/ 43 w 86"/>
                  <a:gd name="T55" fmla="*/ 72 h 72"/>
                  <a:gd name="T56" fmla="*/ 77 w 86"/>
                  <a:gd name="T57" fmla="*/ 54 h 72"/>
                  <a:gd name="T58" fmla="*/ 79 w 86"/>
                  <a:gd name="T59" fmla="*/ 49 h 72"/>
                  <a:gd name="T60" fmla="*/ 79 w 86"/>
                  <a:gd name="T61" fmla="*/ 49 h 72"/>
                  <a:gd name="T62" fmla="*/ 55 w 86"/>
                  <a:gd name="T63" fmla="*/ 4 h 72"/>
                  <a:gd name="T64" fmla="*/ 54 w 86"/>
                  <a:gd name="T65" fmla="*/ 4 h 72"/>
                  <a:gd name="T66" fmla="*/ 54 w 86"/>
                  <a:gd name="T67" fmla="*/ 4 h 72"/>
                  <a:gd name="T68" fmla="*/ 37 w 86"/>
                  <a:gd name="T69" fmla="*/ 0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86" h="72">
                    <a:moveTo>
                      <a:pt x="18" y="19"/>
                    </a:moveTo>
                    <a:cubicBezTo>
                      <a:pt x="20" y="16"/>
                      <a:pt x="23" y="13"/>
                      <a:pt x="27" y="11"/>
                    </a:cubicBezTo>
                    <a:cubicBezTo>
                      <a:pt x="31" y="9"/>
                      <a:pt x="34" y="8"/>
                      <a:pt x="38" y="8"/>
                    </a:cubicBezTo>
                    <a:cubicBezTo>
                      <a:pt x="44" y="8"/>
                      <a:pt x="50" y="11"/>
                      <a:pt x="56" y="13"/>
                    </a:cubicBezTo>
                    <a:cubicBezTo>
                      <a:pt x="57" y="14"/>
                      <a:pt x="57" y="14"/>
                      <a:pt x="58" y="14"/>
                    </a:cubicBezTo>
                    <a:cubicBezTo>
                      <a:pt x="59" y="14"/>
                      <a:pt x="60" y="13"/>
                      <a:pt x="61" y="11"/>
                    </a:cubicBezTo>
                    <a:cubicBezTo>
                      <a:pt x="73" y="21"/>
                      <a:pt x="80" y="38"/>
                      <a:pt x="69" y="53"/>
                    </a:cubicBezTo>
                    <a:cubicBezTo>
                      <a:pt x="68" y="55"/>
                      <a:pt x="66" y="57"/>
                      <a:pt x="64" y="58"/>
                    </a:cubicBezTo>
                    <a:cubicBezTo>
                      <a:pt x="64" y="58"/>
                      <a:pt x="64" y="58"/>
                      <a:pt x="64" y="58"/>
                    </a:cubicBezTo>
                    <a:cubicBezTo>
                      <a:pt x="59" y="63"/>
                      <a:pt x="51" y="64"/>
                      <a:pt x="44" y="64"/>
                    </a:cubicBezTo>
                    <a:cubicBezTo>
                      <a:pt x="42" y="64"/>
                      <a:pt x="40" y="64"/>
                      <a:pt x="38" y="64"/>
                    </a:cubicBezTo>
                    <a:cubicBezTo>
                      <a:pt x="38" y="64"/>
                      <a:pt x="38" y="64"/>
                      <a:pt x="38" y="64"/>
                    </a:cubicBezTo>
                    <a:cubicBezTo>
                      <a:pt x="36" y="64"/>
                      <a:pt x="35" y="64"/>
                      <a:pt x="34" y="63"/>
                    </a:cubicBezTo>
                    <a:cubicBezTo>
                      <a:pt x="17" y="60"/>
                      <a:pt x="10" y="48"/>
                      <a:pt x="13" y="32"/>
                    </a:cubicBezTo>
                    <a:cubicBezTo>
                      <a:pt x="14" y="27"/>
                      <a:pt x="15" y="23"/>
                      <a:pt x="18" y="19"/>
                    </a:cubicBezTo>
                    <a:cubicBezTo>
                      <a:pt x="18" y="19"/>
                      <a:pt x="18" y="19"/>
                      <a:pt x="18" y="19"/>
                    </a:cubicBezTo>
                    <a:moveTo>
                      <a:pt x="37" y="0"/>
                    </a:moveTo>
                    <a:cubicBezTo>
                      <a:pt x="35" y="0"/>
                      <a:pt x="32" y="0"/>
                      <a:pt x="29" y="1"/>
                    </a:cubicBezTo>
                    <a:cubicBezTo>
                      <a:pt x="29" y="1"/>
                      <a:pt x="29" y="1"/>
                      <a:pt x="29" y="1"/>
                    </a:cubicBezTo>
                    <a:cubicBezTo>
                      <a:pt x="19" y="3"/>
                      <a:pt x="11" y="10"/>
                      <a:pt x="7" y="22"/>
                    </a:cubicBezTo>
                    <a:cubicBezTo>
                      <a:pt x="0" y="40"/>
                      <a:pt x="4" y="61"/>
                      <a:pt x="23" y="69"/>
                    </a:cubicBezTo>
                    <a:cubicBezTo>
                      <a:pt x="25" y="69"/>
                      <a:pt x="26" y="70"/>
                      <a:pt x="27" y="70"/>
                    </a:cubicBezTo>
                    <a:cubicBezTo>
                      <a:pt x="27" y="69"/>
                      <a:pt x="27" y="69"/>
                      <a:pt x="28" y="68"/>
                    </a:cubicBezTo>
                    <a:cubicBezTo>
                      <a:pt x="28" y="67"/>
                      <a:pt x="29" y="66"/>
                      <a:pt x="29" y="66"/>
                    </a:cubicBezTo>
                    <a:cubicBezTo>
                      <a:pt x="31" y="66"/>
                      <a:pt x="32" y="67"/>
                      <a:pt x="32" y="69"/>
                    </a:cubicBezTo>
                    <a:cubicBezTo>
                      <a:pt x="32" y="70"/>
                      <a:pt x="32" y="70"/>
                      <a:pt x="32" y="71"/>
                    </a:cubicBezTo>
                    <a:cubicBezTo>
                      <a:pt x="34" y="72"/>
                      <a:pt x="36" y="72"/>
                      <a:pt x="39" y="72"/>
                    </a:cubicBezTo>
                    <a:cubicBezTo>
                      <a:pt x="40" y="72"/>
                      <a:pt x="42" y="72"/>
                      <a:pt x="43" y="72"/>
                    </a:cubicBezTo>
                    <a:cubicBezTo>
                      <a:pt x="57" y="72"/>
                      <a:pt x="70" y="67"/>
                      <a:pt x="77" y="54"/>
                    </a:cubicBezTo>
                    <a:cubicBezTo>
                      <a:pt x="78" y="52"/>
                      <a:pt x="79" y="50"/>
                      <a:pt x="79" y="49"/>
                    </a:cubicBezTo>
                    <a:cubicBezTo>
                      <a:pt x="79" y="49"/>
                      <a:pt x="79" y="49"/>
                      <a:pt x="79" y="49"/>
                    </a:cubicBezTo>
                    <a:cubicBezTo>
                      <a:pt x="86" y="29"/>
                      <a:pt x="74" y="11"/>
                      <a:pt x="55" y="4"/>
                    </a:cubicBezTo>
                    <a:cubicBezTo>
                      <a:pt x="55" y="4"/>
                      <a:pt x="54" y="4"/>
                      <a:pt x="54" y="4"/>
                    </a:cubicBezTo>
                    <a:cubicBezTo>
                      <a:pt x="54" y="4"/>
                      <a:pt x="54" y="4"/>
                      <a:pt x="54" y="4"/>
                    </a:cubicBezTo>
                    <a:cubicBezTo>
                      <a:pt x="49" y="1"/>
                      <a:pt x="43" y="0"/>
                      <a:pt x="37" y="0"/>
                    </a:cubicBezTo>
                  </a:path>
                </a:pathLst>
              </a:custGeom>
              <a:solidFill>
                <a:srgbClr val="544D4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204" name="Freeform 116">
                <a:extLst>
                  <a:ext uri="{FF2B5EF4-FFF2-40B4-BE49-F238E27FC236}">
                    <a16:creationId xmlns:a16="http://schemas.microsoft.com/office/drawing/2014/main" id="{838C7852-4CDC-45BF-9DB8-10EDE98F3946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2087" y="1926"/>
                <a:ext cx="82" cy="73"/>
              </a:xfrm>
              <a:custGeom>
                <a:avLst/>
                <a:gdLst>
                  <a:gd name="T0" fmla="*/ 14 w 77"/>
                  <a:gd name="T1" fmla="*/ 17 h 69"/>
                  <a:gd name="T2" fmla="*/ 42 w 77"/>
                  <a:gd name="T3" fmla="*/ 5 h 69"/>
                  <a:gd name="T4" fmla="*/ 43 w 77"/>
                  <a:gd name="T5" fmla="*/ 4 h 69"/>
                  <a:gd name="T6" fmla="*/ 44 w 77"/>
                  <a:gd name="T7" fmla="*/ 5 h 69"/>
                  <a:gd name="T8" fmla="*/ 66 w 77"/>
                  <a:gd name="T9" fmla="*/ 15 h 69"/>
                  <a:gd name="T10" fmla="*/ 71 w 77"/>
                  <a:gd name="T11" fmla="*/ 32 h 69"/>
                  <a:gd name="T12" fmla="*/ 61 w 77"/>
                  <a:gd name="T13" fmla="*/ 55 h 69"/>
                  <a:gd name="T14" fmla="*/ 44 w 77"/>
                  <a:gd name="T15" fmla="*/ 62 h 69"/>
                  <a:gd name="T16" fmla="*/ 42 w 77"/>
                  <a:gd name="T17" fmla="*/ 62 h 69"/>
                  <a:gd name="T18" fmla="*/ 9 w 77"/>
                  <a:gd name="T19" fmla="*/ 27 h 69"/>
                  <a:gd name="T20" fmla="*/ 14 w 77"/>
                  <a:gd name="T21" fmla="*/ 17 h 69"/>
                  <a:gd name="T22" fmla="*/ 14 w 77"/>
                  <a:gd name="T23" fmla="*/ 17 h 69"/>
                  <a:gd name="T24" fmla="*/ 39 w 77"/>
                  <a:gd name="T25" fmla="*/ 0 h 69"/>
                  <a:gd name="T26" fmla="*/ 24 w 77"/>
                  <a:gd name="T27" fmla="*/ 2 h 69"/>
                  <a:gd name="T28" fmla="*/ 7 w 77"/>
                  <a:gd name="T29" fmla="*/ 13 h 69"/>
                  <a:gd name="T30" fmla="*/ 1 w 77"/>
                  <a:gd name="T31" fmla="*/ 27 h 69"/>
                  <a:gd name="T32" fmla="*/ 39 w 77"/>
                  <a:gd name="T33" fmla="*/ 69 h 69"/>
                  <a:gd name="T34" fmla="*/ 41 w 77"/>
                  <a:gd name="T35" fmla="*/ 69 h 69"/>
                  <a:gd name="T36" fmla="*/ 75 w 77"/>
                  <a:gd name="T37" fmla="*/ 47 h 69"/>
                  <a:gd name="T38" fmla="*/ 77 w 77"/>
                  <a:gd name="T39" fmla="*/ 37 h 69"/>
                  <a:gd name="T40" fmla="*/ 71 w 77"/>
                  <a:gd name="T41" fmla="*/ 12 h 69"/>
                  <a:gd name="T42" fmla="*/ 45 w 77"/>
                  <a:gd name="T43" fmla="*/ 2 h 69"/>
                  <a:gd name="T44" fmla="*/ 45 w 77"/>
                  <a:gd name="T45" fmla="*/ 2 h 69"/>
                  <a:gd name="T46" fmla="*/ 43 w 77"/>
                  <a:gd name="T47" fmla="*/ 3 h 69"/>
                  <a:gd name="T48" fmla="*/ 41 w 77"/>
                  <a:gd name="T49" fmla="*/ 0 h 69"/>
                  <a:gd name="T50" fmla="*/ 39 w 77"/>
                  <a:gd name="T51" fmla="*/ 0 h 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77" h="69">
                    <a:moveTo>
                      <a:pt x="14" y="17"/>
                    </a:moveTo>
                    <a:cubicBezTo>
                      <a:pt x="20" y="10"/>
                      <a:pt x="33" y="9"/>
                      <a:pt x="42" y="5"/>
                    </a:cubicBezTo>
                    <a:cubicBezTo>
                      <a:pt x="42" y="5"/>
                      <a:pt x="43" y="4"/>
                      <a:pt x="43" y="4"/>
                    </a:cubicBezTo>
                    <a:cubicBezTo>
                      <a:pt x="43" y="4"/>
                      <a:pt x="44" y="5"/>
                      <a:pt x="44" y="5"/>
                    </a:cubicBezTo>
                    <a:cubicBezTo>
                      <a:pt x="52" y="8"/>
                      <a:pt x="61" y="8"/>
                      <a:pt x="66" y="15"/>
                    </a:cubicBezTo>
                    <a:cubicBezTo>
                      <a:pt x="69" y="19"/>
                      <a:pt x="70" y="27"/>
                      <a:pt x="71" y="32"/>
                    </a:cubicBezTo>
                    <a:cubicBezTo>
                      <a:pt x="71" y="42"/>
                      <a:pt x="68" y="50"/>
                      <a:pt x="61" y="55"/>
                    </a:cubicBezTo>
                    <a:cubicBezTo>
                      <a:pt x="57" y="59"/>
                      <a:pt x="51" y="62"/>
                      <a:pt x="44" y="62"/>
                    </a:cubicBezTo>
                    <a:cubicBezTo>
                      <a:pt x="44" y="62"/>
                      <a:pt x="43" y="62"/>
                      <a:pt x="42" y="62"/>
                    </a:cubicBezTo>
                    <a:cubicBezTo>
                      <a:pt x="26" y="62"/>
                      <a:pt x="6" y="44"/>
                      <a:pt x="9" y="27"/>
                    </a:cubicBezTo>
                    <a:cubicBezTo>
                      <a:pt x="9" y="23"/>
                      <a:pt x="11" y="20"/>
                      <a:pt x="14" y="17"/>
                    </a:cubicBezTo>
                    <a:cubicBezTo>
                      <a:pt x="14" y="17"/>
                      <a:pt x="14" y="17"/>
                      <a:pt x="14" y="17"/>
                    </a:cubicBezTo>
                    <a:moveTo>
                      <a:pt x="39" y="0"/>
                    </a:moveTo>
                    <a:cubicBezTo>
                      <a:pt x="35" y="0"/>
                      <a:pt x="29" y="1"/>
                      <a:pt x="24" y="2"/>
                    </a:cubicBezTo>
                    <a:cubicBezTo>
                      <a:pt x="18" y="5"/>
                      <a:pt x="12" y="8"/>
                      <a:pt x="7" y="13"/>
                    </a:cubicBezTo>
                    <a:cubicBezTo>
                      <a:pt x="4" y="17"/>
                      <a:pt x="1" y="22"/>
                      <a:pt x="1" y="27"/>
                    </a:cubicBezTo>
                    <a:cubicBezTo>
                      <a:pt x="0" y="46"/>
                      <a:pt x="21" y="68"/>
                      <a:pt x="39" y="69"/>
                    </a:cubicBezTo>
                    <a:cubicBezTo>
                      <a:pt x="40" y="69"/>
                      <a:pt x="41" y="69"/>
                      <a:pt x="41" y="69"/>
                    </a:cubicBezTo>
                    <a:cubicBezTo>
                      <a:pt x="56" y="69"/>
                      <a:pt x="70" y="60"/>
                      <a:pt x="75" y="47"/>
                    </a:cubicBezTo>
                    <a:cubicBezTo>
                      <a:pt x="76" y="44"/>
                      <a:pt x="77" y="41"/>
                      <a:pt x="77" y="37"/>
                    </a:cubicBezTo>
                    <a:cubicBezTo>
                      <a:pt x="77" y="29"/>
                      <a:pt x="76" y="19"/>
                      <a:pt x="71" y="12"/>
                    </a:cubicBezTo>
                    <a:cubicBezTo>
                      <a:pt x="65" y="2"/>
                      <a:pt x="56" y="5"/>
                      <a:pt x="45" y="2"/>
                    </a:cubicBezTo>
                    <a:cubicBezTo>
                      <a:pt x="45" y="2"/>
                      <a:pt x="45" y="2"/>
                      <a:pt x="45" y="2"/>
                    </a:cubicBezTo>
                    <a:cubicBezTo>
                      <a:pt x="44" y="2"/>
                      <a:pt x="44" y="2"/>
                      <a:pt x="43" y="3"/>
                    </a:cubicBezTo>
                    <a:cubicBezTo>
                      <a:pt x="43" y="1"/>
                      <a:pt x="42" y="0"/>
                      <a:pt x="41" y="0"/>
                    </a:cubicBezTo>
                    <a:cubicBezTo>
                      <a:pt x="40" y="0"/>
                      <a:pt x="40" y="0"/>
                      <a:pt x="39" y="0"/>
                    </a:cubicBezTo>
                  </a:path>
                </a:pathLst>
              </a:custGeom>
              <a:solidFill>
                <a:srgbClr val="544D4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205" name="Freeform 117">
                <a:extLst>
                  <a:ext uri="{FF2B5EF4-FFF2-40B4-BE49-F238E27FC236}">
                    <a16:creationId xmlns:a16="http://schemas.microsoft.com/office/drawing/2014/main" id="{539D5E19-C3C1-429D-A9DC-35874EC2555C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215" y="1832"/>
                <a:ext cx="31" cy="38"/>
              </a:xfrm>
              <a:custGeom>
                <a:avLst/>
                <a:gdLst>
                  <a:gd name="T0" fmla="*/ 4 w 30"/>
                  <a:gd name="T1" fmla="*/ 0 h 36"/>
                  <a:gd name="T2" fmla="*/ 2 w 30"/>
                  <a:gd name="T3" fmla="*/ 5 h 36"/>
                  <a:gd name="T4" fmla="*/ 25 w 30"/>
                  <a:gd name="T5" fmla="*/ 29 h 36"/>
                  <a:gd name="T6" fmla="*/ 26 w 30"/>
                  <a:gd name="T7" fmla="*/ 33 h 36"/>
                  <a:gd name="T8" fmla="*/ 26 w 30"/>
                  <a:gd name="T9" fmla="*/ 33 h 36"/>
                  <a:gd name="T10" fmla="*/ 25 w 30"/>
                  <a:gd name="T11" fmla="*/ 34 h 36"/>
                  <a:gd name="T12" fmla="*/ 25 w 30"/>
                  <a:gd name="T13" fmla="*/ 35 h 36"/>
                  <a:gd name="T14" fmla="*/ 26 w 30"/>
                  <a:gd name="T15" fmla="*/ 35 h 36"/>
                  <a:gd name="T16" fmla="*/ 28 w 30"/>
                  <a:gd name="T17" fmla="*/ 36 h 36"/>
                  <a:gd name="T18" fmla="*/ 28 w 30"/>
                  <a:gd name="T19" fmla="*/ 36 h 36"/>
                  <a:gd name="T20" fmla="*/ 29 w 30"/>
                  <a:gd name="T21" fmla="*/ 34 h 36"/>
                  <a:gd name="T22" fmla="*/ 29 w 30"/>
                  <a:gd name="T23" fmla="*/ 29 h 36"/>
                  <a:gd name="T24" fmla="*/ 29 w 30"/>
                  <a:gd name="T25" fmla="*/ 29 h 36"/>
                  <a:gd name="T26" fmla="*/ 23 w 30"/>
                  <a:gd name="T27" fmla="*/ 16 h 36"/>
                  <a:gd name="T28" fmla="*/ 5 w 30"/>
                  <a:gd name="T29" fmla="*/ 0 h 36"/>
                  <a:gd name="T30" fmla="*/ 4 w 30"/>
                  <a:gd name="T31" fmla="*/ 0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30" h="36">
                    <a:moveTo>
                      <a:pt x="4" y="0"/>
                    </a:moveTo>
                    <a:cubicBezTo>
                      <a:pt x="1" y="0"/>
                      <a:pt x="0" y="3"/>
                      <a:pt x="2" y="5"/>
                    </a:cubicBezTo>
                    <a:cubicBezTo>
                      <a:pt x="11" y="10"/>
                      <a:pt x="21" y="19"/>
                      <a:pt x="25" y="29"/>
                    </a:cubicBezTo>
                    <a:cubicBezTo>
                      <a:pt x="25" y="31"/>
                      <a:pt x="25" y="32"/>
                      <a:pt x="26" y="33"/>
                    </a:cubicBezTo>
                    <a:cubicBezTo>
                      <a:pt x="26" y="33"/>
                      <a:pt x="26" y="33"/>
                      <a:pt x="26" y="33"/>
                    </a:cubicBezTo>
                    <a:cubicBezTo>
                      <a:pt x="25" y="33"/>
                      <a:pt x="24" y="34"/>
                      <a:pt x="25" y="34"/>
                    </a:cubicBezTo>
                    <a:cubicBezTo>
                      <a:pt x="25" y="35"/>
                      <a:pt x="25" y="35"/>
                      <a:pt x="25" y="35"/>
                    </a:cubicBezTo>
                    <a:cubicBezTo>
                      <a:pt x="26" y="35"/>
                      <a:pt x="26" y="35"/>
                      <a:pt x="26" y="35"/>
                    </a:cubicBezTo>
                    <a:cubicBezTo>
                      <a:pt x="27" y="36"/>
                      <a:pt x="27" y="36"/>
                      <a:pt x="28" y="36"/>
                    </a:cubicBezTo>
                    <a:cubicBezTo>
                      <a:pt x="28" y="36"/>
                      <a:pt x="28" y="36"/>
                      <a:pt x="28" y="36"/>
                    </a:cubicBezTo>
                    <a:cubicBezTo>
                      <a:pt x="29" y="36"/>
                      <a:pt x="29" y="35"/>
                      <a:pt x="29" y="34"/>
                    </a:cubicBezTo>
                    <a:cubicBezTo>
                      <a:pt x="30" y="33"/>
                      <a:pt x="30" y="31"/>
                      <a:pt x="29" y="29"/>
                    </a:cubicBezTo>
                    <a:cubicBezTo>
                      <a:pt x="29" y="29"/>
                      <a:pt x="29" y="29"/>
                      <a:pt x="29" y="29"/>
                    </a:cubicBezTo>
                    <a:cubicBezTo>
                      <a:pt x="29" y="24"/>
                      <a:pt x="26" y="20"/>
                      <a:pt x="23" y="16"/>
                    </a:cubicBezTo>
                    <a:cubicBezTo>
                      <a:pt x="18" y="9"/>
                      <a:pt x="12" y="4"/>
                      <a:pt x="5" y="0"/>
                    </a:cubicBezTo>
                    <a:cubicBezTo>
                      <a:pt x="5" y="0"/>
                      <a:pt x="4" y="0"/>
                      <a:pt x="4" y="0"/>
                    </a:cubicBezTo>
                  </a:path>
                </a:pathLst>
              </a:custGeom>
              <a:solidFill>
                <a:srgbClr val="544D4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206" name="Freeform 118">
                <a:extLst>
                  <a:ext uri="{FF2B5EF4-FFF2-40B4-BE49-F238E27FC236}">
                    <a16:creationId xmlns:a16="http://schemas.microsoft.com/office/drawing/2014/main" id="{058C5DAA-ED57-4E0D-906C-F28F26DF6D2C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083" y="1807"/>
                <a:ext cx="56" cy="23"/>
              </a:xfrm>
              <a:custGeom>
                <a:avLst/>
                <a:gdLst>
                  <a:gd name="T0" fmla="*/ 51 w 53"/>
                  <a:gd name="T1" fmla="*/ 0 h 22"/>
                  <a:gd name="T2" fmla="*/ 51 w 53"/>
                  <a:gd name="T3" fmla="*/ 0 h 22"/>
                  <a:gd name="T4" fmla="*/ 50 w 53"/>
                  <a:gd name="T5" fmla="*/ 0 h 22"/>
                  <a:gd name="T6" fmla="*/ 46 w 53"/>
                  <a:gd name="T7" fmla="*/ 0 h 22"/>
                  <a:gd name="T8" fmla="*/ 41 w 53"/>
                  <a:gd name="T9" fmla="*/ 0 h 22"/>
                  <a:gd name="T10" fmla="*/ 36 w 53"/>
                  <a:gd name="T11" fmla="*/ 0 h 22"/>
                  <a:gd name="T12" fmla="*/ 23 w 53"/>
                  <a:gd name="T13" fmla="*/ 2 h 22"/>
                  <a:gd name="T14" fmla="*/ 20 w 53"/>
                  <a:gd name="T15" fmla="*/ 4 h 22"/>
                  <a:gd name="T16" fmla="*/ 20 w 53"/>
                  <a:gd name="T17" fmla="*/ 4 h 22"/>
                  <a:gd name="T18" fmla="*/ 2 w 53"/>
                  <a:gd name="T19" fmla="*/ 18 h 22"/>
                  <a:gd name="T20" fmla="*/ 3 w 53"/>
                  <a:gd name="T21" fmla="*/ 22 h 22"/>
                  <a:gd name="T22" fmla="*/ 5 w 53"/>
                  <a:gd name="T23" fmla="*/ 21 h 22"/>
                  <a:gd name="T24" fmla="*/ 10 w 53"/>
                  <a:gd name="T25" fmla="*/ 17 h 22"/>
                  <a:gd name="T26" fmla="*/ 10 w 53"/>
                  <a:gd name="T27" fmla="*/ 17 h 22"/>
                  <a:gd name="T28" fmla="*/ 29 w 53"/>
                  <a:gd name="T29" fmla="*/ 5 h 22"/>
                  <a:gd name="T30" fmla="*/ 48 w 53"/>
                  <a:gd name="T31" fmla="*/ 3 h 22"/>
                  <a:gd name="T32" fmla="*/ 52 w 53"/>
                  <a:gd name="T33" fmla="*/ 2 h 22"/>
                  <a:gd name="T34" fmla="*/ 51 w 53"/>
                  <a:gd name="T35" fmla="*/ 0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53" h="22">
                    <a:moveTo>
                      <a:pt x="51" y="0"/>
                    </a:moveTo>
                    <a:cubicBezTo>
                      <a:pt x="51" y="0"/>
                      <a:pt x="51" y="0"/>
                      <a:pt x="51" y="0"/>
                    </a:cubicBezTo>
                    <a:cubicBezTo>
                      <a:pt x="51" y="0"/>
                      <a:pt x="50" y="0"/>
                      <a:pt x="50" y="0"/>
                    </a:cubicBezTo>
                    <a:cubicBezTo>
                      <a:pt x="49" y="0"/>
                      <a:pt x="47" y="0"/>
                      <a:pt x="46" y="0"/>
                    </a:cubicBezTo>
                    <a:cubicBezTo>
                      <a:pt x="44" y="0"/>
                      <a:pt x="43" y="0"/>
                      <a:pt x="41" y="0"/>
                    </a:cubicBezTo>
                    <a:cubicBezTo>
                      <a:pt x="39" y="0"/>
                      <a:pt x="38" y="0"/>
                      <a:pt x="36" y="0"/>
                    </a:cubicBezTo>
                    <a:cubicBezTo>
                      <a:pt x="32" y="0"/>
                      <a:pt x="28" y="0"/>
                      <a:pt x="23" y="2"/>
                    </a:cubicBezTo>
                    <a:cubicBezTo>
                      <a:pt x="22" y="3"/>
                      <a:pt x="21" y="3"/>
                      <a:pt x="20" y="4"/>
                    </a:cubicBezTo>
                    <a:cubicBezTo>
                      <a:pt x="20" y="4"/>
                      <a:pt x="20" y="4"/>
                      <a:pt x="20" y="4"/>
                    </a:cubicBezTo>
                    <a:cubicBezTo>
                      <a:pt x="13" y="7"/>
                      <a:pt x="7" y="12"/>
                      <a:pt x="2" y="18"/>
                    </a:cubicBezTo>
                    <a:cubicBezTo>
                      <a:pt x="0" y="20"/>
                      <a:pt x="2" y="22"/>
                      <a:pt x="3" y="22"/>
                    </a:cubicBezTo>
                    <a:cubicBezTo>
                      <a:pt x="4" y="22"/>
                      <a:pt x="5" y="21"/>
                      <a:pt x="5" y="21"/>
                    </a:cubicBezTo>
                    <a:cubicBezTo>
                      <a:pt x="7" y="19"/>
                      <a:pt x="8" y="18"/>
                      <a:pt x="10" y="17"/>
                    </a:cubicBezTo>
                    <a:cubicBezTo>
                      <a:pt x="10" y="17"/>
                      <a:pt x="10" y="17"/>
                      <a:pt x="10" y="17"/>
                    </a:cubicBezTo>
                    <a:cubicBezTo>
                      <a:pt x="16" y="12"/>
                      <a:pt x="22" y="8"/>
                      <a:pt x="29" y="5"/>
                    </a:cubicBezTo>
                    <a:cubicBezTo>
                      <a:pt x="35" y="3"/>
                      <a:pt x="42" y="4"/>
                      <a:pt x="48" y="3"/>
                    </a:cubicBezTo>
                    <a:cubicBezTo>
                      <a:pt x="49" y="3"/>
                      <a:pt x="50" y="3"/>
                      <a:pt x="52" y="2"/>
                    </a:cubicBezTo>
                    <a:cubicBezTo>
                      <a:pt x="53" y="2"/>
                      <a:pt x="53" y="0"/>
                      <a:pt x="51" y="0"/>
                    </a:cubicBezTo>
                  </a:path>
                </a:pathLst>
              </a:custGeom>
              <a:solidFill>
                <a:srgbClr val="544D4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207" name="Freeform 119">
                <a:extLst>
                  <a:ext uri="{FF2B5EF4-FFF2-40B4-BE49-F238E27FC236}">
                    <a16:creationId xmlns:a16="http://schemas.microsoft.com/office/drawing/2014/main" id="{90A5F971-2F7E-4B6E-862E-21CFE0E87073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048" y="1904"/>
                <a:ext cx="28" cy="47"/>
              </a:xfrm>
              <a:custGeom>
                <a:avLst/>
                <a:gdLst>
                  <a:gd name="T0" fmla="*/ 4 w 26"/>
                  <a:gd name="T1" fmla="*/ 0 h 44"/>
                  <a:gd name="T2" fmla="*/ 3 w 26"/>
                  <a:gd name="T3" fmla="*/ 2 h 44"/>
                  <a:gd name="T4" fmla="*/ 2 w 26"/>
                  <a:gd name="T5" fmla="*/ 4 h 44"/>
                  <a:gd name="T6" fmla="*/ 21 w 26"/>
                  <a:gd name="T7" fmla="*/ 43 h 44"/>
                  <a:gd name="T8" fmla="*/ 22 w 26"/>
                  <a:gd name="T9" fmla="*/ 44 h 44"/>
                  <a:gd name="T10" fmla="*/ 25 w 26"/>
                  <a:gd name="T11" fmla="*/ 40 h 44"/>
                  <a:gd name="T12" fmla="*/ 7 w 26"/>
                  <a:gd name="T13" fmla="*/ 5 h 44"/>
                  <a:gd name="T14" fmla="*/ 7 w 26"/>
                  <a:gd name="T15" fmla="*/ 3 h 44"/>
                  <a:gd name="T16" fmla="*/ 4 w 26"/>
                  <a:gd name="T17" fmla="*/ 0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6" h="44">
                    <a:moveTo>
                      <a:pt x="4" y="0"/>
                    </a:moveTo>
                    <a:cubicBezTo>
                      <a:pt x="4" y="0"/>
                      <a:pt x="3" y="1"/>
                      <a:pt x="3" y="2"/>
                    </a:cubicBezTo>
                    <a:cubicBezTo>
                      <a:pt x="2" y="3"/>
                      <a:pt x="2" y="3"/>
                      <a:pt x="2" y="4"/>
                    </a:cubicBezTo>
                    <a:cubicBezTo>
                      <a:pt x="0" y="19"/>
                      <a:pt x="10" y="33"/>
                      <a:pt x="21" y="43"/>
                    </a:cubicBezTo>
                    <a:cubicBezTo>
                      <a:pt x="21" y="44"/>
                      <a:pt x="22" y="44"/>
                      <a:pt x="22" y="44"/>
                    </a:cubicBezTo>
                    <a:cubicBezTo>
                      <a:pt x="24" y="44"/>
                      <a:pt x="26" y="42"/>
                      <a:pt x="25" y="40"/>
                    </a:cubicBezTo>
                    <a:cubicBezTo>
                      <a:pt x="18" y="30"/>
                      <a:pt x="7" y="19"/>
                      <a:pt x="7" y="5"/>
                    </a:cubicBezTo>
                    <a:cubicBezTo>
                      <a:pt x="7" y="4"/>
                      <a:pt x="7" y="4"/>
                      <a:pt x="7" y="3"/>
                    </a:cubicBezTo>
                    <a:cubicBezTo>
                      <a:pt x="7" y="1"/>
                      <a:pt x="6" y="0"/>
                      <a:pt x="4" y="0"/>
                    </a:cubicBezTo>
                  </a:path>
                </a:pathLst>
              </a:custGeom>
              <a:solidFill>
                <a:srgbClr val="544D4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208" name="Freeform 120">
                <a:extLst>
                  <a:ext uri="{FF2B5EF4-FFF2-40B4-BE49-F238E27FC236}">
                    <a16:creationId xmlns:a16="http://schemas.microsoft.com/office/drawing/2014/main" id="{6DA76B54-291E-4551-AD06-592D6602DD01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181" y="1930"/>
                <a:ext cx="48" cy="36"/>
              </a:xfrm>
              <a:custGeom>
                <a:avLst/>
                <a:gdLst>
                  <a:gd name="T0" fmla="*/ 45 w 46"/>
                  <a:gd name="T1" fmla="*/ 0 h 34"/>
                  <a:gd name="T2" fmla="*/ 44 w 46"/>
                  <a:gd name="T3" fmla="*/ 0 h 34"/>
                  <a:gd name="T4" fmla="*/ 41 w 46"/>
                  <a:gd name="T5" fmla="*/ 6 h 34"/>
                  <a:gd name="T6" fmla="*/ 32 w 46"/>
                  <a:gd name="T7" fmla="*/ 16 h 34"/>
                  <a:gd name="T8" fmla="*/ 2 w 46"/>
                  <a:gd name="T9" fmla="*/ 30 h 34"/>
                  <a:gd name="T10" fmla="*/ 3 w 46"/>
                  <a:gd name="T11" fmla="*/ 34 h 34"/>
                  <a:gd name="T12" fmla="*/ 3 w 46"/>
                  <a:gd name="T13" fmla="*/ 34 h 34"/>
                  <a:gd name="T14" fmla="*/ 44 w 46"/>
                  <a:gd name="T15" fmla="*/ 8 h 34"/>
                  <a:gd name="T16" fmla="*/ 44 w 46"/>
                  <a:gd name="T17" fmla="*/ 7 h 34"/>
                  <a:gd name="T18" fmla="*/ 46 w 46"/>
                  <a:gd name="T19" fmla="*/ 1 h 34"/>
                  <a:gd name="T20" fmla="*/ 45 w 46"/>
                  <a:gd name="T21" fmla="*/ 0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46" h="34">
                    <a:moveTo>
                      <a:pt x="45" y="0"/>
                    </a:moveTo>
                    <a:cubicBezTo>
                      <a:pt x="44" y="0"/>
                      <a:pt x="44" y="0"/>
                      <a:pt x="44" y="0"/>
                    </a:cubicBezTo>
                    <a:cubicBezTo>
                      <a:pt x="43" y="2"/>
                      <a:pt x="42" y="4"/>
                      <a:pt x="41" y="6"/>
                    </a:cubicBezTo>
                    <a:cubicBezTo>
                      <a:pt x="39" y="10"/>
                      <a:pt x="36" y="13"/>
                      <a:pt x="32" y="16"/>
                    </a:cubicBezTo>
                    <a:cubicBezTo>
                      <a:pt x="23" y="23"/>
                      <a:pt x="12" y="28"/>
                      <a:pt x="2" y="30"/>
                    </a:cubicBezTo>
                    <a:cubicBezTo>
                      <a:pt x="0" y="30"/>
                      <a:pt x="1" y="34"/>
                      <a:pt x="3" y="34"/>
                    </a:cubicBezTo>
                    <a:cubicBezTo>
                      <a:pt x="3" y="34"/>
                      <a:pt x="3" y="34"/>
                      <a:pt x="3" y="34"/>
                    </a:cubicBezTo>
                    <a:cubicBezTo>
                      <a:pt x="19" y="34"/>
                      <a:pt x="37" y="23"/>
                      <a:pt x="44" y="8"/>
                    </a:cubicBezTo>
                    <a:cubicBezTo>
                      <a:pt x="44" y="8"/>
                      <a:pt x="44" y="7"/>
                      <a:pt x="44" y="7"/>
                    </a:cubicBezTo>
                    <a:cubicBezTo>
                      <a:pt x="45" y="5"/>
                      <a:pt x="45" y="3"/>
                      <a:pt x="46" y="1"/>
                    </a:cubicBezTo>
                    <a:cubicBezTo>
                      <a:pt x="46" y="0"/>
                      <a:pt x="45" y="0"/>
                      <a:pt x="45" y="0"/>
                    </a:cubicBezTo>
                  </a:path>
                </a:pathLst>
              </a:custGeom>
              <a:solidFill>
                <a:srgbClr val="544D4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209" name="Freeform 121">
                <a:extLst>
                  <a:ext uri="{FF2B5EF4-FFF2-40B4-BE49-F238E27FC236}">
                    <a16:creationId xmlns:a16="http://schemas.microsoft.com/office/drawing/2014/main" id="{D1381BDB-26E1-4D96-ADAA-6EEFEF8EE69A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2218" y="1954"/>
                <a:ext cx="158" cy="146"/>
              </a:xfrm>
              <a:custGeom>
                <a:avLst/>
                <a:gdLst>
                  <a:gd name="T0" fmla="*/ 17 w 149"/>
                  <a:gd name="T1" fmla="*/ 40 h 138"/>
                  <a:gd name="T2" fmla="*/ 84 w 149"/>
                  <a:gd name="T3" fmla="*/ 10 h 138"/>
                  <a:gd name="T4" fmla="*/ 89 w 149"/>
                  <a:gd name="T5" fmla="*/ 10 h 138"/>
                  <a:gd name="T6" fmla="*/ 112 w 149"/>
                  <a:gd name="T7" fmla="*/ 19 h 138"/>
                  <a:gd name="T8" fmla="*/ 143 w 149"/>
                  <a:gd name="T9" fmla="*/ 67 h 138"/>
                  <a:gd name="T10" fmla="*/ 115 w 149"/>
                  <a:gd name="T11" fmla="*/ 118 h 138"/>
                  <a:gd name="T12" fmla="*/ 74 w 149"/>
                  <a:gd name="T13" fmla="*/ 128 h 138"/>
                  <a:gd name="T14" fmla="*/ 53 w 149"/>
                  <a:gd name="T15" fmla="*/ 125 h 138"/>
                  <a:gd name="T16" fmla="*/ 15 w 149"/>
                  <a:gd name="T17" fmla="*/ 90 h 138"/>
                  <a:gd name="T18" fmla="*/ 12 w 149"/>
                  <a:gd name="T19" fmla="*/ 58 h 138"/>
                  <a:gd name="T20" fmla="*/ 17 w 149"/>
                  <a:gd name="T21" fmla="*/ 40 h 138"/>
                  <a:gd name="T22" fmla="*/ 17 w 149"/>
                  <a:gd name="T23" fmla="*/ 40 h 138"/>
                  <a:gd name="T24" fmla="*/ 75 w 149"/>
                  <a:gd name="T25" fmla="*/ 0 h 138"/>
                  <a:gd name="T26" fmla="*/ 54 w 149"/>
                  <a:gd name="T27" fmla="*/ 4 h 138"/>
                  <a:gd name="T28" fmla="*/ 54 w 149"/>
                  <a:gd name="T29" fmla="*/ 4 h 138"/>
                  <a:gd name="T30" fmla="*/ 3 w 149"/>
                  <a:gd name="T31" fmla="*/ 51 h 138"/>
                  <a:gd name="T32" fmla="*/ 4 w 149"/>
                  <a:gd name="T33" fmla="*/ 89 h 138"/>
                  <a:gd name="T34" fmla="*/ 7 w 149"/>
                  <a:gd name="T35" fmla="*/ 80 h 138"/>
                  <a:gd name="T36" fmla="*/ 9 w 149"/>
                  <a:gd name="T37" fmla="*/ 78 h 138"/>
                  <a:gd name="T38" fmla="*/ 12 w 149"/>
                  <a:gd name="T39" fmla="*/ 82 h 138"/>
                  <a:gd name="T40" fmla="*/ 11 w 149"/>
                  <a:gd name="T41" fmla="*/ 104 h 138"/>
                  <a:gd name="T42" fmla="*/ 27 w 149"/>
                  <a:gd name="T43" fmla="*/ 123 h 138"/>
                  <a:gd name="T44" fmla="*/ 50 w 149"/>
                  <a:gd name="T45" fmla="*/ 135 h 138"/>
                  <a:gd name="T46" fmla="*/ 70 w 149"/>
                  <a:gd name="T47" fmla="*/ 138 h 138"/>
                  <a:gd name="T48" fmla="*/ 146 w 149"/>
                  <a:gd name="T49" fmla="*/ 94 h 138"/>
                  <a:gd name="T50" fmla="*/ 146 w 149"/>
                  <a:gd name="T51" fmla="*/ 94 h 138"/>
                  <a:gd name="T52" fmla="*/ 147 w 149"/>
                  <a:gd name="T53" fmla="*/ 90 h 138"/>
                  <a:gd name="T54" fmla="*/ 149 w 149"/>
                  <a:gd name="T55" fmla="*/ 80 h 138"/>
                  <a:gd name="T56" fmla="*/ 144 w 149"/>
                  <a:gd name="T57" fmla="*/ 65 h 138"/>
                  <a:gd name="T58" fmla="*/ 145 w 149"/>
                  <a:gd name="T59" fmla="*/ 64 h 138"/>
                  <a:gd name="T60" fmla="*/ 147 w 149"/>
                  <a:gd name="T61" fmla="*/ 64 h 138"/>
                  <a:gd name="T62" fmla="*/ 149 w 149"/>
                  <a:gd name="T63" fmla="*/ 68 h 138"/>
                  <a:gd name="T64" fmla="*/ 137 w 149"/>
                  <a:gd name="T65" fmla="*/ 35 h 138"/>
                  <a:gd name="T66" fmla="*/ 97 w 149"/>
                  <a:gd name="T67" fmla="*/ 11 h 138"/>
                  <a:gd name="T68" fmla="*/ 98 w 149"/>
                  <a:gd name="T69" fmla="*/ 11 h 138"/>
                  <a:gd name="T70" fmla="*/ 98 w 149"/>
                  <a:gd name="T71" fmla="*/ 11 h 138"/>
                  <a:gd name="T72" fmla="*/ 100 w 149"/>
                  <a:gd name="T73" fmla="*/ 6 h 138"/>
                  <a:gd name="T74" fmla="*/ 75 w 149"/>
                  <a:gd name="T75" fmla="*/ 0 h 1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149" h="138">
                    <a:moveTo>
                      <a:pt x="17" y="40"/>
                    </a:moveTo>
                    <a:cubicBezTo>
                      <a:pt x="30" y="18"/>
                      <a:pt x="58" y="10"/>
                      <a:pt x="84" y="10"/>
                    </a:cubicBezTo>
                    <a:cubicBezTo>
                      <a:pt x="86" y="10"/>
                      <a:pt x="87" y="10"/>
                      <a:pt x="89" y="10"/>
                    </a:cubicBezTo>
                    <a:cubicBezTo>
                      <a:pt x="97" y="13"/>
                      <a:pt x="105" y="15"/>
                      <a:pt x="112" y="19"/>
                    </a:cubicBezTo>
                    <a:cubicBezTo>
                      <a:pt x="131" y="29"/>
                      <a:pt x="141" y="46"/>
                      <a:pt x="143" y="67"/>
                    </a:cubicBezTo>
                    <a:cubicBezTo>
                      <a:pt x="145" y="90"/>
                      <a:pt x="133" y="107"/>
                      <a:pt x="115" y="118"/>
                    </a:cubicBezTo>
                    <a:cubicBezTo>
                      <a:pt x="102" y="125"/>
                      <a:pt x="88" y="128"/>
                      <a:pt x="74" y="128"/>
                    </a:cubicBezTo>
                    <a:cubicBezTo>
                      <a:pt x="67" y="128"/>
                      <a:pt x="60" y="127"/>
                      <a:pt x="53" y="125"/>
                    </a:cubicBezTo>
                    <a:cubicBezTo>
                      <a:pt x="35" y="120"/>
                      <a:pt x="21" y="107"/>
                      <a:pt x="15" y="90"/>
                    </a:cubicBezTo>
                    <a:cubicBezTo>
                      <a:pt x="11" y="80"/>
                      <a:pt x="10" y="69"/>
                      <a:pt x="12" y="58"/>
                    </a:cubicBezTo>
                    <a:cubicBezTo>
                      <a:pt x="13" y="51"/>
                      <a:pt x="15" y="46"/>
                      <a:pt x="17" y="40"/>
                    </a:cubicBezTo>
                    <a:cubicBezTo>
                      <a:pt x="17" y="40"/>
                      <a:pt x="17" y="40"/>
                      <a:pt x="17" y="40"/>
                    </a:cubicBezTo>
                    <a:moveTo>
                      <a:pt x="75" y="0"/>
                    </a:moveTo>
                    <a:cubicBezTo>
                      <a:pt x="68" y="0"/>
                      <a:pt x="61" y="2"/>
                      <a:pt x="54" y="4"/>
                    </a:cubicBezTo>
                    <a:cubicBezTo>
                      <a:pt x="54" y="4"/>
                      <a:pt x="54" y="4"/>
                      <a:pt x="54" y="4"/>
                    </a:cubicBezTo>
                    <a:cubicBezTo>
                      <a:pt x="30" y="11"/>
                      <a:pt x="9" y="29"/>
                      <a:pt x="3" y="51"/>
                    </a:cubicBezTo>
                    <a:cubicBezTo>
                      <a:pt x="0" y="64"/>
                      <a:pt x="0" y="77"/>
                      <a:pt x="4" y="89"/>
                    </a:cubicBezTo>
                    <a:cubicBezTo>
                      <a:pt x="5" y="86"/>
                      <a:pt x="5" y="83"/>
                      <a:pt x="7" y="80"/>
                    </a:cubicBezTo>
                    <a:cubicBezTo>
                      <a:pt x="7" y="79"/>
                      <a:pt x="8" y="78"/>
                      <a:pt x="9" y="78"/>
                    </a:cubicBezTo>
                    <a:cubicBezTo>
                      <a:pt x="11" y="78"/>
                      <a:pt x="13" y="80"/>
                      <a:pt x="12" y="82"/>
                    </a:cubicBezTo>
                    <a:cubicBezTo>
                      <a:pt x="10" y="90"/>
                      <a:pt x="10" y="98"/>
                      <a:pt x="11" y="104"/>
                    </a:cubicBezTo>
                    <a:cubicBezTo>
                      <a:pt x="15" y="112"/>
                      <a:pt x="20" y="118"/>
                      <a:pt x="27" y="123"/>
                    </a:cubicBezTo>
                    <a:cubicBezTo>
                      <a:pt x="34" y="129"/>
                      <a:pt x="41" y="133"/>
                      <a:pt x="50" y="135"/>
                    </a:cubicBezTo>
                    <a:cubicBezTo>
                      <a:pt x="56" y="137"/>
                      <a:pt x="63" y="138"/>
                      <a:pt x="70" y="138"/>
                    </a:cubicBezTo>
                    <a:cubicBezTo>
                      <a:pt x="100" y="138"/>
                      <a:pt x="136" y="122"/>
                      <a:pt x="146" y="94"/>
                    </a:cubicBezTo>
                    <a:cubicBezTo>
                      <a:pt x="146" y="94"/>
                      <a:pt x="146" y="94"/>
                      <a:pt x="146" y="94"/>
                    </a:cubicBezTo>
                    <a:cubicBezTo>
                      <a:pt x="146" y="93"/>
                      <a:pt x="147" y="91"/>
                      <a:pt x="147" y="90"/>
                    </a:cubicBezTo>
                    <a:cubicBezTo>
                      <a:pt x="148" y="87"/>
                      <a:pt x="149" y="84"/>
                      <a:pt x="149" y="80"/>
                    </a:cubicBezTo>
                    <a:cubicBezTo>
                      <a:pt x="148" y="75"/>
                      <a:pt x="146" y="70"/>
                      <a:pt x="144" y="65"/>
                    </a:cubicBezTo>
                    <a:cubicBezTo>
                      <a:pt x="144" y="64"/>
                      <a:pt x="145" y="64"/>
                      <a:pt x="145" y="64"/>
                    </a:cubicBezTo>
                    <a:cubicBezTo>
                      <a:pt x="146" y="64"/>
                      <a:pt x="146" y="64"/>
                      <a:pt x="147" y="64"/>
                    </a:cubicBezTo>
                    <a:cubicBezTo>
                      <a:pt x="147" y="66"/>
                      <a:pt x="148" y="67"/>
                      <a:pt x="149" y="68"/>
                    </a:cubicBezTo>
                    <a:cubicBezTo>
                      <a:pt x="147" y="56"/>
                      <a:pt x="143" y="44"/>
                      <a:pt x="137" y="35"/>
                    </a:cubicBezTo>
                    <a:cubicBezTo>
                      <a:pt x="126" y="20"/>
                      <a:pt x="112" y="15"/>
                      <a:pt x="97" y="11"/>
                    </a:cubicBezTo>
                    <a:cubicBezTo>
                      <a:pt x="97" y="11"/>
                      <a:pt x="98" y="11"/>
                      <a:pt x="98" y="11"/>
                    </a:cubicBezTo>
                    <a:cubicBezTo>
                      <a:pt x="98" y="11"/>
                      <a:pt x="98" y="11"/>
                      <a:pt x="98" y="11"/>
                    </a:cubicBezTo>
                    <a:cubicBezTo>
                      <a:pt x="101" y="11"/>
                      <a:pt x="102" y="7"/>
                      <a:pt x="100" y="6"/>
                    </a:cubicBezTo>
                    <a:cubicBezTo>
                      <a:pt x="92" y="2"/>
                      <a:pt x="84" y="0"/>
                      <a:pt x="75" y="0"/>
                    </a:cubicBezTo>
                  </a:path>
                </a:pathLst>
              </a:custGeom>
              <a:solidFill>
                <a:srgbClr val="544D4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210" name="Freeform 122">
                <a:extLst>
                  <a:ext uri="{FF2B5EF4-FFF2-40B4-BE49-F238E27FC236}">
                    <a16:creationId xmlns:a16="http://schemas.microsoft.com/office/drawing/2014/main" id="{988B138F-A50B-47EF-A35C-A7D7A0D83A3F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218" y="2022"/>
                <a:ext cx="167" cy="106"/>
              </a:xfrm>
              <a:custGeom>
                <a:avLst/>
                <a:gdLst>
                  <a:gd name="T0" fmla="*/ 145 w 158"/>
                  <a:gd name="T1" fmla="*/ 0 h 100"/>
                  <a:gd name="T2" fmla="*/ 144 w 158"/>
                  <a:gd name="T3" fmla="*/ 1 h 100"/>
                  <a:gd name="T4" fmla="*/ 149 w 158"/>
                  <a:gd name="T5" fmla="*/ 16 h 100"/>
                  <a:gd name="T6" fmla="*/ 150 w 158"/>
                  <a:gd name="T7" fmla="*/ 24 h 100"/>
                  <a:gd name="T8" fmla="*/ 150 w 158"/>
                  <a:gd name="T9" fmla="*/ 24 h 100"/>
                  <a:gd name="T10" fmla="*/ 144 w 158"/>
                  <a:gd name="T11" fmla="*/ 65 h 100"/>
                  <a:gd name="T12" fmla="*/ 129 w 158"/>
                  <a:gd name="T13" fmla="*/ 81 h 100"/>
                  <a:gd name="T14" fmla="*/ 96 w 158"/>
                  <a:gd name="T15" fmla="*/ 94 h 100"/>
                  <a:gd name="T16" fmla="*/ 87 w 158"/>
                  <a:gd name="T17" fmla="*/ 95 h 100"/>
                  <a:gd name="T18" fmla="*/ 11 w 158"/>
                  <a:gd name="T19" fmla="*/ 40 h 100"/>
                  <a:gd name="T20" fmla="*/ 12 w 158"/>
                  <a:gd name="T21" fmla="*/ 18 h 100"/>
                  <a:gd name="T22" fmla="*/ 9 w 158"/>
                  <a:gd name="T23" fmla="*/ 14 h 100"/>
                  <a:gd name="T24" fmla="*/ 7 w 158"/>
                  <a:gd name="T25" fmla="*/ 16 h 100"/>
                  <a:gd name="T26" fmla="*/ 4 w 158"/>
                  <a:gd name="T27" fmla="*/ 25 h 100"/>
                  <a:gd name="T28" fmla="*/ 20 w 158"/>
                  <a:gd name="T29" fmla="*/ 77 h 100"/>
                  <a:gd name="T30" fmla="*/ 84 w 158"/>
                  <a:gd name="T31" fmla="*/ 100 h 100"/>
                  <a:gd name="T32" fmla="*/ 92 w 158"/>
                  <a:gd name="T33" fmla="*/ 100 h 100"/>
                  <a:gd name="T34" fmla="*/ 147 w 158"/>
                  <a:gd name="T35" fmla="*/ 68 h 100"/>
                  <a:gd name="T36" fmla="*/ 153 w 158"/>
                  <a:gd name="T37" fmla="*/ 17 h 100"/>
                  <a:gd name="T38" fmla="*/ 153 w 158"/>
                  <a:gd name="T39" fmla="*/ 17 h 100"/>
                  <a:gd name="T40" fmla="*/ 149 w 158"/>
                  <a:gd name="T41" fmla="*/ 4 h 100"/>
                  <a:gd name="T42" fmla="*/ 147 w 158"/>
                  <a:gd name="T43" fmla="*/ 0 h 100"/>
                  <a:gd name="T44" fmla="*/ 145 w 158"/>
                  <a:gd name="T45" fmla="*/ 0 h 1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158" h="100">
                    <a:moveTo>
                      <a:pt x="145" y="0"/>
                    </a:moveTo>
                    <a:cubicBezTo>
                      <a:pt x="145" y="0"/>
                      <a:pt x="144" y="0"/>
                      <a:pt x="144" y="1"/>
                    </a:cubicBezTo>
                    <a:cubicBezTo>
                      <a:pt x="146" y="6"/>
                      <a:pt x="148" y="11"/>
                      <a:pt x="149" y="16"/>
                    </a:cubicBezTo>
                    <a:cubicBezTo>
                      <a:pt x="149" y="19"/>
                      <a:pt x="150" y="21"/>
                      <a:pt x="150" y="24"/>
                    </a:cubicBezTo>
                    <a:cubicBezTo>
                      <a:pt x="150" y="24"/>
                      <a:pt x="150" y="24"/>
                      <a:pt x="150" y="24"/>
                    </a:cubicBezTo>
                    <a:cubicBezTo>
                      <a:pt x="153" y="38"/>
                      <a:pt x="152" y="51"/>
                      <a:pt x="144" y="65"/>
                    </a:cubicBezTo>
                    <a:cubicBezTo>
                      <a:pt x="140" y="71"/>
                      <a:pt x="135" y="77"/>
                      <a:pt x="129" y="81"/>
                    </a:cubicBezTo>
                    <a:cubicBezTo>
                      <a:pt x="120" y="88"/>
                      <a:pt x="108" y="93"/>
                      <a:pt x="96" y="94"/>
                    </a:cubicBezTo>
                    <a:cubicBezTo>
                      <a:pt x="93" y="95"/>
                      <a:pt x="90" y="95"/>
                      <a:pt x="87" y="95"/>
                    </a:cubicBezTo>
                    <a:cubicBezTo>
                      <a:pt x="52" y="95"/>
                      <a:pt x="15" y="75"/>
                      <a:pt x="11" y="40"/>
                    </a:cubicBezTo>
                    <a:cubicBezTo>
                      <a:pt x="10" y="34"/>
                      <a:pt x="10" y="26"/>
                      <a:pt x="12" y="18"/>
                    </a:cubicBezTo>
                    <a:cubicBezTo>
                      <a:pt x="13" y="16"/>
                      <a:pt x="11" y="14"/>
                      <a:pt x="9" y="14"/>
                    </a:cubicBezTo>
                    <a:cubicBezTo>
                      <a:pt x="8" y="14"/>
                      <a:pt x="7" y="15"/>
                      <a:pt x="7" y="16"/>
                    </a:cubicBezTo>
                    <a:cubicBezTo>
                      <a:pt x="5" y="19"/>
                      <a:pt x="5" y="22"/>
                      <a:pt x="4" y="25"/>
                    </a:cubicBezTo>
                    <a:cubicBezTo>
                      <a:pt x="0" y="43"/>
                      <a:pt x="8" y="62"/>
                      <a:pt x="20" y="77"/>
                    </a:cubicBezTo>
                    <a:cubicBezTo>
                      <a:pt x="35" y="95"/>
                      <a:pt x="61" y="100"/>
                      <a:pt x="84" y="100"/>
                    </a:cubicBezTo>
                    <a:cubicBezTo>
                      <a:pt x="87" y="100"/>
                      <a:pt x="89" y="100"/>
                      <a:pt x="92" y="100"/>
                    </a:cubicBezTo>
                    <a:cubicBezTo>
                      <a:pt x="117" y="99"/>
                      <a:pt x="136" y="86"/>
                      <a:pt x="147" y="68"/>
                    </a:cubicBezTo>
                    <a:cubicBezTo>
                      <a:pt x="156" y="53"/>
                      <a:pt x="158" y="35"/>
                      <a:pt x="153" y="17"/>
                    </a:cubicBezTo>
                    <a:cubicBezTo>
                      <a:pt x="153" y="17"/>
                      <a:pt x="153" y="17"/>
                      <a:pt x="153" y="17"/>
                    </a:cubicBezTo>
                    <a:cubicBezTo>
                      <a:pt x="152" y="13"/>
                      <a:pt x="151" y="8"/>
                      <a:pt x="149" y="4"/>
                    </a:cubicBezTo>
                    <a:cubicBezTo>
                      <a:pt x="148" y="3"/>
                      <a:pt x="147" y="2"/>
                      <a:pt x="147" y="0"/>
                    </a:cubicBezTo>
                    <a:cubicBezTo>
                      <a:pt x="146" y="0"/>
                      <a:pt x="146" y="0"/>
                      <a:pt x="145" y="0"/>
                    </a:cubicBezTo>
                  </a:path>
                </a:pathLst>
              </a:custGeom>
              <a:solidFill>
                <a:srgbClr val="544D4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211" name="Freeform 123">
                <a:extLst>
                  <a:ext uri="{FF2B5EF4-FFF2-40B4-BE49-F238E27FC236}">
                    <a16:creationId xmlns:a16="http://schemas.microsoft.com/office/drawing/2014/main" id="{9CA61C65-CFEC-4B8D-B8D5-68D61FBBB2F8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530" y="1866"/>
                <a:ext cx="190" cy="18"/>
              </a:xfrm>
              <a:custGeom>
                <a:avLst/>
                <a:gdLst>
                  <a:gd name="T0" fmla="*/ 100 w 179"/>
                  <a:gd name="T1" fmla="*/ 0 h 17"/>
                  <a:gd name="T2" fmla="*/ 95 w 179"/>
                  <a:gd name="T3" fmla="*/ 0 h 17"/>
                  <a:gd name="T4" fmla="*/ 73 w 179"/>
                  <a:gd name="T5" fmla="*/ 0 h 17"/>
                  <a:gd name="T6" fmla="*/ 64 w 179"/>
                  <a:gd name="T7" fmla="*/ 0 h 17"/>
                  <a:gd name="T8" fmla="*/ 56 w 179"/>
                  <a:gd name="T9" fmla="*/ 0 h 17"/>
                  <a:gd name="T10" fmla="*/ 3 w 179"/>
                  <a:gd name="T11" fmla="*/ 2 h 17"/>
                  <a:gd name="T12" fmla="*/ 3 w 179"/>
                  <a:gd name="T13" fmla="*/ 6 h 17"/>
                  <a:gd name="T14" fmla="*/ 3 w 179"/>
                  <a:gd name="T15" fmla="*/ 6 h 17"/>
                  <a:gd name="T16" fmla="*/ 95 w 179"/>
                  <a:gd name="T17" fmla="*/ 5 h 17"/>
                  <a:gd name="T18" fmla="*/ 100 w 179"/>
                  <a:gd name="T19" fmla="*/ 5 h 17"/>
                  <a:gd name="T20" fmla="*/ 177 w 179"/>
                  <a:gd name="T21" fmla="*/ 17 h 17"/>
                  <a:gd name="T22" fmla="*/ 177 w 179"/>
                  <a:gd name="T23" fmla="*/ 17 h 17"/>
                  <a:gd name="T24" fmla="*/ 178 w 179"/>
                  <a:gd name="T25" fmla="*/ 15 h 17"/>
                  <a:gd name="T26" fmla="*/ 100 w 179"/>
                  <a:gd name="T27" fmla="*/ 0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79" h="17">
                    <a:moveTo>
                      <a:pt x="100" y="0"/>
                    </a:moveTo>
                    <a:cubicBezTo>
                      <a:pt x="99" y="0"/>
                      <a:pt x="97" y="0"/>
                      <a:pt x="95" y="0"/>
                    </a:cubicBezTo>
                    <a:cubicBezTo>
                      <a:pt x="88" y="0"/>
                      <a:pt x="80" y="0"/>
                      <a:pt x="73" y="0"/>
                    </a:cubicBezTo>
                    <a:cubicBezTo>
                      <a:pt x="70" y="0"/>
                      <a:pt x="67" y="0"/>
                      <a:pt x="64" y="0"/>
                    </a:cubicBezTo>
                    <a:cubicBezTo>
                      <a:pt x="62" y="0"/>
                      <a:pt x="59" y="0"/>
                      <a:pt x="56" y="0"/>
                    </a:cubicBezTo>
                    <a:cubicBezTo>
                      <a:pt x="38" y="0"/>
                      <a:pt x="21" y="0"/>
                      <a:pt x="3" y="2"/>
                    </a:cubicBezTo>
                    <a:cubicBezTo>
                      <a:pt x="0" y="3"/>
                      <a:pt x="1" y="6"/>
                      <a:pt x="3" y="6"/>
                    </a:cubicBezTo>
                    <a:cubicBezTo>
                      <a:pt x="3" y="6"/>
                      <a:pt x="3" y="6"/>
                      <a:pt x="3" y="6"/>
                    </a:cubicBezTo>
                    <a:cubicBezTo>
                      <a:pt x="34" y="6"/>
                      <a:pt x="64" y="6"/>
                      <a:pt x="95" y="5"/>
                    </a:cubicBezTo>
                    <a:cubicBezTo>
                      <a:pt x="97" y="5"/>
                      <a:pt x="99" y="5"/>
                      <a:pt x="100" y="5"/>
                    </a:cubicBezTo>
                    <a:cubicBezTo>
                      <a:pt x="127" y="5"/>
                      <a:pt x="151" y="11"/>
                      <a:pt x="177" y="17"/>
                    </a:cubicBezTo>
                    <a:cubicBezTo>
                      <a:pt x="177" y="17"/>
                      <a:pt x="177" y="17"/>
                      <a:pt x="177" y="17"/>
                    </a:cubicBezTo>
                    <a:cubicBezTo>
                      <a:pt x="179" y="17"/>
                      <a:pt x="179" y="15"/>
                      <a:pt x="178" y="15"/>
                    </a:cubicBezTo>
                    <a:cubicBezTo>
                      <a:pt x="152" y="6"/>
                      <a:pt x="128" y="0"/>
                      <a:pt x="100" y="0"/>
                    </a:cubicBezTo>
                  </a:path>
                </a:pathLst>
              </a:custGeom>
              <a:solidFill>
                <a:srgbClr val="544D4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212" name="Freeform 124">
                <a:extLst>
                  <a:ext uri="{FF2B5EF4-FFF2-40B4-BE49-F238E27FC236}">
                    <a16:creationId xmlns:a16="http://schemas.microsoft.com/office/drawing/2014/main" id="{905A4DD5-8C90-4234-9A2B-AF094D16C7F7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248" y="1782"/>
                <a:ext cx="204" cy="66"/>
              </a:xfrm>
              <a:custGeom>
                <a:avLst/>
                <a:gdLst>
                  <a:gd name="T0" fmla="*/ 10 w 192"/>
                  <a:gd name="T1" fmla="*/ 0 h 63"/>
                  <a:gd name="T2" fmla="*/ 2 w 192"/>
                  <a:gd name="T3" fmla="*/ 0 h 63"/>
                  <a:gd name="T4" fmla="*/ 2 w 192"/>
                  <a:gd name="T5" fmla="*/ 4 h 63"/>
                  <a:gd name="T6" fmla="*/ 24 w 192"/>
                  <a:gd name="T7" fmla="*/ 6 h 63"/>
                  <a:gd name="T8" fmla="*/ 24 w 192"/>
                  <a:gd name="T9" fmla="*/ 6 h 63"/>
                  <a:gd name="T10" fmla="*/ 100 w 192"/>
                  <a:gd name="T11" fmla="*/ 39 h 63"/>
                  <a:gd name="T12" fmla="*/ 192 w 192"/>
                  <a:gd name="T13" fmla="*/ 63 h 63"/>
                  <a:gd name="T14" fmla="*/ 192 w 192"/>
                  <a:gd name="T15" fmla="*/ 63 h 63"/>
                  <a:gd name="T16" fmla="*/ 86 w 192"/>
                  <a:gd name="T17" fmla="*/ 24 h 63"/>
                  <a:gd name="T18" fmla="*/ 15 w 192"/>
                  <a:gd name="T19" fmla="*/ 0 h 63"/>
                  <a:gd name="T20" fmla="*/ 15 w 192"/>
                  <a:gd name="T21" fmla="*/ 0 h 63"/>
                  <a:gd name="T22" fmla="*/ 10 w 192"/>
                  <a:gd name="T23" fmla="*/ 0 h 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92" h="63">
                    <a:moveTo>
                      <a:pt x="10" y="0"/>
                    </a:moveTo>
                    <a:cubicBezTo>
                      <a:pt x="8" y="0"/>
                      <a:pt x="5" y="0"/>
                      <a:pt x="2" y="0"/>
                    </a:cubicBezTo>
                    <a:cubicBezTo>
                      <a:pt x="0" y="0"/>
                      <a:pt x="0" y="4"/>
                      <a:pt x="2" y="4"/>
                    </a:cubicBezTo>
                    <a:cubicBezTo>
                      <a:pt x="10" y="4"/>
                      <a:pt x="17" y="5"/>
                      <a:pt x="24" y="6"/>
                    </a:cubicBezTo>
                    <a:cubicBezTo>
                      <a:pt x="24" y="6"/>
                      <a:pt x="24" y="6"/>
                      <a:pt x="24" y="6"/>
                    </a:cubicBezTo>
                    <a:cubicBezTo>
                      <a:pt x="51" y="12"/>
                      <a:pt x="75" y="27"/>
                      <a:pt x="100" y="39"/>
                    </a:cubicBezTo>
                    <a:cubicBezTo>
                      <a:pt x="129" y="53"/>
                      <a:pt x="160" y="62"/>
                      <a:pt x="192" y="63"/>
                    </a:cubicBezTo>
                    <a:cubicBezTo>
                      <a:pt x="192" y="63"/>
                      <a:pt x="192" y="63"/>
                      <a:pt x="192" y="63"/>
                    </a:cubicBezTo>
                    <a:cubicBezTo>
                      <a:pt x="154" y="58"/>
                      <a:pt x="119" y="42"/>
                      <a:pt x="86" y="24"/>
                    </a:cubicBezTo>
                    <a:cubicBezTo>
                      <a:pt x="63" y="12"/>
                      <a:pt x="40" y="1"/>
                      <a:pt x="15" y="0"/>
                    </a:cubicBezTo>
                    <a:cubicBezTo>
                      <a:pt x="15" y="0"/>
                      <a:pt x="15" y="0"/>
                      <a:pt x="15" y="0"/>
                    </a:cubicBezTo>
                    <a:cubicBezTo>
                      <a:pt x="13" y="0"/>
                      <a:pt x="12" y="0"/>
                      <a:pt x="10" y="0"/>
                    </a:cubicBezTo>
                  </a:path>
                </a:pathLst>
              </a:custGeom>
              <a:solidFill>
                <a:srgbClr val="544D4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213" name="Freeform 125">
                <a:extLst>
                  <a:ext uri="{FF2B5EF4-FFF2-40B4-BE49-F238E27FC236}">
                    <a16:creationId xmlns:a16="http://schemas.microsoft.com/office/drawing/2014/main" id="{E37E739B-57CA-4D35-90DA-8211C5A548F7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7227" y="645"/>
                <a:ext cx="104" cy="2387"/>
              </a:xfrm>
              <a:custGeom>
                <a:avLst/>
                <a:gdLst>
                  <a:gd name="T0" fmla="*/ 28 w 98"/>
                  <a:gd name="T1" fmla="*/ 5 h 2255"/>
                  <a:gd name="T2" fmla="*/ 13 w 98"/>
                  <a:gd name="T3" fmla="*/ 436 h 2255"/>
                  <a:gd name="T4" fmla="*/ 4 w 98"/>
                  <a:gd name="T5" fmla="*/ 879 h 2255"/>
                  <a:gd name="T6" fmla="*/ 31 w 98"/>
                  <a:gd name="T7" fmla="*/ 1320 h 2255"/>
                  <a:gd name="T8" fmla="*/ 51 w 98"/>
                  <a:gd name="T9" fmla="*/ 1761 h 2255"/>
                  <a:gd name="T10" fmla="*/ 62 w 98"/>
                  <a:gd name="T11" fmla="*/ 2000 h 2255"/>
                  <a:gd name="T12" fmla="*/ 83 w 98"/>
                  <a:gd name="T13" fmla="*/ 2245 h 2255"/>
                  <a:gd name="T14" fmla="*/ 98 w 98"/>
                  <a:gd name="T15" fmla="*/ 2243 h 2255"/>
                  <a:gd name="T16" fmla="*/ 80 w 98"/>
                  <a:gd name="T17" fmla="*/ 2031 h 2255"/>
                  <a:gd name="T18" fmla="*/ 70 w 98"/>
                  <a:gd name="T19" fmla="*/ 1815 h 2255"/>
                  <a:gd name="T20" fmla="*/ 51 w 98"/>
                  <a:gd name="T21" fmla="*/ 1375 h 2255"/>
                  <a:gd name="T22" fmla="*/ 22 w 98"/>
                  <a:gd name="T23" fmla="*/ 934 h 2255"/>
                  <a:gd name="T24" fmla="*/ 25 w 98"/>
                  <a:gd name="T25" fmla="*/ 493 h 2255"/>
                  <a:gd name="T26" fmla="*/ 37 w 98"/>
                  <a:gd name="T27" fmla="*/ 245 h 2255"/>
                  <a:gd name="T28" fmla="*/ 35 w 98"/>
                  <a:gd name="T29" fmla="*/ 4 h 2255"/>
                  <a:gd name="T30" fmla="*/ 28 w 98"/>
                  <a:gd name="T31" fmla="*/ 5 h 22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98" h="2255">
                    <a:moveTo>
                      <a:pt x="28" y="5"/>
                    </a:moveTo>
                    <a:cubicBezTo>
                      <a:pt x="31" y="149"/>
                      <a:pt x="21" y="292"/>
                      <a:pt x="13" y="436"/>
                    </a:cubicBezTo>
                    <a:cubicBezTo>
                      <a:pt x="4" y="583"/>
                      <a:pt x="0" y="731"/>
                      <a:pt x="4" y="879"/>
                    </a:cubicBezTo>
                    <a:cubicBezTo>
                      <a:pt x="8" y="1026"/>
                      <a:pt x="22" y="1173"/>
                      <a:pt x="31" y="1320"/>
                    </a:cubicBezTo>
                    <a:cubicBezTo>
                      <a:pt x="41" y="1467"/>
                      <a:pt x="45" y="1614"/>
                      <a:pt x="51" y="1761"/>
                    </a:cubicBezTo>
                    <a:cubicBezTo>
                      <a:pt x="55" y="1841"/>
                      <a:pt x="59" y="1920"/>
                      <a:pt x="62" y="2000"/>
                    </a:cubicBezTo>
                    <a:cubicBezTo>
                      <a:pt x="66" y="2082"/>
                      <a:pt x="75" y="2164"/>
                      <a:pt x="83" y="2245"/>
                    </a:cubicBezTo>
                    <a:cubicBezTo>
                      <a:pt x="84" y="2255"/>
                      <a:pt x="98" y="2253"/>
                      <a:pt x="98" y="2243"/>
                    </a:cubicBezTo>
                    <a:cubicBezTo>
                      <a:pt x="95" y="2172"/>
                      <a:pt x="83" y="2102"/>
                      <a:pt x="80" y="2031"/>
                    </a:cubicBezTo>
                    <a:cubicBezTo>
                      <a:pt x="76" y="1959"/>
                      <a:pt x="73" y="1887"/>
                      <a:pt x="70" y="1815"/>
                    </a:cubicBezTo>
                    <a:cubicBezTo>
                      <a:pt x="64" y="1668"/>
                      <a:pt x="60" y="1521"/>
                      <a:pt x="51" y="1375"/>
                    </a:cubicBezTo>
                    <a:cubicBezTo>
                      <a:pt x="42" y="1228"/>
                      <a:pt x="28" y="1081"/>
                      <a:pt x="22" y="934"/>
                    </a:cubicBezTo>
                    <a:cubicBezTo>
                      <a:pt x="16" y="787"/>
                      <a:pt x="18" y="640"/>
                      <a:pt x="25" y="493"/>
                    </a:cubicBezTo>
                    <a:cubicBezTo>
                      <a:pt x="29" y="411"/>
                      <a:pt x="34" y="328"/>
                      <a:pt x="37" y="245"/>
                    </a:cubicBezTo>
                    <a:cubicBezTo>
                      <a:pt x="40" y="165"/>
                      <a:pt x="43" y="85"/>
                      <a:pt x="35" y="4"/>
                    </a:cubicBezTo>
                    <a:cubicBezTo>
                      <a:pt x="35" y="0"/>
                      <a:pt x="27" y="0"/>
                      <a:pt x="28" y="5"/>
                    </a:cubicBezTo>
                    <a:close/>
                  </a:path>
                </a:pathLst>
              </a:custGeom>
              <a:solidFill>
                <a:srgbClr val="04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214" name="Freeform 126">
                <a:extLst>
                  <a:ext uri="{FF2B5EF4-FFF2-40B4-BE49-F238E27FC236}">
                    <a16:creationId xmlns:a16="http://schemas.microsoft.com/office/drawing/2014/main" id="{53F31217-09A5-400B-B659-00119FCFC232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992" y="1102"/>
                <a:ext cx="204" cy="163"/>
              </a:xfrm>
              <a:custGeom>
                <a:avLst/>
                <a:gdLst>
                  <a:gd name="T0" fmla="*/ 2 w 193"/>
                  <a:gd name="T1" fmla="*/ 53 h 154"/>
                  <a:gd name="T2" fmla="*/ 26 w 193"/>
                  <a:gd name="T3" fmla="*/ 27 h 154"/>
                  <a:gd name="T4" fmla="*/ 34 w 193"/>
                  <a:gd name="T5" fmla="*/ 25 h 154"/>
                  <a:gd name="T6" fmla="*/ 54 w 193"/>
                  <a:gd name="T7" fmla="*/ 51 h 154"/>
                  <a:gd name="T8" fmla="*/ 110 w 193"/>
                  <a:gd name="T9" fmla="*/ 23 h 154"/>
                  <a:gd name="T10" fmla="*/ 104 w 193"/>
                  <a:gd name="T11" fmla="*/ 2 h 154"/>
                  <a:gd name="T12" fmla="*/ 106 w 193"/>
                  <a:gd name="T13" fmla="*/ 1 h 154"/>
                  <a:gd name="T14" fmla="*/ 124 w 193"/>
                  <a:gd name="T15" fmla="*/ 1 h 154"/>
                  <a:gd name="T16" fmla="*/ 156 w 193"/>
                  <a:gd name="T17" fmla="*/ 20 h 154"/>
                  <a:gd name="T18" fmla="*/ 161 w 193"/>
                  <a:gd name="T19" fmla="*/ 33 h 154"/>
                  <a:gd name="T20" fmla="*/ 139 w 193"/>
                  <a:gd name="T21" fmla="*/ 60 h 154"/>
                  <a:gd name="T22" fmla="*/ 168 w 193"/>
                  <a:gd name="T23" fmla="*/ 98 h 154"/>
                  <a:gd name="T24" fmla="*/ 189 w 193"/>
                  <a:gd name="T25" fmla="*/ 96 h 154"/>
                  <a:gd name="T26" fmla="*/ 189 w 193"/>
                  <a:gd name="T27" fmla="*/ 98 h 154"/>
                  <a:gd name="T28" fmla="*/ 170 w 193"/>
                  <a:gd name="T29" fmla="*/ 139 h 154"/>
                  <a:gd name="T30" fmla="*/ 149 w 193"/>
                  <a:gd name="T31" fmla="*/ 139 h 154"/>
                  <a:gd name="T32" fmla="*/ 113 w 193"/>
                  <a:gd name="T33" fmla="*/ 119 h 154"/>
                  <a:gd name="T34" fmla="*/ 109 w 193"/>
                  <a:gd name="T35" fmla="*/ 120 h 154"/>
                  <a:gd name="T36" fmla="*/ 91 w 193"/>
                  <a:gd name="T37" fmla="*/ 124 h 154"/>
                  <a:gd name="T38" fmla="*/ 78 w 193"/>
                  <a:gd name="T39" fmla="*/ 150 h 154"/>
                  <a:gd name="T40" fmla="*/ 78 w 193"/>
                  <a:gd name="T41" fmla="*/ 153 h 154"/>
                  <a:gd name="T42" fmla="*/ 60 w 193"/>
                  <a:gd name="T43" fmla="*/ 154 h 154"/>
                  <a:gd name="T44" fmla="*/ 17 w 193"/>
                  <a:gd name="T45" fmla="*/ 124 h 154"/>
                  <a:gd name="T46" fmla="*/ 40 w 193"/>
                  <a:gd name="T47" fmla="*/ 103 h 154"/>
                  <a:gd name="T48" fmla="*/ 39 w 193"/>
                  <a:gd name="T49" fmla="*/ 75 h 154"/>
                  <a:gd name="T50" fmla="*/ 4 w 193"/>
                  <a:gd name="T51" fmla="*/ 64 h 154"/>
                  <a:gd name="T52" fmla="*/ 1 w 193"/>
                  <a:gd name="T53" fmla="*/ 60 h 154"/>
                  <a:gd name="T54" fmla="*/ 2 w 193"/>
                  <a:gd name="T55" fmla="*/ 53 h 1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193" h="154">
                    <a:moveTo>
                      <a:pt x="2" y="53"/>
                    </a:moveTo>
                    <a:cubicBezTo>
                      <a:pt x="8" y="43"/>
                      <a:pt x="14" y="34"/>
                      <a:pt x="26" y="27"/>
                    </a:cubicBezTo>
                    <a:cubicBezTo>
                      <a:pt x="34" y="25"/>
                      <a:pt x="34" y="25"/>
                      <a:pt x="34" y="25"/>
                    </a:cubicBezTo>
                    <a:cubicBezTo>
                      <a:pt x="37" y="36"/>
                      <a:pt x="44" y="47"/>
                      <a:pt x="54" y="51"/>
                    </a:cubicBezTo>
                    <a:cubicBezTo>
                      <a:pt x="75" y="61"/>
                      <a:pt x="106" y="47"/>
                      <a:pt x="110" y="23"/>
                    </a:cubicBezTo>
                    <a:cubicBezTo>
                      <a:pt x="111" y="16"/>
                      <a:pt x="108" y="8"/>
                      <a:pt x="104" y="2"/>
                    </a:cubicBezTo>
                    <a:cubicBezTo>
                      <a:pt x="106" y="1"/>
                      <a:pt x="106" y="1"/>
                      <a:pt x="106" y="1"/>
                    </a:cubicBezTo>
                    <a:cubicBezTo>
                      <a:pt x="111" y="2"/>
                      <a:pt x="117" y="0"/>
                      <a:pt x="124" y="1"/>
                    </a:cubicBezTo>
                    <a:cubicBezTo>
                      <a:pt x="136" y="3"/>
                      <a:pt x="147" y="10"/>
                      <a:pt x="156" y="20"/>
                    </a:cubicBezTo>
                    <a:cubicBezTo>
                      <a:pt x="161" y="33"/>
                      <a:pt x="161" y="33"/>
                      <a:pt x="161" y="33"/>
                    </a:cubicBezTo>
                    <a:cubicBezTo>
                      <a:pt x="149" y="39"/>
                      <a:pt x="139" y="50"/>
                      <a:pt x="139" y="60"/>
                    </a:cubicBezTo>
                    <a:cubicBezTo>
                      <a:pt x="137" y="82"/>
                      <a:pt x="149" y="95"/>
                      <a:pt x="168" y="98"/>
                    </a:cubicBezTo>
                    <a:cubicBezTo>
                      <a:pt x="176" y="98"/>
                      <a:pt x="183" y="98"/>
                      <a:pt x="189" y="96"/>
                    </a:cubicBezTo>
                    <a:cubicBezTo>
                      <a:pt x="189" y="98"/>
                      <a:pt x="189" y="98"/>
                      <a:pt x="189" y="98"/>
                    </a:cubicBezTo>
                    <a:cubicBezTo>
                      <a:pt x="193" y="114"/>
                      <a:pt x="180" y="128"/>
                      <a:pt x="170" y="139"/>
                    </a:cubicBezTo>
                    <a:cubicBezTo>
                      <a:pt x="149" y="139"/>
                      <a:pt x="149" y="139"/>
                      <a:pt x="149" y="139"/>
                    </a:cubicBezTo>
                    <a:cubicBezTo>
                      <a:pt x="144" y="127"/>
                      <a:pt x="127" y="121"/>
                      <a:pt x="113" y="119"/>
                    </a:cubicBezTo>
                    <a:cubicBezTo>
                      <a:pt x="109" y="120"/>
                      <a:pt x="109" y="120"/>
                      <a:pt x="109" y="120"/>
                    </a:cubicBezTo>
                    <a:cubicBezTo>
                      <a:pt x="102" y="124"/>
                      <a:pt x="97" y="120"/>
                      <a:pt x="91" y="124"/>
                    </a:cubicBezTo>
                    <a:cubicBezTo>
                      <a:pt x="82" y="126"/>
                      <a:pt x="79" y="143"/>
                      <a:pt x="78" y="150"/>
                    </a:cubicBezTo>
                    <a:cubicBezTo>
                      <a:pt x="78" y="151"/>
                      <a:pt x="78" y="152"/>
                      <a:pt x="78" y="153"/>
                    </a:cubicBezTo>
                    <a:cubicBezTo>
                      <a:pt x="60" y="154"/>
                      <a:pt x="60" y="154"/>
                      <a:pt x="60" y="154"/>
                    </a:cubicBezTo>
                    <a:cubicBezTo>
                      <a:pt x="45" y="153"/>
                      <a:pt x="22" y="141"/>
                      <a:pt x="17" y="124"/>
                    </a:cubicBezTo>
                    <a:cubicBezTo>
                      <a:pt x="27" y="120"/>
                      <a:pt x="36" y="113"/>
                      <a:pt x="40" y="103"/>
                    </a:cubicBezTo>
                    <a:cubicBezTo>
                      <a:pt x="45" y="92"/>
                      <a:pt x="45" y="83"/>
                      <a:pt x="39" y="75"/>
                    </a:cubicBezTo>
                    <a:cubicBezTo>
                      <a:pt x="29" y="64"/>
                      <a:pt x="15" y="64"/>
                      <a:pt x="4" y="64"/>
                    </a:cubicBezTo>
                    <a:cubicBezTo>
                      <a:pt x="1" y="60"/>
                      <a:pt x="1" y="60"/>
                      <a:pt x="1" y="60"/>
                    </a:cubicBezTo>
                    <a:cubicBezTo>
                      <a:pt x="0" y="58"/>
                      <a:pt x="2" y="56"/>
                      <a:pt x="2" y="53"/>
                    </a:cubicBezTo>
                    <a:close/>
                  </a:path>
                </a:pathLst>
              </a:custGeom>
              <a:solidFill>
                <a:srgbClr val="F6B84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215" name="Freeform 127">
                <a:extLst>
                  <a:ext uri="{FF2B5EF4-FFF2-40B4-BE49-F238E27FC236}">
                    <a16:creationId xmlns:a16="http://schemas.microsoft.com/office/drawing/2014/main" id="{F2CE66CA-D61A-4FF7-ACBA-703ECA9623A6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335" y="1267"/>
                <a:ext cx="40" cy="38"/>
              </a:xfrm>
              <a:custGeom>
                <a:avLst/>
                <a:gdLst>
                  <a:gd name="T0" fmla="*/ 31 w 38"/>
                  <a:gd name="T1" fmla="*/ 19 h 36"/>
                  <a:gd name="T2" fmla="*/ 38 w 38"/>
                  <a:gd name="T3" fmla="*/ 31 h 36"/>
                  <a:gd name="T4" fmla="*/ 38 w 38"/>
                  <a:gd name="T5" fmla="*/ 31 h 36"/>
                  <a:gd name="T6" fmla="*/ 24 w 38"/>
                  <a:gd name="T7" fmla="*/ 32 h 36"/>
                  <a:gd name="T8" fmla="*/ 1 w 38"/>
                  <a:gd name="T9" fmla="*/ 32 h 36"/>
                  <a:gd name="T10" fmla="*/ 1 w 38"/>
                  <a:gd name="T11" fmla="*/ 30 h 36"/>
                  <a:gd name="T12" fmla="*/ 0 w 38"/>
                  <a:gd name="T13" fmla="*/ 26 h 36"/>
                  <a:gd name="T14" fmla="*/ 17 w 38"/>
                  <a:gd name="T15" fmla="*/ 1 h 36"/>
                  <a:gd name="T16" fmla="*/ 19 w 38"/>
                  <a:gd name="T17" fmla="*/ 0 h 36"/>
                  <a:gd name="T18" fmla="*/ 23 w 38"/>
                  <a:gd name="T19" fmla="*/ 4 h 36"/>
                  <a:gd name="T20" fmla="*/ 31 w 38"/>
                  <a:gd name="T21" fmla="*/ 19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38" h="36">
                    <a:moveTo>
                      <a:pt x="31" y="19"/>
                    </a:moveTo>
                    <a:cubicBezTo>
                      <a:pt x="31" y="21"/>
                      <a:pt x="34" y="28"/>
                      <a:pt x="38" y="31"/>
                    </a:cubicBezTo>
                    <a:cubicBezTo>
                      <a:pt x="38" y="31"/>
                      <a:pt x="38" y="31"/>
                      <a:pt x="38" y="31"/>
                    </a:cubicBezTo>
                    <a:cubicBezTo>
                      <a:pt x="36" y="36"/>
                      <a:pt x="29" y="33"/>
                      <a:pt x="24" y="32"/>
                    </a:cubicBezTo>
                    <a:cubicBezTo>
                      <a:pt x="17" y="30"/>
                      <a:pt x="9" y="31"/>
                      <a:pt x="1" y="32"/>
                    </a:cubicBezTo>
                    <a:cubicBezTo>
                      <a:pt x="1" y="30"/>
                      <a:pt x="1" y="30"/>
                      <a:pt x="1" y="30"/>
                    </a:cubicBezTo>
                    <a:cubicBezTo>
                      <a:pt x="0" y="28"/>
                      <a:pt x="0" y="26"/>
                      <a:pt x="0" y="26"/>
                    </a:cubicBezTo>
                    <a:cubicBezTo>
                      <a:pt x="3" y="18"/>
                      <a:pt x="12" y="7"/>
                      <a:pt x="17" y="1"/>
                    </a:cubicBezTo>
                    <a:cubicBezTo>
                      <a:pt x="19" y="0"/>
                      <a:pt x="19" y="0"/>
                      <a:pt x="19" y="0"/>
                    </a:cubicBezTo>
                    <a:cubicBezTo>
                      <a:pt x="20" y="2"/>
                      <a:pt x="21" y="3"/>
                      <a:pt x="23" y="4"/>
                    </a:cubicBezTo>
                    <a:cubicBezTo>
                      <a:pt x="26" y="8"/>
                      <a:pt x="27" y="15"/>
                      <a:pt x="31" y="19"/>
                    </a:cubicBezTo>
                    <a:close/>
                  </a:path>
                </a:pathLst>
              </a:custGeom>
              <a:solidFill>
                <a:srgbClr val="3C3C3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216" name="Freeform 128">
                <a:extLst>
                  <a:ext uri="{FF2B5EF4-FFF2-40B4-BE49-F238E27FC236}">
                    <a16:creationId xmlns:a16="http://schemas.microsoft.com/office/drawing/2014/main" id="{E5B7CE93-E5FF-40D1-A852-C870AB494A4F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425" y="1244"/>
                <a:ext cx="39" cy="45"/>
              </a:xfrm>
              <a:custGeom>
                <a:avLst/>
                <a:gdLst>
                  <a:gd name="T0" fmla="*/ 0 w 37"/>
                  <a:gd name="T1" fmla="*/ 43 h 43"/>
                  <a:gd name="T2" fmla="*/ 4 w 37"/>
                  <a:gd name="T3" fmla="*/ 0 h 43"/>
                  <a:gd name="T4" fmla="*/ 10 w 37"/>
                  <a:gd name="T5" fmla="*/ 1 h 43"/>
                  <a:gd name="T6" fmla="*/ 21 w 37"/>
                  <a:gd name="T7" fmla="*/ 4 h 43"/>
                  <a:gd name="T8" fmla="*/ 34 w 37"/>
                  <a:gd name="T9" fmla="*/ 10 h 43"/>
                  <a:gd name="T10" fmla="*/ 37 w 37"/>
                  <a:gd name="T11" fmla="*/ 12 h 43"/>
                  <a:gd name="T12" fmla="*/ 23 w 37"/>
                  <a:gd name="T13" fmla="*/ 24 h 43"/>
                  <a:gd name="T14" fmla="*/ 0 w 37"/>
                  <a:gd name="T15" fmla="*/ 43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7" h="43">
                    <a:moveTo>
                      <a:pt x="0" y="43"/>
                    </a:moveTo>
                    <a:cubicBezTo>
                      <a:pt x="3" y="29"/>
                      <a:pt x="0" y="14"/>
                      <a:pt x="4" y="0"/>
                    </a:cubicBezTo>
                    <a:cubicBezTo>
                      <a:pt x="6" y="0"/>
                      <a:pt x="8" y="0"/>
                      <a:pt x="10" y="1"/>
                    </a:cubicBezTo>
                    <a:cubicBezTo>
                      <a:pt x="14" y="2"/>
                      <a:pt x="18" y="3"/>
                      <a:pt x="21" y="4"/>
                    </a:cubicBezTo>
                    <a:cubicBezTo>
                      <a:pt x="23" y="5"/>
                      <a:pt x="29" y="9"/>
                      <a:pt x="34" y="10"/>
                    </a:cubicBezTo>
                    <a:cubicBezTo>
                      <a:pt x="37" y="12"/>
                      <a:pt x="37" y="12"/>
                      <a:pt x="37" y="12"/>
                    </a:cubicBezTo>
                    <a:cubicBezTo>
                      <a:pt x="31" y="15"/>
                      <a:pt x="27" y="20"/>
                      <a:pt x="23" y="24"/>
                    </a:cubicBezTo>
                    <a:cubicBezTo>
                      <a:pt x="17" y="30"/>
                      <a:pt x="9" y="40"/>
                      <a:pt x="0" y="43"/>
                    </a:cubicBezTo>
                    <a:close/>
                  </a:path>
                </a:pathLst>
              </a:custGeom>
              <a:solidFill>
                <a:srgbClr val="3C3C3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217" name="Freeform 129">
                <a:extLst>
                  <a:ext uri="{FF2B5EF4-FFF2-40B4-BE49-F238E27FC236}">
                    <a16:creationId xmlns:a16="http://schemas.microsoft.com/office/drawing/2014/main" id="{5718900E-70ED-4CDA-98D9-3391FE42CD43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311" y="1238"/>
                <a:ext cx="191" cy="191"/>
              </a:xfrm>
              <a:custGeom>
                <a:avLst/>
                <a:gdLst>
                  <a:gd name="T0" fmla="*/ 24 w 181"/>
                  <a:gd name="T1" fmla="*/ 154 h 180"/>
                  <a:gd name="T2" fmla="*/ 11 w 181"/>
                  <a:gd name="T3" fmla="*/ 127 h 180"/>
                  <a:gd name="T4" fmla="*/ 10 w 181"/>
                  <a:gd name="T5" fmla="*/ 113 h 180"/>
                  <a:gd name="T6" fmla="*/ 8 w 181"/>
                  <a:gd name="T7" fmla="*/ 114 h 180"/>
                  <a:gd name="T8" fmla="*/ 8 w 181"/>
                  <a:gd name="T9" fmla="*/ 114 h 180"/>
                  <a:gd name="T10" fmla="*/ 8 w 181"/>
                  <a:gd name="T11" fmla="*/ 113 h 180"/>
                  <a:gd name="T12" fmla="*/ 5 w 181"/>
                  <a:gd name="T13" fmla="*/ 98 h 180"/>
                  <a:gd name="T14" fmla="*/ 3 w 181"/>
                  <a:gd name="T15" fmla="*/ 78 h 180"/>
                  <a:gd name="T16" fmla="*/ 4 w 181"/>
                  <a:gd name="T17" fmla="*/ 64 h 180"/>
                  <a:gd name="T18" fmla="*/ 15 w 181"/>
                  <a:gd name="T19" fmla="*/ 61 h 180"/>
                  <a:gd name="T20" fmla="*/ 24 w 181"/>
                  <a:gd name="T21" fmla="*/ 59 h 180"/>
                  <a:gd name="T22" fmla="*/ 47 w 181"/>
                  <a:gd name="T23" fmla="*/ 59 h 180"/>
                  <a:gd name="T24" fmla="*/ 61 w 181"/>
                  <a:gd name="T25" fmla="*/ 58 h 180"/>
                  <a:gd name="T26" fmla="*/ 61 w 181"/>
                  <a:gd name="T27" fmla="*/ 58 h 180"/>
                  <a:gd name="T28" fmla="*/ 54 w 181"/>
                  <a:gd name="T29" fmla="*/ 46 h 180"/>
                  <a:gd name="T30" fmla="*/ 46 w 181"/>
                  <a:gd name="T31" fmla="*/ 31 h 180"/>
                  <a:gd name="T32" fmla="*/ 42 w 181"/>
                  <a:gd name="T33" fmla="*/ 27 h 180"/>
                  <a:gd name="T34" fmla="*/ 39 w 181"/>
                  <a:gd name="T35" fmla="*/ 21 h 180"/>
                  <a:gd name="T36" fmla="*/ 97 w 181"/>
                  <a:gd name="T37" fmla="*/ 2 h 180"/>
                  <a:gd name="T38" fmla="*/ 118 w 181"/>
                  <a:gd name="T39" fmla="*/ 4 h 180"/>
                  <a:gd name="T40" fmla="*/ 118 w 181"/>
                  <a:gd name="T41" fmla="*/ 6 h 180"/>
                  <a:gd name="T42" fmla="*/ 112 w 181"/>
                  <a:gd name="T43" fmla="*/ 5 h 180"/>
                  <a:gd name="T44" fmla="*/ 108 w 181"/>
                  <a:gd name="T45" fmla="*/ 48 h 180"/>
                  <a:gd name="T46" fmla="*/ 131 w 181"/>
                  <a:gd name="T47" fmla="*/ 29 h 180"/>
                  <a:gd name="T48" fmla="*/ 145 w 181"/>
                  <a:gd name="T49" fmla="*/ 17 h 180"/>
                  <a:gd name="T50" fmla="*/ 147 w 181"/>
                  <a:gd name="T51" fmla="*/ 15 h 180"/>
                  <a:gd name="T52" fmla="*/ 153 w 181"/>
                  <a:gd name="T53" fmla="*/ 15 h 180"/>
                  <a:gd name="T54" fmla="*/ 181 w 181"/>
                  <a:gd name="T55" fmla="*/ 57 h 180"/>
                  <a:gd name="T56" fmla="*/ 176 w 181"/>
                  <a:gd name="T57" fmla="*/ 65 h 180"/>
                  <a:gd name="T58" fmla="*/ 178 w 181"/>
                  <a:gd name="T59" fmla="*/ 65 h 180"/>
                  <a:gd name="T60" fmla="*/ 162 w 181"/>
                  <a:gd name="T61" fmla="*/ 131 h 180"/>
                  <a:gd name="T62" fmla="*/ 100 w 181"/>
                  <a:gd name="T63" fmla="*/ 177 h 180"/>
                  <a:gd name="T64" fmla="*/ 24 w 181"/>
                  <a:gd name="T65" fmla="*/ 154 h 1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181" h="180">
                    <a:moveTo>
                      <a:pt x="24" y="154"/>
                    </a:moveTo>
                    <a:cubicBezTo>
                      <a:pt x="18" y="146"/>
                      <a:pt x="11" y="138"/>
                      <a:pt x="11" y="127"/>
                    </a:cubicBezTo>
                    <a:cubicBezTo>
                      <a:pt x="10" y="122"/>
                      <a:pt x="10" y="118"/>
                      <a:pt x="10" y="113"/>
                    </a:cubicBezTo>
                    <a:cubicBezTo>
                      <a:pt x="9" y="113"/>
                      <a:pt x="9" y="113"/>
                      <a:pt x="8" y="114"/>
                    </a:cubicBezTo>
                    <a:cubicBezTo>
                      <a:pt x="8" y="114"/>
                      <a:pt x="8" y="114"/>
                      <a:pt x="8" y="114"/>
                    </a:cubicBezTo>
                    <a:cubicBezTo>
                      <a:pt x="8" y="113"/>
                      <a:pt x="8" y="113"/>
                      <a:pt x="8" y="113"/>
                    </a:cubicBezTo>
                    <a:cubicBezTo>
                      <a:pt x="5" y="107"/>
                      <a:pt x="6" y="102"/>
                      <a:pt x="5" y="98"/>
                    </a:cubicBezTo>
                    <a:cubicBezTo>
                      <a:pt x="6" y="91"/>
                      <a:pt x="4" y="84"/>
                      <a:pt x="3" y="78"/>
                    </a:cubicBezTo>
                    <a:cubicBezTo>
                      <a:pt x="4" y="73"/>
                      <a:pt x="0" y="67"/>
                      <a:pt x="4" y="64"/>
                    </a:cubicBezTo>
                    <a:cubicBezTo>
                      <a:pt x="6" y="63"/>
                      <a:pt x="13" y="62"/>
                      <a:pt x="15" y="61"/>
                    </a:cubicBezTo>
                    <a:cubicBezTo>
                      <a:pt x="18" y="61"/>
                      <a:pt x="21" y="60"/>
                      <a:pt x="24" y="59"/>
                    </a:cubicBezTo>
                    <a:cubicBezTo>
                      <a:pt x="32" y="58"/>
                      <a:pt x="40" y="57"/>
                      <a:pt x="47" y="59"/>
                    </a:cubicBezTo>
                    <a:cubicBezTo>
                      <a:pt x="52" y="60"/>
                      <a:pt x="59" y="63"/>
                      <a:pt x="61" y="58"/>
                    </a:cubicBezTo>
                    <a:cubicBezTo>
                      <a:pt x="61" y="58"/>
                      <a:pt x="61" y="58"/>
                      <a:pt x="61" y="58"/>
                    </a:cubicBezTo>
                    <a:cubicBezTo>
                      <a:pt x="57" y="55"/>
                      <a:pt x="54" y="48"/>
                      <a:pt x="54" y="46"/>
                    </a:cubicBezTo>
                    <a:cubicBezTo>
                      <a:pt x="50" y="42"/>
                      <a:pt x="49" y="35"/>
                      <a:pt x="46" y="31"/>
                    </a:cubicBezTo>
                    <a:cubicBezTo>
                      <a:pt x="44" y="30"/>
                      <a:pt x="43" y="29"/>
                      <a:pt x="42" y="27"/>
                    </a:cubicBezTo>
                    <a:cubicBezTo>
                      <a:pt x="40" y="26"/>
                      <a:pt x="39" y="23"/>
                      <a:pt x="39" y="21"/>
                    </a:cubicBezTo>
                    <a:cubicBezTo>
                      <a:pt x="57" y="10"/>
                      <a:pt x="77" y="6"/>
                      <a:pt x="97" y="2"/>
                    </a:cubicBezTo>
                    <a:cubicBezTo>
                      <a:pt x="106" y="0"/>
                      <a:pt x="111" y="1"/>
                      <a:pt x="118" y="4"/>
                    </a:cubicBezTo>
                    <a:cubicBezTo>
                      <a:pt x="118" y="6"/>
                      <a:pt x="118" y="6"/>
                      <a:pt x="118" y="6"/>
                    </a:cubicBezTo>
                    <a:cubicBezTo>
                      <a:pt x="116" y="5"/>
                      <a:pt x="114" y="5"/>
                      <a:pt x="112" y="5"/>
                    </a:cubicBezTo>
                    <a:cubicBezTo>
                      <a:pt x="108" y="19"/>
                      <a:pt x="111" y="34"/>
                      <a:pt x="108" y="48"/>
                    </a:cubicBezTo>
                    <a:cubicBezTo>
                      <a:pt x="117" y="45"/>
                      <a:pt x="125" y="35"/>
                      <a:pt x="131" y="29"/>
                    </a:cubicBezTo>
                    <a:cubicBezTo>
                      <a:pt x="135" y="25"/>
                      <a:pt x="139" y="20"/>
                      <a:pt x="145" y="17"/>
                    </a:cubicBezTo>
                    <a:cubicBezTo>
                      <a:pt x="146" y="16"/>
                      <a:pt x="147" y="15"/>
                      <a:pt x="147" y="15"/>
                    </a:cubicBezTo>
                    <a:cubicBezTo>
                      <a:pt x="153" y="15"/>
                      <a:pt x="153" y="15"/>
                      <a:pt x="153" y="15"/>
                    </a:cubicBezTo>
                    <a:cubicBezTo>
                      <a:pt x="167" y="24"/>
                      <a:pt x="175" y="43"/>
                      <a:pt x="181" y="57"/>
                    </a:cubicBezTo>
                    <a:cubicBezTo>
                      <a:pt x="179" y="58"/>
                      <a:pt x="177" y="61"/>
                      <a:pt x="176" y="65"/>
                    </a:cubicBezTo>
                    <a:cubicBezTo>
                      <a:pt x="178" y="65"/>
                      <a:pt x="178" y="65"/>
                      <a:pt x="178" y="65"/>
                    </a:cubicBezTo>
                    <a:cubicBezTo>
                      <a:pt x="179" y="90"/>
                      <a:pt x="176" y="109"/>
                      <a:pt x="162" y="131"/>
                    </a:cubicBezTo>
                    <a:cubicBezTo>
                      <a:pt x="149" y="155"/>
                      <a:pt x="127" y="171"/>
                      <a:pt x="100" y="177"/>
                    </a:cubicBezTo>
                    <a:cubicBezTo>
                      <a:pt x="74" y="180"/>
                      <a:pt x="45" y="175"/>
                      <a:pt x="24" y="154"/>
                    </a:cubicBezTo>
                    <a:close/>
                  </a:path>
                </a:pathLst>
              </a:custGeom>
              <a:solidFill>
                <a:srgbClr val="3C3C3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218" name="Freeform 130">
                <a:extLst>
                  <a:ext uri="{FF2B5EF4-FFF2-40B4-BE49-F238E27FC236}">
                    <a16:creationId xmlns:a16="http://schemas.microsoft.com/office/drawing/2014/main" id="{4B4E5884-55B2-46FD-A0DA-6A4BA9A87D4A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137" y="1133"/>
                <a:ext cx="82" cy="73"/>
              </a:xfrm>
              <a:custGeom>
                <a:avLst/>
                <a:gdLst>
                  <a:gd name="T0" fmla="*/ 28 w 77"/>
                  <a:gd name="T1" fmla="*/ 5 h 69"/>
                  <a:gd name="T2" fmla="*/ 57 w 77"/>
                  <a:gd name="T3" fmla="*/ 3 h 69"/>
                  <a:gd name="T4" fmla="*/ 75 w 77"/>
                  <a:gd name="T5" fmla="*/ 34 h 69"/>
                  <a:gd name="T6" fmla="*/ 52 w 77"/>
                  <a:gd name="T7" fmla="*/ 67 h 69"/>
                  <a:gd name="T8" fmla="*/ 31 w 77"/>
                  <a:gd name="T9" fmla="*/ 69 h 69"/>
                  <a:gd name="T10" fmla="*/ 2 w 77"/>
                  <a:gd name="T11" fmla="*/ 31 h 69"/>
                  <a:gd name="T12" fmla="*/ 24 w 77"/>
                  <a:gd name="T13" fmla="*/ 4 h 69"/>
                  <a:gd name="T14" fmla="*/ 26 w 77"/>
                  <a:gd name="T15" fmla="*/ 3 h 69"/>
                  <a:gd name="T16" fmla="*/ 28 w 77"/>
                  <a:gd name="T17" fmla="*/ 5 h 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77" h="69">
                    <a:moveTo>
                      <a:pt x="28" y="5"/>
                    </a:moveTo>
                    <a:cubicBezTo>
                      <a:pt x="37" y="1"/>
                      <a:pt x="46" y="0"/>
                      <a:pt x="57" y="3"/>
                    </a:cubicBezTo>
                    <a:cubicBezTo>
                      <a:pt x="67" y="10"/>
                      <a:pt x="74" y="20"/>
                      <a:pt x="75" y="34"/>
                    </a:cubicBezTo>
                    <a:cubicBezTo>
                      <a:pt x="77" y="53"/>
                      <a:pt x="67" y="63"/>
                      <a:pt x="52" y="67"/>
                    </a:cubicBezTo>
                    <a:cubicBezTo>
                      <a:pt x="46" y="69"/>
                      <a:pt x="39" y="69"/>
                      <a:pt x="31" y="69"/>
                    </a:cubicBezTo>
                    <a:cubicBezTo>
                      <a:pt x="12" y="66"/>
                      <a:pt x="0" y="53"/>
                      <a:pt x="2" y="31"/>
                    </a:cubicBezTo>
                    <a:cubicBezTo>
                      <a:pt x="2" y="21"/>
                      <a:pt x="12" y="10"/>
                      <a:pt x="24" y="4"/>
                    </a:cubicBezTo>
                    <a:cubicBezTo>
                      <a:pt x="25" y="4"/>
                      <a:pt x="26" y="3"/>
                      <a:pt x="26" y="3"/>
                    </a:cubicBezTo>
                    <a:lnTo>
                      <a:pt x="28" y="5"/>
                    </a:lnTo>
                    <a:close/>
                  </a:path>
                </a:pathLst>
              </a:custGeom>
              <a:solidFill>
                <a:srgbClr val="3C3C3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219" name="Freeform 131">
                <a:extLst>
                  <a:ext uri="{FF2B5EF4-FFF2-40B4-BE49-F238E27FC236}">
                    <a16:creationId xmlns:a16="http://schemas.microsoft.com/office/drawing/2014/main" id="{A331057A-60C2-41A5-8BA1-FB8C9251EDC3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075" y="1228"/>
                <a:ext cx="77" cy="73"/>
              </a:xfrm>
              <a:custGeom>
                <a:avLst/>
                <a:gdLst>
                  <a:gd name="T0" fmla="*/ 13 w 73"/>
                  <a:gd name="T1" fmla="*/ 5 h 69"/>
                  <a:gd name="T2" fmla="*/ 31 w 73"/>
                  <a:gd name="T3" fmla="*/ 1 h 69"/>
                  <a:gd name="T4" fmla="*/ 35 w 73"/>
                  <a:gd name="T5" fmla="*/ 0 h 69"/>
                  <a:gd name="T6" fmla="*/ 71 w 73"/>
                  <a:gd name="T7" fmla="*/ 20 h 69"/>
                  <a:gd name="T8" fmla="*/ 71 w 73"/>
                  <a:gd name="T9" fmla="*/ 36 h 69"/>
                  <a:gd name="T10" fmla="*/ 40 w 73"/>
                  <a:gd name="T11" fmla="*/ 66 h 69"/>
                  <a:gd name="T12" fmla="*/ 0 w 73"/>
                  <a:gd name="T13" fmla="*/ 34 h 69"/>
                  <a:gd name="T14" fmla="*/ 0 w 73"/>
                  <a:gd name="T15" fmla="*/ 31 h 69"/>
                  <a:gd name="T16" fmla="*/ 13 w 73"/>
                  <a:gd name="T17" fmla="*/ 5 h 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73" h="69">
                    <a:moveTo>
                      <a:pt x="13" y="5"/>
                    </a:moveTo>
                    <a:cubicBezTo>
                      <a:pt x="19" y="1"/>
                      <a:pt x="24" y="5"/>
                      <a:pt x="31" y="1"/>
                    </a:cubicBezTo>
                    <a:cubicBezTo>
                      <a:pt x="35" y="0"/>
                      <a:pt x="35" y="0"/>
                      <a:pt x="35" y="0"/>
                    </a:cubicBezTo>
                    <a:cubicBezTo>
                      <a:pt x="49" y="2"/>
                      <a:pt x="66" y="8"/>
                      <a:pt x="71" y="20"/>
                    </a:cubicBezTo>
                    <a:cubicBezTo>
                      <a:pt x="73" y="25"/>
                      <a:pt x="73" y="30"/>
                      <a:pt x="71" y="36"/>
                    </a:cubicBezTo>
                    <a:cubicBezTo>
                      <a:pt x="66" y="49"/>
                      <a:pt x="53" y="63"/>
                      <a:pt x="40" y="66"/>
                    </a:cubicBezTo>
                    <a:cubicBezTo>
                      <a:pt x="19" y="69"/>
                      <a:pt x="0" y="56"/>
                      <a:pt x="0" y="34"/>
                    </a:cubicBezTo>
                    <a:cubicBezTo>
                      <a:pt x="0" y="33"/>
                      <a:pt x="0" y="32"/>
                      <a:pt x="0" y="31"/>
                    </a:cubicBezTo>
                    <a:cubicBezTo>
                      <a:pt x="1" y="24"/>
                      <a:pt x="4" y="7"/>
                      <a:pt x="13" y="5"/>
                    </a:cubicBezTo>
                    <a:close/>
                  </a:path>
                </a:pathLst>
              </a:custGeom>
              <a:solidFill>
                <a:srgbClr val="3C3C3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220" name="Freeform 132">
                <a:extLst>
                  <a:ext uri="{FF2B5EF4-FFF2-40B4-BE49-F238E27FC236}">
                    <a16:creationId xmlns:a16="http://schemas.microsoft.com/office/drawing/2014/main" id="{1EF7FC59-A55A-4793-B04D-5DEA599EB378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955" y="1165"/>
                <a:ext cx="85" cy="71"/>
              </a:xfrm>
              <a:custGeom>
                <a:avLst/>
                <a:gdLst>
                  <a:gd name="T0" fmla="*/ 27 w 80"/>
                  <a:gd name="T1" fmla="*/ 5 h 67"/>
                  <a:gd name="T2" fmla="*/ 36 w 80"/>
                  <a:gd name="T3" fmla="*/ 0 h 67"/>
                  <a:gd name="T4" fmla="*/ 39 w 80"/>
                  <a:gd name="T5" fmla="*/ 4 h 67"/>
                  <a:gd name="T6" fmla="*/ 74 w 80"/>
                  <a:gd name="T7" fmla="*/ 15 h 67"/>
                  <a:gd name="T8" fmla="*/ 75 w 80"/>
                  <a:gd name="T9" fmla="*/ 43 h 67"/>
                  <a:gd name="T10" fmla="*/ 52 w 80"/>
                  <a:gd name="T11" fmla="*/ 64 h 67"/>
                  <a:gd name="T12" fmla="*/ 26 w 80"/>
                  <a:gd name="T13" fmla="*/ 63 h 67"/>
                  <a:gd name="T14" fmla="*/ 6 w 80"/>
                  <a:gd name="T15" fmla="*/ 23 h 67"/>
                  <a:gd name="T16" fmla="*/ 27 w 80"/>
                  <a:gd name="T17" fmla="*/ 5 h 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80" h="67">
                    <a:moveTo>
                      <a:pt x="27" y="5"/>
                    </a:moveTo>
                    <a:cubicBezTo>
                      <a:pt x="36" y="0"/>
                      <a:pt x="36" y="0"/>
                      <a:pt x="36" y="0"/>
                    </a:cubicBezTo>
                    <a:cubicBezTo>
                      <a:pt x="39" y="4"/>
                      <a:pt x="39" y="4"/>
                      <a:pt x="39" y="4"/>
                    </a:cubicBezTo>
                    <a:cubicBezTo>
                      <a:pt x="50" y="4"/>
                      <a:pt x="64" y="4"/>
                      <a:pt x="74" y="15"/>
                    </a:cubicBezTo>
                    <a:cubicBezTo>
                      <a:pt x="80" y="23"/>
                      <a:pt x="80" y="32"/>
                      <a:pt x="75" y="43"/>
                    </a:cubicBezTo>
                    <a:cubicBezTo>
                      <a:pt x="71" y="53"/>
                      <a:pt x="62" y="60"/>
                      <a:pt x="52" y="64"/>
                    </a:cubicBezTo>
                    <a:cubicBezTo>
                      <a:pt x="44" y="67"/>
                      <a:pt x="34" y="67"/>
                      <a:pt x="26" y="63"/>
                    </a:cubicBezTo>
                    <a:cubicBezTo>
                      <a:pt x="14" y="58"/>
                      <a:pt x="0" y="36"/>
                      <a:pt x="6" y="23"/>
                    </a:cubicBezTo>
                    <a:cubicBezTo>
                      <a:pt x="11" y="15"/>
                      <a:pt x="20" y="11"/>
                      <a:pt x="27" y="5"/>
                    </a:cubicBezTo>
                    <a:close/>
                  </a:path>
                </a:pathLst>
              </a:custGeom>
              <a:solidFill>
                <a:srgbClr val="3C3C3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221" name="Freeform 133">
                <a:extLst>
                  <a:ext uri="{FF2B5EF4-FFF2-40B4-BE49-F238E27FC236}">
                    <a16:creationId xmlns:a16="http://schemas.microsoft.com/office/drawing/2014/main" id="{A0B18A95-E878-4431-82EF-55B6D440DC67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026" y="1082"/>
                <a:ext cx="84" cy="84"/>
              </a:xfrm>
              <a:custGeom>
                <a:avLst/>
                <a:gdLst>
                  <a:gd name="T0" fmla="*/ 4 w 79"/>
                  <a:gd name="T1" fmla="*/ 19 h 80"/>
                  <a:gd name="T2" fmla="*/ 23 w 79"/>
                  <a:gd name="T3" fmla="*/ 1 h 80"/>
                  <a:gd name="T4" fmla="*/ 37 w 79"/>
                  <a:gd name="T5" fmla="*/ 0 h 80"/>
                  <a:gd name="T6" fmla="*/ 37 w 79"/>
                  <a:gd name="T7" fmla="*/ 2 h 80"/>
                  <a:gd name="T8" fmla="*/ 72 w 79"/>
                  <a:gd name="T9" fmla="*/ 21 h 80"/>
                  <a:gd name="T10" fmla="*/ 78 w 79"/>
                  <a:gd name="T11" fmla="*/ 42 h 80"/>
                  <a:gd name="T12" fmla="*/ 22 w 79"/>
                  <a:gd name="T13" fmla="*/ 70 h 80"/>
                  <a:gd name="T14" fmla="*/ 2 w 79"/>
                  <a:gd name="T15" fmla="*/ 44 h 80"/>
                  <a:gd name="T16" fmla="*/ 4 w 79"/>
                  <a:gd name="T17" fmla="*/ 19 h 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79" h="80">
                    <a:moveTo>
                      <a:pt x="4" y="19"/>
                    </a:moveTo>
                    <a:cubicBezTo>
                      <a:pt x="9" y="11"/>
                      <a:pt x="14" y="2"/>
                      <a:pt x="23" y="1"/>
                    </a:cubicBezTo>
                    <a:cubicBezTo>
                      <a:pt x="28" y="0"/>
                      <a:pt x="33" y="1"/>
                      <a:pt x="37" y="0"/>
                    </a:cubicBezTo>
                    <a:cubicBezTo>
                      <a:pt x="37" y="2"/>
                      <a:pt x="37" y="2"/>
                      <a:pt x="37" y="2"/>
                    </a:cubicBezTo>
                    <a:cubicBezTo>
                      <a:pt x="51" y="0"/>
                      <a:pt x="64" y="9"/>
                      <a:pt x="72" y="21"/>
                    </a:cubicBezTo>
                    <a:cubicBezTo>
                      <a:pt x="76" y="27"/>
                      <a:pt x="79" y="35"/>
                      <a:pt x="78" y="42"/>
                    </a:cubicBezTo>
                    <a:cubicBezTo>
                      <a:pt x="74" y="66"/>
                      <a:pt x="43" y="80"/>
                      <a:pt x="22" y="70"/>
                    </a:cubicBezTo>
                    <a:cubicBezTo>
                      <a:pt x="12" y="66"/>
                      <a:pt x="5" y="55"/>
                      <a:pt x="2" y="44"/>
                    </a:cubicBezTo>
                    <a:cubicBezTo>
                      <a:pt x="0" y="35"/>
                      <a:pt x="0" y="26"/>
                      <a:pt x="4" y="19"/>
                    </a:cubicBezTo>
                    <a:close/>
                  </a:path>
                </a:pathLst>
              </a:custGeom>
              <a:solidFill>
                <a:srgbClr val="3C3C3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222" name="Freeform 134">
                <a:extLst>
                  <a:ext uri="{FF2B5EF4-FFF2-40B4-BE49-F238E27FC236}">
                    <a16:creationId xmlns:a16="http://schemas.microsoft.com/office/drawing/2014/main" id="{8CD00278-C267-4E5A-8CD3-58AFDEC2BE5A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742" y="1462"/>
                <a:ext cx="77" cy="70"/>
              </a:xfrm>
              <a:custGeom>
                <a:avLst/>
                <a:gdLst>
                  <a:gd name="T0" fmla="*/ 68 w 73"/>
                  <a:gd name="T1" fmla="*/ 21 h 66"/>
                  <a:gd name="T2" fmla="*/ 65 w 73"/>
                  <a:gd name="T3" fmla="*/ 49 h 66"/>
                  <a:gd name="T4" fmla="*/ 16 w 73"/>
                  <a:gd name="T5" fmla="*/ 57 h 66"/>
                  <a:gd name="T6" fmla="*/ 19 w 73"/>
                  <a:gd name="T7" fmla="*/ 6 h 66"/>
                  <a:gd name="T8" fmla="*/ 44 w 73"/>
                  <a:gd name="T9" fmla="*/ 0 h 66"/>
                  <a:gd name="T10" fmla="*/ 44 w 73"/>
                  <a:gd name="T11" fmla="*/ 3 h 66"/>
                  <a:gd name="T12" fmla="*/ 68 w 73"/>
                  <a:gd name="T13" fmla="*/ 21 h 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73" h="66">
                    <a:moveTo>
                      <a:pt x="68" y="21"/>
                    </a:moveTo>
                    <a:cubicBezTo>
                      <a:pt x="70" y="29"/>
                      <a:pt x="73" y="40"/>
                      <a:pt x="65" y="49"/>
                    </a:cubicBezTo>
                    <a:cubicBezTo>
                      <a:pt x="55" y="63"/>
                      <a:pt x="30" y="66"/>
                      <a:pt x="16" y="57"/>
                    </a:cubicBezTo>
                    <a:cubicBezTo>
                      <a:pt x="0" y="47"/>
                      <a:pt x="5" y="16"/>
                      <a:pt x="19" y="6"/>
                    </a:cubicBezTo>
                    <a:cubicBezTo>
                      <a:pt x="25" y="3"/>
                      <a:pt x="35" y="0"/>
                      <a:pt x="44" y="0"/>
                    </a:cubicBezTo>
                    <a:cubicBezTo>
                      <a:pt x="44" y="3"/>
                      <a:pt x="44" y="3"/>
                      <a:pt x="44" y="3"/>
                    </a:cubicBezTo>
                    <a:cubicBezTo>
                      <a:pt x="56" y="5"/>
                      <a:pt x="64" y="10"/>
                      <a:pt x="68" y="21"/>
                    </a:cubicBezTo>
                    <a:close/>
                  </a:path>
                </a:pathLst>
              </a:custGeom>
              <a:solidFill>
                <a:srgbClr val="E840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223" name="Freeform 135">
                <a:extLst>
                  <a:ext uri="{FF2B5EF4-FFF2-40B4-BE49-F238E27FC236}">
                    <a16:creationId xmlns:a16="http://schemas.microsoft.com/office/drawing/2014/main" id="{5BF28711-B9B6-449A-8762-8A3EB9B7CDE5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532" y="1364"/>
                <a:ext cx="158" cy="154"/>
              </a:xfrm>
              <a:custGeom>
                <a:avLst/>
                <a:gdLst>
                  <a:gd name="T0" fmla="*/ 1 w 149"/>
                  <a:gd name="T1" fmla="*/ 86 h 145"/>
                  <a:gd name="T2" fmla="*/ 47 w 149"/>
                  <a:gd name="T3" fmla="*/ 112 h 145"/>
                  <a:gd name="T4" fmla="*/ 94 w 149"/>
                  <a:gd name="T5" fmla="*/ 95 h 145"/>
                  <a:gd name="T6" fmla="*/ 122 w 149"/>
                  <a:gd name="T7" fmla="*/ 54 h 145"/>
                  <a:gd name="T8" fmla="*/ 113 w 149"/>
                  <a:gd name="T9" fmla="*/ 3 h 145"/>
                  <a:gd name="T10" fmla="*/ 145 w 149"/>
                  <a:gd name="T11" fmla="*/ 44 h 145"/>
                  <a:gd name="T12" fmla="*/ 138 w 149"/>
                  <a:gd name="T13" fmla="*/ 87 h 145"/>
                  <a:gd name="T14" fmla="*/ 103 w 149"/>
                  <a:gd name="T15" fmla="*/ 127 h 145"/>
                  <a:gd name="T16" fmla="*/ 30 w 149"/>
                  <a:gd name="T17" fmla="*/ 132 h 145"/>
                  <a:gd name="T18" fmla="*/ 0 w 149"/>
                  <a:gd name="T19" fmla="*/ 87 h 145"/>
                  <a:gd name="T20" fmla="*/ 1 w 149"/>
                  <a:gd name="T21" fmla="*/ 86 h 1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49" h="145">
                    <a:moveTo>
                      <a:pt x="1" y="86"/>
                    </a:moveTo>
                    <a:cubicBezTo>
                      <a:pt x="13" y="100"/>
                      <a:pt x="30" y="109"/>
                      <a:pt x="47" y="112"/>
                    </a:cubicBezTo>
                    <a:cubicBezTo>
                      <a:pt x="66" y="115"/>
                      <a:pt x="80" y="107"/>
                      <a:pt x="94" y="95"/>
                    </a:cubicBezTo>
                    <a:cubicBezTo>
                      <a:pt x="107" y="82"/>
                      <a:pt x="121" y="70"/>
                      <a:pt x="122" y="54"/>
                    </a:cubicBezTo>
                    <a:cubicBezTo>
                      <a:pt x="125" y="37"/>
                      <a:pt x="119" y="18"/>
                      <a:pt x="113" y="3"/>
                    </a:cubicBezTo>
                    <a:cubicBezTo>
                      <a:pt x="133" y="0"/>
                      <a:pt x="142" y="29"/>
                      <a:pt x="145" y="44"/>
                    </a:cubicBezTo>
                    <a:cubicBezTo>
                      <a:pt x="149" y="60"/>
                      <a:pt x="147" y="74"/>
                      <a:pt x="138" y="87"/>
                    </a:cubicBezTo>
                    <a:cubicBezTo>
                      <a:pt x="130" y="103"/>
                      <a:pt x="120" y="119"/>
                      <a:pt x="103" y="127"/>
                    </a:cubicBezTo>
                    <a:cubicBezTo>
                      <a:pt x="83" y="141"/>
                      <a:pt x="52" y="145"/>
                      <a:pt x="30" y="132"/>
                    </a:cubicBezTo>
                    <a:cubicBezTo>
                      <a:pt x="17" y="123"/>
                      <a:pt x="4" y="105"/>
                      <a:pt x="0" y="87"/>
                    </a:cubicBezTo>
                    <a:lnTo>
                      <a:pt x="1" y="86"/>
                    </a:lnTo>
                    <a:close/>
                  </a:path>
                </a:pathLst>
              </a:custGeom>
              <a:solidFill>
                <a:srgbClr val="E840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224" name="Freeform 136">
                <a:extLst>
                  <a:ext uri="{FF2B5EF4-FFF2-40B4-BE49-F238E27FC236}">
                    <a16:creationId xmlns:a16="http://schemas.microsoft.com/office/drawing/2014/main" id="{F66190F2-4F55-4819-8FC2-D917F6D5E98A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516" y="1336"/>
                <a:ext cx="149" cy="150"/>
              </a:xfrm>
              <a:custGeom>
                <a:avLst/>
                <a:gdLst>
                  <a:gd name="T0" fmla="*/ 128 w 140"/>
                  <a:gd name="T1" fmla="*/ 30 h 142"/>
                  <a:gd name="T2" fmla="*/ 137 w 140"/>
                  <a:gd name="T3" fmla="*/ 81 h 142"/>
                  <a:gd name="T4" fmla="*/ 109 w 140"/>
                  <a:gd name="T5" fmla="*/ 122 h 142"/>
                  <a:gd name="T6" fmla="*/ 62 w 140"/>
                  <a:gd name="T7" fmla="*/ 139 h 142"/>
                  <a:gd name="T8" fmla="*/ 16 w 140"/>
                  <a:gd name="T9" fmla="*/ 113 h 142"/>
                  <a:gd name="T10" fmla="*/ 11 w 140"/>
                  <a:gd name="T11" fmla="*/ 108 h 142"/>
                  <a:gd name="T12" fmla="*/ 4 w 140"/>
                  <a:gd name="T13" fmla="*/ 66 h 142"/>
                  <a:gd name="T14" fmla="*/ 34 w 140"/>
                  <a:gd name="T15" fmla="*/ 13 h 142"/>
                  <a:gd name="T16" fmla="*/ 64 w 140"/>
                  <a:gd name="T17" fmla="*/ 0 h 142"/>
                  <a:gd name="T18" fmla="*/ 73 w 140"/>
                  <a:gd name="T19" fmla="*/ 0 h 142"/>
                  <a:gd name="T20" fmla="*/ 128 w 140"/>
                  <a:gd name="T21" fmla="*/ 30 h 1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40" h="142">
                    <a:moveTo>
                      <a:pt x="128" y="30"/>
                    </a:moveTo>
                    <a:cubicBezTo>
                      <a:pt x="134" y="45"/>
                      <a:pt x="140" y="64"/>
                      <a:pt x="137" y="81"/>
                    </a:cubicBezTo>
                    <a:cubicBezTo>
                      <a:pt x="136" y="97"/>
                      <a:pt x="122" y="109"/>
                      <a:pt x="109" y="122"/>
                    </a:cubicBezTo>
                    <a:cubicBezTo>
                      <a:pt x="95" y="134"/>
                      <a:pt x="81" y="142"/>
                      <a:pt x="62" y="139"/>
                    </a:cubicBezTo>
                    <a:cubicBezTo>
                      <a:pt x="45" y="136"/>
                      <a:pt x="28" y="127"/>
                      <a:pt x="16" y="113"/>
                    </a:cubicBezTo>
                    <a:cubicBezTo>
                      <a:pt x="14" y="112"/>
                      <a:pt x="13" y="110"/>
                      <a:pt x="11" y="108"/>
                    </a:cubicBezTo>
                    <a:cubicBezTo>
                      <a:pt x="2" y="96"/>
                      <a:pt x="0" y="80"/>
                      <a:pt x="4" y="66"/>
                    </a:cubicBezTo>
                    <a:cubicBezTo>
                      <a:pt x="7" y="47"/>
                      <a:pt x="18" y="23"/>
                      <a:pt x="34" y="13"/>
                    </a:cubicBezTo>
                    <a:cubicBezTo>
                      <a:pt x="44" y="6"/>
                      <a:pt x="53" y="4"/>
                      <a:pt x="64" y="0"/>
                    </a:cubicBezTo>
                    <a:cubicBezTo>
                      <a:pt x="73" y="0"/>
                      <a:pt x="73" y="0"/>
                      <a:pt x="73" y="0"/>
                    </a:cubicBezTo>
                    <a:cubicBezTo>
                      <a:pt x="95" y="4"/>
                      <a:pt x="117" y="9"/>
                      <a:pt x="128" y="30"/>
                    </a:cubicBezTo>
                    <a:close/>
                  </a:path>
                </a:pathLst>
              </a:custGeom>
              <a:solidFill>
                <a:srgbClr val="E840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225" name="Freeform 137">
                <a:extLst>
                  <a:ext uri="{FF2B5EF4-FFF2-40B4-BE49-F238E27FC236}">
                    <a16:creationId xmlns:a16="http://schemas.microsoft.com/office/drawing/2014/main" id="{39F5FC8D-E2B8-46E7-9DDF-CE95BD4DF4EC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848" y="1327"/>
                <a:ext cx="170" cy="107"/>
              </a:xfrm>
              <a:custGeom>
                <a:avLst/>
                <a:gdLst>
                  <a:gd name="T0" fmla="*/ 4 w 161"/>
                  <a:gd name="T1" fmla="*/ 13 h 101"/>
                  <a:gd name="T2" fmla="*/ 10 w 161"/>
                  <a:gd name="T3" fmla="*/ 0 h 101"/>
                  <a:gd name="T4" fmla="*/ 11 w 161"/>
                  <a:gd name="T5" fmla="*/ 0 h 101"/>
                  <a:gd name="T6" fmla="*/ 11 w 161"/>
                  <a:gd name="T7" fmla="*/ 25 h 101"/>
                  <a:gd name="T8" fmla="*/ 36 w 161"/>
                  <a:gd name="T9" fmla="*/ 54 h 101"/>
                  <a:gd name="T10" fmla="*/ 121 w 161"/>
                  <a:gd name="T11" fmla="*/ 64 h 101"/>
                  <a:gd name="T12" fmla="*/ 154 w 161"/>
                  <a:gd name="T13" fmla="*/ 21 h 101"/>
                  <a:gd name="T14" fmla="*/ 131 w 161"/>
                  <a:gd name="T15" fmla="*/ 85 h 101"/>
                  <a:gd name="T16" fmla="*/ 67 w 161"/>
                  <a:gd name="T17" fmla="*/ 101 h 101"/>
                  <a:gd name="T18" fmla="*/ 3 w 161"/>
                  <a:gd name="T19" fmla="*/ 52 h 101"/>
                  <a:gd name="T20" fmla="*/ 4 w 161"/>
                  <a:gd name="T21" fmla="*/ 13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61" h="101">
                    <a:moveTo>
                      <a:pt x="4" y="13"/>
                    </a:moveTo>
                    <a:cubicBezTo>
                      <a:pt x="5" y="8"/>
                      <a:pt x="9" y="5"/>
                      <a:pt x="10" y="0"/>
                    </a:cubicBezTo>
                    <a:cubicBezTo>
                      <a:pt x="11" y="0"/>
                      <a:pt x="11" y="0"/>
                      <a:pt x="11" y="0"/>
                    </a:cubicBezTo>
                    <a:cubicBezTo>
                      <a:pt x="10" y="8"/>
                      <a:pt x="9" y="17"/>
                      <a:pt x="11" y="25"/>
                    </a:cubicBezTo>
                    <a:cubicBezTo>
                      <a:pt x="14" y="36"/>
                      <a:pt x="25" y="47"/>
                      <a:pt x="36" y="54"/>
                    </a:cubicBezTo>
                    <a:cubicBezTo>
                      <a:pt x="61" y="74"/>
                      <a:pt x="92" y="77"/>
                      <a:pt x="121" y="64"/>
                    </a:cubicBezTo>
                    <a:cubicBezTo>
                      <a:pt x="138" y="56"/>
                      <a:pt x="149" y="39"/>
                      <a:pt x="154" y="21"/>
                    </a:cubicBezTo>
                    <a:cubicBezTo>
                      <a:pt x="161" y="43"/>
                      <a:pt x="147" y="70"/>
                      <a:pt x="131" y="85"/>
                    </a:cubicBezTo>
                    <a:cubicBezTo>
                      <a:pt x="113" y="98"/>
                      <a:pt x="90" y="100"/>
                      <a:pt x="67" y="101"/>
                    </a:cubicBezTo>
                    <a:cubicBezTo>
                      <a:pt x="39" y="100"/>
                      <a:pt x="9" y="81"/>
                      <a:pt x="3" y="52"/>
                    </a:cubicBezTo>
                    <a:cubicBezTo>
                      <a:pt x="0" y="39"/>
                      <a:pt x="0" y="25"/>
                      <a:pt x="4" y="13"/>
                    </a:cubicBezTo>
                    <a:close/>
                  </a:path>
                </a:pathLst>
              </a:custGeom>
              <a:solidFill>
                <a:srgbClr val="E840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226" name="Freeform 138">
                <a:extLst>
                  <a:ext uri="{FF2B5EF4-FFF2-40B4-BE49-F238E27FC236}">
                    <a16:creationId xmlns:a16="http://schemas.microsoft.com/office/drawing/2014/main" id="{41F67165-DDBF-46FF-84B1-B77DA945AED0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857" y="1260"/>
                <a:ext cx="158" cy="149"/>
              </a:xfrm>
              <a:custGeom>
                <a:avLst/>
                <a:gdLst>
                  <a:gd name="T0" fmla="*/ 69 w 149"/>
                  <a:gd name="T1" fmla="*/ 1 h 141"/>
                  <a:gd name="T2" fmla="*/ 102 w 149"/>
                  <a:gd name="T3" fmla="*/ 7 h 141"/>
                  <a:gd name="T4" fmla="*/ 142 w 149"/>
                  <a:gd name="T5" fmla="*/ 40 h 141"/>
                  <a:gd name="T6" fmla="*/ 145 w 149"/>
                  <a:gd name="T7" fmla="*/ 85 h 141"/>
                  <a:gd name="T8" fmla="*/ 112 w 149"/>
                  <a:gd name="T9" fmla="*/ 128 h 141"/>
                  <a:gd name="T10" fmla="*/ 27 w 149"/>
                  <a:gd name="T11" fmla="*/ 118 h 141"/>
                  <a:gd name="T12" fmla="*/ 2 w 149"/>
                  <a:gd name="T13" fmla="*/ 89 h 141"/>
                  <a:gd name="T14" fmla="*/ 2 w 149"/>
                  <a:gd name="T15" fmla="*/ 64 h 141"/>
                  <a:gd name="T16" fmla="*/ 6 w 149"/>
                  <a:gd name="T17" fmla="*/ 44 h 141"/>
                  <a:gd name="T18" fmla="*/ 41 w 149"/>
                  <a:gd name="T19" fmla="*/ 11 h 141"/>
                  <a:gd name="T20" fmla="*/ 69 w 149"/>
                  <a:gd name="T21" fmla="*/ 3 h 141"/>
                  <a:gd name="T22" fmla="*/ 69 w 149"/>
                  <a:gd name="T23" fmla="*/ 1 h 1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49" h="141">
                    <a:moveTo>
                      <a:pt x="69" y="1"/>
                    </a:moveTo>
                    <a:cubicBezTo>
                      <a:pt x="80" y="0"/>
                      <a:pt x="91" y="2"/>
                      <a:pt x="102" y="7"/>
                    </a:cubicBezTo>
                    <a:cubicBezTo>
                      <a:pt x="117" y="13"/>
                      <a:pt x="136" y="25"/>
                      <a:pt x="142" y="40"/>
                    </a:cubicBezTo>
                    <a:cubicBezTo>
                      <a:pt x="148" y="54"/>
                      <a:pt x="149" y="70"/>
                      <a:pt x="145" y="85"/>
                    </a:cubicBezTo>
                    <a:cubicBezTo>
                      <a:pt x="140" y="103"/>
                      <a:pt x="129" y="120"/>
                      <a:pt x="112" y="128"/>
                    </a:cubicBezTo>
                    <a:cubicBezTo>
                      <a:pt x="83" y="141"/>
                      <a:pt x="52" y="138"/>
                      <a:pt x="27" y="118"/>
                    </a:cubicBezTo>
                    <a:cubicBezTo>
                      <a:pt x="16" y="111"/>
                      <a:pt x="5" y="100"/>
                      <a:pt x="2" y="89"/>
                    </a:cubicBezTo>
                    <a:cubicBezTo>
                      <a:pt x="0" y="81"/>
                      <a:pt x="1" y="72"/>
                      <a:pt x="2" y="64"/>
                    </a:cubicBezTo>
                    <a:cubicBezTo>
                      <a:pt x="3" y="57"/>
                      <a:pt x="4" y="50"/>
                      <a:pt x="6" y="44"/>
                    </a:cubicBezTo>
                    <a:cubicBezTo>
                      <a:pt x="12" y="29"/>
                      <a:pt x="26" y="17"/>
                      <a:pt x="41" y="11"/>
                    </a:cubicBezTo>
                    <a:cubicBezTo>
                      <a:pt x="49" y="7"/>
                      <a:pt x="61" y="7"/>
                      <a:pt x="69" y="3"/>
                    </a:cubicBezTo>
                    <a:lnTo>
                      <a:pt x="69" y="1"/>
                    </a:lnTo>
                    <a:close/>
                  </a:path>
                </a:pathLst>
              </a:custGeom>
              <a:solidFill>
                <a:srgbClr val="E840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227" name="Freeform 139">
                <a:extLst>
                  <a:ext uri="{FF2B5EF4-FFF2-40B4-BE49-F238E27FC236}">
                    <a16:creationId xmlns:a16="http://schemas.microsoft.com/office/drawing/2014/main" id="{AFD4B7D4-6FF8-45B6-9166-55A1E46F082A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5268" y="1201"/>
                <a:ext cx="469" cy="355"/>
              </a:xfrm>
              <a:custGeom>
                <a:avLst/>
                <a:gdLst>
                  <a:gd name="T0" fmla="*/ 17 w 442"/>
                  <a:gd name="T1" fmla="*/ 102 h 335"/>
                  <a:gd name="T2" fmla="*/ 92 w 442"/>
                  <a:gd name="T3" fmla="*/ 21 h 335"/>
                  <a:gd name="T4" fmla="*/ 165 w 442"/>
                  <a:gd name="T5" fmla="*/ 0 h 335"/>
                  <a:gd name="T6" fmla="*/ 165 w 442"/>
                  <a:gd name="T7" fmla="*/ 7 h 335"/>
                  <a:gd name="T8" fmla="*/ 285 w 442"/>
                  <a:gd name="T9" fmla="*/ 46 h 335"/>
                  <a:gd name="T10" fmla="*/ 399 w 442"/>
                  <a:gd name="T11" fmla="*/ 144 h 335"/>
                  <a:gd name="T12" fmla="*/ 433 w 442"/>
                  <a:gd name="T13" fmla="*/ 259 h 335"/>
                  <a:gd name="T14" fmla="*/ 346 w 442"/>
                  <a:gd name="T15" fmla="*/ 329 h 335"/>
                  <a:gd name="T16" fmla="*/ 230 w 442"/>
                  <a:gd name="T17" fmla="*/ 317 h 335"/>
                  <a:gd name="T18" fmla="*/ 108 w 442"/>
                  <a:gd name="T19" fmla="*/ 284 h 335"/>
                  <a:gd name="T20" fmla="*/ 14 w 442"/>
                  <a:gd name="T21" fmla="*/ 204 h 335"/>
                  <a:gd name="T22" fmla="*/ 17 w 442"/>
                  <a:gd name="T23" fmla="*/ 102 h 335"/>
                  <a:gd name="T24" fmla="*/ 64 w 442"/>
                  <a:gd name="T25" fmla="*/ 94 h 335"/>
                  <a:gd name="T26" fmla="*/ 55 w 442"/>
                  <a:gd name="T27" fmla="*/ 96 h 335"/>
                  <a:gd name="T28" fmla="*/ 44 w 442"/>
                  <a:gd name="T29" fmla="*/ 99 h 335"/>
                  <a:gd name="T30" fmla="*/ 43 w 442"/>
                  <a:gd name="T31" fmla="*/ 113 h 335"/>
                  <a:gd name="T32" fmla="*/ 45 w 442"/>
                  <a:gd name="T33" fmla="*/ 133 h 335"/>
                  <a:gd name="T34" fmla="*/ 48 w 442"/>
                  <a:gd name="T35" fmla="*/ 148 h 335"/>
                  <a:gd name="T36" fmla="*/ 48 w 442"/>
                  <a:gd name="T37" fmla="*/ 149 h 335"/>
                  <a:gd name="T38" fmla="*/ 48 w 442"/>
                  <a:gd name="T39" fmla="*/ 149 h 335"/>
                  <a:gd name="T40" fmla="*/ 50 w 442"/>
                  <a:gd name="T41" fmla="*/ 148 h 335"/>
                  <a:gd name="T42" fmla="*/ 51 w 442"/>
                  <a:gd name="T43" fmla="*/ 162 h 335"/>
                  <a:gd name="T44" fmla="*/ 64 w 442"/>
                  <a:gd name="T45" fmla="*/ 189 h 335"/>
                  <a:gd name="T46" fmla="*/ 140 w 442"/>
                  <a:gd name="T47" fmla="*/ 212 h 335"/>
                  <a:gd name="T48" fmla="*/ 202 w 442"/>
                  <a:gd name="T49" fmla="*/ 166 h 335"/>
                  <a:gd name="T50" fmla="*/ 218 w 442"/>
                  <a:gd name="T51" fmla="*/ 100 h 335"/>
                  <a:gd name="T52" fmla="*/ 216 w 442"/>
                  <a:gd name="T53" fmla="*/ 100 h 335"/>
                  <a:gd name="T54" fmla="*/ 221 w 442"/>
                  <a:gd name="T55" fmla="*/ 92 h 335"/>
                  <a:gd name="T56" fmla="*/ 193 w 442"/>
                  <a:gd name="T57" fmla="*/ 50 h 335"/>
                  <a:gd name="T58" fmla="*/ 187 w 442"/>
                  <a:gd name="T59" fmla="*/ 50 h 335"/>
                  <a:gd name="T60" fmla="*/ 185 w 442"/>
                  <a:gd name="T61" fmla="*/ 52 h 335"/>
                  <a:gd name="T62" fmla="*/ 182 w 442"/>
                  <a:gd name="T63" fmla="*/ 50 h 335"/>
                  <a:gd name="T64" fmla="*/ 169 w 442"/>
                  <a:gd name="T65" fmla="*/ 44 h 335"/>
                  <a:gd name="T66" fmla="*/ 158 w 442"/>
                  <a:gd name="T67" fmla="*/ 41 h 335"/>
                  <a:gd name="T68" fmla="*/ 158 w 442"/>
                  <a:gd name="T69" fmla="*/ 39 h 335"/>
                  <a:gd name="T70" fmla="*/ 137 w 442"/>
                  <a:gd name="T71" fmla="*/ 37 h 335"/>
                  <a:gd name="T72" fmla="*/ 79 w 442"/>
                  <a:gd name="T73" fmla="*/ 56 h 335"/>
                  <a:gd name="T74" fmla="*/ 82 w 442"/>
                  <a:gd name="T75" fmla="*/ 62 h 335"/>
                  <a:gd name="T76" fmla="*/ 80 w 442"/>
                  <a:gd name="T77" fmla="*/ 63 h 335"/>
                  <a:gd name="T78" fmla="*/ 63 w 442"/>
                  <a:gd name="T79" fmla="*/ 88 h 335"/>
                  <a:gd name="T80" fmla="*/ 64 w 442"/>
                  <a:gd name="T81" fmla="*/ 92 h 335"/>
                  <a:gd name="T82" fmla="*/ 64 w 442"/>
                  <a:gd name="T83" fmla="*/ 94 h 335"/>
                  <a:gd name="T84" fmla="*/ 387 w 442"/>
                  <a:gd name="T85" fmla="*/ 241 h 335"/>
                  <a:gd name="T86" fmla="*/ 394 w 442"/>
                  <a:gd name="T87" fmla="*/ 198 h 335"/>
                  <a:gd name="T88" fmla="*/ 362 w 442"/>
                  <a:gd name="T89" fmla="*/ 157 h 335"/>
                  <a:gd name="T90" fmla="*/ 307 w 442"/>
                  <a:gd name="T91" fmla="*/ 127 h 335"/>
                  <a:gd name="T92" fmla="*/ 298 w 442"/>
                  <a:gd name="T93" fmla="*/ 127 h 335"/>
                  <a:gd name="T94" fmla="*/ 268 w 442"/>
                  <a:gd name="T95" fmla="*/ 140 h 335"/>
                  <a:gd name="T96" fmla="*/ 238 w 442"/>
                  <a:gd name="T97" fmla="*/ 193 h 335"/>
                  <a:gd name="T98" fmla="*/ 245 w 442"/>
                  <a:gd name="T99" fmla="*/ 235 h 335"/>
                  <a:gd name="T100" fmla="*/ 250 w 442"/>
                  <a:gd name="T101" fmla="*/ 240 h 335"/>
                  <a:gd name="T102" fmla="*/ 249 w 442"/>
                  <a:gd name="T103" fmla="*/ 241 h 335"/>
                  <a:gd name="T104" fmla="*/ 279 w 442"/>
                  <a:gd name="T105" fmla="*/ 286 h 335"/>
                  <a:gd name="T106" fmla="*/ 352 w 442"/>
                  <a:gd name="T107" fmla="*/ 281 h 335"/>
                  <a:gd name="T108" fmla="*/ 387 w 442"/>
                  <a:gd name="T109" fmla="*/ 241 h 3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442" h="335">
                    <a:moveTo>
                      <a:pt x="17" y="102"/>
                    </a:moveTo>
                    <a:cubicBezTo>
                      <a:pt x="33" y="69"/>
                      <a:pt x="60" y="42"/>
                      <a:pt x="92" y="21"/>
                    </a:cubicBezTo>
                    <a:cubicBezTo>
                      <a:pt x="114" y="10"/>
                      <a:pt x="139" y="2"/>
                      <a:pt x="165" y="0"/>
                    </a:cubicBezTo>
                    <a:cubicBezTo>
                      <a:pt x="165" y="7"/>
                      <a:pt x="165" y="7"/>
                      <a:pt x="165" y="7"/>
                    </a:cubicBezTo>
                    <a:cubicBezTo>
                      <a:pt x="208" y="12"/>
                      <a:pt x="248" y="24"/>
                      <a:pt x="285" y="46"/>
                    </a:cubicBezTo>
                    <a:cubicBezTo>
                      <a:pt x="327" y="72"/>
                      <a:pt x="369" y="104"/>
                      <a:pt x="399" y="144"/>
                    </a:cubicBezTo>
                    <a:cubicBezTo>
                      <a:pt x="424" y="176"/>
                      <a:pt x="442" y="218"/>
                      <a:pt x="433" y="259"/>
                    </a:cubicBezTo>
                    <a:cubicBezTo>
                      <a:pt x="423" y="298"/>
                      <a:pt x="387" y="322"/>
                      <a:pt x="346" y="329"/>
                    </a:cubicBezTo>
                    <a:cubicBezTo>
                      <a:pt x="308" y="335"/>
                      <a:pt x="270" y="327"/>
                      <a:pt x="230" y="317"/>
                    </a:cubicBezTo>
                    <a:cubicBezTo>
                      <a:pt x="190" y="310"/>
                      <a:pt x="148" y="300"/>
                      <a:pt x="108" y="284"/>
                    </a:cubicBezTo>
                    <a:cubicBezTo>
                      <a:pt x="70" y="269"/>
                      <a:pt x="34" y="242"/>
                      <a:pt x="14" y="204"/>
                    </a:cubicBezTo>
                    <a:cubicBezTo>
                      <a:pt x="0" y="171"/>
                      <a:pt x="1" y="133"/>
                      <a:pt x="17" y="102"/>
                    </a:cubicBezTo>
                    <a:close/>
                    <a:moveTo>
                      <a:pt x="64" y="94"/>
                    </a:moveTo>
                    <a:cubicBezTo>
                      <a:pt x="61" y="95"/>
                      <a:pt x="58" y="96"/>
                      <a:pt x="55" y="96"/>
                    </a:cubicBezTo>
                    <a:cubicBezTo>
                      <a:pt x="53" y="97"/>
                      <a:pt x="46" y="98"/>
                      <a:pt x="44" y="99"/>
                    </a:cubicBezTo>
                    <a:cubicBezTo>
                      <a:pt x="40" y="102"/>
                      <a:pt x="44" y="108"/>
                      <a:pt x="43" y="113"/>
                    </a:cubicBezTo>
                    <a:cubicBezTo>
                      <a:pt x="44" y="119"/>
                      <a:pt x="46" y="126"/>
                      <a:pt x="45" y="133"/>
                    </a:cubicBezTo>
                    <a:cubicBezTo>
                      <a:pt x="46" y="137"/>
                      <a:pt x="45" y="142"/>
                      <a:pt x="48" y="148"/>
                    </a:cubicBezTo>
                    <a:cubicBezTo>
                      <a:pt x="48" y="149"/>
                      <a:pt x="48" y="149"/>
                      <a:pt x="48" y="149"/>
                    </a:cubicBezTo>
                    <a:cubicBezTo>
                      <a:pt x="48" y="149"/>
                      <a:pt x="48" y="149"/>
                      <a:pt x="48" y="149"/>
                    </a:cubicBezTo>
                    <a:cubicBezTo>
                      <a:pt x="49" y="148"/>
                      <a:pt x="49" y="148"/>
                      <a:pt x="50" y="148"/>
                    </a:cubicBezTo>
                    <a:cubicBezTo>
                      <a:pt x="50" y="153"/>
                      <a:pt x="50" y="157"/>
                      <a:pt x="51" y="162"/>
                    </a:cubicBezTo>
                    <a:cubicBezTo>
                      <a:pt x="51" y="173"/>
                      <a:pt x="58" y="181"/>
                      <a:pt x="64" y="189"/>
                    </a:cubicBezTo>
                    <a:cubicBezTo>
                      <a:pt x="85" y="210"/>
                      <a:pt x="114" y="215"/>
                      <a:pt x="140" y="212"/>
                    </a:cubicBezTo>
                    <a:cubicBezTo>
                      <a:pt x="167" y="206"/>
                      <a:pt x="189" y="190"/>
                      <a:pt x="202" y="166"/>
                    </a:cubicBezTo>
                    <a:cubicBezTo>
                      <a:pt x="216" y="144"/>
                      <a:pt x="219" y="125"/>
                      <a:pt x="218" y="100"/>
                    </a:cubicBezTo>
                    <a:cubicBezTo>
                      <a:pt x="216" y="100"/>
                      <a:pt x="216" y="100"/>
                      <a:pt x="216" y="100"/>
                    </a:cubicBezTo>
                    <a:cubicBezTo>
                      <a:pt x="217" y="96"/>
                      <a:pt x="219" y="93"/>
                      <a:pt x="221" y="92"/>
                    </a:cubicBezTo>
                    <a:cubicBezTo>
                      <a:pt x="215" y="78"/>
                      <a:pt x="207" y="59"/>
                      <a:pt x="193" y="50"/>
                    </a:cubicBezTo>
                    <a:cubicBezTo>
                      <a:pt x="187" y="50"/>
                      <a:pt x="187" y="50"/>
                      <a:pt x="187" y="50"/>
                    </a:cubicBezTo>
                    <a:cubicBezTo>
                      <a:pt x="187" y="50"/>
                      <a:pt x="186" y="51"/>
                      <a:pt x="185" y="52"/>
                    </a:cubicBezTo>
                    <a:cubicBezTo>
                      <a:pt x="182" y="50"/>
                      <a:pt x="182" y="50"/>
                      <a:pt x="182" y="50"/>
                    </a:cubicBezTo>
                    <a:cubicBezTo>
                      <a:pt x="177" y="49"/>
                      <a:pt x="171" y="45"/>
                      <a:pt x="169" y="44"/>
                    </a:cubicBezTo>
                    <a:cubicBezTo>
                      <a:pt x="166" y="43"/>
                      <a:pt x="162" y="42"/>
                      <a:pt x="158" y="41"/>
                    </a:cubicBezTo>
                    <a:cubicBezTo>
                      <a:pt x="158" y="39"/>
                      <a:pt x="158" y="39"/>
                      <a:pt x="158" y="39"/>
                    </a:cubicBezTo>
                    <a:cubicBezTo>
                      <a:pt x="151" y="36"/>
                      <a:pt x="146" y="35"/>
                      <a:pt x="137" y="37"/>
                    </a:cubicBezTo>
                    <a:cubicBezTo>
                      <a:pt x="117" y="41"/>
                      <a:pt x="97" y="45"/>
                      <a:pt x="79" y="56"/>
                    </a:cubicBezTo>
                    <a:cubicBezTo>
                      <a:pt x="79" y="58"/>
                      <a:pt x="80" y="61"/>
                      <a:pt x="82" y="62"/>
                    </a:cubicBezTo>
                    <a:cubicBezTo>
                      <a:pt x="80" y="63"/>
                      <a:pt x="80" y="63"/>
                      <a:pt x="80" y="63"/>
                    </a:cubicBezTo>
                    <a:cubicBezTo>
                      <a:pt x="75" y="69"/>
                      <a:pt x="66" y="80"/>
                      <a:pt x="63" y="88"/>
                    </a:cubicBezTo>
                    <a:cubicBezTo>
                      <a:pt x="63" y="88"/>
                      <a:pt x="63" y="90"/>
                      <a:pt x="64" y="92"/>
                    </a:cubicBezTo>
                    <a:lnTo>
                      <a:pt x="64" y="94"/>
                    </a:lnTo>
                    <a:close/>
                    <a:moveTo>
                      <a:pt x="387" y="241"/>
                    </a:moveTo>
                    <a:cubicBezTo>
                      <a:pt x="396" y="228"/>
                      <a:pt x="398" y="214"/>
                      <a:pt x="394" y="198"/>
                    </a:cubicBezTo>
                    <a:cubicBezTo>
                      <a:pt x="391" y="183"/>
                      <a:pt x="382" y="154"/>
                      <a:pt x="362" y="157"/>
                    </a:cubicBezTo>
                    <a:cubicBezTo>
                      <a:pt x="351" y="136"/>
                      <a:pt x="329" y="131"/>
                      <a:pt x="307" y="127"/>
                    </a:cubicBezTo>
                    <a:cubicBezTo>
                      <a:pt x="298" y="127"/>
                      <a:pt x="298" y="127"/>
                      <a:pt x="298" y="127"/>
                    </a:cubicBezTo>
                    <a:cubicBezTo>
                      <a:pt x="287" y="131"/>
                      <a:pt x="278" y="133"/>
                      <a:pt x="268" y="140"/>
                    </a:cubicBezTo>
                    <a:cubicBezTo>
                      <a:pt x="252" y="150"/>
                      <a:pt x="241" y="174"/>
                      <a:pt x="238" y="193"/>
                    </a:cubicBezTo>
                    <a:cubicBezTo>
                      <a:pt x="234" y="207"/>
                      <a:pt x="236" y="223"/>
                      <a:pt x="245" y="235"/>
                    </a:cubicBezTo>
                    <a:cubicBezTo>
                      <a:pt x="247" y="237"/>
                      <a:pt x="248" y="239"/>
                      <a:pt x="250" y="240"/>
                    </a:cubicBezTo>
                    <a:cubicBezTo>
                      <a:pt x="249" y="241"/>
                      <a:pt x="249" y="241"/>
                      <a:pt x="249" y="241"/>
                    </a:cubicBezTo>
                    <a:cubicBezTo>
                      <a:pt x="253" y="259"/>
                      <a:pt x="266" y="277"/>
                      <a:pt x="279" y="286"/>
                    </a:cubicBezTo>
                    <a:cubicBezTo>
                      <a:pt x="301" y="299"/>
                      <a:pt x="332" y="295"/>
                      <a:pt x="352" y="281"/>
                    </a:cubicBezTo>
                    <a:cubicBezTo>
                      <a:pt x="369" y="273"/>
                      <a:pt x="379" y="257"/>
                      <a:pt x="387" y="241"/>
                    </a:cubicBezTo>
                    <a:close/>
                  </a:path>
                </a:pathLst>
              </a:custGeom>
              <a:solidFill>
                <a:srgbClr val="F6B84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228" name="Freeform 140">
                <a:extLst>
                  <a:ext uri="{FF2B5EF4-FFF2-40B4-BE49-F238E27FC236}">
                    <a16:creationId xmlns:a16="http://schemas.microsoft.com/office/drawing/2014/main" id="{4D3E5256-1CBC-44CD-92B0-62446249A801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5799" y="1053"/>
                <a:ext cx="447" cy="420"/>
              </a:xfrm>
              <a:custGeom>
                <a:avLst/>
                <a:gdLst>
                  <a:gd name="T0" fmla="*/ 217 w 422"/>
                  <a:gd name="T1" fmla="*/ 9 h 397"/>
                  <a:gd name="T2" fmla="*/ 307 w 422"/>
                  <a:gd name="T3" fmla="*/ 17 h 397"/>
                  <a:gd name="T4" fmla="*/ 309 w 422"/>
                  <a:gd name="T5" fmla="*/ 13 h 397"/>
                  <a:gd name="T6" fmla="*/ 374 w 422"/>
                  <a:gd name="T7" fmla="*/ 51 h 397"/>
                  <a:gd name="T8" fmla="*/ 411 w 422"/>
                  <a:gd name="T9" fmla="*/ 94 h 397"/>
                  <a:gd name="T10" fmla="*/ 406 w 422"/>
                  <a:gd name="T11" fmla="*/ 187 h 397"/>
                  <a:gd name="T12" fmla="*/ 327 w 422"/>
                  <a:gd name="T13" fmla="*/ 281 h 397"/>
                  <a:gd name="T14" fmla="*/ 176 w 422"/>
                  <a:gd name="T15" fmla="*/ 374 h 397"/>
                  <a:gd name="T16" fmla="*/ 81 w 422"/>
                  <a:gd name="T17" fmla="*/ 392 h 397"/>
                  <a:gd name="T18" fmla="*/ 7 w 422"/>
                  <a:gd name="T19" fmla="*/ 318 h 397"/>
                  <a:gd name="T20" fmla="*/ 37 w 422"/>
                  <a:gd name="T21" fmla="*/ 203 h 397"/>
                  <a:gd name="T22" fmla="*/ 92 w 422"/>
                  <a:gd name="T23" fmla="*/ 103 h 397"/>
                  <a:gd name="T24" fmla="*/ 217 w 422"/>
                  <a:gd name="T25" fmla="*/ 9 h 397"/>
                  <a:gd name="T26" fmla="*/ 174 w 422"/>
                  <a:gd name="T27" fmla="*/ 111 h 397"/>
                  <a:gd name="T28" fmla="*/ 153 w 422"/>
                  <a:gd name="T29" fmla="*/ 129 h 397"/>
                  <a:gd name="T30" fmla="*/ 173 w 422"/>
                  <a:gd name="T31" fmla="*/ 169 h 397"/>
                  <a:gd name="T32" fmla="*/ 199 w 422"/>
                  <a:gd name="T33" fmla="*/ 170 h 397"/>
                  <a:gd name="T34" fmla="*/ 242 w 422"/>
                  <a:gd name="T35" fmla="*/ 200 h 397"/>
                  <a:gd name="T36" fmla="*/ 260 w 422"/>
                  <a:gd name="T37" fmla="*/ 199 h 397"/>
                  <a:gd name="T38" fmla="*/ 300 w 422"/>
                  <a:gd name="T39" fmla="*/ 231 h 397"/>
                  <a:gd name="T40" fmla="*/ 331 w 422"/>
                  <a:gd name="T41" fmla="*/ 201 h 397"/>
                  <a:gd name="T42" fmla="*/ 331 w 422"/>
                  <a:gd name="T43" fmla="*/ 185 h 397"/>
                  <a:gd name="T44" fmla="*/ 352 w 422"/>
                  <a:gd name="T45" fmla="*/ 185 h 397"/>
                  <a:gd name="T46" fmla="*/ 371 w 422"/>
                  <a:gd name="T47" fmla="*/ 144 h 397"/>
                  <a:gd name="T48" fmla="*/ 371 w 422"/>
                  <a:gd name="T49" fmla="*/ 142 h 397"/>
                  <a:gd name="T50" fmla="*/ 394 w 422"/>
                  <a:gd name="T51" fmla="*/ 109 h 397"/>
                  <a:gd name="T52" fmla="*/ 376 w 422"/>
                  <a:gd name="T53" fmla="*/ 78 h 397"/>
                  <a:gd name="T54" fmla="*/ 347 w 422"/>
                  <a:gd name="T55" fmla="*/ 80 h 397"/>
                  <a:gd name="T56" fmla="*/ 345 w 422"/>
                  <a:gd name="T57" fmla="*/ 78 h 397"/>
                  <a:gd name="T58" fmla="*/ 343 w 422"/>
                  <a:gd name="T59" fmla="*/ 79 h 397"/>
                  <a:gd name="T60" fmla="*/ 338 w 422"/>
                  <a:gd name="T61" fmla="*/ 66 h 397"/>
                  <a:gd name="T62" fmla="*/ 306 w 422"/>
                  <a:gd name="T63" fmla="*/ 47 h 397"/>
                  <a:gd name="T64" fmla="*/ 288 w 422"/>
                  <a:gd name="T65" fmla="*/ 47 h 397"/>
                  <a:gd name="T66" fmla="*/ 286 w 422"/>
                  <a:gd name="T67" fmla="*/ 48 h 397"/>
                  <a:gd name="T68" fmla="*/ 251 w 422"/>
                  <a:gd name="T69" fmla="*/ 29 h 397"/>
                  <a:gd name="T70" fmla="*/ 251 w 422"/>
                  <a:gd name="T71" fmla="*/ 27 h 397"/>
                  <a:gd name="T72" fmla="*/ 237 w 422"/>
                  <a:gd name="T73" fmla="*/ 28 h 397"/>
                  <a:gd name="T74" fmla="*/ 218 w 422"/>
                  <a:gd name="T75" fmla="*/ 46 h 397"/>
                  <a:gd name="T76" fmla="*/ 216 w 422"/>
                  <a:gd name="T77" fmla="*/ 71 h 397"/>
                  <a:gd name="T78" fmla="*/ 208 w 422"/>
                  <a:gd name="T79" fmla="*/ 73 h 397"/>
                  <a:gd name="T80" fmla="*/ 184 w 422"/>
                  <a:gd name="T81" fmla="*/ 99 h 397"/>
                  <a:gd name="T82" fmla="*/ 183 w 422"/>
                  <a:gd name="T83" fmla="*/ 106 h 397"/>
                  <a:gd name="T84" fmla="*/ 174 w 422"/>
                  <a:gd name="T85" fmla="*/ 111 h 397"/>
                  <a:gd name="T86" fmla="*/ 124 w 422"/>
                  <a:gd name="T87" fmla="*/ 198 h 397"/>
                  <a:gd name="T88" fmla="*/ 96 w 422"/>
                  <a:gd name="T89" fmla="*/ 206 h 397"/>
                  <a:gd name="T90" fmla="*/ 61 w 422"/>
                  <a:gd name="T91" fmla="*/ 239 h 397"/>
                  <a:gd name="T92" fmla="*/ 57 w 422"/>
                  <a:gd name="T93" fmla="*/ 259 h 397"/>
                  <a:gd name="T94" fmla="*/ 56 w 422"/>
                  <a:gd name="T95" fmla="*/ 259 h 397"/>
                  <a:gd name="T96" fmla="*/ 50 w 422"/>
                  <a:gd name="T97" fmla="*/ 272 h 397"/>
                  <a:gd name="T98" fmla="*/ 49 w 422"/>
                  <a:gd name="T99" fmla="*/ 311 h 397"/>
                  <a:gd name="T100" fmla="*/ 113 w 422"/>
                  <a:gd name="T101" fmla="*/ 360 h 397"/>
                  <a:gd name="T102" fmla="*/ 177 w 422"/>
                  <a:gd name="T103" fmla="*/ 344 h 397"/>
                  <a:gd name="T104" fmla="*/ 200 w 422"/>
                  <a:gd name="T105" fmla="*/ 280 h 397"/>
                  <a:gd name="T106" fmla="*/ 197 w 422"/>
                  <a:gd name="T107" fmla="*/ 235 h 397"/>
                  <a:gd name="T108" fmla="*/ 157 w 422"/>
                  <a:gd name="T109" fmla="*/ 202 h 397"/>
                  <a:gd name="T110" fmla="*/ 124 w 422"/>
                  <a:gd name="T111" fmla="*/ 196 h 397"/>
                  <a:gd name="T112" fmla="*/ 124 w 422"/>
                  <a:gd name="T113" fmla="*/ 198 h 3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422" h="397">
                    <a:moveTo>
                      <a:pt x="217" y="9"/>
                    </a:moveTo>
                    <a:cubicBezTo>
                      <a:pt x="247" y="0"/>
                      <a:pt x="276" y="3"/>
                      <a:pt x="307" y="17"/>
                    </a:cubicBezTo>
                    <a:cubicBezTo>
                      <a:pt x="309" y="13"/>
                      <a:pt x="309" y="13"/>
                      <a:pt x="309" y="13"/>
                    </a:cubicBezTo>
                    <a:cubicBezTo>
                      <a:pt x="331" y="25"/>
                      <a:pt x="353" y="36"/>
                      <a:pt x="374" y="51"/>
                    </a:cubicBezTo>
                    <a:cubicBezTo>
                      <a:pt x="391" y="64"/>
                      <a:pt x="405" y="77"/>
                      <a:pt x="411" y="94"/>
                    </a:cubicBezTo>
                    <a:cubicBezTo>
                      <a:pt x="422" y="124"/>
                      <a:pt x="416" y="160"/>
                      <a:pt x="406" y="187"/>
                    </a:cubicBezTo>
                    <a:cubicBezTo>
                      <a:pt x="394" y="227"/>
                      <a:pt x="359" y="256"/>
                      <a:pt x="327" y="281"/>
                    </a:cubicBezTo>
                    <a:cubicBezTo>
                      <a:pt x="279" y="317"/>
                      <a:pt x="228" y="349"/>
                      <a:pt x="176" y="374"/>
                    </a:cubicBezTo>
                    <a:cubicBezTo>
                      <a:pt x="147" y="387"/>
                      <a:pt x="114" y="397"/>
                      <a:pt x="81" y="392"/>
                    </a:cubicBezTo>
                    <a:cubicBezTo>
                      <a:pt x="42" y="384"/>
                      <a:pt x="13" y="358"/>
                      <a:pt x="7" y="318"/>
                    </a:cubicBezTo>
                    <a:cubicBezTo>
                      <a:pt x="0" y="278"/>
                      <a:pt x="17" y="237"/>
                      <a:pt x="37" y="203"/>
                    </a:cubicBezTo>
                    <a:cubicBezTo>
                      <a:pt x="55" y="169"/>
                      <a:pt x="71" y="133"/>
                      <a:pt x="92" y="103"/>
                    </a:cubicBezTo>
                    <a:cubicBezTo>
                      <a:pt x="124" y="61"/>
                      <a:pt x="167" y="24"/>
                      <a:pt x="217" y="9"/>
                    </a:cubicBezTo>
                    <a:close/>
                    <a:moveTo>
                      <a:pt x="174" y="111"/>
                    </a:moveTo>
                    <a:cubicBezTo>
                      <a:pt x="167" y="117"/>
                      <a:pt x="158" y="121"/>
                      <a:pt x="153" y="129"/>
                    </a:cubicBezTo>
                    <a:cubicBezTo>
                      <a:pt x="147" y="142"/>
                      <a:pt x="161" y="164"/>
                      <a:pt x="173" y="169"/>
                    </a:cubicBezTo>
                    <a:cubicBezTo>
                      <a:pt x="181" y="173"/>
                      <a:pt x="191" y="173"/>
                      <a:pt x="199" y="170"/>
                    </a:cubicBezTo>
                    <a:cubicBezTo>
                      <a:pt x="204" y="187"/>
                      <a:pt x="227" y="199"/>
                      <a:pt x="242" y="200"/>
                    </a:cubicBezTo>
                    <a:cubicBezTo>
                      <a:pt x="260" y="199"/>
                      <a:pt x="260" y="199"/>
                      <a:pt x="260" y="199"/>
                    </a:cubicBezTo>
                    <a:cubicBezTo>
                      <a:pt x="260" y="221"/>
                      <a:pt x="279" y="234"/>
                      <a:pt x="300" y="231"/>
                    </a:cubicBezTo>
                    <a:cubicBezTo>
                      <a:pt x="313" y="228"/>
                      <a:pt x="326" y="214"/>
                      <a:pt x="331" y="201"/>
                    </a:cubicBezTo>
                    <a:cubicBezTo>
                      <a:pt x="333" y="195"/>
                      <a:pt x="333" y="190"/>
                      <a:pt x="331" y="185"/>
                    </a:cubicBezTo>
                    <a:cubicBezTo>
                      <a:pt x="352" y="185"/>
                      <a:pt x="352" y="185"/>
                      <a:pt x="352" y="185"/>
                    </a:cubicBezTo>
                    <a:cubicBezTo>
                      <a:pt x="362" y="174"/>
                      <a:pt x="375" y="160"/>
                      <a:pt x="371" y="144"/>
                    </a:cubicBezTo>
                    <a:cubicBezTo>
                      <a:pt x="371" y="142"/>
                      <a:pt x="371" y="142"/>
                      <a:pt x="371" y="142"/>
                    </a:cubicBezTo>
                    <a:cubicBezTo>
                      <a:pt x="386" y="138"/>
                      <a:pt x="396" y="128"/>
                      <a:pt x="394" y="109"/>
                    </a:cubicBezTo>
                    <a:cubicBezTo>
                      <a:pt x="393" y="95"/>
                      <a:pt x="386" y="85"/>
                      <a:pt x="376" y="78"/>
                    </a:cubicBezTo>
                    <a:cubicBezTo>
                      <a:pt x="365" y="75"/>
                      <a:pt x="356" y="76"/>
                      <a:pt x="347" y="80"/>
                    </a:cubicBezTo>
                    <a:cubicBezTo>
                      <a:pt x="345" y="78"/>
                      <a:pt x="345" y="78"/>
                      <a:pt x="345" y="78"/>
                    </a:cubicBezTo>
                    <a:cubicBezTo>
                      <a:pt x="345" y="78"/>
                      <a:pt x="344" y="79"/>
                      <a:pt x="343" y="79"/>
                    </a:cubicBezTo>
                    <a:cubicBezTo>
                      <a:pt x="338" y="66"/>
                      <a:pt x="338" y="66"/>
                      <a:pt x="338" y="66"/>
                    </a:cubicBezTo>
                    <a:cubicBezTo>
                      <a:pt x="329" y="56"/>
                      <a:pt x="318" y="49"/>
                      <a:pt x="306" y="47"/>
                    </a:cubicBezTo>
                    <a:cubicBezTo>
                      <a:pt x="299" y="46"/>
                      <a:pt x="293" y="48"/>
                      <a:pt x="288" y="47"/>
                    </a:cubicBezTo>
                    <a:cubicBezTo>
                      <a:pt x="286" y="48"/>
                      <a:pt x="286" y="48"/>
                      <a:pt x="286" y="48"/>
                    </a:cubicBezTo>
                    <a:cubicBezTo>
                      <a:pt x="278" y="36"/>
                      <a:pt x="265" y="27"/>
                      <a:pt x="251" y="29"/>
                    </a:cubicBezTo>
                    <a:cubicBezTo>
                      <a:pt x="251" y="27"/>
                      <a:pt x="251" y="27"/>
                      <a:pt x="251" y="27"/>
                    </a:cubicBezTo>
                    <a:cubicBezTo>
                      <a:pt x="247" y="28"/>
                      <a:pt x="242" y="27"/>
                      <a:pt x="237" y="28"/>
                    </a:cubicBezTo>
                    <a:cubicBezTo>
                      <a:pt x="228" y="29"/>
                      <a:pt x="223" y="38"/>
                      <a:pt x="218" y="46"/>
                    </a:cubicBezTo>
                    <a:cubicBezTo>
                      <a:pt x="214" y="53"/>
                      <a:pt x="214" y="62"/>
                      <a:pt x="216" y="71"/>
                    </a:cubicBezTo>
                    <a:cubicBezTo>
                      <a:pt x="208" y="73"/>
                      <a:pt x="208" y="73"/>
                      <a:pt x="208" y="73"/>
                    </a:cubicBezTo>
                    <a:cubicBezTo>
                      <a:pt x="196" y="80"/>
                      <a:pt x="190" y="89"/>
                      <a:pt x="184" y="99"/>
                    </a:cubicBezTo>
                    <a:cubicBezTo>
                      <a:pt x="184" y="102"/>
                      <a:pt x="182" y="104"/>
                      <a:pt x="183" y="106"/>
                    </a:cubicBezTo>
                    <a:lnTo>
                      <a:pt x="174" y="111"/>
                    </a:lnTo>
                    <a:close/>
                    <a:moveTo>
                      <a:pt x="124" y="198"/>
                    </a:moveTo>
                    <a:cubicBezTo>
                      <a:pt x="116" y="202"/>
                      <a:pt x="104" y="202"/>
                      <a:pt x="96" y="206"/>
                    </a:cubicBezTo>
                    <a:cubicBezTo>
                      <a:pt x="81" y="212"/>
                      <a:pt x="67" y="224"/>
                      <a:pt x="61" y="239"/>
                    </a:cubicBezTo>
                    <a:cubicBezTo>
                      <a:pt x="59" y="245"/>
                      <a:pt x="58" y="252"/>
                      <a:pt x="57" y="259"/>
                    </a:cubicBezTo>
                    <a:cubicBezTo>
                      <a:pt x="56" y="259"/>
                      <a:pt x="56" y="259"/>
                      <a:pt x="56" y="259"/>
                    </a:cubicBezTo>
                    <a:cubicBezTo>
                      <a:pt x="55" y="264"/>
                      <a:pt x="51" y="267"/>
                      <a:pt x="50" y="272"/>
                    </a:cubicBezTo>
                    <a:cubicBezTo>
                      <a:pt x="46" y="284"/>
                      <a:pt x="46" y="298"/>
                      <a:pt x="49" y="311"/>
                    </a:cubicBezTo>
                    <a:cubicBezTo>
                      <a:pt x="55" y="340"/>
                      <a:pt x="85" y="359"/>
                      <a:pt x="113" y="360"/>
                    </a:cubicBezTo>
                    <a:cubicBezTo>
                      <a:pt x="136" y="359"/>
                      <a:pt x="159" y="357"/>
                      <a:pt x="177" y="344"/>
                    </a:cubicBezTo>
                    <a:cubicBezTo>
                      <a:pt x="193" y="329"/>
                      <a:pt x="207" y="302"/>
                      <a:pt x="200" y="280"/>
                    </a:cubicBezTo>
                    <a:cubicBezTo>
                      <a:pt x="204" y="265"/>
                      <a:pt x="203" y="249"/>
                      <a:pt x="197" y="235"/>
                    </a:cubicBezTo>
                    <a:cubicBezTo>
                      <a:pt x="191" y="220"/>
                      <a:pt x="172" y="208"/>
                      <a:pt x="157" y="202"/>
                    </a:cubicBezTo>
                    <a:cubicBezTo>
                      <a:pt x="146" y="197"/>
                      <a:pt x="135" y="195"/>
                      <a:pt x="124" y="196"/>
                    </a:cubicBezTo>
                    <a:lnTo>
                      <a:pt x="124" y="198"/>
                    </a:lnTo>
                    <a:close/>
                  </a:path>
                </a:pathLst>
              </a:custGeom>
              <a:solidFill>
                <a:srgbClr val="F6B84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229" name="Freeform 141">
                <a:extLst>
                  <a:ext uri="{FF2B5EF4-FFF2-40B4-BE49-F238E27FC236}">
                    <a16:creationId xmlns:a16="http://schemas.microsoft.com/office/drawing/2014/main" id="{72950497-5CF5-43C4-AEF0-779946714BA6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092" y="1463"/>
                <a:ext cx="186" cy="320"/>
              </a:xfrm>
              <a:custGeom>
                <a:avLst/>
                <a:gdLst>
                  <a:gd name="T0" fmla="*/ 30 w 176"/>
                  <a:gd name="T1" fmla="*/ 53 h 302"/>
                  <a:gd name="T2" fmla="*/ 1 w 176"/>
                  <a:gd name="T3" fmla="*/ 16 h 302"/>
                  <a:gd name="T4" fmla="*/ 0 w 176"/>
                  <a:gd name="T5" fmla="*/ 13 h 302"/>
                  <a:gd name="T6" fmla="*/ 22 w 176"/>
                  <a:gd name="T7" fmla="*/ 0 h 302"/>
                  <a:gd name="T8" fmla="*/ 146 w 176"/>
                  <a:gd name="T9" fmla="*/ 234 h 302"/>
                  <a:gd name="T10" fmla="*/ 176 w 176"/>
                  <a:gd name="T11" fmla="*/ 301 h 302"/>
                  <a:gd name="T12" fmla="*/ 172 w 176"/>
                  <a:gd name="T13" fmla="*/ 302 h 302"/>
                  <a:gd name="T14" fmla="*/ 145 w 176"/>
                  <a:gd name="T15" fmla="*/ 250 h 302"/>
                  <a:gd name="T16" fmla="*/ 125 w 176"/>
                  <a:gd name="T17" fmla="*/ 211 h 302"/>
                  <a:gd name="T18" fmla="*/ 85 w 176"/>
                  <a:gd name="T19" fmla="*/ 148 h 302"/>
                  <a:gd name="T20" fmla="*/ 38 w 176"/>
                  <a:gd name="T21" fmla="*/ 70 h 302"/>
                  <a:gd name="T22" fmla="*/ 30 w 176"/>
                  <a:gd name="T23" fmla="*/ 53 h 3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76" h="302">
                    <a:moveTo>
                      <a:pt x="30" y="53"/>
                    </a:moveTo>
                    <a:cubicBezTo>
                      <a:pt x="23" y="40"/>
                      <a:pt x="13" y="26"/>
                      <a:pt x="1" y="16"/>
                    </a:cubicBezTo>
                    <a:cubicBezTo>
                      <a:pt x="0" y="13"/>
                      <a:pt x="0" y="13"/>
                      <a:pt x="0" y="13"/>
                    </a:cubicBezTo>
                    <a:cubicBezTo>
                      <a:pt x="7" y="9"/>
                      <a:pt x="15" y="4"/>
                      <a:pt x="22" y="0"/>
                    </a:cubicBezTo>
                    <a:cubicBezTo>
                      <a:pt x="63" y="80"/>
                      <a:pt x="110" y="153"/>
                      <a:pt x="146" y="234"/>
                    </a:cubicBezTo>
                    <a:cubicBezTo>
                      <a:pt x="156" y="256"/>
                      <a:pt x="165" y="279"/>
                      <a:pt x="176" y="301"/>
                    </a:cubicBezTo>
                    <a:cubicBezTo>
                      <a:pt x="172" y="302"/>
                      <a:pt x="172" y="302"/>
                      <a:pt x="172" y="302"/>
                    </a:cubicBezTo>
                    <a:cubicBezTo>
                      <a:pt x="160" y="286"/>
                      <a:pt x="153" y="267"/>
                      <a:pt x="145" y="250"/>
                    </a:cubicBezTo>
                    <a:cubicBezTo>
                      <a:pt x="137" y="238"/>
                      <a:pt x="132" y="223"/>
                      <a:pt x="125" y="211"/>
                    </a:cubicBezTo>
                    <a:cubicBezTo>
                      <a:pt x="113" y="188"/>
                      <a:pt x="99" y="168"/>
                      <a:pt x="85" y="148"/>
                    </a:cubicBezTo>
                    <a:cubicBezTo>
                      <a:pt x="70" y="121"/>
                      <a:pt x="56" y="96"/>
                      <a:pt x="38" y="70"/>
                    </a:cubicBezTo>
                    <a:cubicBezTo>
                      <a:pt x="36" y="65"/>
                      <a:pt x="33" y="59"/>
                      <a:pt x="30" y="53"/>
                    </a:cubicBezTo>
                    <a:close/>
                  </a:path>
                </a:pathLst>
              </a:custGeom>
              <a:solidFill>
                <a:srgbClr val="21AAD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230" name="Freeform 142">
                <a:extLst>
                  <a:ext uri="{FF2B5EF4-FFF2-40B4-BE49-F238E27FC236}">
                    <a16:creationId xmlns:a16="http://schemas.microsoft.com/office/drawing/2014/main" id="{D3B7C320-29FA-4682-AAB9-42DDEEAC79C4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472" y="1443"/>
                <a:ext cx="643" cy="183"/>
              </a:xfrm>
              <a:custGeom>
                <a:avLst/>
                <a:gdLst>
                  <a:gd name="T0" fmla="*/ 12 w 607"/>
                  <a:gd name="T1" fmla="*/ 162 h 173"/>
                  <a:gd name="T2" fmla="*/ 0 w 607"/>
                  <a:gd name="T3" fmla="*/ 158 h 173"/>
                  <a:gd name="T4" fmla="*/ 5 w 607"/>
                  <a:gd name="T5" fmla="*/ 137 h 173"/>
                  <a:gd name="T6" fmla="*/ 46 w 607"/>
                  <a:gd name="T7" fmla="*/ 143 h 173"/>
                  <a:gd name="T8" fmla="*/ 161 w 607"/>
                  <a:gd name="T9" fmla="*/ 141 h 173"/>
                  <a:gd name="T10" fmla="*/ 324 w 607"/>
                  <a:gd name="T11" fmla="*/ 106 h 173"/>
                  <a:gd name="T12" fmla="*/ 482 w 607"/>
                  <a:gd name="T13" fmla="*/ 57 h 173"/>
                  <a:gd name="T14" fmla="*/ 596 w 607"/>
                  <a:gd name="T15" fmla="*/ 0 h 173"/>
                  <a:gd name="T16" fmla="*/ 605 w 607"/>
                  <a:gd name="T17" fmla="*/ 14 h 173"/>
                  <a:gd name="T18" fmla="*/ 607 w 607"/>
                  <a:gd name="T19" fmla="*/ 19 h 173"/>
                  <a:gd name="T20" fmla="*/ 585 w 607"/>
                  <a:gd name="T21" fmla="*/ 32 h 173"/>
                  <a:gd name="T22" fmla="*/ 542 w 607"/>
                  <a:gd name="T23" fmla="*/ 54 h 173"/>
                  <a:gd name="T24" fmla="*/ 439 w 607"/>
                  <a:gd name="T25" fmla="*/ 101 h 173"/>
                  <a:gd name="T26" fmla="*/ 355 w 607"/>
                  <a:gd name="T27" fmla="*/ 131 h 173"/>
                  <a:gd name="T28" fmla="*/ 251 w 607"/>
                  <a:gd name="T29" fmla="*/ 154 h 173"/>
                  <a:gd name="T30" fmla="*/ 173 w 607"/>
                  <a:gd name="T31" fmla="*/ 164 h 173"/>
                  <a:gd name="T32" fmla="*/ 117 w 607"/>
                  <a:gd name="T33" fmla="*/ 171 h 173"/>
                  <a:gd name="T34" fmla="*/ 66 w 607"/>
                  <a:gd name="T35" fmla="*/ 173 h 173"/>
                  <a:gd name="T36" fmla="*/ 12 w 607"/>
                  <a:gd name="T37" fmla="*/ 162 h 1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607" h="173">
                    <a:moveTo>
                      <a:pt x="12" y="162"/>
                    </a:moveTo>
                    <a:cubicBezTo>
                      <a:pt x="8" y="160"/>
                      <a:pt x="4" y="159"/>
                      <a:pt x="0" y="158"/>
                    </a:cubicBezTo>
                    <a:cubicBezTo>
                      <a:pt x="5" y="137"/>
                      <a:pt x="5" y="137"/>
                      <a:pt x="5" y="137"/>
                    </a:cubicBezTo>
                    <a:cubicBezTo>
                      <a:pt x="19" y="140"/>
                      <a:pt x="33" y="142"/>
                      <a:pt x="46" y="143"/>
                    </a:cubicBezTo>
                    <a:cubicBezTo>
                      <a:pt x="86" y="146"/>
                      <a:pt x="123" y="147"/>
                      <a:pt x="161" y="141"/>
                    </a:cubicBezTo>
                    <a:cubicBezTo>
                      <a:pt x="217" y="133"/>
                      <a:pt x="269" y="120"/>
                      <a:pt x="324" y="106"/>
                    </a:cubicBezTo>
                    <a:cubicBezTo>
                      <a:pt x="377" y="92"/>
                      <a:pt x="431" y="78"/>
                      <a:pt x="482" y="57"/>
                    </a:cubicBezTo>
                    <a:cubicBezTo>
                      <a:pt x="521" y="41"/>
                      <a:pt x="560" y="22"/>
                      <a:pt x="596" y="0"/>
                    </a:cubicBezTo>
                    <a:cubicBezTo>
                      <a:pt x="605" y="14"/>
                      <a:pt x="605" y="14"/>
                      <a:pt x="605" y="14"/>
                    </a:cubicBezTo>
                    <a:cubicBezTo>
                      <a:pt x="606" y="16"/>
                      <a:pt x="606" y="17"/>
                      <a:pt x="607" y="19"/>
                    </a:cubicBezTo>
                    <a:cubicBezTo>
                      <a:pt x="600" y="23"/>
                      <a:pt x="592" y="28"/>
                      <a:pt x="585" y="32"/>
                    </a:cubicBezTo>
                    <a:cubicBezTo>
                      <a:pt x="571" y="39"/>
                      <a:pt x="556" y="46"/>
                      <a:pt x="542" y="54"/>
                    </a:cubicBezTo>
                    <a:cubicBezTo>
                      <a:pt x="508" y="70"/>
                      <a:pt x="475" y="87"/>
                      <a:pt x="439" y="101"/>
                    </a:cubicBezTo>
                    <a:cubicBezTo>
                      <a:pt x="411" y="110"/>
                      <a:pt x="383" y="121"/>
                      <a:pt x="355" y="131"/>
                    </a:cubicBezTo>
                    <a:cubicBezTo>
                      <a:pt x="321" y="143"/>
                      <a:pt x="285" y="149"/>
                      <a:pt x="251" y="154"/>
                    </a:cubicBezTo>
                    <a:cubicBezTo>
                      <a:pt x="225" y="159"/>
                      <a:pt x="197" y="161"/>
                      <a:pt x="173" y="164"/>
                    </a:cubicBezTo>
                    <a:cubicBezTo>
                      <a:pt x="155" y="166"/>
                      <a:pt x="135" y="170"/>
                      <a:pt x="117" y="171"/>
                    </a:cubicBezTo>
                    <a:cubicBezTo>
                      <a:pt x="101" y="173"/>
                      <a:pt x="82" y="172"/>
                      <a:pt x="66" y="173"/>
                    </a:cubicBezTo>
                    <a:cubicBezTo>
                      <a:pt x="48" y="173"/>
                      <a:pt x="30" y="168"/>
                      <a:pt x="12" y="162"/>
                    </a:cubicBezTo>
                    <a:close/>
                  </a:path>
                </a:pathLst>
              </a:custGeom>
              <a:solidFill>
                <a:srgbClr val="21AAD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231" name="Freeform 143">
                <a:extLst>
                  <a:ext uri="{FF2B5EF4-FFF2-40B4-BE49-F238E27FC236}">
                    <a16:creationId xmlns:a16="http://schemas.microsoft.com/office/drawing/2014/main" id="{44271DA5-5799-43BE-9552-E66693E7BC46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115" y="1441"/>
                <a:ext cx="223" cy="417"/>
              </a:xfrm>
              <a:custGeom>
                <a:avLst/>
                <a:gdLst>
                  <a:gd name="T0" fmla="*/ 29 w 211"/>
                  <a:gd name="T1" fmla="*/ 0 h 394"/>
                  <a:gd name="T2" fmla="*/ 72 w 211"/>
                  <a:gd name="T3" fmla="*/ 81 h 394"/>
                  <a:gd name="T4" fmla="*/ 120 w 211"/>
                  <a:gd name="T5" fmla="*/ 154 h 394"/>
                  <a:gd name="T6" fmla="*/ 134 w 211"/>
                  <a:gd name="T7" fmla="*/ 186 h 394"/>
                  <a:gd name="T8" fmla="*/ 146 w 211"/>
                  <a:gd name="T9" fmla="*/ 218 h 394"/>
                  <a:gd name="T10" fmla="*/ 158 w 211"/>
                  <a:gd name="T11" fmla="*/ 264 h 394"/>
                  <a:gd name="T12" fmla="*/ 168 w 211"/>
                  <a:gd name="T13" fmla="*/ 308 h 394"/>
                  <a:gd name="T14" fmla="*/ 175 w 211"/>
                  <a:gd name="T15" fmla="*/ 329 h 394"/>
                  <a:gd name="T16" fmla="*/ 184 w 211"/>
                  <a:gd name="T17" fmla="*/ 353 h 394"/>
                  <a:gd name="T18" fmla="*/ 211 w 211"/>
                  <a:gd name="T19" fmla="*/ 392 h 394"/>
                  <a:gd name="T20" fmla="*/ 205 w 211"/>
                  <a:gd name="T21" fmla="*/ 394 h 394"/>
                  <a:gd name="T22" fmla="*/ 183 w 211"/>
                  <a:gd name="T23" fmla="*/ 369 h 394"/>
                  <a:gd name="T24" fmla="*/ 154 w 211"/>
                  <a:gd name="T25" fmla="*/ 322 h 394"/>
                  <a:gd name="T26" fmla="*/ 124 w 211"/>
                  <a:gd name="T27" fmla="*/ 255 h 394"/>
                  <a:gd name="T28" fmla="*/ 0 w 211"/>
                  <a:gd name="T29" fmla="*/ 21 h 394"/>
                  <a:gd name="T30" fmla="*/ 7 w 211"/>
                  <a:gd name="T31" fmla="*/ 17 h 394"/>
                  <a:gd name="T32" fmla="*/ 29 w 211"/>
                  <a:gd name="T33" fmla="*/ 0 h 3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11" h="394">
                    <a:moveTo>
                      <a:pt x="29" y="0"/>
                    </a:moveTo>
                    <a:cubicBezTo>
                      <a:pt x="36" y="31"/>
                      <a:pt x="57" y="54"/>
                      <a:pt x="72" y="81"/>
                    </a:cubicBezTo>
                    <a:cubicBezTo>
                      <a:pt x="85" y="106"/>
                      <a:pt x="106" y="129"/>
                      <a:pt x="120" y="154"/>
                    </a:cubicBezTo>
                    <a:cubicBezTo>
                      <a:pt x="125" y="165"/>
                      <a:pt x="130" y="175"/>
                      <a:pt x="134" y="186"/>
                    </a:cubicBezTo>
                    <a:cubicBezTo>
                      <a:pt x="139" y="196"/>
                      <a:pt x="143" y="207"/>
                      <a:pt x="146" y="218"/>
                    </a:cubicBezTo>
                    <a:cubicBezTo>
                      <a:pt x="149" y="233"/>
                      <a:pt x="155" y="248"/>
                      <a:pt x="158" y="264"/>
                    </a:cubicBezTo>
                    <a:cubicBezTo>
                      <a:pt x="161" y="279"/>
                      <a:pt x="165" y="295"/>
                      <a:pt x="168" y="308"/>
                    </a:cubicBezTo>
                    <a:cubicBezTo>
                      <a:pt x="169" y="314"/>
                      <a:pt x="173" y="321"/>
                      <a:pt x="175" y="329"/>
                    </a:cubicBezTo>
                    <a:cubicBezTo>
                      <a:pt x="176" y="336"/>
                      <a:pt x="180" y="344"/>
                      <a:pt x="184" y="353"/>
                    </a:cubicBezTo>
                    <a:cubicBezTo>
                      <a:pt x="191" y="366"/>
                      <a:pt x="200" y="381"/>
                      <a:pt x="211" y="392"/>
                    </a:cubicBezTo>
                    <a:cubicBezTo>
                      <a:pt x="205" y="394"/>
                      <a:pt x="205" y="394"/>
                      <a:pt x="205" y="394"/>
                    </a:cubicBezTo>
                    <a:cubicBezTo>
                      <a:pt x="197" y="386"/>
                      <a:pt x="189" y="378"/>
                      <a:pt x="183" y="369"/>
                    </a:cubicBezTo>
                    <a:cubicBezTo>
                      <a:pt x="172" y="354"/>
                      <a:pt x="163" y="338"/>
                      <a:pt x="154" y="322"/>
                    </a:cubicBezTo>
                    <a:cubicBezTo>
                      <a:pt x="143" y="300"/>
                      <a:pt x="134" y="277"/>
                      <a:pt x="124" y="255"/>
                    </a:cubicBezTo>
                    <a:cubicBezTo>
                      <a:pt x="88" y="174"/>
                      <a:pt x="41" y="101"/>
                      <a:pt x="0" y="21"/>
                    </a:cubicBezTo>
                    <a:cubicBezTo>
                      <a:pt x="3" y="20"/>
                      <a:pt x="5" y="18"/>
                      <a:pt x="7" y="17"/>
                    </a:cubicBezTo>
                    <a:cubicBezTo>
                      <a:pt x="15" y="11"/>
                      <a:pt x="22" y="6"/>
                      <a:pt x="29" y="0"/>
                    </a:cubicBezTo>
                    <a:close/>
                  </a:path>
                </a:pathLst>
              </a:custGeom>
              <a:solidFill>
                <a:srgbClr val="21AAD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232" name="Freeform 144">
                <a:extLst>
                  <a:ext uri="{FF2B5EF4-FFF2-40B4-BE49-F238E27FC236}">
                    <a16:creationId xmlns:a16="http://schemas.microsoft.com/office/drawing/2014/main" id="{D00D6D9C-FCC0-480A-9B51-B6A68979C76C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405" y="1598"/>
                <a:ext cx="79" cy="481"/>
              </a:xfrm>
              <a:custGeom>
                <a:avLst/>
                <a:gdLst>
                  <a:gd name="T0" fmla="*/ 63 w 75"/>
                  <a:gd name="T1" fmla="*/ 373 h 454"/>
                  <a:gd name="T2" fmla="*/ 34 w 75"/>
                  <a:gd name="T3" fmla="*/ 438 h 454"/>
                  <a:gd name="T4" fmla="*/ 17 w 75"/>
                  <a:gd name="T5" fmla="*/ 449 h 454"/>
                  <a:gd name="T6" fmla="*/ 0 w 75"/>
                  <a:gd name="T7" fmla="*/ 454 h 454"/>
                  <a:gd name="T8" fmla="*/ 30 w 75"/>
                  <a:gd name="T9" fmla="*/ 381 h 454"/>
                  <a:gd name="T10" fmla="*/ 32 w 75"/>
                  <a:gd name="T11" fmla="*/ 295 h 454"/>
                  <a:gd name="T12" fmla="*/ 24 w 75"/>
                  <a:gd name="T13" fmla="*/ 183 h 454"/>
                  <a:gd name="T14" fmla="*/ 26 w 75"/>
                  <a:gd name="T15" fmla="*/ 72 h 454"/>
                  <a:gd name="T16" fmla="*/ 29 w 75"/>
                  <a:gd name="T17" fmla="*/ 11 h 454"/>
                  <a:gd name="T18" fmla="*/ 25 w 75"/>
                  <a:gd name="T19" fmla="*/ 0 h 454"/>
                  <a:gd name="T20" fmla="*/ 58 w 75"/>
                  <a:gd name="T21" fmla="*/ 9 h 454"/>
                  <a:gd name="T22" fmla="*/ 63 w 75"/>
                  <a:gd name="T23" fmla="*/ 11 h 454"/>
                  <a:gd name="T24" fmla="*/ 75 w 75"/>
                  <a:gd name="T25" fmla="*/ 15 h 454"/>
                  <a:gd name="T26" fmla="*/ 65 w 75"/>
                  <a:gd name="T27" fmla="*/ 70 h 454"/>
                  <a:gd name="T28" fmla="*/ 71 w 75"/>
                  <a:gd name="T29" fmla="*/ 268 h 454"/>
                  <a:gd name="T30" fmla="*/ 68 w 75"/>
                  <a:gd name="T31" fmla="*/ 339 h 454"/>
                  <a:gd name="T32" fmla="*/ 63 w 75"/>
                  <a:gd name="T33" fmla="*/ 373 h 4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75" h="454">
                    <a:moveTo>
                      <a:pt x="63" y="373"/>
                    </a:moveTo>
                    <a:cubicBezTo>
                      <a:pt x="59" y="395"/>
                      <a:pt x="51" y="422"/>
                      <a:pt x="34" y="438"/>
                    </a:cubicBezTo>
                    <a:cubicBezTo>
                      <a:pt x="28" y="443"/>
                      <a:pt x="23" y="447"/>
                      <a:pt x="17" y="449"/>
                    </a:cubicBezTo>
                    <a:cubicBezTo>
                      <a:pt x="12" y="452"/>
                      <a:pt x="6" y="453"/>
                      <a:pt x="0" y="454"/>
                    </a:cubicBezTo>
                    <a:cubicBezTo>
                      <a:pt x="21" y="439"/>
                      <a:pt x="29" y="404"/>
                      <a:pt x="30" y="381"/>
                    </a:cubicBezTo>
                    <a:cubicBezTo>
                      <a:pt x="33" y="350"/>
                      <a:pt x="34" y="324"/>
                      <a:pt x="32" y="295"/>
                    </a:cubicBezTo>
                    <a:cubicBezTo>
                      <a:pt x="31" y="258"/>
                      <a:pt x="28" y="219"/>
                      <a:pt x="24" y="183"/>
                    </a:cubicBezTo>
                    <a:cubicBezTo>
                      <a:pt x="23" y="146"/>
                      <a:pt x="22" y="110"/>
                      <a:pt x="26" y="72"/>
                    </a:cubicBezTo>
                    <a:cubicBezTo>
                      <a:pt x="28" y="50"/>
                      <a:pt x="33" y="31"/>
                      <a:pt x="29" y="11"/>
                    </a:cubicBezTo>
                    <a:cubicBezTo>
                      <a:pt x="28" y="7"/>
                      <a:pt x="27" y="3"/>
                      <a:pt x="25" y="0"/>
                    </a:cubicBezTo>
                    <a:cubicBezTo>
                      <a:pt x="35" y="5"/>
                      <a:pt x="47" y="7"/>
                      <a:pt x="58" y="9"/>
                    </a:cubicBezTo>
                    <a:cubicBezTo>
                      <a:pt x="60" y="10"/>
                      <a:pt x="61" y="10"/>
                      <a:pt x="63" y="11"/>
                    </a:cubicBezTo>
                    <a:cubicBezTo>
                      <a:pt x="67" y="12"/>
                      <a:pt x="71" y="13"/>
                      <a:pt x="75" y="15"/>
                    </a:cubicBezTo>
                    <a:cubicBezTo>
                      <a:pt x="70" y="34"/>
                      <a:pt x="65" y="52"/>
                      <a:pt x="65" y="70"/>
                    </a:cubicBezTo>
                    <a:cubicBezTo>
                      <a:pt x="58" y="136"/>
                      <a:pt x="68" y="204"/>
                      <a:pt x="71" y="268"/>
                    </a:cubicBezTo>
                    <a:cubicBezTo>
                      <a:pt x="71" y="291"/>
                      <a:pt x="70" y="315"/>
                      <a:pt x="68" y="339"/>
                    </a:cubicBezTo>
                    <a:cubicBezTo>
                      <a:pt x="67" y="351"/>
                      <a:pt x="65" y="362"/>
                      <a:pt x="63" y="373"/>
                    </a:cubicBezTo>
                    <a:close/>
                  </a:path>
                </a:pathLst>
              </a:custGeom>
              <a:solidFill>
                <a:srgbClr val="21AAD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233" name="Freeform 145">
                <a:extLst>
                  <a:ext uri="{FF2B5EF4-FFF2-40B4-BE49-F238E27FC236}">
                    <a16:creationId xmlns:a16="http://schemas.microsoft.com/office/drawing/2014/main" id="{1DF6DB10-0AA6-4D3F-B715-BFAE1A6A4674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466" y="1477"/>
                <a:ext cx="657" cy="481"/>
              </a:xfrm>
              <a:custGeom>
                <a:avLst/>
                <a:gdLst>
                  <a:gd name="T0" fmla="*/ 13 w 620"/>
                  <a:gd name="T1" fmla="*/ 383 h 455"/>
                  <a:gd name="T2" fmla="*/ 7 w 620"/>
                  <a:gd name="T3" fmla="*/ 185 h 455"/>
                  <a:gd name="T4" fmla="*/ 17 w 620"/>
                  <a:gd name="T5" fmla="*/ 130 h 455"/>
                  <a:gd name="T6" fmla="*/ 71 w 620"/>
                  <a:gd name="T7" fmla="*/ 141 h 455"/>
                  <a:gd name="T8" fmla="*/ 122 w 620"/>
                  <a:gd name="T9" fmla="*/ 139 h 455"/>
                  <a:gd name="T10" fmla="*/ 178 w 620"/>
                  <a:gd name="T11" fmla="*/ 132 h 455"/>
                  <a:gd name="T12" fmla="*/ 256 w 620"/>
                  <a:gd name="T13" fmla="*/ 122 h 455"/>
                  <a:gd name="T14" fmla="*/ 360 w 620"/>
                  <a:gd name="T15" fmla="*/ 99 h 455"/>
                  <a:gd name="T16" fmla="*/ 444 w 620"/>
                  <a:gd name="T17" fmla="*/ 69 h 455"/>
                  <a:gd name="T18" fmla="*/ 547 w 620"/>
                  <a:gd name="T19" fmla="*/ 22 h 455"/>
                  <a:gd name="T20" fmla="*/ 590 w 620"/>
                  <a:gd name="T21" fmla="*/ 0 h 455"/>
                  <a:gd name="T22" fmla="*/ 591 w 620"/>
                  <a:gd name="T23" fmla="*/ 3 h 455"/>
                  <a:gd name="T24" fmla="*/ 620 w 620"/>
                  <a:gd name="T25" fmla="*/ 40 h 455"/>
                  <a:gd name="T26" fmla="*/ 611 w 620"/>
                  <a:gd name="T27" fmla="*/ 49 h 455"/>
                  <a:gd name="T28" fmla="*/ 581 w 620"/>
                  <a:gd name="T29" fmla="*/ 72 h 455"/>
                  <a:gd name="T30" fmla="*/ 525 w 620"/>
                  <a:gd name="T31" fmla="*/ 103 h 455"/>
                  <a:gd name="T32" fmla="*/ 466 w 620"/>
                  <a:gd name="T33" fmla="*/ 120 h 455"/>
                  <a:gd name="T34" fmla="*/ 442 w 620"/>
                  <a:gd name="T35" fmla="*/ 116 h 455"/>
                  <a:gd name="T36" fmla="*/ 433 w 620"/>
                  <a:gd name="T37" fmla="*/ 111 h 455"/>
                  <a:gd name="T38" fmla="*/ 411 w 620"/>
                  <a:gd name="T39" fmla="*/ 118 h 455"/>
                  <a:gd name="T40" fmla="*/ 336 w 620"/>
                  <a:gd name="T41" fmla="*/ 137 h 455"/>
                  <a:gd name="T42" fmla="*/ 261 w 620"/>
                  <a:gd name="T43" fmla="*/ 153 h 455"/>
                  <a:gd name="T44" fmla="*/ 236 w 620"/>
                  <a:gd name="T45" fmla="*/ 156 h 455"/>
                  <a:gd name="T46" fmla="*/ 237 w 620"/>
                  <a:gd name="T47" fmla="*/ 158 h 455"/>
                  <a:gd name="T48" fmla="*/ 200 w 620"/>
                  <a:gd name="T49" fmla="*/ 180 h 455"/>
                  <a:gd name="T50" fmla="*/ 177 w 620"/>
                  <a:gd name="T51" fmla="*/ 183 h 455"/>
                  <a:gd name="T52" fmla="*/ 149 w 620"/>
                  <a:gd name="T53" fmla="*/ 182 h 455"/>
                  <a:gd name="T54" fmla="*/ 112 w 620"/>
                  <a:gd name="T55" fmla="*/ 179 h 455"/>
                  <a:gd name="T56" fmla="*/ 83 w 620"/>
                  <a:gd name="T57" fmla="*/ 173 h 455"/>
                  <a:gd name="T58" fmla="*/ 30 w 620"/>
                  <a:gd name="T59" fmla="*/ 163 h 455"/>
                  <a:gd name="T60" fmla="*/ 26 w 620"/>
                  <a:gd name="T61" fmla="*/ 181 h 455"/>
                  <a:gd name="T62" fmla="*/ 23 w 620"/>
                  <a:gd name="T63" fmla="*/ 216 h 455"/>
                  <a:gd name="T64" fmla="*/ 20 w 620"/>
                  <a:gd name="T65" fmla="*/ 291 h 455"/>
                  <a:gd name="T66" fmla="*/ 22 w 620"/>
                  <a:gd name="T67" fmla="*/ 362 h 455"/>
                  <a:gd name="T68" fmla="*/ 22 w 620"/>
                  <a:gd name="T69" fmla="*/ 406 h 455"/>
                  <a:gd name="T70" fmla="*/ 19 w 620"/>
                  <a:gd name="T71" fmla="*/ 455 h 455"/>
                  <a:gd name="T72" fmla="*/ 10 w 620"/>
                  <a:gd name="T73" fmla="*/ 454 h 455"/>
                  <a:gd name="T74" fmla="*/ 13 w 620"/>
                  <a:gd name="T75" fmla="*/ 383 h 4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620" h="455">
                    <a:moveTo>
                      <a:pt x="13" y="383"/>
                    </a:moveTo>
                    <a:cubicBezTo>
                      <a:pt x="10" y="319"/>
                      <a:pt x="0" y="251"/>
                      <a:pt x="7" y="185"/>
                    </a:cubicBezTo>
                    <a:cubicBezTo>
                      <a:pt x="7" y="167"/>
                      <a:pt x="12" y="149"/>
                      <a:pt x="17" y="130"/>
                    </a:cubicBezTo>
                    <a:cubicBezTo>
                      <a:pt x="35" y="136"/>
                      <a:pt x="53" y="141"/>
                      <a:pt x="71" y="141"/>
                    </a:cubicBezTo>
                    <a:cubicBezTo>
                      <a:pt x="87" y="140"/>
                      <a:pt x="106" y="141"/>
                      <a:pt x="122" y="139"/>
                    </a:cubicBezTo>
                    <a:cubicBezTo>
                      <a:pt x="140" y="138"/>
                      <a:pt x="160" y="134"/>
                      <a:pt x="178" y="132"/>
                    </a:cubicBezTo>
                    <a:cubicBezTo>
                      <a:pt x="202" y="129"/>
                      <a:pt x="230" y="127"/>
                      <a:pt x="256" y="122"/>
                    </a:cubicBezTo>
                    <a:cubicBezTo>
                      <a:pt x="290" y="117"/>
                      <a:pt x="326" y="111"/>
                      <a:pt x="360" y="99"/>
                    </a:cubicBezTo>
                    <a:cubicBezTo>
                      <a:pt x="388" y="89"/>
                      <a:pt x="416" y="78"/>
                      <a:pt x="444" y="69"/>
                    </a:cubicBezTo>
                    <a:cubicBezTo>
                      <a:pt x="480" y="55"/>
                      <a:pt x="513" y="38"/>
                      <a:pt x="547" y="22"/>
                    </a:cubicBezTo>
                    <a:cubicBezTo>
                      <a:pt x="561" y="14"/>
                      <a:pt x="576" y="7"/>
                      <a:pt x="590" y="0"/>
                    </a:cubicBezTo>
                    <a:cubicBezTo>
                      <a:pt x="591" y="3"/>
                      <a:pt x="591" y="3"/>
                      <a:pt x="591" y="3"/>
                    </a:cubicBezTo>
                    <a:cubicBezTo>
                      <a:pt x="603" y="13"/>
                      <a:pt x="613" y="27"/>
                      <a:pt x="620" y="40"/>
                    </a:cubicBezTo>
                    <a:cubicBezTo>
                      <a:pt x="616" y="41"/>
                      <a:pt x="612" y="47"/>
                      <a:pt x="611" y="49"/>
                    </a:cubicBezTo>
                    <a:cubicBezTo>
                      <a:pt x="601" y="56"/>
                      <a:pt x="591" y="65"/>
                      <a:pt x="581" y="72"/>
                    </a:cubicBezTo>
                    <a:cubicBezTo>
                      <a:pt x="565" y="82"/>
                      <a:pt x="544" y="94"/>
                      <a:pt x="525" y="103"/>
                    </a:cubicBezTo>
                    <a:cubicBezTo>
                      <a:pt x="506" y="109"/>
                      <a:pt x="486" y="116"/>
                      <a:pt x="466" y="120"/>
                    </a:cubicBezTo>
                    <a:cubicBezTo>
                      <a:pt x="458" y="122"/>
                      <a:pt x="450" y="121"/>
                      <a:pt x="442" y="116"/>
                    </a:cubicBezTo>
                    <a:cubicBezTo>
                      <a:pt x="439" y="114"/>
                      <a:pt x="436" y="112"/>
                      <a:pt x="433" y="111"/>
                    </a:cubicBezTo>
                    <a:cubicBezTo>
                      <a:pt x="425" y="113"/>
                      <a:pt x="418" y="115"/>
                      <a:pt x="411" y="118"/>
                    </a:cubicBezTo>
                    <a:cubicBezTo>
                      <a:pt x="387" y="126"/>
                      <a:pt x="360" y="131"/>
                      <a:pt x="336" y="137"/>
                    </a:cubicBezTo>
                    <a:cubicBezTo>
                      <a:pt x="312" y="142"/>
                      <a:pt x="285" y="148"/>
                      <a:pt x="261" y="153"/>
                    </a:cubicBezTo>
                    <a:cubicBezTo>
                      <a:pt x="252" y="155"/>
                      <a:pt x="245" y="155"/>
                      <a:pt x="236" y="156"/>
                    </a:cubicBezTo>
                    <a:cubicBezTo>
                      <a:pt x="237" y="158"/>
                      <a:pt x="237" y="158"/>
                      <a:pt x="237" y="158"/>
                    </a:cubicBezTo>
                    <a:cubicBezTo>
                      <a:pt x="233" y="175"/>
                      <a:pt x="216" y="179"/>
                      <a:pt x="200" y="180"/>
                    </a:cubicBezTo>
                    <a:cubicBezTo>
                      <a:pt x="193" y="182"/>
                      <a:pt x="184" y="184"/>
                      <a:pt x="177" y="183"/>
                    </a:cubicBezTo>
                    <a:cubicBezTo>
                      <a:pt x="168" y="183"/>
                      <a:pt x="159" y="182"/>
                      <a:pt x="149" y="182"/>
                    </a:cubicBezTo>
                    <a:cubicBezTo>
                      <a:pt x="135" y="180"/>
                      <a:pt x="123" y="178"/>
                      <a:pt x="112" y="179"/>
                    </a:cubicBezTo>
                    <a:cubicBezTo>
                      <a:pt x="102" y="178"/>
                      <a:pt x="92" y="174"/>
                      <a:pt x="83" y="173"/>
                    </a:cubicBezTo>
                    <a:cubicBezTo>
                      <a:pt x="65" y="171"/>
                      <a:pt x="49" y="168"/>
                      <a:pt x="30" y="163"/>
                    </a:cubicBezTo>
                    <a:cubicBezTo>
                      <a:pt x="29" y="170"/>
                      <a:pt x="29" y="176"/>
                      <a:pt x="26" y="181"/>
                    </a:cubicBezTo>
                    <a:cubicBezTo>
                      <a:pt x="27" y="192"/>
                      <a:pt x="25" y="204"/>
                      <a:pt x="23" y="216"/>
                    </a:cubicBezTo>
                    <a:cubicBezTo>
                      <a:pt x="21" y="240"/>
                      <a:pt x="22" y="265"/>
                      <a:pt x="20" y="291"/>
                    </a:cubicBezTo>
                    <a:cubicBezTo>
                      <a:pt x="21" y="316"/>
                      <a:pt x="19" y="340"/>
                      <a:pt x="22" y="362"/>
                    </a:cubicBezTo>
                    <a:cubicBezTo>
                      <a:pt x="23" y="378"/>
                      <a:pt x="24" y="392"/>
                      <a:pt x="22" y="406"/>
                    </a:cubicBezTo>
                    <a:cubicBezTo>
                      <a:pt x="21" y="423"/>
                      <a:pt x="23" y="441"/>
                      <a:pt x="19" y="455"/>
                    </a:cubicBezTo>
                    <a:cubicBezTo>
                      <a:pt x="10" y="454"/>
                      <a:pt x="10" y="454"/>
                      <a:pt x="10" y="454"/>
                    </a:cubicBezTo>
                    <a:cubicBezTo>
                      <a:pt x="12" y="430"/>
                      <a:pt x="13" y="406"/>
                      <a:pt x="13" y="383"/>
                    </a:cubicBezTo>
                    <a:close/>
                  </a:path>
                </a:pathLst>
              </a:custGeom>
              <a:solidFill>
                <a:srgbClr val="21AAD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234" name="Freeform 146">
                <a:extLst>
                  <a:ext uri="{FF2B5EF4-FFF2-40B4-BE49-F238E27FC236}">
                    <a16:creationId xmlns:a16="http://schemas.microsoft.com/office/drawing/2014/main" id="{3D688222-929A-4448-98C1-9DA4099377A1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5217" y="1015"/>
                <a:ext cx="1251" cy="1065"/>
              </a:xfrm>
              <a:custGeom>
                <a:avLst/>
                <a:gdLst>
                  <a:gd name="T0" fmla="*/ 641 w 1180"/>
                  <a:gd name="T1" fmla="*/ 139 h 1006"/>
                  <a:gd name="T2" fmla="*/ 556 w 1180"/>
                  <a:gd name="T3" fmla="*/ 354 h 1006"/>
                  <a:gd name="T4" fmla="*/ 725 w 1180"/>
                  <a:gd name="T5" fmla="*/ 410 h 1006"/>
                  <a:gd name="T6" fmla="*/ 955 w 1180"/>
                  <a:gd name="T7" fmla="*/ 223 h 1006"/>
                  <a:gd name="T8" fmla="*/ 923 w 1180"/>
                  <a:gd name="T9" fmla="*/ 87 h 1006"/>
                  <a:gd name="T10" fmla="*/ 856 w 1180"/>
                  <a:gd name="T11" fmla="*/ 53 h 1006"/>
                  <a:gd name="T12" fmla="*/ 539 w 1180"/>
                  <a:gd name="T13" fmla="*/ 422 h 1006"/>
                  <a:gd name="T14" fmla="*/ 511 w 1180"/>
                  <a:gd name="T15" fmla="*/ 479 h 1006"/>
                  <a:gd name="T16" fmla="*/ 563 w 1180"/>
                  <a:gd name="T17" fmla="*/ 443 h 1006"/>
                  <a:gd name="T18" fmla="*/ 539 w 1180"/>
                  <a:gd name="T19" fmla="*/ 422 h 1006"/>
                  <a:gd name="T20" fmla="*/ 65 w 1180"/>
                  <a:gd name="T21" fmla="*/ 278 h 1006"/>
                  <a:gd name="T22" fmla="*/ 156 w 1180"/>
                  <a:gd name="T23" fmla="*/ 460 h 1006"/>
                  <a:gd name="T24" fmla="*/ 394 w 1180"/>
                  <a:gd name="T25" fmla="*/ 505 h 1006"/>
                  <a:gd name="T26" fmla="*/ 447 w 1180"/>
                  <a:gd name="T27" fmla="*/ 320 h 1006"/>
                  <a:gd name="T28" fmla="*/ 213 w 1180"/>
                  <a:gd name="T29" fmla="*/ 183 h 1006"/>
                  <a:gd name="T30" fmla="*/ 140 w 1180"/>
                  <a:gd name="T31" fmla="*/ 197 h 1006"/>
                  <a:gd name="T32" fmla="*/ 169 w 1180"/>
                  <a:gd name="T33" fmla="*/ 149 h 1006"/>
                  <a:gd name="T34" fmla="*/ 477 w 1180"/>
                  <a:gd name="T35" fmla="*/ 87 h 1006"/>
                  <a:gd name="T36" fmla="*/ 761 w 1180"/>
                  <a:gd name="T37" fmla="*/ 0 h 1006"/>
                  <a:gd name="T38" fmla="*/ 1026 w 1180"/>
                  <a:gd name="T39" fmla="*/ 166 h 1006"/>
                  <a:gd name="T40" fmla="*/ 1159 w 1180"/>
                  <a:gd name="T41" fmla="*/ 577 h 1006"/>
                  <a:gd name="T42" fmla="*/ 1119 w 1180"/>
                  <a:gd name="T43" fmla="*/ 819 h 1006"/>
                  <a:gd name="T44" fmla="*/ 1058 w 1180"/>
                  <a:gd name="T45" fmla="*/ 794 h 1006"/>
                  <a:gd name="T46" fmla="*/ 1022 w 1180"/>
                  <a:gd name="T47" fmla="*/ 731 h 1006"/>
                  <a:gd name="T48" fmla="*/ 1005 w 1180"/>
                  <a:gd name="T49" fmla="*/ 666 h 1006"/>
                  <a:gd name="T50" fmla="*/ 981 w 1180"/>
                  <a:gd name="T51" fmla="*/ 588 h 1006"/>
                  <a:gd name="T52" fmla="*/ 919 w 1180"/>
                  <a:gd name="T53" fmla="*/ 483 h 1006"/>
                  <a:gd name="T54" fmla="*/ 876 w 1180"/>
                  <a:gd name="T55" fmla="*/ 402 h 1006"/>
                  <a:gd name="T56" fmla="*/ 847 w 1180"/>
                  <a:gd name="T57" fmla="*/ 423 h 1006"/>
                  <a:gd name="T58" fmla="*/ 836 w 1180"/>
                  <a:gd name="T59" fmla="*/ 404 h 1006"/>
                  <a:gd name="T60" fmla="*/ 564 w 1180"/>
                  <a:gd name="T61" fmla="*/ 510 h 1006"/>
                  <a:gd name="T62" fmla="*/ 286 w 1180"/>
                  <a:gd name="T63" fmla="*/ 547 h 1006"/>
                  <a:gd name="T64" fmla="*/ 240 w 1180"/>
                  <a:gd name="T65" fmla="*/ 562 h 1006"/>
                  <a:gd name="T66" fmla="*/ 202 w 1180"/>
                  <a:gd name="T67" fmla="*/ 551 h 1006"/>
                  <a:gd name="T68" fmla="*/ 203 w 1180"/>
                  <a:gd name="T69" fmla="*/ 623 h 1006"/>
                  <a:gd name="T70" fmla="*/ 209 w 1180"/>
                  <a:gd name="T71" fmla="*/ 846 h 1006"/>
                  <a:gd name="T72" fmla="*/ 177 w 1180"/>
                  <a:gd name="T73" fmla="*/ 1005 h 1006"/>
                  <a:gd name="T74" fmla="*/ 64 w 1180"/>
                  <a:gd name="T75" fmla="*/ 891 h 1006"/>
                  <a:gd name="T76" fmla="*/ 2 w 1180"/>
                  <a:gd name="T77" fmla="*/ 521 h 10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1180" h="1006">
                    <a:moveTo>
                      <a:pt x="766" y="45"/>
                    </a:moveTo>
                    <a:cubicBezTo>
                      <a:pt x="716" y="60"/>
                      <a:pt x="673" y="97"/>
                      <a:pt x="641" y="139"/>
                    </a:cubicBezTo>
                    <a:cubicBezTo>
                      <a:pt x="620" y="169"/>
                      <a:pt x="604" y="205"/>
                      <a:pt x="586" y="239"/>
                    </a:cubicBezTo>
                    <a:cubicBezTo>
                      <a:pt x="566" y="273"/>
                      <a:pt x="549" y="314"/>
                      <a:pt x="556" y="354"/>
                    </a:cubicBezTo>
                    <a:cubicBezTo>
                      <a:pt x="562" y="394"/>
                      <a:pt x="591" y="420"/>
                      <a:pt x="630" y="428"/>
                    </a:cubicBezTo>
                    <a:cubicBezTo>
                      <a:pt x="663" y="433"/>
                      <a:pt x="696" y="423"/>
                      <a:pt x="725" y="410"/>
                    </a:cubicBezTo>
                    <a:cubicBezTo>
                      <a:pt x="777" y="385"/>
                      <a:pt x="828" y="353"/>
                      <a:pt x="876" y="317"/>
                    </a:cubicBezTo>
                    <a:cubicBezTo>
                      <a:pt x="908" y="292"/>
                      <a:pt x="943" y="263"/>
                      <a:pt x="955" y="223"/>
                    </a:cubicBezTo>
                    <a:cubicBezTo>
                      <a:pt x="965" y="196"/>
                      <a:pt x="971" y="160"/>
                      <a:pt x="960" y="130"/>
                    </a:cubicBezTo>
                    <a:cubicBezTo>
                      <a:pt x="954" y="113"/>
                      <a:pt x="940" y="100"/>
                      <a:pt x="923" y="87"/>
                    </a:cubicBezTo>
                    <a:cubicBezTo>
                      <a:pt x="902" y="72"/>
                      <a:pt x="880" y="61"/>
                      <a:pt x="858" y="49"/>
                    </a:cubicBezTo>
                    <a:cubicBezTo>
                      <a:pt x="856" y="53"/>
                      <a:pt x="856" y="53"/>
                      <a:pt x="856" y="53"/>
                    </a:cubicBezTo>
                    <a:cubicBezTo>
                      <a:pt x="825" y="39"/>
                      <a:pt x="796" y="36"/>
                      <a:pt x="766" y="45"/>
                    </a:cubicBezTo>
                    <a:close/>
                    <a:moveTo>
                      <a:pt x="539" y="422"/>
                    </a:moveTo>
                    <a:cubicBezTo>
                      <a:pt x="530" y="422"/>
                      <a:pt x="520" y="425"/>
                      <a:pt x="514" y="428"/>
                    </a:cubicBezTo>
                    <a:cubicBezTo>
                      <a:pt x="500" y="438"/>
                      <a:pt x="495" y="469"/>
                      <a:pt x="511" y="479"/>
                    </a:cubicBezTo>
                    <a:cubicBezTo>
                      <a:pt x="525" y="488"/>
                      <a:pt x="550" y="485"/>
                      <a:pt x="560" y="471"/>
                    </a:cubicBezTo>
                    <a:cubicBezTo>
                      <a:pt x="568" y="462"/>
                      <a:pt x="565" y="451"/>
                      <a:pt x="563" y="443"/>
                    </a:cubicBezTo>
                    <a:cubicBezTo>
                      <a:pt x="559" y="432"/>
                      <a:pt x="551" y="427"/>
                      <a:pt x="539" y="425"/>
                    </a:cubicBezTo>
                    <a:lnTo>
                      <a:pt x="539" y="422"/>
                    </a:lnTo>
                    <a:close/>
                    <a:moveTo>
                      <a:pt x="140" y="197"/>
                    </a:moveTo>
                    <a:cubicBezTo>
                      <a:pt x="108" y="218"/>
                      <a:pt x="81" y="245"/>
                      <a:pt x="65" y="278"/>
                    </a:cubicBezTo>
                    <a:cubicBezTo>
                      <a:pt x="49" y="309"/>
                      <a:pt x="48" y="347"/>
                      <a:pt x="62" y="380"/>
                    </a:cubicBezTo>
                    <a:cubicBezTo>
                      <a:pt x="82" y="418"/>
                      <a:pt x="118" y="445"/>
                      <a:pt x="156" y="460"/>
                    </a:cubicBezTo>
                    <a:cubicBezTo>
                      <a:pt x="196" y="476"/>
                      <a:pt x="238" y="486"/>
                      <a:pt x="278" y="493"/>
                    </a:cubicBezTo>
                    <a:cubicBezTo>
                      <a:pt x="318" y="503"/>
                      <a:pt x="356" y="511"/>
                      <a:pt x="394" y="505"/>
                    </a:cubicBezTo>
                    <a:cubicBezTo>
                      <a:pt x="435" y="498"/>
                      <a:pt x="471" y="474"/>
                      <a:pt x="481" y="435"/>
                    </a:cubicBezTo>
                    <a:cubicBezTo>
                      <a:pt x="490" y="394"/>
                      <a:pt x="472" y="352"/>
                      <a:pt x="447" y="320"/>
                    </a:cubicBezTo>
                    <a:cubicBezTo>
                      <a:pt x="417" y="280"/>
                      <a:pt x="375" y="248"/>
                      <a:pt x="333" y="222"/>
                    </a:cubicBezTo>
                    <a:cubicBezTo>
                      <a:pt x="296" y="200"/>
                      <a:pt x="256" y="188"/>
                      <a:pt x="213" y="183"/>
                    </a:cubicBezTo>
                    <a:cubicBezTo>
                      <a:pt x="213" y="176"/>
                      <a:pt x="213" y="176"/>
                      <a:pt x="213" y="176"/>
                    </a:cubicBezTo>
                    <a:cubicBezTo>
                      <a:pt x="187" y="178"/>
                      <a:pt x="162" y="186"/>
                      <a:pt x="140" y="197"/>
                    </a:cubicBezTo>
                    <a:close/>
                    <a:moveTo>
                      <a:pt x="40" y="309"/>
                    </a:moveTo>
                    <a:cubicBezTo>
                      <a:pt x="65" y="246"/>
                      <a:pt x="110" y="187"/>
                      <a:pt x="169" y="149"/>
                    </a:cubicBezTo>
                    <a:cubicBezTo>
                      <a:pt x="230" y="113"/>
                      <a:pt x="300" y="104"/>
                      <a:pt x="371" y="101"/>
                    </a:cubicBezTo>
                    <a:cubicBezTo>
                      <a:pt x="405" y="98"/>
                      <a:pt x="442" y="95"/>
                      <a:pt x="477" y="87"/>
                    </a:cubicBezTo>
                    <a:cubicBezTo>
                      <a:pt x="513" y="81"/>
                      <a:pt x="545" y="70"/>
                      <a:pt x="579" y="55"/>
                    </a:cubicBezTo>
                    <a:cubicBezTo>
                      <a:pt x="636" y="31"/>
                      <a:pt x="696" y="0"/>
                      <a:pt x="761" y="0"/>
                    </a:cubicBezTo>
                    <a:cubicBezTo>
                      <a:pt x="819" y="1"/>
                      <a:pt x="871" y="29"/>
                      <a:pt x="917" y="60"/>
                    </a:cubicBezTo>
                    <a:cubicBezTo>
                      <a:pt x="959" y="91"/>
                      <a:pt x="996" y="124"/>
                      <a:pt x="1026" y="166"/>
                    </a:cubicBezTo>
                    <a:cubicBezTo>
                      <a:pt x="1065" y="220"/>
                      <a:pt x="1089" y="287"/>
                      <a:pt x="1108" y="352"/>
                    </a:cubicBezTo>
                    <a:cubicBezTo>
                      <a:pt x="1129" y="426"/>
                      <a:pt x="1145" y="501"/>
                      <a:pt x="1159" y="577"/>
                    </a:cubicBezTo>
                    <a:cubicBezTo>
                      <a:pt x="1168" y="630"/>
                      <a:pt x="1180" y="685"/>
                      <a:pt x="1176" y="740"/>
                    </a:cubicBezTo>
                    <a:cubicBezTo>
                      <a:pt x="1172" y="773"/>
                      <a:pt x="1157" y="813"/>
                      <a:pt x="1119" y="819"/>
                    </a:cubicBezTo>
                    <a:cubicBezTo>
                      <a:pt x="1095" y="824"/>
                      <a:pt x="1071" y="813"/>
                      <a:pt x="1052" y="796"/>
                    </a:cubicBezTo>
                    <a:cubicBezTo>
                      <a:pt x="1058" y="794"/>
                      <a:pt x="1058" y="794"/>
                      <a:pt x="1058" y="794"/>
                    </a:cubicBezTo>
                    <a:cubicBezTo>
                      <a:pt x="1047" y="783"/>
                      <a:pt x="1038" y="768"/>
                      <a:pt x="1031" y="755"/>
                    </a:cubicBezTo>
                    <a:cubicBezTo>
                      <a:pt x="1027" y="746"/>
                      <a:pt x="1023" y="738"/>
                      <a:pt x="1022" y="731"/>
                    </a:cubicBezTo>
                    <a:cubicBezTo>
                      <a:pt x="1020" y="723"/>
                      <a:pt x="1016" y="716"/>
                      <a:pt x="1015" y="710"/>
                    </a:cubicBezTo>
                    <a:cubicBezTo>
                      <a:pt x="1012" y="697"/>
                      <a:pt x="1008" y="681"/>
                      <a:pt x="1005" y="666"/>
                    </a:cubicBezTo>
                    <a:cubicBezTo>
                      <a:pt x="1002" y="650"/>
                      <a:pt x="996" y="635"/>
                      <a:pt x="993" y="620"/>
                    </a:cubicBezTo>
                    <a:cubicBezTo>
                      <a:pt x="990" y="609"/>
                      <a:pt x="986" y="598"/>
                      <a:pt x="981" y="588"/>
                    </a:cubicBezTo>
                    <a:cubicBezTo>
                      <a:pt x="977" y="577"/>
                      <a:pt x="972" y="567"/>
                      <a:pt x="967" y="556"/>
                    </a:cubicBezTo>
                    <a:cubicBezTo>
                      <a:pt x="953" y="531"/>
                      <a:pt x="932" y="508"/>
                      <a:pt x="919" y="483"/>
                    </a:cubicBezTo>
                    <a:cubicBezTo>
                      <a:pt x="904" y="456"/>
                      <a:pt x="883" y="433"/>
                      <a:pt x="876" y="402"/>
                    </a:cubicBezTo>
                    <a:cubicBezTo>
                      <a:pt x="876" y="402"/>
                      <a:pt x="876" y="402"/>
                      <a:pt x="876" y="402"/>
                    </a:cubicBezTo>
                    <a:cubicBezTo>
                      <a:pt x="869" y="408"/>
                      <a:pt x="862" y="413"/>
                      <a:pt x="854" y="419"/>
                    </a:cubicBezTo>
                    <a:cubicBezTo>
                      <a:pt x="852" y="420"/>
                      <a:pt x="850" y="422"/>
                      <a:pt x="847" y="423"/>
                    </a:cubicBezTo>
                    <a:cubicBezTo>
                      <a:pt x="846" y="421"/>
                      <a:pt x="846" y="420"/>
                      <a:pt x="845" y="418"/>
                    </a:cubicBezTo>
                    <a:cubicBezTo>
                      <a:pt x="836" y="404"/>
                      <a:pt x="836" y="404"/>
                      <a:pt x="836" y="404"/>
                    </a:cubicBezTo>
                    <a:cubicBezTo>
                      <a:pt x="800" y="426"/>
                      <a:pt x="761" y="445"/>
                      <a:pt x="722" y="461"/>
                    </a:cubicBezTo>
                    <a:cubicBezTo>
                      <a:pt x="671" y="482"/>
                      <a:pt x="617" y="496"/>
                      <a:pt x="564" y="510"/>
                    </a:cubicBezTo>
                    <a:cubicBezTo>
                      <a:pt x="509" y="524"/>
                      <a:pt x="457" y="537"/>
                      <a:pt x="401" y="545"/>
                    </a:cubicBezTo>
                    <a:cubicBezTo>
                      <a:pt x="363" y="551"/>
                      <a:pt x="326" y="550"/>
                      <a:pt x="286" y="547"/>
                    </a:cubicBezTo>
                    <a:cubicBezTo>
                      <a:pt x="273" y="546"/>
                      <a:pt x="259" y="544"/>
                      <a:pt x="245" y="541"/>
                    </a:cubicBezTo>
                    <a:cubicBezTo>
                      <a:pt x="240" y="562"/>
                      <a:pt x="240" y="562"/>
                      <a:pt x="240" y="562"/>
                    </a:cubicBezTo>
                    <a:cubicBezTo>
                      <a:pt x="238" y="561"/>
                      <a:pt x="237" y="561"/>
                      <a:pt x="235" y="560"/>
                    </a:cubicBezTo>
                    <a:cubicBezTo>
                      <a:pt x="224" y="558"/>
                      <a:pt x="212" y="556"/>
                      <a:pt x="202" y="551"/>
                    </a:cubicBezTo>
                    <a:cubicBezTo>
                      <a:pt x="204" y="554"/>
                      <a:pt x="205" y="558"/>
                      <a:pt x="206" y="562"/>
                    </a:cubicBezTo>
                    <a:cubicBezTo>
                      <a:pt x="210" y="582"/>
                      <a:pt x="205" y="601"/>
                      <a:pt x="203" y="623"/>
                    </a:cubicBezTo>
                    <a:cubicBezTo>
                      <a:pt x="199" y="661"/>
                      <a:pt x="200" y="697"/>
                      <a:pt x="201" y="734"/>
                    </a:cubicBezTo>
                    <a:cubicBezTo>
                      <a:pt x="205" y="770"/>
                      <a:pt x="208" y="809"/>
                      <a:pt x="209" y="846"/>
                    </a:cubicBezTo>
                    <a:cubicBezTo>
                      <a:pt x="211" y="875"/>
                      <a:pt x="210" y="901"/>
                      <a:pt x="207" y="932"/>
                    </a:cubicBezTo>
                    <a:cubicBezTo>
                      <a:pt x="206" y="955"/>
                      <a:pt x="198" y="990"/>
                      <a:pt x="177" y="1005"/>
                    </a:cubicBezTo>
                    <a:cubicBezTo>
                      <a:pt x="152" y="1006"/>
                      <a:pt x="125" y="989"/>
                      <a:pt x="107" y="970"/>
                    </a:cubicBezTo>
                    <a:cubicBezTo>
                      <a:pt x="88" y="948"/>
                      <a:pt x="75" y="919"/>
                      <a:pt x="64" y="891"/>
                    </a:cubicBezTo>
                    <a:cubicBezTo>
                      <a:pt x="52" y="854"/>
                      <a:pt x="41" y="817"/>
                      <a:pt x="35" y="777"/>
                    </a:cubicBezTo>
                    <a:cubicBezTo>
                      <a:pt x="17" y="693"/>
                      <a:pt x="5" y="606"/>
                      <a:pt x="2" y="521"/>
                    </a:cubicBezTo>
                    <a:cubicBezTo>
                      <a:pt x="0" y="447"/>
                      <a:pt x="10" y="376"/>
                      <a:pt x="40" y="309"/>
                    </a:cubicBezTo>
                    <a:close/>
                  </a:path>
                </a:pathLst>
              </a:custGeom>
              <a:solidFill>
                <a:srgbClr val="21AAD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235" name="Freeform 147">
                <a:extLst>
                  <a:ext uri="{FF2B5EF4-FFF2-40B4-BE49-F238E27FC236}">
                    <a16:creationId xmlns:a16="http://schemas.microsoft.com/office/drawing/2014/main" id="{5DD78343-F8F7-4F51-BDBD-E14F4CC6C17B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207" y="1006"/>
                <a:ext cx="1273" cy="1104"/>
              </a:xfrm>
              <a:custGeom>
                <a:avLst/>
                <a:gdLst>
                  <a:gd name="T0" fmla="*/ 861 w 1202"/>
                  <a:gd name="T1" fmla="*/ 438 h 1043"/>
                  <a:gd name="T2" fmla="*/ 953 w 1202"/>
                  <a:gd name="T3" fmla="*/ 610 h 1043"/>
                  <a:gd name="T4" fmla="*/ 1037 w 1202"/>
                  <a:gd name="T5" fmla="*/ 781 h 1043"/>
                  <a:gd name="T6" fmla="*/ 1155 w 1202"/>
                  <a:gd name="T7" fmla="*/ 838 h 1043"/>
                  <a:gd name="T8" fmla="*/ 1201 w 1202"/>
                  <a:gd name="T9" fmla="*/ 720 h 1043"/>
                  <a:gd name="T10" fmla="*/ 1169 w 1202"/>
                  <a:gd name="T11" fmla="*/ 522 h 1043"/>
                  <a:gd name="T12" fmla="*/ 1121 w 1202"/>
                  <a:gd name="T13" fmla="*/ 332 h 1043"/>
                  <a:gd name="T14" fmla="*/ 1045 w 1202"/>
                  <a:gd name="T15" fmla="*/ 176 h 1043"/>
                  <a:gd name="T16" fmla="*/ 917 w 1202"/>
                  <a:gd name="T17" fmla="*/ 59 h 1043"/>
                  <a:gd name="T18" fmla="*/ 758 w 1202"/>
                  <a:gd name="T19" fmla="*/ 14 h 1043"/>
                  <a:gd name="T20" fmla="*/ 589 w 1202"/>
                  <a:gd name="T21" fmla="*/ 72 h 1043"/>
                  <a:gd name="T22" fmla="*/ 393 w 1202"/>
                  <a:gd name="T23" fmla="*/ 113 h 1043"/>
                  <a:gd name="T24" fmla="*/ 215 w 1202"/>
                  <a:gd name="T25" fmla="*/ 148 h 1043"/>
                  <a:gd name="T26" fmla="*/ 27 w 1202"/>
                  <a:gd name="T27" fmla="*/ 412 h 1043"/>
                  <a:gd name="T28" fmla="*/ 51 w 1202"/>
                  <a:gd name="T29" fmla="*/ 803 h 1043"/>
                  <a:gd name="T30" fmla="*/ 107 w 1202"/>
                  <a:gd name="T31" fmla="*/ 970 h 1043"/>
                  <a:gd name="T32" fmla="*/ 217 w 1202"/>
                  <a:gd name="T33" fmla="*/ 1022 h 1043"/>
                  <a:gd name="T34" fmla="*/ 270 w 1202"/>
                  <a:gd name="T35" fmla="*/ 894 h 1043"/>
                  <a:gd name="T36" fmla="*/ 263 w 1202"/>
                  <a:gd name="T37" fmla="*/ 696 h 1043"/>
                  <a:gd name="T38" fmla="*/ 276 w 1202"/>
                  <a:gd name="T39" fmla="*/ 583 h 1043"/>
                  <a:gd name="T40" fmla="*/ 266 w 1202"/>
                  <a:gd name="T41" fmla="*/ 580 h 1043"/>
                  <a:gd name="T42" fmla="*/ 255 w 1202"/>
                  <a:gd name="T43" fmla="*/ 942 h 1043"/>
                  <a:gd name="T44" fmla="*/ 222 w 1202"/>
                  <a:gd name="T45" fmla="*/ 1007 h 1043"/>
                  <a:gd name="T46" fmla="*/ 142 w 1202"/>
                  <a:gd name="T47" fmla="*/ 996 h 1043"/>
                  <a:gd name="T48" fmla="*/ 69 w 1202"/>
                  <a:gd name="T49" fmla="*/ 845 h 1043"/>
                  <a:gd name="T50" fmla="*/ 36 w 1202"/>
                  <a:gd name="T51" fmla="*/ 659 h 1043"/>
                  <a:gd name="T52" fmla="*/ 27 w 1202"/>
                  <a:gd name="T53" fmla="*/ 481 h 1043"/>
                  <a:gd name="T54" fmla="*/ 170 w 1202"/>
                  <a:gd name="T55" fmla="*/ 186 h 1043"/>
                  <a:gd name="T56" fmla="*/ 504 w 1202"/>
                  <a:gd name="T57" fmla="*/ 109 h 1043"/>
                  <a:gd name="T58" fmla="*/ 826 w 1202"/>
                  <a:gd name="T59" fmla="*/ 30 h 1043"/>
                  <a:gd name="T60" fmla="*/ 1069 w 1202"/>
                  <a:gd name="T61" fmla="*/ 232 h 1043"/>
                  <a:gd name="T62" fmla="*/ 1169 w 1202"/>
                  <a:gd name="T63" fmla="*/ 573 h 1043"/>
                  <a:gd name="T64" fmla="*/ 1186 w 1202"/>
                  <a:gd name="T65" fmla="*/ 669 h 1043"/>
                  <a:gd name="T66" fmla="*/ 1188 w 1202"/>
                  <a:gd name="T67" fmla="*/ 770 h 1043"/>
                  <a:gd name="T68" fmla="*/ 1142 w 1202"/>
                  <a:gd name="T69" fmla="*/ 830 h 1043"/>
                  <a:gd name="T70" fmla="*/ 1050 w 1202"/>
                  <a:gd name="T71" fmla="*/ 781 h 1043"/>
                  <a:gd name="T72" fmla="*/ 968 w 1202"/>
                  <a:gd name="T73" fmla="*/ 619 h 1043"/>
                  <a:gd name="T74" fmla="*/ 867 w 1202"/>
                  <a:gd name="T75" fmla="*/ 435 h 1043"/>
                  <a:gd name="T76" fmla="*/ 861 w 1202"/>
                  <a:gd name="T77" fmla="*/ 438 h 10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1202" h="1043">
                    <a:moveTo>
                      <a:pt x="861" y="438"/>
                    </a:moveTo>
                    <a:cubicBezTo>
                      <a:pt x="890" y="497"/>
                      <a:pt x="924" y="553"/>
                      <a:pt x="953" y="610"/>
                    </a:cubicBezTo>
                    <a:cubicBezTo>
                      <a:pt x="982" y="666"/>
                      <a:pt x="1001" y="729"/>
                      <a:pt x="1037" y="781"/>
                    </a:cubicBezTo>
                    <a:cubicBezTo>
                      <a:pt x="1062" y="819"/>
                      <a:pt x="1107" y="860"/>
                      <a:pt x="1155" y="838"/>
                    </a:cubicBezTo>
                    <a:cubicBezTo>
                      <a:pt x="1198" y="818"/>
                      <a:pt x="1202" y="760"/>
                      <a:pt x="1201" y="720"/>
                    </a:cubicBezTo>
                    <a:cubicBezTo>
                      <a:pt x="1198" y="654"/>
                      <a:pt x="1183" y="587"/>
                      <a:pt x="1169" y="522"/>
                    </a:cubicBezTo>
                    <a:cubicBezTo>
                      <a:pt x="1156" y="458"/>
                      <a:pt x="1141" y="394"/>
                      <a:pt x="1121" y="332"/>
                    </a:cubicBezTo>
                    <a:cubicBezTo>
                      <a:pt x="1103" y="277"/>
                      <a:pt x="1080" y="223"/>
                      <a:pt x="1045" y="176"/>
                    </a:cubicBezTo>
                    <a:cubicBezTo>
                      <a:pt x="1011" y="129"/>
                      <a:pt x="966" y="89"/>
                      <a:pt x="917" y="59"/>
                    </a:cubicBezTo>
                    <a:cubicBezTo>
                      <a:pt x="869" y="30"/>
                      <a:pt x="815" y="7"/>
                      <a:pt x="758" y="14"/>
                    </a:cubicBezTo>
                    <a:cubicBezTo>
                      <a:pt x="698" y="20"/>
                      <a:pt x="644" y="49"/>
                      <a:pt x="589" y="72"/>
                    </a:cubicBezTo>
                    <a:cubicBezTo>
                      <a:pt x="526" y="97"/>
                      <a:pt x="460" y="108"/>
                      <a:pt x="393" y="113"/>
                    </a:cubicBezTo>
                    <a:cubicBezTo>
                      <a:pt x="332" y="118"/>
                      <a:pt x="271" y="123"/>
                      <a:pt x="215" y="148"/>
                    </a:cubicBezTo>
                    <a:cubicBezTo>
                      <a:pt x="112" y="194"/>
                      <a:pt x="49" y="305"/>
                      <a:pt x="27" y="412"/>
                    </a:cubicBezTo>
                    <a:cubicBezTo>
                      <a:pt x="0" y="541"/>
                      <a:pt x="27" y="676"/>
                      <a:pt x="51" y="803"/>
                    </a:cubicBezTo>
                    <a:cubicBezTo>
                      <a:pt x="61" y="860"/>
                      <a:pt x="76" y="921"/>
                      <a:pt x="107" y="970"/>
                    </a:cubicBezTo>
                    <a:cubicBezTo>
                      <a:pt x="128" y="1004"/>
                      <a:pt x="175" y="1043"/>
                      <a:pt x="217" y="1022"/>
                    </a:cubicBezTo>
                    <a:cubicBezTo>
                      <a:pt x="261" y="1000"/>
                      <a:pt x="267" y="937"/>
                      <a:pt x="270" y="894"/>
                    </a:cubicBezTo>
                    <a:cubicBezTo>
                      <a:pt x="274" y="828"/>
                      <a:pt x="264" y="762"/>
                      <a:pt x="263" y="696"/>
                    </a:cubicBezTo>
                    <a:cubicBezTo>
                      <a:pt x="263" y="658"/>
                      <a:pt x="266" y="621"/>
                      <a:pt x="276" y="583"/>
                    </a:cubicBezTo>
                    <a:cubicBezTo>
                      <a:pt x="278" y="577"/>
                      <a:pt x="268" y="573"/>
                      <a:pt x="266" y="580"/>
                    </a:cubicBezTo>
                    <a:cubicBezTo>
                      <a:pt x="238" y="700"/>
                      <a:pt x="278" y="821"/>
                      <a:pt x="255" y="942"/>
                    </a:cubicBezTo>
                    <a:cubicBezTo>
                      <a:pt x="250" y="965"/>
                      <a:pt x="242" y="992"/>
                      <a:pt x="222" y="1007"/>
                    </a:cubicBezTo>
                    <a:cubicBezTo>
                      <a:pt x="196" y="1028"/>
                      <a:pt x="164" y="1015"/>
                      <a:pt x="142" y="996"/>
                    </a:cubicBezTo>
                    <a:cubicBezTo>
                      <a:pt x="99" y="961"/>
                      <a:pt x="82" y="896"/>
                      <a:pt x="69" y="845"/>
                    </a:cubicBezTo>
                    <a:cubicBezTo>
                      <a:pt x="54" y="784"/>
                      <a:pt x="43" y="721"/>
                      <a:pt x="36" y="659"/>
                    </a:cubicBezTo>
                    <a:cubicBezTo>
                      <a:pt x="28" y="601"/>
                      <a:pt x="23" y="540"/>
                      <a:pt x="27" y="481"/>
                    </a:cubicBezTo>
                    <a:cubicBezTo>
                      <a:pt x="35" y="370"/>
                      <a:pt x="80" y="256"/>
                      <a:pt x="170" y="186"/>
                    </a:cubicBezTo>
                    <a:cubicBezTo>
                      <a:pt x="265" y="113"/>
                      <a:pt x="393" y="130"/>
                      <a:pt x="504" y="109"/>
                    </a:cubicBezTo>
                    <a:cubicBezTo>
                      <a:pt x="612" y="88"/>
                      <a:pt x="712" y="0"/>
                      <a:pt x="826" y="30"/>
                    </a:cubicBezTo>
                    <a:cubicBezTo>
                      <a:pt x="927" y="56"/>
                      <a:pt x="1020" y="141"/>
                      <a:pt x="1069" y="232"/>
                    </a:cubicBezTo>
                    <a:cubicBezTo>
                      <a:pt x="1124" y="336"/>
                      <a:pt x="1147" y="458"/>
                      <a:pt x="1169" y="573"/>
                    </a:cubicBezTo>
                    <a:cubicBezTo>
                      <a:pt x="1175" y="605"/>
                      <a:pt x="1181" y="637"/>
                      <a:pt x="1186" y="669"/>
                    </a:cubicBezTo>
                    <a:cubicBezTo>
                      <a:pt x="1190" y="702"/>
                      <a:pt x="1195" y="738"/>
                      <a:pt x="1188" y="770"/>
                    </a:cubicBezTo>
                    <a:cubicBezTo>
                      <a:pt x="1182" y="796"/>
                      <a:pt x="1169" y="823"/>
                      <a:pt x="1142" y="830"/>
                    </a:cubicBezTo>
                    <a:cubicBezTo>
                      <a:pt x="1103" y="841"/>
                      <a:pt x="1071" y="810"/>
                      <a:pt x="1050" y="781"/>
                    </a:cubicBezTo>
                    <a:cubicBezTo>
                      <a:pt x="1015" y="732"/>
                      <a:pt x="996" y="673"/>
                      <a:pt x="968" y="619"/>
                    </a:cubicBezTo>
                    <a:cubicBezTo>
                      <a:pt x="936" y="557"/>
                      <a:pt x="899" y="497"/>
                      <a:pt x="867" y="435"/>
                    </a:cubicBezTo>
                    <a:cubicBezTo>
                      <a:pt x="865" y="431"/>
                      <a:pt x="859" y="434"/>
                      <a:pt x="861" y="438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236" name="Freeform 148">
                <a:extLst>
                  <a:ext uri="{FF2B5EF4-FFF2-40B4-BE49-F238E27FC236}">
                    <a16:creationId xmlns:a16="http://schemas.microsoft.com/office/drawing/2014/main" id="{2BF38D3D-AA80-41D1-B8A2-534CBA8F56EA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380" y="1417"/>
                <a:ext cx="810" cy="224"/>
              </a:xfrm>
              <a:custGeom>
                <a:avLst/>
                <a:gdLst>
                  <a:gd name="T0" fmla="*/ 2 w 765"/>
                  <a:gd name="T1" fmla="*/ 145 h 211"/>
                  <a:gd name="T2" fmla="*/ 78 w 765"/>
                  <a:gd name="T3" fmla="*/ 190 h 211"/>
                  <a:gd name="T4" fmla="*/ 140 w 765"/>
                  <a:gd name="T5" fmla="*/ 208 h 211"/>
                  <a:gd name="T6" fmla="*/ 183 w 765"/>
                  <a:gd name="T7" fmla="*/ 210 h 211"/>
                  <a:gd name="T8" fmla="*/ 289 w 765"/>
                  <a:gd name="T9" fmla="*/ 199 h 211"/>
                  <a:gd name="T10" fmla="*/ 386 w 765"/>
                  <a:gd name="T11" fmla="*/ 185 h 211"/>
                  <a:gd name="T12" fmla="*/ 487 w 765"/>
                  <a:gd name="T13" fmla="*/ 155 h 211"/>
                  <a:gd name="T14" fmla="*/ 586 w 765"/>
                  <a:gd name="T15" fmla="*/ 117 h 211"/>
                  <a:gd name="T16" fmla="*/ 764 w 765"/>
                  <a:gd name="T17" fmla="*/ 6 h 211"/>
                  <a:gd name="T18" fmla="*/ 760 w 765"/>
                  <a:gd name="T19" fmla="*/ 2 h 211"/>
                  <a:gd name="T20" fmla="*/ 714 w 765"/>
                  <a:gd name="T21" fmla="*/ 39 h 211"/>
                  <a:gd name="T22" fmla="*/ 669 w 765"/>
                  <a:gd name="T23" fmla="*/ 66 h 211"/>
                  <a:gd name="T24" fmla="*/ 582 w 765"/>
                  <a:gd name="T25" fmla="*/ 109 h 211"/>
                  <a:gd name="T26" fmla="*/ 485 w 765"/>
                  <a:gd name="T27" fmla="*/ 147 h 211"/>
                  <a:gd name="T28" fmla="*/ 391 w 765"/>
                  <a:gd name="T29" fmla="*/ 175 h 211"/>
                  <a:gd name="T30" fmla="*/ 290 w 765"/>
                  <a:gd name="T31" fmla="*/ 190 h 211"/>
                  <a:gd name="T32" fmla="*/ 198 w 765"/>
                  <a:gd name="T33" fmla="*/ 201 h 211"/>
                  <a:gd name="T34" fmla="*/ 148 w 765"/>
                  <a:gd name="T35" fmla="*/ 201 h 211"/>
                  <a:gd name="T36" fmla="*/ 100 w 765"/>
                  <a:gd name="T37" fmla="*/ 188 h 211"/>
                  <a:gd name="T38" fmla="*/ 56 w 765"/>
                  <a:gd name="T39" fmla="*/ 175 h 211"/>
                  <a:gd name="T40" fmla="*/ 4 w 765"/>
                  <a:gd name="T41" fmla="*/ 142 h 211"/>
                  <a:gd name="T42" fmla="*/ 2 w 765"/>
                  <a:gd name="T43" fmla="*/ 145 h 2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765" h="211">
                    <a:moveTo>
                      <a:pt x="2" y="145"/>
                    </a:moveTo>
                    <a:cubicBezTo>
                      <a:pt x="24" y="165"/>
                      <a:pt x="49" y="183"/>
                      <a:pt x="78" y="190"/>
                    </a:cubicBezTo>
                    <a:cubicBezTo>
                      <a:pt x="99" y="196"/>
                      <a:pt x="119" y="204"/>
                      <a:pt x="140" y="208"/>
                    </a:cubicBezTo>
                    <a:cubicBezTo>
                      <a:pt x="155" y="211"/>
                      <a:pt x="169" y="210"/>
                      <a:pt x="183" y="210"/>
                    </a:cubicBezTo>
                    <a:cubicBezTo>
                      <a:pt x="219" y="209"/>
                      <a:pt x="254" y="203"/>
                      <a:pt x="289" y="199"/>
                    </a:cubicBezTo>
                    <a:cubicBezTo>
                      <a:pt x="322" y="196"/>
                      <a:pt x="354" y="191"/>
                      <a:pt x="386" y="185"/>
                    </a:cubicBezTo>
                    <a:cubicBezTo>
                      <a:pt x="421" y="179"/>
                      <a:pt x="454" y="168"/>
                      <a:pt x="487" y="155"/>
                    </a:cubicBezTo>
                    <a:cubicBezTo>
                      <a:pt x="521" y="143"/>
                      <a:pt x="554" y="132"/>
                      <a:pt x="586" y="117"/>
                    </a:cubicBezTo>
                    <a:cubicBezTo>
                      <a:pt x="647" y="88"/>
                      <a:pt x="721" y="61"/>
                      <a:pt x="764" y="6"/>
                    </a:cubicBezTo>
                    <a:cubicBezTo>
                      <a:pt x="765" y="4"/>
                      <a:pt x="762" y="0"/>
                      <a:pt x="760" y="2"/>
                    </a:cubicBezTo>
                    <a:cubicBezTo>
                      <a:pt x="743" y="13"/>
                      <a:pt x="730" y="28"/>
                      <a:pt x="714" y="39"/>
                    </a:cubicBezTo>
                    <a:cubicBezTo>
                      <a:pt x="700" y="50"/>
                      <a:pt x="685" y="58"/>
                      <a:pt x="669" y="66"/>
                    </a:cubicBezTo>
                    <a:cubicBezTo>
                      <a:pt x="640" y="81"/>
                      <a:pt x="611" y="95"/>
                      <a:pt x="582" y="109"/>
                    </a:cubicBezTo>
                    <a:cubicBezTo>
                      <a:pt x="550" y="124"/>
                      <a:pt x="518" y="135"/>
                      <a:pt x="485" y="147"/>
                    </a:cubicBezTo>
                    <a:cubicBezTo>
                      <a:pt x="454" y="158"/>
                      <a:pt x="424" y="169"/>
                      <a:pt x="391" y="175"/>
                    </a:cubicBezTo>
                    <a:cubicBezTo>
                      <a:pt x="357" y="182"/>
                      <a:pt x="324" y="187"/>
                      <a:pt x="290" y="190"/>
                    </a:cubicBezTo>
                    <a:cubicBezTo>
                      <a:pt x="259" y="194"/>
                      <a:pt x="229" y="200"/>
                      <a:pt x="198" y="201"/>
                    </a:cubicBezTo>
                    <a:cubicBezTo>
                      <a:pt x="182" y="202"/>
                      <a:pt x="165" y="203"/>
                      <a:pt x="148" y="201"/>
                    </a:cubicBezTo>
                    <a:cubicBezTo>
                      <a:pt x="132" y="199"/>
                      <a:pt x="116" y="193"/>
                      <a:pt x="100" y="188"/>
                    </a:cubicBezTo>
                    <a:cubicBezTo>
                      <a:pt x="86" y="183"/>
                      <a:pt x="70" y="182"/>
                      <a:pt x="56" y="175"/>
                    </a:cubicBezTo>
                    <a:cubicBezTo>
                      <a:pt x="38" y="166"/>
                      <a:pt x="21" y="153"/>
                      <a:pt x="4" y="142"/>
                    </a:cubicBezTo>
                    <a:cubicBezTo>
                      <a:pt x="2" y="141"/>
                      <a:pt x="0" y="144"/>
                      <a:pt x="2" y="145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237" name="Freeform 149">
                <a:extLst>
                  <a:ext uri="{FF2B5EF4-FFF2-40B4-BE49-F238E27FC236}">
                    <a16:creationId xmlns:a16="http://schemas.microsoft.com/office/drawing/2014/main" id="{3F30928C-A102-4366-B5A2-3251A9872B86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153" y="1448"/>
                <a:ext cx="210" cy="430"/>
              </a:xfrm>
              <a:custGeom>
                <a:avLst/>
                <a:gdLst>
                  <a:gd name="T0" fmla="*/ 1 w 198"/>
                  <a:gd name="T1" fmla="*/ 3 h 406"/>
                  <a:gd name="T2" fmla="*/ 48 w 198"/>
                  <a:gd name="T3" fmla="*/ 93 h 406"/>
                  <a:gd name="T4" fmla="*/ 81 w 198"/>
                  <a:gd name="T5" fmla="*/ 140 h 406"/>
                  <a:gd name="T6" fmla="*/ 112 w 198"/>
                  <a:gd name="T7" fmla="*/ 208 h 406"/>
                  <a:gd name="T8" fmla="*/ 140 w 198"/>
                  <a:gd name="T9" fmla="*/ 322 h 406"/>
                  <a:gd name="T10" fmla="*/ 191 w 198"/>
                  <a:gd name="T11" fmla="*/ 404 h 406"/>
                  <a:gd name="T12" fmla="*/ 195 w 198"/>
                  <a:gd name="T13" fmla="*/ 397 h 406"/>
                  <a:gd name="T14" fmla="*/ 113 w 198"/>
                  <a:gd name="T15" fmla="*/ 193 h 406"/>
                  <a:gd name="T16" fmla="*/ 92 w 198"/>
                  <a:gd name="T17" fmla="*/ 149 h 406"/>
                  <a:gd name="T18" fmla="*/ 60 w 198"/>
                  <a:gd name="T19" fmla="*/ 105 h 406"/>
                  <a:gd name="T20" fmla="*/ 32 w 198"/>
                  <a:gd name="T21" fmla="*/ 59 h 406"/>
                  <a:gd name="T22" fmla="*/ 4 w 198"/>
                  <a:gd name="T23" fmla="*/ 2 h 406"/>
                  <a:gd name="T24" fmla="*/ 1 w 198"/>
                  <a:gd name="T25" fmla="*/ 3 h 4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98" h="406">
                    <a:moveTo>
                      <a:pt x="1" y="3"/>
                    </a:moveTo>
                    <a:cubicBezTo>
                      <a:pt x="9" y="36"/>
                      <a:pt x="31" y="63"/>
                      <a:pt x="48" y="93"/>
                    </a:cubicBezTo>
                    <a:cubicBezTo>
                      <a:pt x="58" y="109"/>
                      <a:pt x="70" y="124"/>
                      <a:pt x="81" y="140"/>
                    </a:cubicBezTo>
                    <a:cubicBezTo>
                      <a:pt x="94" y="160"/>
                      <a:pt x="104" y="185"/>
                      <a:pt x="112" y="208"/>
                    </a:cubicBezTo>
                    <a:cubicBezTo>
                      <a:pt x="125" y="245"/>
                      <a:pt x="128" y="284"/>
                      <a:pt x="140" y="322"/>
                    </a:cubicBezTo>
                    <a:cubicBezTo>
                      <a:pt x="150" y="351"/>
                      <a:pt x="163" y="388"/>
                      <a:pt x="191" y="404"/>
                    </a:cubicBezTo>
                    <a:cubicBezTo>
                      <a:pt x="195" y="406"/>
                      <a:pt x="198" y="400"/>
                      <a:pt x="195" y="397"/>
                    </a:cubicBezTo>
                    <a:cubicBezTo>
                      <a:pt x="137" y="345"/>
                      <a:pt x="142" y="260"/>
                      <a:pt x="113" y="193"/>
                    </a:cubicBezTo>
                    <a:cubicBezTo>
                      <a:pt x="106" y="178"/>
                      <a:pt x="100" y="163"/>
                      <a:pt x="92" y="149"/>
                    </a:cubicBezTo>
                    <a:cubicBezTo>
                      <a:pt x="82" y="134"/>
                      <a:pt x="70" y="120"/>
                      <a:pt x="60" y="105"/>
                    </a:cubicBezTo>
                    <a:cubicBezTo>
                      <a:pt x="50" y="90"/>
                      <a:pt x="42" y="74"/>
                      <a:pt x="32" y="59"/>
                    </a:cubicBezTo>
                    <a:cubicBezTo>
                      <a:pt x="21" y="41"/>
                      <a:pt x="9" y="23"/>
                      <a:pt x="4" y="2"/>
                    </a:cubicBezTo>
                    <a:cubicBezTo>
                      <a:pt x="3" y="0"/>
                      <a:pt x="0" y="1"/>
                      <a:pt x="1" y="3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238" name="Freeform 150">
                <a:extLst>
                  <a:ext uri="{FF2B5EF4-FFF2-40B4-BE49-F238E27FC236}">
                    <a16:creationId xmlns:a16="http://schemas.microsoft.com/office/drawing/2014/main" id="{4CE16B5E-D7CB-4FF9-BEF7-A58CB98E96B5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406" y="1602"/>
                <a:ext cx="49" cy="492"/>
              </a:xfrm>
              <a:custGeom>
                <a:avLst/>
                <a:gdLst>
                  <a:gd name="T0" fmla="*/ 28 w 46"/>
                  <a:gd name="T1" fmla="*/ 4 h 465"/>
                  <a:gd name="T2" fmla="*/ 33 w 46"/>
                  <a:gd name="T3" fmla="*/ 70 h 465"/>
                  <a:gd name="T4" fmla="*/ 29 w 46"/>
                  <a:gd name="T5" fmla="*/ 130 h 465"/>
                  <a:gd name="T6" fmla="*/ 35 w 46"/>
                  <a:gd name="T7" fmla="*/ 249 h 465"/>
                  <a:gd name="T8" fmla="*/ 37 w 46"/>
                  <a:gd name="T9" fmla="*/ 364 h 465"/>
                  <a:gd name="T10" fmla="*/ 3 w 46"/>
                  <a:gd name="T11" fmla="*/ 459 h 465"/>
                  <a:gd name="T12" fmla="*/ 8 w 46"/>
                  <a:gd name="T13" fmla="*/ 464 h 465"/>
                  <a:gd name="T14" fmla="*/ 41 w 46"/>
                  <a:gd name="T15" fmla="*/ 393 h 465"/>
                  <a:gd name="T16" fmla="*/ 41 w 46"/>
                  <a:gd name="T17" fmla="*/ 256 h 465"/>
                  <a:gd name="T18" fmla="*/ 34 w 46"/>
                  <a:gd name="T19" fmla="*/ 108 h 465"/>
                  <a:gd name="T20" fmla="*/ 41 w 46"/>
                  <a:gd name="T21" fmla="*/ 30 h 465"/>
                  <a:gd name="T22" fmla="*/ 30 w 46"/>
                  <a:gd name="T23" fmla="*/ 1 h 465"/>
                  <a:gd name="T24" fmla="*/ 28 w 46"/>
                  <a:gd name="T25" fmla="*/ 4 h 4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46" h="465">
                    <a:moveTo>
                      <a:pt x="28" y="4"/>
                    </a:moveTo>
                    <a:cubicBezTo>
                      <a:pt x="43" y="19"/>
                      <a:pt x="35" y="51"/>
                      <a:pt x="33" y="70"/>
                    </a:cubicBezTo>
                    <a:cubicBezTo>
                      <a:pt x="30" y="90"/>
                      <a:pt x="30" y="110"/>
                      <a:pt x="29" y="130"/>
                    </a:cubicBezTo>
                    <a:cubicBezTo>
                      <a:pt x="29" y="170"/>
                      <a:pt x="32" y="209"/>
                      <a:pt x="35" y="249"/>
                    </a:cubicBezTo>
                    <a:cubicBezTo>
                      <a:pt x="38" y="287"/>
                      <a:pt x="40" y="326"/>
                      <a:pt x="37" y="364"/>
                    </a:cubicBezTo>
                    <a:cubicBezTo>
                      <a:pt x="35" y="401"/>
                      <a:pt x="31" y="433"/>
                      <a:pt x="3" y="459"/>
                    </a:cubicBezTo>
                    <a:cubicBezTo>
                      <a:pt x="0" y="461"/>
                      <a:pt x="5" y="465"/>
                      <a:pt x="8" y="464"/>
                    </a:cubicBezTo>
                    <a:cubicBezTo>
                      <a:pt x="31" y="451"/>
                      <a:pt x="38" y="417"/>
                      <a:pt x="41" y="393"/>
                    </a:cubicBezTo>
                    <a:cubicBezTo>
                      <a:pt x="46" y="347"/>
                      <a:pt x="44" y="301"/>
                      <a:pt x="41" y="256"/>
                    </a:cubicBezTo>
                    <a:cubicBezTo>
                      <a:pt x="37" y="206"/>
                      <a:pt x="32" y="157"/>
                      <a:pt x="34" y="108"/>
                    </a:cubicBezTo>
                    <a:cubicBezTo>
                      <a:pt x="35" y="82"/>
                      <a:pt x="42" y="56"/>
                      <a:pt x="41" y="30"/>
                    </a:cubicBezTo>
                    <a:cubicBezTo>
                      <a:pt x="41" y="19"/>
                      <a:pt x="39" y="8"/>
                      <a:pt x="30" y="1"/>
                    </a:cubicBezTo>
                    <a:cubicBezTo>
                      <a:pt x="28" y="0"/>
                      <a:pt x="26" y="2"/>
                      <a:pt x="28" y="4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239" name="Freeform 151">
                <a:extLst>
                  <a:ext uri="{FF2B5EF4-FFF2-40B4-BE49-F238E27FC236}">
                    <a16:creationId xmlns:a16="http://schemas.microsoft.com/office/drawing/2014/main" id="{B54F478D-D503-4217-8153-C0E979A6E1D2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177" y="1523"/>
                <a:ext cx="43" cy="78"/>
              </a:xfrm>
              <a:custGeom>
                <a:avLst/>
                <a:gdLst>
                  <a:gd name="T0" fmla="*/ 40 w 40"/>
                  <a:gd name="T1" fmla="*/ 73 h 73"/>
                  <a:gd name="T2" fmla="*/ 27 w 40"/>
                  <a:gd name="T3" fmla="*/ 40 h 73"/>
                  <a:gd name="T4" fmla="*/ 2 w 40"/>
                  <a:gd name="T5" fmla="*/ 0 h 73"/>
                  <a:gd name="T6" fmla="*/ 1 w 40"/>
                  <a:gd name="T7" fmla="*/ 1 h 73"/>
                  <a:gd name="T8" fmla="*/ 21 w 40"/>
                  <a:gd name="T9" fmla="*/ 38 h 73"/>
                  <a:gd name="T10" fmla="*/ 40 w 40"/>
                  <a:gd name="T11" fmla="*/ 73 h 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0" h="73">
                    <a:moveTo>
                      <a:pt x="40" y="73"/>
                    </a:moveTo>
                    <a:cubicBezTo>
                      <a:pt x="38" y="60"/>
                      <a:pt x="34" y="51"/>
                      <a:pt x="27" y="40"/>
                    </a:cubicBezTo>
                    <a:cubicBezTo>
                      <a:pt x="19" y="26"/>
                      <a:pt x="13" y="12"/>
                      <a:pt x="2" y="0"/>
                    </a:cubicBezTo>
                    <a:cubicBezTo>
                      <a:pt x="1" y="0"/>
                      <a:pt x="0" y="0"/>
                      <a:pt x="1" y="1"/>
                    </a:cubicBezTo>
                    <a:cubicBezTo>
                      <a:pt x="10" y="13"/>
                      <a:pt x="15" y="25"/>
                      <a:pt x="21" y="38"/>
                    </a:cubicBezTo>
                    <a:cubicBezTo>
                      <a:pt x="27" y="50"/>
                      <a:pt x="35" y="60"/>
                      <a:pt x="40" y="73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240" name="Freeform 152">
                <a:extLst>
                  <a:ext uri="{FF2B5EF4-FFF2-40B4-BE49-F238E27FC236}">
                    <a16:creationId xmlns:a16="http://schemas.microsoft.com/office/drawing/2014/main" id="{58502AD3-1642-44E8-821B-F92DCF5429E6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158" y="1497"/>
                <a:ext cx="8" cy="12"/>
              </a:xfrm>
              <a:custGeom>
                <a:avLst/>
                <a:gdLst>
                  <a:gd name="T0" fmla="*/ 7 w 7"/>
                  <a:gd name="T1" fmla="*/ 12 h 12"/>
                  <a:gd name="T2" fmla="*/ 0 w 7"/>
                  <a:gd name="T3" fmla="*/ 0 h 12"/>
                  <a:gd name="T4" fmla="*/ 0 w 7"/>
                  <a:gd name="T5" fmla="*/ 0 h 12"/>
                  <a:gd name="T6" fmla="*/ 7 w 7"/>
                  <a:gd name="T7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7" h="12">
                    <a:moveTo>
                      <a:pt x="7" y="12"/>
                    </a:moveTo>
                    <a:cubicBezTo>
                      <a:pt x="6" y="7"/>
                      <a:pt x="3" y="3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2" y="4"/>
                      <a:pt x="6" y="7"/>
                      <a:pt x="7" y="12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241" name="Freeform 153">
                <a:extLst>
                  <a:ext uri="{FF2B5EF4-FFF2-40B4-BE49-F238E27FC236}">
                    <a16:creationId xmlns:a16="http://schemas.microsoft.com/office/drawing/2014/main" id="{B2654AE8-FA28-4389-9234-2F3A3EC7A49E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139" y="1469"/>
                <a:ext cx="12" cy="17"/>
              </a:xfrm>
              <a:custGeom>
                <a:avLst/>
                <a:gdLst>
                  <a:gd name="T0" fmla="*/ 11 w 11"/>
                  <a:gd name="T1" fmla="*/ 16 h 16"/>
                  <a:gd name="T2" fmla="*/ 2 w 11"/>
                  <a:gd name="T3" fmla="*/ 1 h 16"/>
                  <a:gd name="T4" fmla="*/ 0 w 11"/>
                  <a:gd name="T5" fmla="*/ 2 h 16"/>
                  <a:gd name="T6" fmla="*/ 11 w 11"/>
                  <a:gd name="T7" fmla="*/ 16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1" h="16">
                    <a:moveTo>
                      <a:pt x="11" y="16"/>
                    </a:moveTo>
                    <a:cubicBezTo>
                      <a:pt x="8" y="11"/>
                      <a:pt x="5" y="6"/>
                      <a:pt x="2" y="1"/>
                    </a:cubicBezTo>
                    <a:cubicBezTo>
                      <a:pt x="1" y="0"/>
                      <a:pt x="0" y="1"/>
                      <a:pt x="0" y="2"/>
                    </a:cubicBezTo>
                    <a:cubicBezTo>
                      <a:pt x="4" y="7"/>
                      <a:pt x="8" y="11"/>
                      <a:pt x="11" y="16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242" name="Freeform 154">
                <a:extLst>
                  <a:ext uri="{FF2B5EF4-FFF2-40B4-BE49-F238E27FC236}">
                    <a16:creationId xmlns:a16="http://schemas.microsoft.com/office/drawing/2014/main" id="{A82181F2-420B-4CD8-A05F-06527AE888B7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224" y="1616"/>
                <a:ext cx="11" cy="13"/>
              </a:xfrm>
              <a:custGeom>
                <a:avLst/>
                <a:gdLst>
                  <a:gd name="T0" fmla="*/ 1 w 10"/>
                  <a:gd name="T1" fmla="*/ 3 h 12"/>
                  <a:gd name="T2" fmla="*/ 5 w 10"/>
                  <a:gd name="T3" fmla="*/ 6 h 12"/>
                  <a:gd name="T4" fmla="*/ 7 w 10"/>
                  <a:gd name="T5" fmla="*/ 11 h 12"/>
                  <a:gd name="T6" fmla="*/ 10 w 10"/>
                  <a:gd name="T7" fmla="*/ 10 h 12"/>
                  <a:gd name="T8" fmla="*/ 3 w 10"/>
                  <a:gd name="T9" fmla="*/ 1 h 12"/>
                  <a:gd name="T10" fmla="*/ 1 w 10"/>
                  <a:gd name="T11" fmla="*/ 3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0" h="12">
                    <a:moveTo>
                      <a:pt x="1" y="3"/>
                    </a:moveTo>
                    <a:cubicBezTo>
                      <a:pt x="3" y="4"/>
                      <a:pt x="4" y="5"/>
                      <a:pt x="5" y="6"/>
                    </a:cubicBezTo>
                    <a:cubicBezTo>
                      <a:pt x="6" y="7"/>
                      <a:pt x="7" y="9"/>
                      <a:pt x="7" y="11"/>
                    </a:cubicBezTo>
                    <a:cubicBezTo>
                      <a:pt x="8" y="12"/>
                      <a:pt x="10" y="11"/>
                      <a:pt x="10" y="10"/>
                    </a:cubicBezTo>
                    <a:cubicBezTo>
                      <a:pt x="9" y="6"/>
                      <a:pt x="6" y="3"/>
                      <a:pt x="3" y="1"/>
                    </a:cubicBezTo>
                    <a:cubicBezTo>
                      <a:pt x="1" y="0"/>
                      <a:pt x="0" y="2"/>
                      <a:pt x="1" y="3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243" name="Freeform 155">
                <a:extLst>
                  <a:ext uri="{FF2B5EF4-FFF2-40B4-BE49-F238E27FC236}">
                    <a16:creationId xmlns:a16="http://schemas.microsoft.com/office/drawing/2014/main" id="{585F4A4F-FB51-4555-8391-272CDB1E2064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457" y="1627"/>
                <a:ext cx="15" cy="257"/>
              </a:xfrm>
              <a:custGeom>
                <a:avLst/>
                <a:gdLst>
                  <a:gd name="T0" fmla="*/ 13 w 14"/>
                  <a:gd name="T1" fmla="*/ 242 h 243"/>
                  <a:gd name="T2" fmla="*/ 2 w 14"/>
                  <a:gd name="T3" fmla="*/ 115 h 243"/>
                  <a:gd name="T4" fmla="*/ 7 w 14"/>
                  <a:gd name="T5" fmla="*/ 55 h 243"/>
                  <a:gd name="T6" fmla="*/ 13 w 14"/>
                  <a:gd name="T7" fmla="*/ 2 h 243"/>
                  <a:gd name="T8" fmla="*/ 10 w 14"/>
                  <a:gd name="T9" fmla="*/ 2 h 243"/>
                  <a:gd name="T10" fmla="*/ 1 w 14"/>
                  <a:gd name="T11" fmla="*/ 126 h 243"/>
                  <a:gd name="T12" fmla="*/ 12 w 14"/>
                  <a:gd name="T13" fmla="*/ 242 h 243"/>
                  <a:gd name="T14" fmla="*/ 13 w 14"/>
                  <a:gd name="T15" fmla="*/ 242 h 2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4" h="243">
                    <a:moveTo>
                      <a:pt x="13" y="242"/>
                    </a:moveTo>
                    <a:cubicBezTo>
                      <a:pt x="11" y="200"/>
                      <a:pt x="2" y="157"/>
                      <a:pt x="2" y="115"/>
                    </a:cubicBezTo>
                    <a:cubicBezTo>
                      <a:pt x="2" y="95"/>
                      <a:pt x="5" y="75"/>
                      <a:pt x="7" y="55"/>
                    </a:cubicBezTo>
                    <a:cubicBezTo>
                      <a:pt x="8" y="37"/>
                      <a:pt x="13" y="20"/>
                      <a:pt x="13" y="2"/>
                    </a:cubicBezTo>
                    <a:cubicBezTo>
                      <a:pt x="13" y="0"/>
                      <a:pt x="10" y="0"/>
                      <a:pt x="10" y="2"/>
                    </a:cubicBezTo>
                    <a:cubicBezTo>
                      <a:pt x="8" y="43"/>
                      <a:pt x="0" y="84"/>
                      <a:pt x="1" y="126"/>
                    </a:cubicBezTo>
                    <a:cubicBezTo>
                      <a:pt x="3" y="165"/>
                      <a:pt x="8" y="203"/>
                      <a:pt x="12" y="242"/>
                    </a:cubicBezTo>
                    <a:cubicBezTo>
                      <a:pt x="12" y="243"/>
                      <a:pt x="14" y="243"/>
                      <a:pt x="13" y="242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244" name="Freeform 156">
                <a:extLst>
                  <a:ext uri="{FF2B5EF4-FFF2-40B4-BE49-F238E27FC236}">
                    <a16:creationId xmlns:a16="http://schemas.microsoft.com/office/drawing/2014/main" id="{AC24EF58-BDA2-43EA-8FA3-F92075BE4F6A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425" y="1926"/>
                <a:ext cx="51" cy="167"/>
              </a:xfrm>
              <a:custGeom>
                <a:avLst/>
                <a:gdLst>
                  <a:gd name="T0" fmla="*/ 44 w 48"/>
                  <a:gd name="T1" fmla="*/ 1 h 158"/>
                  <a:gd name="T2" fmla="*/ 39 w 48"/>
                  <a:gd name="T3" fmla="*/ 45 h 158"/>
                  <a:gd name="T4" fmla="*/ 36 w 48"/>
                  <a:gd name="T5" fmla="*/ 81 h 158"/>
                  <a:gd name="T6" fmla="*/ 1 w 48"/>
                  <a:gd name="T7" fmla="*/ 152 h 158"/>
                  <a:gd name="T8" fmla="*/ 6 w 48"/>
                  <a:gd name="T9" fmla="*/ 156 h 158"/>
                  <a:gd name="T10" fmla="*/ 39 w 48"/>
                  <a:gd name="T11" fmla="*/ 88 h 158"/>
                  <a:gd name="T12" fmla="*/ 44 w 48"/>
                  <a:gd name="T13" fmla="*/ 43 h 158"/>
                  <a:gd name="T14" fmla="*/ 46 w 48"/>
                  <a:gd name="T15" fmla="*/ 1 h 158"/>
                  <a:gd name="T16" fmla="*/ 44 w 48"/>
                  <a:gd name="T17" fmla="*/ 1 h 1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8" h="158">
                    <a:moveTo>
                      <a:pt x="44" y="1"/>
                    </a:moveTo>
                    <a:cubicBezTo>
                      <a:pt x="45" y="16"/>
                      <a:pt x="41" y="31"/>
                      <a:pt x="39" y="45"/>
                    </a:cubicBezTo>
                    <a:cubicBezTo>
                      <a:pt x="38" y="57"/>
                      <a:pt x="38" y="69"/>
                      <a:pt x="36" y="81"/>
                    </a:cubicBezTo>
                    <a:cubicBezTo>
                      <a:pt x="31" y="108"/>
                      <a:pt x="18" y="131"/>
                      <a:pt x="1" y="152"/>
                    </a:cubicBezTo>
                    <a:cubicBezTo>
                      <a:pt x="0" y="155"/>
                      <a:pt x="4" y="158"/>
                      <a:pt x="6" y="156"/>
                    </a:cubicBezTo>
                    <a:cubicBezTo>
                      <a:pt x="22" y="137"/>
                      <a:pt x="34" y="112"/>
                      <a:pt x="39" y="88"/>
                    </a:cubicBezTo>
                    <a:cubicBezTo>
                      <a:pt x="43" y="73"/>
                      <a:pt x="43" y="59"/>
                      <a:pt x="44" y="43"/>
                    </a:cubicBezTo>
                    <a:cubicBezTo>
                      <a:pt x="45" y="29"/>
                      <a:pt x="48" y="15"/>
                      <a:pt x="46" y="1"/>
                    </a:cubicBezTo>
                    <a:cubicBezTo>
                      <a:pt x="46" y="0"/>
                      <a:pt x="44" y="0"/>
                      <a:pt x="44" y="1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245" name="Freeform 157">
                <a:extLst>
                  <a:ext uri="{FF2B5EF4-FFF2-40B4-BE49-F238E27FC236}">
                    <a16:creationId xmlns:a16="http://schemas.microsoft.com/office/drawing/2014/main" id="{575559CE-81BC-4F7E-80FC-D417F4ED8F7F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493" y="1634"/>
                <a:ext cx="22" cy="338"/>
              </a:xfrm>
              <a:custGeom>
                <a:avLst/>
                <a:gdLst>
                  <a:gd name="T0" fmla="*/ 17 w 21"/>
                  <a:gd name="T1" fmla="*/ 2 h 319"/>
                  <a:gd name="T2" fmla="*/ 5 w 21"/>
                  <a:gd name="T3" fmla="*/ 69 h 319"/>
                  <a:gd name="T4" fmla="*/ 2 w 21"/>
                  <a:gd name="T5" fmla="*/ 155 h 319"/>
                  <a:gd name="T6" fmla="*/ 1 w 21"/>
                  <a:gd name="T7" fmla="*/ 315 h 319"/>
                  <a:gd name="T8" fmla="*/ 6 w 21"/>
                  <a:gd name="T9" fmla="*/ 316 h 319"/>
                  <a:gd name="T10" fmla="*/ 10 w 21"/>
                  <a:gd name="T11" fmla="*/ 248 h 319"/>
                  <a:gd name="T12" fmla="*/ 7 w 21"/>
                  <a:gd name="T13" fmla="*/ 162 h 319"/>
                  <a:gd name="T14" fmla="*/ 9 w 21"/>
                  <a:gd name="T15" fmla="*/ 77 h 319"/>
                  <a:gd name="T16" fmla="*/ 20 w 21"/>
                  <a:gd name="T17" fmla="*/ 3 h 319"/>
                  <a:gd name="T18" fmla="*/ 17 w 21"/>
                  <a:gd name="T19" fmla="*/ 2 h 3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1" h="319">
                    <a:moveTo>
                      <a:pt x="17" y="2"/>
                    </a:moveTo>
                    <a:cubicBezTo>
                      <a:pt x="8" y="22"/>
                      <a:pt x="8" y="48"/>
                      <a:pt x="5" y="69"/>
                    </a:cubicBezTo>
                    <a:cubicBezTo>
                      <a:pt x="2" y="97"/>
                      <a:pt x="2" y="127"/>
                      <a:pt x="2" y="155"/>
                    </a:cubicBezTo>
                    <a:cubicBezTo>
                      <a:pt x="2" y="208"/>
                      <a:pt x="8" y="262"/>
                      <a:pt x="1" y="315"/>
                    </a:cubicBezTo>
                    <a:cubicBezTo>
                      <a:pt x="0" y="318"/>
                      <a:pt x="5" y="319"/>
                      <a:pt x="6" y="316"/>
                    </a:cubicBezTo>
                    <a:cubicBezTo>
                      <a:pt x="11" y="295"/>
                      <a:pt x="10" y="270"/>
                      <a:pt x="10" y="248"/>
                    </a:cubicBezTo>
                    <a:cubicBezTo>
                      <a:pt x="10" y="219"/>
                      <a:pt x="7" y="191"/>
                      <a:pt x="7" y="162"/>
                    </a:cubicBezTo>
                    <a:cubicBezTo>
                      <a:pt x="7" y="134"/>
                      <a:pt x="6" y="105"/>
                      <a:pt x="9" y="77"/>
                    </a:cubicBezTo>
                    <a:cubicBezTo>
                      <a:pt x="12" y="53"/>
                      <a:pt x="13" y="25"/>
                      <a:pt x="20" y="3"/>
                    </a:cubicBezTo>
                    <a:cubicBezTo>
                      <a:pt x="21" y="1"/>
                      <a:pt x="17" y="0"/>
                      <a:pt x="17" y="2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246" name="Freeform 158">
                <a:extLst>
                  <a:ext uri="{FF2B5EF4-FFF2-40B4-BE49-F238E27FC236}">
                    <a16:creationId xmlns:a16="http://schemas.microsoft.com/office/drawing/2014/main" id="{A614E495-7686-43D9-80EE-44CC8A9BD8F5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100" y="1487"/>
                <a:ext cx="189" cy="310"/>
              </a:xfrm>
              <a:custGeom>
                <a:avLst/>
                <a:gdLst>
                  <a:gd name="T0" fmla="*/ 1 w 178"/>
                  <a:gd name="T1" fmla="*/ 3 h 293"/>
                  <a:gd name="T2" fmla="*/ 89 w 178"/>
                  <a:gd name="T3" fmla="*/ 141 h 293"/>
                  <a:gd name="T4" fmla="*/ 132 w 178"/>
                  <a:gd name="T5" fmla="*/ 215 h 293"/>
                  <a:gd name="T6" fmla="*/ 171 w 178"/>
                  <a:gd name="T7" fmla="*/ 290 h 293"/>
                  <a:gd name="T8" fmla="*/ 176 w 178"/>
                  <a:gd name="T9" fmla="*/ 287 h 293"/>
                  <a:gd name="T10" fmla="*/ 137 w 178"/>
                  <a:gd name="T11" fmla="*/ 212 h 293"/>
                  <a:gd name="T12" fmla="*/ 95 w 178"/>
                  <a:gd name="T13" fmla="*/ 141 h 293"/>
                  <a:gd name="T14" fmla="*/ 42 w 178"/>
                  <a:gd name="T15" fmla="*/ 56 h 293"/>
                  <a:gd name="T16" fmla="*/ 3 w 178"/>
                  <a:gd name="T17" fmla="*/ 1 h 293"/>
                  <a:gd name="T18" fmla="*/ 1 w 178"/>
                  <a:gd name="T19" fmla="*/ 3 h 2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78" h="293">
                    <a:moveTo>
                      <a:pt x="1" y="3"/>
                    </a:moveTo>
                    <a:cubicBezTo>
                      <a:pt x="39" y="43"/>
                      <a:pt x="58" y="96"/>
                      <a:pt x="89" y="141"/>
                    </a:cubicBezTo>
                    <a:cubicBezTo>
                      <a:pt x="104" y="165"/>
                      <a:pt x="119" y="189"/>
                      <a:pt x="132" y="215"/>
                    </a:cubicBezTo>
                    <a:cubicBezTo>
                      <a:pt x="143" y="240"/>
                      <a:pt x="153" y="269"/>
                      <a:pt x="171" y="290"/>
                    </a:cubicBezTo>
                    <a:cubicBezTo>
                      <a:pt x="173" y="293"/>
                      <a:pt x="178" y="290"/>
                      <a:pt x="176" y="287"/>
                    </a:cubicBezTo>
                    <a:cubicBezTo>
                      <a:pt x="161" y="263"/>
                      <a:pt x="149" y="237"/>
                      <a:pt x="137" y="212"/>
                    </a:cubicBezTo>
                    <a:cubicBezTo>
                      <a:pt x="125" y="187"/>
                      <a:pt x="110" y="164"/>
                      <a:pt x="95" y="141"/>
                    </a:cubicBezTo>
                    <a:cubicBezTo>
                      <a:pt x="76" y="114"/>
                      <a:pt x="59" y="85"/>
                      <a:pt x="42" y="56"/>
                    </a:cubicBezTo>
                    <a:cubicBezTo>
                      <a:pt x="30" y="37"/>
                      <a:pt x="21" y="15"/>
                      <a:pt x="3" y="1"/>
                    </a:cubicBezTo>
                    <a:cubicBezTo>
                      <a:pt x="2" y="0"/>
                      <a:pt x="0" y="1"/>
                      <a:pt x="1" y="3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247" name="Freeform 159">
                <a:extLst>
                  <a:ext uri="{FF2B5EF4-FFF2-40B4-BE49-F238E27FC236}">
                    <a16:creationId xmlns:a16="http://schemas.microsoft.com/office/drawing/2014/main" id="{CF312B4D-D7E5-4B95-A9C7-7B77D232FEBB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500" y="1647"/>
                <a:ext cx="232" cy="40"/>
              </a:xfrm>
              <a:custGeom>
                <a:avLst/>
                <a:gdLst>
                  <a:gd name="T0" fmla="*/ 3 w 219"/>
                  <a:gd name="T1" fmla="*/ 13 h 38"/>
                  <a:gd name="T2" fmla="*/ 140 w 219"/>
                  <a:gd name="T3" fmla="*/ 34 h 38"/>
                  <a:gd name="T4" fmla="*/ 217 w 219"/>
                  <a:gd name="T5" fmla="*/ 8 h 38"/>
                  <a:gd name="T6" fmla="*/ 210 w 219"/>
                  <a:gd name="T7" fmla="*/ 5 h 38"/>
                  <a:gd name="T8" fmla="*/ 110 w 219"/>
                  <a:gd name="T9" fmla="*/ 25 h 38"/>
                  <a:gd name="T10" fmla="*/ 5 w 219"/>
                  <a:gd name="T11" fmla="*/ 8 h 38"/>
                  <a:gd name="T12" fmla="*/ 3 w 219"/>
                  <a:gd name="T13" fmla="*/ 13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19" h="38">
                    <a:moveTo>
                      <a:pt x="3" y="13"/>
                    </a:moveTo>
                    <a:cubicBezTo>
                      <a:pt x="47" y="25"/>
                      <a:pt x="94" y="32"/>
                      <a:pt x="140" y="34"/>
                    </a:cubicBezTo>
                    <a:cubicBezTo>
                      <a:pt x="164" y="35"/>
                      <a:pt x="208" y="38"/>
                      <a:pt x="217" y="8"/>
                    </a:cubicBezTo>
                    <a:cubicBezTo>
                      <a:pt x="219" y="3"/>
                      <a:pt x="211" y="0"/>
                      <a:pt x="210" y="5"/>
                    </a:cubicBezTo>
                    <a:cubicBezTo>
                      <a:pt x="201" y="36"/>
                      <a:pt x="133" y="27"/>
                      <a:pt x="110" y="25"/>
                    </a:cubicBezTo>
                    <a:cubicBezTo>
                      <a:pt x="75" y="21"/>
                      <a:pt x="40" y="16"/>
                      <a:pt x="5" y="8"/>
                    </a:cubicBezTo>
                    <a:cubicBezTo>
                      <a:pt x="2" y="7"/>
                      <a:pt x="0" y="12"/>
                      <a:pt x="3" y="13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248" name="Freeform 160">
                <a:extLst>
                  <a:ext uri="{FF2B5EF4-FFF2-40B4-BE49-F238E27FC236}">
                    <a16:creationId xmlns:a16="http://schemas.microsoft.com/office/drawing/2014/main" id="{D101E198-C23F-4882-AC10-96F94A3CA602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703" y="1583"/>
                <a:ext cx="283" cy="79"/>
              </a:xfrm>
              <a:custGeom>
                <a:avLst/>
                <a:gdLst>
                  <a:gd name="T0" fmla="*/ 3 w 267"/>
                  <a:gd name="T1" fmla="*/ 69 h 75"/>
                  <a:gd name="T2" fmla="*/ 61 w 267"/>
                  <a:gd name="T3" fmla="*/ 63 h 75"/>
                  <a:gd name="T4" fmla="*/ 136 w 267"/>
                  <a:gd name="T5" fmla="*/ 47 h 75"/>
                  <a:gd name="T6" fmla="*/ 204 w 267"/>
                  <a:gd name="T7" fmla="*/ 29 h 75"/>
                  <a:gd name="T8" fmla="*/ 264 w 267"/>
                  <a:gd name="T9" fmla="*/ 6 h 75"/>
                  <a:gd name="T10" fmla="*/ 263 w 267"/>
                  <a:gd name="T11" fmla="*/ 1 h 75"/>
                  <a:gd name="T12" fmla="*/ 131 w 267"/>
                  <a:gd name="T13" fmla="*/ 40 h 75"/>
                  <a:gd name="T14" fmla="*/ 67 w 267"/>
                  <a:gd name="T15" fmla="*/ 54 h 75"/>
                  <a:gd name="T16" fmla="*/ 4 w 267"/>
                  <a:gd name="T17" fmla="*/ 64 h 75"/>
                  <a:gd name="T18" fmla="*/ 3 w 267"/>
                  <a:gd name="T19" fmla="*/ 69 h 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67" h="75">
                    <a:moveTo>
                      <a:pt x="3" y="69"/>
                    </a:moveTo>
                    <a:cubicBezTo>
                      <a:pt x="19" y="75"/>
                      <a:pt x="45" y="67"/>
                      <a:pt x="61" y="63"/>
                    </a:cubicBezTo>
                    <a:cubicBezTo>
                      <a:pt x="86" y="58"/>
                      <a:pt x="111" y="52"/>
                      <a:pt x="136" y="47"/>
                    </a:cubicBezTo>
                    <a:cubicBezTo>
                      <a:pt x="159" y="42"/>
                      <a:pt x="181" y="36"/>
                      <a:pt x="204" y="29"/>
                    </a:cubicBezTo>
                    <a:cubicBezTo>
                      <a:pt x="224" y="22"/>
                      <a:pt x="246" y="18"/>
                      <a:pt x="264" y="6"/>
                    </a:cubicBezTo>
                    <a:cubicBezTo>
                      <a:pt x="267" y="5"/>
                      <a:pt x="266" y="0"/>
                      <a:pt x="263" y="1"/>
                    </a:cubicBezTo>
                    <a:cubicBezTo>
                      <a:pt x="219" y="16"/>
                      <a:pt x="176" y="30"/>
                      <a:pt x="131" y="40"/>
                    </a:cubicBezTo>
                    <a:cubicBezTo>
                      <a:pt x="110" y="45"/>
                      <a:pt x="88" y="49"/>
                      <a:pt x="67" y="54"/>
                    </a:cubicBezTo>
                    <a:cubicBezTo>
                      <a:pt x="48" y="58"/>
                      <a:pt x="23" y="66"/>
                      <a:pt x="4" y="64"/>
                    </a:cubicBezTo>
                    <a:cubicBezTo>
                      <a:pt x="1" y="64"/>
                      <a:pt x="0" y="68"/>
                      <a:pt x="3" y="69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249" name="Freeform 161">
                <a:extLst>
                  <a:ext uri="{FF2B5EF4-FFF2-40B4-BE49-F238E27FC236}">
                    <a16:creationId xmlns:a16="http://schemas.microsoft.com/office/drawing/2014/main" id="{69A3CB2B-B12A-435A-BABF-43839244D0E4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927" y="1523"/>
                <a:ext cx="212" cy="107"/>
              </a:xfrm>
              <a:custGeom>
                <a:avLst/>
                <a:gdLst>
                  <a:gd name="T0" fmla="*/ 2 w 200"/>
                  <a:gd name="T1" fmla="*/ 74 h 101"/>
                  <a:gd name="T2" fmla="*/ 97 w 200"/>
                  <a:gd name="T3" fmla="*/ 72 h 101"/>
                  <a:gd name="T4" fmla="*/ 151 w 200"/>
                  <a:gd name="T5" fmla="*/ 44 h 101"/>
                  <a:gd name="T6" fmla="*/ 172 w 200"/>
                  <a:gd name="T7" fmla="*/ 29 h 101"/>
                  <a:gd name="T8" fmla="*/ 196 w 200"/>
                  <a:gd name="T9" fmla="*/ 9 h 101"/>
                  <a:gd name="T10" fmla="*/ 193 w 200"/>
                  <a:gd name="T11" fmla="*/ 2 h 101"/>
                  <a:gd name="T12" fmla="*/ 167 w 200"/>
                  <a:gd name="T13" fmla="*/ 23 h 101"/>
                  <a:gd name="T14" fmla="*/ 120 w 200"/>
                  <a:gd name="T15" fmla="*/ 53 h 101"/>
                  <a:gd name="T16" fmla="*/ 72 w 200"/>
                  <a:gd name="T17" fmla="*/ 73 h 101"/>
                  <a:gd name="T18" fmla="*/ 47 w 200"/>
                  <a:gd name="T19" fmla="*/ 80 h 101"/>
                  <a:gd name="T20" fmla="*/ 4 w 200"/>
                  <a:gd name="T21" fmla="*/ 71 h 101"/>
                  <a:gd name="T22" fmla="*/ 2 w 200"/>
                  <a:gd name="T23" fmla="*/ 74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200" h="101">
                    <a:moveTo>
                      <a:pt x="2" y="74"/>
                    </a:moveTo>
                    <a:cubicBezTo>
                      <a:pt x="28" y="101"/>
                      <a:pt x="66" y="84"/>
                      <a:pt x="97" y="72"/>
                    </a:cubicBezTo>
                    <a:cubicBezTo>
                      <a:pt x="116" y="65"/>
                      <a:pt x="134" y="55"/>
                      <a:pt x="151" y="44"/>
                    </a:cubicBezTo>
                    <a:cubicBezTo>
                      <a:pt x="159" y="39"/>
                      <a:pt x="165" y="34"/>
                      <a:pt x="172" y="29"/>
                    </a:cubicBezTo>
                    <a:cubicBezTo>
                      <a:pt x="180" y="23"/>
                      <a:pt x="188" y="14"/>
                      <a:pt x="196" y="9"/>
                    </a:cubicBezTo>
                    <a:cubicBezTo>
                      <a:pt x="200" y="6"/>
                      <a:pt x="197" y="0"/>
                      <a:pt x="193" y="2"/>
                    </a:cubicBezTo>
                    <a:cubicBezTo>
                      <a:pt x="183" y="6"/>
                      <a:pt x="176" y="16"/>
                      <a:pt x="167" y="23"/>
                    </a:cubicBezTo>
                    <a:cubicBezTo>
                      <a:pt x="152" y="34"/>
                      <a:pt x="137" y="44"/>
                      <a:pt x="120" y="53"/>
                    </a:cubicBezTo>
                    <a:cubicBezTo>
                      <a:pt x="105" y="61"/>
                      <a:pt x="89" y="67"/>
                      <a:pt x="72" y="73"/>
                    </a:cubicBezTo>
                    <a:cubicBezTo>
                      <a:pt x="64" y="75"/>
                      <a:pt x="55" y="78"/>
                      <a:pt x="47" y="80"/>
                    </a:cubicBezTo>
                    <a:cubicBezTo>
                      <a:pt x="31" y="84"/>
                      <a:pt x="17" y="80"/>
                      <a:pt x="4" y="71"/>
                    </a:cubicBezTo>
                    <a:cubicBezTo>
                      <a:pt x="2" y="69"/>
                      <a:pt x="0" y="72"/>
                      <a:pt x="2" y="74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250" name="Freeform 162">
                <a:extLst>
                  <a:ext uri="{FF2B5EF4-FFF2-40B4-BE49-F238E27FC236}">
                    <a16:creationId xmlns:a16="http://schemas.microsoft.com/office/drawing/2014/main" id="{CBA64203-DCE0-4596-BB06-786A11A887EF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753" y="1465"/>
                <a:ext cx="83" cy="79"/>
              </a:xfrm>
              <a:custGeom>
                <a:avLst/>
                <a:gdLst>
                  <a:gd name="T0" fmla="*/ 52 w 79"/>
                  <a:gd name="T1" fmla="*/ 6 h 75"/>
                  <a:gd name="T2" fmla="*/ 5 w 79"/>
                  <a:gd name="T3" fmla="*/ 27 h 75"/>
                  <a:gd name="T4" fmla="*/ 20 w 79"/>
                  <a:gd name="T5" fmla="*/ 69 h 75"/>
                  <a:gd name="T6" fmla="*/ 71 w 79"/>
                  <a:gd name="T7" fmla="*/ 50 h 75"/>
                  <a:gd name="T8" fmla="*/ 43 w 79"/>
                  <a:gd name="T9" fmla="*/ 6 h 75"/>
                  <a:gd name="T10" fmla="*/ 42 w 79"/>
                  <a:gd name="T11" fmla="*/ 12 h 75"/>
                  <a:gd name="T12" fmla="*/ 61 w 79"/>
                  <a:gd name="T13" fmla="*/ 22 h 75"/>
                  <a:gd name="T14" fmla="*/ 60 w 79"/>
                  <a:gd name="T15" fmla="*/ 55 h 75"/>
                  <a:gd name="T16" fmla="*/ 19 w 79"/>
                  <a:gd name="T17" fmla="*/ 62 h 75"/>
                  <a:gd name="T18" fmla="*/ 11 w 79"/>
                  <a:gd name="T19" fmla="*/ 26 h 75"/>
                  <a:gd name="T20" fmla="*/ 51 w 79"/>
                  <a:gd name="T21" fmla="*/ 8 h 75"/>
                  <a:gd name="T22" fmla="*/ 52 w 79"/>
                  <a:gd name="T23" fmla="*/ 6 h 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79" h="75">
                    <a:moveTo>
                      <a:pt x="52" y="6"/>
                    </a:moveTo>
                    <a:cubicBezTo>
                      <a:pt x="33" y="0"/>
                      <a:pt x="12" y="7"/>
                      <a:pt x="5" y="27"/>
                    </a:cubicBezTo>
                    <a:cubicBezTo>
                      <a:pt x="0" y="42"/>
                      <a:pt x="3" y="63"/>
                      <a:pt x="20" y="69"/>
                    </a:cubicBezTo>
                    <a:cubicBezTo>
                      <a:pt x="38" y="75"/>
                      <a:pt x="64" y="69"/>
                      <a:pt x="71" y="50"/>
                    </a:cubicBezTo>
                    <a:cubicBezTo>
                      <a:pt x="79" y="29"/>
                      <a:pt x="64" y="7"/>
                      <a:pt x="43" y="6"/>
                    </a:cubicBezTo>
                    <a:cubicBezTo>
                      <a:pt x="39" y="6"/>
                      <a:pt x="39" y="11"/>
                      <a:pt x="42" y="12"/>
                    </a:cubicBezTo>
                    <a:cubicBezTo>
                      <a:pt x="49" y="14"/>
                      <a:pt x="56" y="16"/>
                      <a:pt x="61" y="22"/>
                    </a:cubicBezTo>
                    <a:cubicBezTo>
                      <a:pt x="68" y="31"/>
                      <a:pt x="68" y="47"/>
                      <a:pt x="60" y="55"/>
                    </a:cubicBezTo>
                    <a:cubicBezTo>
                      <a:pt x="51" y="65"/>
                      <a:pt x="32" y="69"/>
                      <a:pt x="19" y="62"/>
                    </a:cubicBezTo>
                    <a:cubicBezTo>
                      <a:pt x="6" y="55"/>
                      <a:pt x="6" y="38"/>
                      <a:pt x="11" y="26"/>
                    </a:cubicBezTo>
                    <a:cubicBezTo>
                      <a:pt x="17" y="11"/>
                      <a:pt x="36" y="7"/>
                      <a:pt x="51" y="8"/>
                    </a:cubicBezTo>
                    <a:cubicBezTo>
                      <a:pt x="53" y="8"/>
                      <a:pt x="53" y="6"/>
                      <a:pt x="52" y="6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251" name="Freeform 163">
                <a:extLst>
                  <a:ext uri="{FF2B5EF4-FFF2-40B4-BE49-F238E27FC236}">
                    <a16:creationId xmlns:a16="http://schemas.microsoft.com/office/drawing/2014/main" id="{41C74CF3-795E-4A16-8264-4285CD79AF41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422" y="1389"/>
                <a:ext cx="779" cy="244"/>
              </a:xfrm>
              <a:custGeom>
                <a:avLst/>
                <a:gdLst>
                  <a:gd name="T0" fmla="*/ 1 w 735"/>
                  <a:gd name="T1" fmla="*/ 177 h 231"/>
                  <a:gd name="T2" fmla="*/ 189 w 735"/>
                  <a:gd name="T3" fmla="*/ 207 h 231"/>
                  <a:gd name="T4" fmla="*/ 388 w 735"/>
                  <a:gd name="T5" fmla="*/ 167 h 231"/>
                  <a:gd name="T6" fmla="*/ 733 w 735"/>
                  <a:gd name="T7" fmla="*/ 6 h 231"/>
                  <a:gd name="T8" fmla="*/ 729 w 735"/>
                  <a:gd name="T9" fmla="*/ 2 h 231"/>
                  <a:gd name="T10" fmla="*/ 563 w 735"/>
                  <a:gd name="T11" fmla="*/ 103 h 231"/>
                  <a:gd name="T12" fmla="*/ 379 w 735"/>
                  <a:gd name="T13" fmla="*/ 163 h 231"/>
                  <a:gd name="T14" fmla="*/ 1 w 735"/>
                  <a:gd name="T15" fmla="*/ 176 h 231"/>
                  <a:gd name="T16" fmla="*/ 1 w 735"/>
                  <a:gd name="T17" fmla="*/ 177 h 2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735" h="231">
                    <a:moveTo>
                      <a:pt x="1" y="177"/>
                    </a:moveTo>
                    <a:cubicBezTo>
                      <a:pt x="57" y="207"/>
                      <a:pt x="126" y="211"/>
                      <a:pt x="189" y="207"/>
                    </a:cubicBezTo>
                    <a:cubicBezTo>
                      <a:pt x="256" y="202"/>
                      <a:pt x="323" y="184"/>
                      <a:pt x="388" y="167"/>
                    </a:cubicBezTo>
                    <a:cubicBezTo>
                      <a:pt x="510" y="135"/>
                      <a:pt x="639" y="94"/>
                      <a:pt x="733" y="6"/>
                    </a:cubicBezTo>
                    <a:cubicBezTo>
                      <a:pt x="735" y="3"/>
                      <a:pt x="732" y="0"/>
                      <a:pt x="729" y="2"/>
                    </a:cubicBezTo>
                    <a:cubicBezTo>
                      <a:pt x="678" y="43"/>
                      <a:pt x="623" y="76"/>
                      <a:pt x="563" y="103"/>
                    </a:cubicBezTo>
                    <a:cubicBezTo>
                      <a:pt x="504" y="130"/>
                      <a:pt x="442" y="146"/>
                      <a:pt x="379" y="163"/>
                    </a:cubicBezTo>
                    <a:cubicBezTo>
                      <a:pt x="259" y="194"/>
                      <a:pt x="121" y="231"/>
                      <a:pt x="1" y="176"/>
                    </a:cubicBezTo>
                    <a:cubicBezTo>
                      <a:pt x="1" y="176"/>
                      <a:pt x="0" y="176"/>
                      <a:pt x="1" y="177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252" name="Freeform 164">
                <a:extLst>
                  <a:ext uri="{FF2B5EF4-FFF2-40B4-BE49-F238E27FC236}">
                    <a16:creationId xmlns:a16="http://schemas.microsoft.com/office/drawing/2014/main" id="{001460DA-6D89-4F63-96A7-D705463BA52C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803" y="1059"/>
                <a:ext cx="460" cy="455"/>
              </a:xfrm>
              <a:custGeom>
                <a:avLst/>
                <a:gdLst>
                  <a:gd name="T0" fmla="*/ 312 w 434"/>
                  <a:gd name="T1" fmla="*/ 20 h 430"/>
                  <a:gd name="T2" fmla="*/ 195 w 434"/>
                  <a:gd name="T3" fmla="*/ 22 h 430"/>
                  <a:gd name="T4" fmla="*/ 95 w 434"/>
                  <a:gd name="T5" fmla="*/ 105 h 430"/>
                  <a:gd name="T6" fmla="*/ 30 w 434"/>
                  <a:gd name="T7" fmla="*/ 223 h 430"/>
                  <a:gd name="T8" fmla="*/ 11 w 434"/>
                  <a:gd name="T9" fmla="*/ 335 h 430"/>
                  <a:gd name="T10" fmla="*/ 76 w 434"/>
                  <a:gd name="T11" fmla="*/ 398 h 430"/>
                  <a:gd name="T12" fmla="*/ 196 w 434"/>
                  <a:gd name="T13" fmla="*/ 375 h 430"/>
                  <a:gd name="T14" fmla="*/ 317 w 434"/>
                  <a:gd name="T15" fmla="*/ 301 h 430"/>
                  <a:gd name="T16" fmla="*/ 405 w 434"/>
                  <a:gd name="T17" fmla="*/ 216 h 430"/>
                  <a:gd name="T18" fmla="*/ 420 w 434"/>
                  <a:gd name="T19" fmla="*/ 96 h 430"/>
                  <a:gd name="T20" fmla="*/ 312 w 434"/>
                  <a:gd name="T21" fmla="*/ 12 h 430"/>
                  <a:gd name="T22" fmla="*/ 309 w 434"/>
                  <a:gd name="T23" fmla="*/ 17 h 430"/>
                  <a:gd name="T24" fmla="*/ 405 w 434"/>
                  <a:gd name="T25" fmla="*/ 84 h 430"/>
                  <a:gd name="T26" fmla="*/ 403 w 434"/>
                  <a:gd name="T27" fmla="*/ 202 h 430"/>
                  <a:gd name="T28" fmla="*/ 330 w 434"/>
                  <a:gd name="T29" fmla="*/ 282 h 430"/>
                  <a:gd name="T30" fmla="*/ 228 w 434"/>
                  <a:gd name="T31" fmla="*/ 349 h 430"/>
                  <a:gd name="T32" fmla="*/ 23 w 434"/>
                  <a:gd name="T33" fmla="*/ 347 h 430"/>
                  <a:gd name="T34" fmla="*/ 33 w 434"/>
                  <a:gd name="T35" fmla="*/ 232 h 430"/>
                  <a:gd name="T36" fmla="*/ 85 w 434"/>
                  <a:gd name="T37" fmla="*/ 132 h 430"/>
                  <a:gd name="T38" fmla="*/ 167 w 434"/>
                  <a:gd name="T39" fmla="*/ 42 h 430"/>
                  <a:gd name="T40" fmla="*/ 311 w 434"/>
                  <a:gd name="T41" fmla="*/ 23 h 430"/>
                  <a:gd name="T42" fmla="*/ 312 w 434"/>
                  <a:gd name="T43" fmla="*/ 20 h 4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434" h="430">
                    <a:moveTo>
                      <a:pt x="312" y="20"/>
                    </a:moveTo>
                    <a:cubicBezTo>
                      <a:pt x="273" y="0"/>
                      <a:pt x="234" y="3"/>
                      <a:pt x="195" y="22"/>
                    </a:cubicBezTo>
                    <a:cubicBezTo>
                      <a:pt x="156" y="40"/>
                      <a:pt x="120" y="71"/>
                      <a:pt x="95" y="105"/>
                    </a:cubicBezTo>
                    <a:cubicBezTo>
                      <a:pt x="68" y="140"/>
                      <a:pt x="50" y="184"/>
                      <a:pt x="30" y="223"/>
                    </a:cubicBezTo>
                    <a:cubicBezTo>
                      <a:pt x="12" y="257"/>
                      <a:pt x="0" y="297"/>
                      <a:pt x="11" y="335"/>
                    </a:cubicBezTo>
                    <a:cubicBezTo>
                      <a:pt x="20" y="366"/>
                      <a:pt x="45" y="389"/>
                      <a:pt x="76" y="398"/>
                    </a:cubicBezTo>
                    <a:cubicBezTo>
                      <a:pt x="116" y="409"/>
                      <a:pt x="160" y="393"/>
                      <a:pt x="196" y="375"/>
                    </a:cubicBezTo>
                    <a:cubicBezTo>
                      <a:pt x="238" y="354"/>
                      <a:pt x="278" y="329"/>
                      <a:pt x="317" y="301"/>
                    </a:cubicBezTo>
                    <a:cubicBezTo>
                      <a:pt x="349" y="278"/>
                      <a:pt x="384" y="251"/>
                      <a:pt x="405" y="216"/>
                    </a:cubicBezTo>
                    <a:cubicBezTo>
                      <a:pt x="424" y="182"/>
                      <a:pt x="434" y="133"/>
                      <a:pt x="420" y="96"/>
                    </a:cubicBezTo>
                    <a:cubicBezTo>
                      <a:pt x="403" y="54"/>
                      <a:pt x="350" y="30"/>
                      <a:pt x="312" y="12"/>
                    </a:cubicBezTo>
                    <a:cubicBezTo>
                      <a:pt x="308" y="10"/>
                      <a:pt x="305" y="15"/>
                      <a:pt x="309" y="17"/>
                    </a:cubicBezTo>
                    <a:cubicBezTo>
                      <a:pt x="341" y="38"/>
                      <a:pt x="382" y="52"/>
                      <a:pt x="405" y="84"/>
                    </a:cubicBezTo>
                    <a:cubicBezTo>
                      <a:pt x="428" y="117"/>
                      <a:pt x="418" y="167"/>
                      <a:pt x="403" y="202"/>
                    </a:cubicBezTo>
                    <a:cubicBezTo>
                      <a:pt x="388" y="235"/>
                      <a:pt x="358" y="260"/>
                      <a:pt x="330" y="282"/>
                    </a:cubicBezTo>
                    <a:cubicBezTo>
                      <a:pt x="298" y="307"/>
                      <a:pt x="263" y="329"/>
                      <a:pt x="228" y="349"/>
                    </a:cubicBezTo>
                    <a:cubicBezTo>
                      <a:pt x="170" y="382"/>
                      <a:pt x="65" y="430"/>
                      <a:pt x="23" y="347"/>
                    </a:cubicBezTo>
                    <a:cubicBezTo>
                      <a:pt x="5" y="311"/>
                      <a:pt x="16" y="267"/>
                      <a:pt x="33" y="232"/>
                    </a:cubicBezTo>
                    <a:cubicBezTo>
                      <a:pt x="49" y="199"/>
                      <a:pt x="66" y="164"/>
                      <a:pt x="85" y="132"/>
                    </a:cubicBezTo>
                    <a:cubicBezTo>
                      <a:pt x="105" y="97"/>
                      <a:pt x="134" y="66"/>
                      <a:pt x="167" y="42"/>
                    </a:cubicBezTo>
                    <a:cubicBezTo>
                      <a:pt x="211" y="11"/>
                      <a:pt x="260" y="3"/>
                      <a:pt x="311" y="23"/>
                    </a:cubicBezTo>
                    <a:cubicBezTo>
                      <a:pt x="313" y="23"/>
                      <a:pt x="314" y="21"/>
                      <a:pt x="312" y="20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253" name="Freeform 165">
                <a:extLst>
                  <a:ext uri="{FF2B5EF4-FFF2-40B4-BE49-F238E27FC236}">
                    <a16:creationId xmlns:a16="http://schemas.microsoft.com/office/drawing/2014/main" id="{D4AB6D4D-8C68-46DF-9CC3-D34F763C4EB4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265" y="1210"/>
                <a:ext cx="510" cy="359"/>
              </a:xfrm>
              <a:custGeom>
                <a:avLst/>
                <a:gdLst>
                  <a:gd name="T0" fmla="*/ 180 w 481"/>
                  <a:gd name="T1" fmla="*/ 0 h 339"/>
                  <a:gd name="T2" fmla="*/ 14 w 481"/>
                  <a:gd name="T3" fmla="*/ 137 h 339"/>
                  <a:gd name="T4" fmla="*/ 147 w 481"/>
                  <a:gd name="T5" fmla="*/ 299 h 339"/>
                  <a:gd name="T6" fmla="*/ 289 w 481"/>
                  <a:gd name="T7" fmla="*/ 332 h 339"/>
                  <a:gd name="T8" fmla="*/ 397 w 481"/>
                  <a:gd name="T9" fmla="*/ 322 h 339"/>
                  <a:gd name="T10" fmla="*/ 420 w 481"/>
                  <a:gd name="T11" fmla="*/ 150 h 339"/>
                  <a:gd name="T12" fmla="*/ 178 w 481"/>
                  <a:gd name="T13" fmla="*/ 5 h 339"/>
                  <a:gd name="T14" fmla="*/ 177 w 481"/>
                  <a:gd name="T15" fmla="*/ 12 h 339"/>
                  <a:gd name="T16" fmla="*/ 374 w 481"/>
                  <a:gd name="T17" fmla="*/ 110 h 339"/>
                  <a:gd name="T18" fmla="*/ 414 w 481"/>
                  <a:gd name="T19" fmla="*/ 301 h 339"/>
                  <a:gd name="T20" fmla="*/ 312 w 481"/>
                  <a:gd name="T21" fmla="*/ 327 h 339"/>
                  <a:gd name="T22" fmla="*/ 193 w 481"/>
                  <a:gd name="T23" fmla="*/ 304 h 339"/>
                  <a:gd name="T24" fmla="*/ 22 w 481"/>
                  <a:gd name="T25" fmla="*/ 179 h 339"/>
                  <a:gd name="T26" fmla="*/ 65 w 481"/>
                  <a:gd name="T27" fmla="*/ 58 h 339"/>
                  <a:gd name="T28" fmla="*/ 181 w 481"/>
                  <a:gd name="T29" fmla="*/ 1 h 339"/>
                  <a:gd name="T30" fmla="*/ 180 w 481"/>
                  <a:gd name="T31" fmla="*/ 0 h 3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481" h="339">
                    <a:moveTo>
                      <a:pt x="180" y="0"/>
                    </a:moveTo>
                    <a:cubicBezTo>
                      <a:pt x="105" y="2"/>
                      <a:pt x="28" y="60"/>
                      <a:pt x="14" y="137"/>
                    </a:cubicBezTo>
                    <a:cubicBezTo>
                      <a:pt x="0" y="223"/>
                      <a:pt x="75" y="275"/>
                      <a:pt x="147" y="299"/>
                    </a:cubicBezTo>
                    <a:cubicBezTo>
                      <a:pt x="193" y="314"/>
                      <a:pt x="242" y="325"/>
                      <a:pt x="289" y="332"/>
                    </a:cubicBezTo>
                    <a:cubicBezTo>
                      <a:pt x="325" y="338"/>
                      <a:pt x="363" y="339"/>
                      <a:pt x="397" y="322"/>
                    </a:cubicBezTo>
                    <a:cubicBezTo>
                      <a:pt x="467" y="287"/>
                      <a:pt x="460" y="206"/>
                      <a:pt x="420" y="150"/>
                    </a:cubicBezTo>
                    <a:cubicBezTo>
                      <a:pt x="363" y="72"/>
                      <a:pt x="274" y="16"/>
                      <a:pt x="178" y="5"/>
                    </a:cubicBezTo>
                    <a:cubicBezTo>
                      <a:pt x="173" y="4"/>
                      <a:pt x="172" y="12"/>
                      <a:pt x="177" y="12"/>
                    </a:cubicBezTo>
                    <a:cubicBezTo>
                      <a:pt x="252" y="21"/>
                      <a:pt x="319" y="57"/>
                      <a:pt x="374" y="110"/>
                    </a:cubicBezTo>
                    <a:cubicBezTo>
                      <a:pt x="421" y="155"/>
                      <a:pt x="481" y="245"/>
                      <a:pt x="414" y="301"/>
                    </a:cubicBezTo>
                    <a:cubicBezTo>
                      <a:pt x="386" y="325"/>
                      <a:pt x="348" y="330"/>
                      <a:pt x="312" y="327"/>
                    </a:cubicBezTo>
                    <a:cubicBezTo>
                      <a:pt x="272" y="324"/>
                      <a:pt x="232" y="313"/>
                      <a:pt x="193" y="304"/>
                    </a:cubicBezTo>
                    <a:cubicBezTo>
                      <a:pt x="126" y="288"/>
                      <a:pt x="37" y="257"/>
                      <a:pt x="22" y="179"/>
                    </a:cubicBezTo>
                    <a:cubicBezTo>
                      <a:pt x="13" y="134"/>
                      <a:pt x="34" y="90"/>
                      <a:pt x="65" y="58"/>
                    </a:cubicBezTo>
                    <a:cubicBezTo>
                      <a:pt x="96" y="25"/>
                      <a:pt x="136" y="6"/>
                      <a:pt x="181" y="1"/>
                    </a:cubicBezTo>
                    <a:cubicBezTo>
                      <a:pt x="181" y="1"/>
                      <a:pt x="181" y="0"/>
                      <a:pt x="180" y="0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254" name="Freeform 166">
                <a:extLst>
                  <a:ext uri="{FF2B5EF4-FFF2-40B4-BE49-F238E27FC236}">
                    <a16:creationId xmlns:a16="http://schemas.microsoft.com/office/drawing/2014/main" id="{A7C92F39-19A6-4248-8AEF-F35C371A9865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524" y="1341"/>
                <a:ext cx="154" cy="158"/>
              </a:xfrm>
              <a:custGeom>
                <a:avLst/>
                <a:gdLst>
                  <a:gd name="T0" fmla="*/ 65 w 146"/>
                  <a:gd name="T1" fmla="*/ 2 h 149"/>
                  <a:gd name="T2" fmla="*/ 18 w 146"/>
                  <a:gd name="T3" fmla="*/ 31 h 149"/>
                  <a:gd name="T4" fmla="*/ 1 w 146"/>
                  <a:gd name="T5" fmla="*/ 83 h 149"/>
                  <a:gd name="T6" fmla="*/ 76 w 146"/>
                  <a:gd name="T7" fmla="*/ 146 h 149"/>
                  <a:gd name="T8" fmla="*/ 144 w 146"/>
                  <a:gd name="T9" fmla="*/ 79 h 149"/>
                  <a:gd name="T10" fmla="*/ 76 w 146"/>
                  <a:gd name="T11" fmla="*/ 1 h 149"/>
                  <a:gd name="T12" fmla="*/ 74 w 146"/>
                  <a:gd name="T13" fmla="*/ 7 h 149"/>
                  <a:gd name="T14" fmla="*/ 111 w 146"/>
                  <a:gd name="T15" fmla="*/ 20 h 149"/>
                  <a:gd name="T16" fmla="*/ 134 w 146"/>
                  <a:gd name="T17" fmla="*/ 63 h 149"/>
                  <a:gd name="T18" fmla="*/ 81 w 146"/>
                  <a:gd name="T19" fmla="*/ 139 h 149"/>
                  <a:gd name="T20" fmla="*/ 28 w 146"/>
                  <a:gd name="T21" fmla="*/ 123 h 149"/>
                  <a:gd name="T22" fmla="*/ 9 w 146"/>
                  <a:gd name="T23" fmla="*/ 71 h 149"/>
                  <a:gd name="T24" fmla="*/ 24 w 146"/>
                  <a:gd name="T25" fmla="*/ 34 h 149"/>
                  <a:gd name="T26" fmla="*/ 66 w 146"/>
                  <a:gd name="T27" fmla="*/ 5 h 149"/>
                  <a:gd name="T28" fmla="*/ 65 w 146"/>
                  <a:gd name="T29" fmla="*/ 2 h 1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146" h="149">
                    <a:moveTo>
                      <a:pt x="65" y="2"/>
                    </a:moveTo>
                    <a:cubicBezTo>
                      <a:pt x="47" y="8"/>
                      <a:pt x="30" y="14"/>
                      <a:pt x="18" y="31"/>
                    </a:cubicBezTo>
                    <a:cubicBezTo>
                      <a:pt x="8" y="45"/>
                      <a:pt x="2" y="65"/>
                      <a:pt x="1" y="83"/>
                    </a:cubicBezTo>
                    <a:cubicBezTo>
                      <a:pt x="0" y="119"/>
                      <a:pt x="41" y="149"/>
                      <a:pt x="76" y="146"/>
                    </a:cubicBezTo>
                    <a:cubicBezTo>
                      <a:pt x="107" y="144"/>
                      <a:pt x="142" y="110"/>
                      <a:pt x="144" y="79"/>
                    </a:cubicBezTo>
                    <a:cubicBezTo>
                      <a:pt x="146" y="33"/>
                      <a:pt x="119" y="5"/>
                      <a:pt x="76" y="1"/>
                    </a:cubicBezTo>
                    <a:cubicBezTo>
                      <a:pt x="71" y="0"/>
                      <a:pt x="70" y="6"/>
                      <a:pt x="74" y="7"/>
                    </a:cubicBezTo>
                    <a:cubicBezTo>
                      <a:pt x="87" y="11"/>
                      <a:pt x="100" y="13"/>
                      <a:pt x="111" y="20"/>
                    </a:cubicBezTo>
                    <a:cubicBezTo>
                      <a:pt x="126" y="29"/>
                      <a:pt x="132" y="46"/>
                      <a:pt x="134" y="63"/>
                    </a:cubicBezTo>
                    <a:cubicBezTo>
                      <a:pt x="140" y="95"/>
                      <a:pt x="113" y="132"/>
                      <a:pt x="81" y="139"/>
                    </a:cubicBezTo>
                    <a:cubicBezTo>
                      <a:pt x="62" y="144"/>
                      <a:pt x="42" y="135"/>
                      <a:pt x="28" y="123"/>
                    </a:cubicBezTo>
                    <a:cubicBezTo>
                      <a:pt x="12" y="109"/>
                      <a:pt x="5" y="92"/>
                      <a:pt x="9" y="71"/>
                    </a:cubicBezTo>
                    <a:cubicBezTo>
                      <a:pt x="12" y="58"/>
                      <a:pt x="16" y="45"/>
                      <a:pt x="24" y="34"/>
                    </a:cubicBezTo>
                    <a:cubicBezTo>
                      <a:pt x="34" y="19"/>
                      <a:pt x="50" y="13"/>
                      <a:pt x="66" y="5"/>
                    </a:cubicBezTo>
                    <a:cubicBezTo>
                      <a:pt x="68" y="4"/>
                      <a:pt x="67" y="2"/>
                      <a:pt x="65" y="2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255" name="Freeform 167">
                <a:extLst>
                  <a:ext uri="{FF2B5EF4-FFF2-40B4-BE49-F238E27FC236}">
                    <a16:creationId xmlns:a16="http://schemas.microsoft.com/office/drawing/2014/main" id="{8E0FAF88-B51D-47DF-A6B1-12C16C0D939D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538" y="1374"/>
                <a:ext cx="168" cy="169"/>
              </a:xfrm>
              <a:custGeom>
                <a:avLst/>
                <a:gdLst>
                  <a:gd name="T0" fmla="*/ 1 w 158"/>
                  <a:gd name="T1" fmla="*/ 88 h 160"/>
                  <a:gd name="T2" fmla="*/ 129 w 158"/>
                  <a:gd name="T3" fmla="*/ 112 h 160"/>
                  <a:gd name="T4" fmla="*/ 150 w 158"/>
                  <a:gd name="T5" fmla="*/ 40 h 160"/>
                  <a:gd name="T6" fmla="*/ 116 w 158"/>
                  <a:gd name="T7" fmla="*/ 1 h 160"/>
                  <a:gd name="T8" fmla="*/ 116 w 158"/>
                  <a:gd name="T9" fmla="*/ 5 h 160"/>
                  <a:gd name="T10" fmla="*/ 146 w 158"/>
                  <a:gd name="T11" fmla="*/ 63 h 160"/>
                  <a:gd name="T12" fmla="*/ 110 w 158"/>
                  <a:gd name="T13" fmla="*/ 121 h 160"/>
                  <a:gd name="T14" fmla="*/ 45 w 158"/>
                  <a:gd name="T15" fmla="*/ 134 h 160"/>
                  <a:gd name="T16" fmla="*/ 5 w 158"/>
                  <a:gd name="T17" fmla="*/ 87 h 160"/>
                  <a:gd name="T18" fmla="*/ 1 w 158"/>
                  <a:gd name="T19" fmla="*/ 88 h 1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58" h="160">
                    <a:moveTo>
                      <a:pt x="1" y="88"/>
                    </a:moveTo>
                    <a:cubicBezTo>
                      <a:pt x="15" y="150"/>
                      <a:pt x="91" y="160"/>
                      <a:pt x="129" y="112"/>
                    </a:cubicBezTo>
                    <a:cubicBezTo>
                      <a:pt x="147" y="91"/>
                      <a:pt x="158" y="67"/>
                      <a:pt x="150" y="40"/>
                    </a:cubicBezTo>
                    <a:cubicBezTo>
                      <a:pt x="145" y="24"/>
                      <a:pt x="136" y="0"/>
                      <a:pt x="116" y="1"/>
                    </a:cubicBezTo>
                    <a:cubicBezTo>
                      <a:pt x="113" y="1"/>
                      <a:pt x="114" y="5"/>
                      <a:pt x="116" y="5"/>
                    </a:cubicBezTo>
                    <a:cubicBezTo>
                      <a:pt x="141" y="6"/>
                      <a:pt x="148" y="43"/>
                      <a:pt x="146" y="63"/>
                    </a:cubicBezTo>
                    <a:cubicBezTo>
                      <a:pt x="144" y="84"/>
                      <a:pt x="127" y="109"/>
                      <a:pt x="110" y="121"/>
                    </a:cubicBezTo>
                    <a:cubicBezTo>
                      <a:pt x="91" y="134"/>
                      <a:pt x="67" y="142"/>
                      <a:pt x="45" y="134"/>
                    </a:cubicBezTo>
                    <a:cubicBezTo>
                      <a:pt x="25" y="127"/>
                      <a:pt x="11" y="106"/>
                      <a:pt x="5" y="87"/>
                    </a:cubicBezTo>
                    <a:cubicBezTo>
                      <a:pt x="4" y="85"/>
                      <a:pt x="0" y="85"/>
                      <a:pt x="1" y="88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256" name="Freeform 168">
                <a:extLst>
                  <a:ext uri="{FF2B5EF4-FFF2-40B4-BE49-F238E27FC236}">
                    <a16:creationId xmlns:a16="http://schemas.microsoft.com/office/drawing/2014/main" id="{EDBD9610-384B-422A-AA06-28D1964EB016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430" y="1251"/>
                <a:ext cx="44" cy="55"/>
              </a:xfrm>
              <a:custGeom>
                <a:avLst/>
                <a:gdLst>
                  <a:gd name="T0" fmla="*/ 7 w 41"/>
                  <a:gd name="T1" fmla="*/ 48 h 52"/>
                  <a:gd name="T2" fmla="*/ 9 w 41"/>
                  <a:gd name="T3" fmla="*/ 30 h 52"/>
                  <a:gd name="T4" fmla="*/ 9 w 41"/>
                  <a:gd name="T5" fmla="*/ 9 h 52"/>
                  <a:gd name="T6" fmla="*/ 12 w 41"/>
                  <a:gd name="T7" fmla="*/ 5 h 52"/>
                  <a:gd name="T8" fmla="*/ 17 w 41"/>
                  <a:gd name="T9" fmla="*/ 5 h 52"/>
                  <a:gd name="T10" fmla="*/ 27 w 41"/>
                  <a:gd name="T11" fmla="*/ 10 h 52"/>
                  <a:gd name="T12" fmla="*/ 37 w 41"/>
                  <a:gd name="T13" fmla="*/ 15 h 52"/>
                  <a:gd name="T14" fmla="*/ 39 w 41"/>
                  <a:gd name="T15" fmla="*/ 10 h 52"/>
                  <a:gd name="T16" fmla="*/ 8 w 41"/>
                  <a:gd name="T17" fmla="*/ 1 h 52"/>
                  <a:gd name="T18" fmla="*/ 6 w 41"/>
                  <a:gd name="T19" fmla="*/ 2 h 52"/>
                  <a:gd name="T20" fmla="*/ 0 w 41"/>
                  <a:gd name="T21" fmla="*/ 47 h 52"/>
                  <a:gd name="T22" fmla="*/ 7 w 41"/>
                  <a:gd name="T23" fmla="*/ 48 h 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1" h="52">
                    <a:moveTo>
                      <a:pt x="7" y="48"/>
                    </a:moveTo>
                    <a:cubicBezTo>
                      <a:pt x="9" y="42"/>
                      <a:pt x="9" y="36"/>
                      <a:pt x="9" y="30"/>
                    </a:cubicBezTo>
                    <a:cubicBezTo>
                      <a:pt x="9" y="24"/>
                      <a:pt x="7" y="14"/>
                      <a:pt x="9" y="9"/>
                    </a:cubicBezTo>
                    <a:cubicBezTo>
                      <a:pt x="8" y="6"/>
                      <a:pt x="9" y="5"/>
                      <a:pt x="12" y="5"/>
                    </a:cubicBezTo>
                    <a:cubicBezTo>
                      <a:pt x="13" y="4"/>
                      <a:pt x="15" y="4"/>
                      <a:pt x="17" y="5"/>
                    </a:cubicBezTo>
                    <a:cubicBezTo>
                      <a:pt x="21" y="6"/>
                      <a:pt x="24" y="8"/>
                      <a:pt x="27" y="10"/>
                    </a:cubicBezTo>
                    <a:cubicBezTo>
                      <a:pt x="30" y="12"/>
                      <a:pt x="33" y="14"/>
                      <a:pt x="37" y="15"/>
                    </a:cubicBezTo>
                    <a:cubicBezTo>
                      <a:pt x="40" y="15"/>
                      <a:pt x="41" y="11"/>
                      <a:pt x="39" y="10"/>
                    </a:cubicBezTo>
                    <a:cubicBezTo>
                      <a:pt x="29" y="5"/>
                      <a:pt x="19" y="0"/>
                      <a:pt x="8" y="1"/>
                    </a:cubicBezTo>
                    <a:cubicBezTo>
                      <a:pt x="7" y="1"/>
                      <a:pt x="7" y="1"/>
                      <a:pt x="6" y="2"/>
                    </a:cubicBezTo>
                    <a:cubicBezTo>
                      <a:pt x="2" y="17"/>
                      <a:pt x="3" y="32"/>
                      <a:pt x="0" y="47"/>
                    </a:cubicBezTo>
                    <a:cubicBezTo>
                      <a:pt x="0" y="51"/>
                      <a:pt x="6" y="52"/>
                      <a:pt x="7" y="48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257" name="Freeform 169">
                <a:extLst>
                  <a:ext uri="{FF2B5EF4-FFF2-40B4-BE49-F238E27FC236}">
                    <a16:creationId xmlns:a16="http://schemas.microsoft.com/office/drawing/2014/main" id="{FF778D8B-4B94-4C3A-A31E-E9CBBD1721E0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357" y="1244"/>
                <a:ext cx="92" cy="71"/>
              </a:xfrm>
              <a:custGeom>
                <a:avLst/>
                <a:gdLst>
                  <a:gd name="T0" fmla="*/ 84 w 87"/>
                  <a:gd name="T1" fmla="*/ 6 h 67"/>
                  <a:gd name="T2" fmla="*/ 53 w 87"/>
                  <a:gd name="T3" fmla="*/ 4 h 67"/>
                  <a:gd name="T4" fmla="*/ 2 w 87"/>
                  <a:gd name="T5" fmla="*/ 23 h 67"/>
                  <a:gd name="T6" fmla="*/ 1 w 87"/>
                  <a:gd name="T7" fmla="*/ 26 h 67"/>
                  <a:gd name="T8" fmla="*/ 16 w 87"/>
                  <a:gd name="T9" fmla="*/ 53 h 67"/>
                  <a:gd name="T10" fmla="*/ 28 w 87"/>
                  <a:gd name="T11" fmla="*/ 66 h 67"/>
                  <a:gd name="T12" fmla="*/ 30 w 87"/>
                  <a:gd name="T13" fmla="*/ 62 h 67"/>
                  <a:gd name="T14" fmla="*/ 18 w 87"/>
                  <a:gd name="T15" fmla="*/ 43 h 67"/>
                  <a:gd name="T16" fmla="*/ 14 w 87"/>
                  <a:gd name="T17" fmla="*/ 34 h 67"/>
                  <a:gd name="T18" fmla="*/ 20 w 87"/>
                  <a:gd name="T19" fmla="*/ 21 h 67"/>
                  <a:gd name="T20" fmla="*/ 83 w 87"/>
                  <a:gd name="T21" fmla="*/ 10 h 67"/>
                  <a:gd name="T22" fmla="*/ 84 w 87"/>
                  <a:gd name="T23" fmla="*/ 6 h 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87" h="67">
                    <a:moveTo>
                      <a:pt x="84" y="6"/>
                    </a:moveTo>
                    <a:cubicBezTo>
                      <a:pt x="74" y="0"/>
                      <a:pt x="65" y="2"/>
                      <a:pt x="53" y="4"/>
                    </a:cubicBezTo>
                    <a:cubicBezTo>
                      <a:pt x="35" y="8"/>
                      <a:pt x="18" y="14"/>
                      <a:pt x="2" y="23"/>
                    </a:cubicBezTo>
                    <a:cubicBezTo>
                      <a:pt x="1" y="23"/>
                      <a:pt x="0" y="25"/>
                      <a:pt x="1" y="26"/>
                    </a:cubicBezTo>
                    <a:cubicBezTo>
                      <a:pt x="5" y="36"/>
                      <a:pt x="12" y="43"/>
                      <a:pt x="16" y="53"/>
                    </a:cubicBezTo>
                    <a:cubicBezTo>
                      <a:pt x="19" y="58"/>
                      <a:pt x="21" y="64"/>
                      <a:pt x="28" y="66"/>
                    </a:cubicBezTo>
                    <a:cubicBezTo>
                      <a:pt x="30" y="67"/>
                      <a:pt x="32" y="64"/>
                      <a:pt x="30" y="62"/>
                    </a:cubicBezTo>
                    <a:cubicBezTo>
                      <a:pt x="24" y="57"/>
                      <a:pt x="21" y="50"/>
                      <a:pt x="18" y="43"/>
                    </a:cubicBezTo>
                    <a:cubicBezTo>
                      <a:pt x="17" y="40"/>
                      <a:pt x="15" y="37"/>
                      <a:pt x="14" y="34"/>
                    </a:cubicBezTo>
                    <a:cubicBezTo>
                      <a:pt x="10" y="25"/>
                      <a:pt x="9" y="25"/>
                      <a:pt x="20" y="21"/>
                    </a:cubicBezTo>
                    <a:cubicBezTo>
                      <a:pt x="40" y="13"/>
                      <a:pt x="62" y="7"/>
                      <a:pt x="83" y="10"/>
                    </a:cubicBezTo>
                    <a:cubicBezTo>
                      <a:pt x="86" y="11"/>
                      <a:pt x="87" y="7"/>
                      <a:pt x="84" y="6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258" name="Freeform 170">
                <a:extLst>
                  <a:ext uri="{FF2B5EF4-FFF2-40B4-BE49-F238E27FC236}">
                    <a16:creationId xmlns:a16="http://schemas.microsoft.com/office/drawing/2014/main" id="{344F4177-FC9F-44A6-8B6F-AFB402D4D90E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319" y="1305"/>
                <a:ext cx="68" cy="67"/>
              </a:xfrm>
              <a:custGeom>
                <a:avLst/>
                <a:gdLst>
                  <a:gd name="T0" fmla="*/ 61 w 64"/>
                  <a:gd name="T1" fmla="*/ 3 h 63"/>
                  <a:gd name="T2" fmla="*/ 41 w 64"/>
                  <a:gd name="T3" fmla="*/ 1 h 63"/>
                  <a:gd name="T4" fmla="*/ 28 w 64"/>
                  <a:gd name="T5" fmla="*/ 2 h 63"/>
                  <a:gd name="T6" fmla="*/ 4 w 64"/>
                  <a:gd name="T7" fmla="*/ 8 h 63"/>
                  <a:gd name="T8" fmla="*/ 2 w 64"/>
                  <a:gd name="T9" fmla="*/ 24 h 63"/>
                  <a:gd name="T10" fmla="*/ 3 w 64"/>
                  <a:gd name="T11" fmla="*/ 46 h 63"/>
                  <a:gd name="T12" fmla="*/ 7 w 64"/>
                  <a:gd name="T13" fmla="*/ 61 h 63"/>
                  <a:gd name="T14" fmla="*/ 12 w 64"/>
                  <a:gd name="T15" fmla="*/ 59 h 63"/>
                  <a:gd name="T16" fmla="*/ 10 w 64"/>
                  <a:gd name="T17" fmla="*/ 56 h 63"/>
                  <a:gd name="T18" fmla="*/ 7 w 64"/>
                  <a:gd name="T19" fmla="*/ 57 h 63"/>
                  <a:gd name="T20" fmla="*/ 7 w 64"/>
                  <a:gd name="T21" fmla="*/ 60 h 63"/>
                  <a:gd name="T22" fmla="*/ 12 w 64"/>
                  <a:gd name="T23" fmla="*/ 58 h 63"/>
                  <a:gd name="T24" fmla="*/ 7 w 64"/>
                  <a:gd name="T25" fmla="*/ 27 h 63"/>
                  <a:gd name="T26" fmla="*/ 6 w 64"/>
                  <a:gd name="T27" fmla="*/ 17 h 63"/>
                  <a:gd name="T28" fmla="*/ 12 w 64"/>
                  <a:gd name="T29" fmla="*/ 10 h 63"/>
                  <a:gd name="T30" fmla="*/ 31 w 64"/>
                  <a:gd name="T31" fmla="*/ 8 h 63"/>
                  <a:gd name="T32" fmla="*/ 49 w 64"/>
                  <a:gd name="T33" fmla="*/ 8 h 63"/>
                  <a:gd name="T34" fmla="*/ 57 w 64"/>
                  <a:gd name="T35" fmla="*/ 10 h 63"/>
                  <a:gd name="T36" fmla="*/ 63 w 64"/>
                  <a:gd name="T37" fmla="*/ 5 h 63"/>
                  <a:gd name="T38" fmla="*/ 61 w 64"/>
                  <a:gd name="T39" fmla="*/ 3 h 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64" h="63">
                    <a:moveTo>
                      <a:pt x="61" y="3"/>
                    </a:moveTo>
                    <a:cubicBezTo>
                      <a:pt x="58" y="6"/>
                      <a:pt x="45" y="1"/>
                      <a:pt x="41" y="1"/>
                    </a:cubicBezTo>
                    <a:cubicBezTo>
                      <a:pt x="37" y="0"/>
                      <a:pt x="32" y="1"/>
                      <a:pt x="28" y="2"/>
                    </a:cubicBezTo>
                    <a:cubicBezTo>
                      <a:pt x="22" y="3"/>
                      <a:pt x="8" y="4"/>
                      <a:pt x="4" y="8"/>
                    </a:cubicBezTo>
                    <a:cubicBezTo>
                      <a:pt x="0" y="11"/>
                      <a:pt x="1" y="20"/>
                      <a:pt x="2" y="24"/>
                    </a:cubicBezTo>
                    <a:cubicBezTo>
                      <a:pt x="2" y="32"/>
                      <a:pt x="3" y="38"/>
                      <a:pt x="3" y="46"/>
                    </a:cubicBezTo>
                    <a:cubicBezTo>
                      <a:pt x="4" y="51"/>
                      <a:pt x="4" y="56"/>
                      <a:pt x="7" y="61"/>
                    </a:cubicBezTo>
                    <a:cubicBezTo>
                      <a:pt x="8" y="63"/>
                      <a:pt x="13" y="62"/>
                      <a:pt x="12" y="59"/>
                    </a:cubicBezTo>
                    <a:cubicBezTo>
                      <a:pt x="12" y="58"/>
                      <a:pt x="11" y="57"/>
                      <a:pt x="10" y="56"/>
                    </a:cubicBezTo>
                    <a:cubicBezTo>
                      <a:pt x="10" y="55"/>
                      <a:pt x="7" y="55"/>
                      <a:pt x="7" y="57"/>
                    </a:cubicBezTo>
                    <a:cubicBezTo>
                      <a:pt x="7" y="58"/>
                      <a:pt x="6" y="59"/>
                      <a:pt x="7" y="60"/>
                    </a:cubicBezTo>
                    <a:cubicBezTo>
                      <a:pt x="8" y="59"/>
                      <a:pt x="10" y="59"/>
                      <a:pt x="12" y="58"/>
                    </a:cubicBezTo>
                    <a:cubicBezTo>
                      <a:pt x="7" y="49"/>
                      <a:pt x="8" y="37"/>
                      <a:pt x="7" y="27"/>
                    </a:cubicBezTo>
                    <a:cubicBezTo>
                      <a:pt x="6" y="24"/>
                      <a:pt x="5" y="20"/>
                      <a:pt x="6" y="17"/>
                    </a:cubicBezTo>
                    <a:cubicBezTo>
                      <a:pt x="6" y="12"/>
                      <a:pt x="8" y="11"/>
                      <a:pt x="12" y="10"/>
                    </a:cubicBezTo>
                    <a:cubicBezTo>
                      <a:pt x="18" y="9"/>
                      <a:pt x="25" y="8"/>
                      <a:pt x="31" y="8"/>
                    </a:cubicBezTo>
                    <a:cubicBezTo>
                      <a:pt x="37" y="7"/>
                      <a:pt x="43" y="7"/>
                      <a:pt x="49" y="8"/>
                    </a:cubicBezTo>
                    <a:cubicBezTo>
                      <a:pt x="51" y="9"/>
                      <a:pt x="54" y="10"/>
                      <a:pt x="57" y="10"/>
                    </a:cubicBezTo>
                    <a:cubicBezTo>
                      <a:pt x="60" y="9"/>
                      <a:pt x="62" y="8"/>
                      <a:pt x="63" y="5"/>
                    </a:cubicBezTo>
                    <a:cubicBezTo>
                      <a:pt x="64" y="3"/>
                      <a:pt x="62" y="2"/>
                      <a:pt x="61" y="3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259" name="Freeform 171">
                <a:extLst>
                  <a:ext uri="{FF2B5EF4-FFF2-40B4-BE49-F238E27FC236}">
                    <a16:creationId xmlns:a16="http://schemas.microsoft.com/office/drawing/2014/main" id="{37301ECB-8CFF-4E36-9645-F66214F60976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324" y="1344"/>
                <a:ext cx="67" cy="27"/>
              </a:xfrm>
              <a:custGeom>
                <a:avLst/>
                <a:gdLst>
                  <a:gd name="T0" fmla="*/ 2 w 63"/>
                  <a:gd name="T1" fmla="*/ 25 h 25"/>
                  <a:gd name="T2" fmla="*/ 33 w 63"/>
                  <a:gd name="T3" fmla="*/ 16 h 25"/>
                  <a:gd name="T4" fmla="*/ 60 w 63"/>
                  <a:gd name="T5" fmla="*/ 7 h 25"/>
                  <a:gd name="T6" fmla="*/ 58 w 63"/>
                  <a:gd name="T7" fmla="*/ 1 h 25"/>
                  <a:gd name="T8" fmla="*/ 32 w 63"/>
                  <a:gd name="T9" fmla="*/ 9 h 25"/>
                  <a:gd name="T10" fmla="*/ 2 w 63"/>
                  <a:gd name="T11" fmla="*/ 21 h 25"/>
                  <a:gd name="T12" fmla="*/ 2 w 63"/>
                  <a:gd name="T13" fmla="*/ 25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3" h="25">
                    <a:moveTo>
                      <a:pt x="2" y="25"/>
                    </a:moveTo>
                    <a:cubicBezTo>
                      <a:pt x="13" y="24"/>
                      <a:pt x="23" y="20"/>
                      <a:pt x="33" y="16"/>
                    </a:cubicBezTo>
                    <a:cubicBezTo>
                      <a:pt x="42" y="13"/>
                      <a:pt x="52" y="11"/>
                      <a:pt x="60" y="7"/>
                    </a:cubicBezTo>
                    <a:cubicBezTo>
                      <a:pt x="63" y="5"/>
                      <a:pt x="61" y="1"/>
                      <a:pt x="58" y="1"/>
                    </a:cubicBezTo>
                    <a:cubicBezTo>
                      <a:pt x="49" y="0"/>
                      <a:pt x="40" y="5"/>
                      <a:pt x="32" y="9"/>
                    </a:cubicBezTo>
                    <a:cubicBezTo>
                      <a:pt x="22" y="13"/>
                      <a:pt x="12" y="17"/>
                      <a:pt x="2" y="21"/>
                    </a:cubicBezTo>
                    <a:cubicBezTo>
                      <a:pt x="0" y="22"/>
                      <a:pt x="0" y="25"/>
                      <a:pt x="2" y="25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260" name="Freeform 172">
                <a:extLst>
                  <a:ext uri="{FF2B5EF4-FFF2-40B4-BE49-F238E27FC236}">
                    <a16:creationId xmlns:a16="http://schemas.microsoft.com/office/drawing/2014/main" id="{5651B705-F95B-4E3C-9000-27CB0945D719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328" y="1363"/>
                <a:ext cx="24" cy="18"/>
              </a:xfrm>
              <a:custGeom>
                <a:avLst/>
                <a:gdLst>
                  <a:gd name="T0" fmla="*/ 4 w 23"/>
                  <a:gd name="T1" fmla="*/ 1 h 17"/>
                  <a:gd name="T2" fmla="*/ 19 w 23"/>
                  <a:gd name="T3" fmla="*/ 17 h 17"/>
                  <a:gd name="T4" fmla="*/ 21 w 23"/>
                  <a:gd name="T5" fmla="*/ 13 h 17"/>
                  <a:gd name="T6" fmla="*/ 13 w 23"/>
                  <a:gd name="T7" fmla="*/ 8 h 17"/>
                  <a:gd name="T8" fmla="*/ 6 w 23"/>
                  <a:gd name="T9" fmla="*/ 2 h 17"/>
                  <a:gd name="T10" fmla="*/ 4 w 23"/>
                  <a:gd name="T11" fmla="*/ 1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3" h="17">
                    <a:moveTo>
                      <a:pt x="4" y="1"/>
                    </a:moveTo>
                    <a:cubicBezTo>
                      <a:pt x="0" y="10"/>
                      <a:pt x="12" y="16"/>
                      <a:pt x="19" y="17"/>
                    </a:cubicBezTo>
                    <a:cubicBezTo>
                      <a:pt x="21" y="17"/>
                      <a:pt x="23" y="15"/>
                      <a:pt x="21" y="13"/>
                    </a:cubicBezTo>
                    <a:cubicBezTo>
                      <a:pt x="19" y="10"/>
                      <a:pt x="16" y="9"/>
                      <a:pt x="13" y="8"/>
                    </a:cubicBezTo>
                    <a:cubicBezTo>
                      <a:pt x="9" y="7"/>
                      <a:pt x="5" y="6"/>
                      <a:pt x="6" y="2"/>
                    </a:cubicBezTo>
                    <a:cubicBezTo>
                      <a:pt x="7" y="0"/>
                      <a:pt x="4" y="0"/>
                      <a:pt x="4" y="1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261" name="Freeform 173">
                <a:extLst>
                  <a:ext uri="{FF2B5EF4-FFF2-40B4-BE49-F238E27FC236}">
                    <a16:creationId xmlns:a16="http://schemas.microsoft.com/office/drawing/2014/main" id="{7E13592D-ACEC-4A1B-AD0E-8BB756D73A09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338" y="1349"/>
                <a:ext cx="100" cy="69"/>
              </a:xfrm>
              <a:custGeom>
                <a:avLst/>
                <a:gdLst>
                  <a:gd name="T0" fmla="*/ 42 w 94"/>
                  <a:gd name="T1" fmla="*/ 1 h 66"/>
                  <a:gd name="T2" fmla="*/ 4 w 94"/>
                  <a:gd name="T3" fmla="*/ 35 h 66"/>
                  <a:gd name="T4" fmla="*/ 22 w 94"/>
                  <a:gd name="T5" fmla="*/ 57 h 66"/>
                  <a:gd name="T6" fmla="*/ 58 w 94"/>
                  <a:gd name="T7" fmla="*/ 62 h 66"/>
                  <a:gd name="T8" fmla="*/ 93 w 94"/>
                  <a:gd name="T9" fmla="*/ 47 h 66"/>
                  <a:gd name="T10" fmla="*/ 89 w 94"/>
                  <a:gd name="T11" fmla="*/ 43 h 66"/>
                  <a:gd name="T12" fmla="*/ 60 w 94"/>
                  <a:gd name="T13" fmla="*/ 52 h 66"/>
                  <a:gd name="T14" fmla="*/ 32 w 94"/>
                  <a:gd name="T15" fmla="*/ 53 h 66"/>
                  <a:gd name="T16" fmla="*/ 20 w 94"/>
                  <a:gd name="T17" fmla="*/ 44 h 66"/>
                  <a:gd name="T18" fmla="*/ 12 w 94"/>
                  <a:gd name="T19" fmla="*/ 35 h 66"/>
                  <a:gd name="T20" fmla="*/ 27 w 94"/>
                  <a:gd name="T21" fmla="*/ 22 h 66"/>
                  <a:gd name="T22" fmla="*/ 45 w 94"/>
                  <a:gd name="T23" fmla="*/ 4 h 66"/>
                  <a:gd name="T24" fmla="*/ 42 w 94"/>
                  <a:gd name="T25" fmla="*/ 1 h 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94" h="66">
                    <a:moveTo>
                      <a:pt x="42" y="1"/>
                    </a:moveTo>
                    <a:cubicBezTo>
                      <a:pt x="32" y="9"/>
                      <a:pt x="8" y="22"/>
                      <a:pt x="4" y="35"/>
                    </a:cubicBezTo>
                    <a:cubicBezTo>
                      <a:pt x="0" y="47"/>
                      <a:pt x="15" y="51"/>
                      <a:pt x="22" y="57"/>
                    </a:cubicBezTo>
                    <a:cubicBezTo>
                      <a:pt x="33" y="66"/>
                      <a:pt x="45" y="64"/>
                      <a:pt x="58" y="62"/>
                    </a:cubicBezTo>
                    <a:cubicBezTo>
                      <a:pt x="71" y="60"/>
                      <a:pt x="86" y="60"/>
                      <a:pt x="93" y="47"/>
                    </a:cubicBezTo>
                    <a:cubicBezTo>
                      <a:pt x="94" y="45"/>
                      <a:pt x="91" y="41"/>
                      <a:pt x="89" y="43"/>
                    </a:cubicBezTo>
                    <a:cubicBezTo>
                      <a:pt x="79" y="47"/>
                      <a:pt x="70" y="50"/>
                      <a:pt x="60" y="52"/>
                    </a:cubicBezTo>
                    <a:cubicBezTo>
                      <a:pt x="50" y="54"/>
                      <a:pt x="42" y="57"/>
                      <a:pt x="32" y="53"/>
                    </a:cubicBezTo>
                    <a:cubicBezTo>
                      <a:pt x="27" y="50"/>
                      <a:pt x="25" y="47"/>
                      <a:pt x="20" y="44"/>
                    </a:cubicBezTo>
                    <a:cubicBezTo>
                      <a:pt x="17" y="42"/>
                      <a:pt x="10" y="42"/>
                      <a:pt x="12" y="35"/>
                    </a:cubicBezTo>
                    <a:cubicBezTo>
                      <a:pt x="14" y="31"/>
                      <a:pt x="23" y="25"/>
                      <a:pt x="27" y="22"/>
                    </a:cubicBezTo>
                    <a:cubicBezTo>
                      <a:pt x="33" y="16"/>
                      <a:pt x="40" y="11"/>
                      <a:pt x="45" y="4"/>
                    </a:cubicBezTo>
                    <a:cubicBezTo>
                      <a:pt x="46" y="2"/>
                      <a:pt x="44" y="0"/>
                      <a:pt x="42" y="1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262" name="Freeform 174">
                <a:extLst>
                  <a:ext uri="{FF2B5EF4-FFF2-40B4-BE49-F238E27FC236}">
                    <a16:creationId xmlns:a16="http://schemas.microsoft.com/office/drawing/2014/main" id="{DA0AE831-0A9A-4DDD-A22C-A539A08C2AF1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421" y="1339"/>
                <a:ext cx="17" cy="59"/>
              </a:xfrm>
              <a:custGeom>
                <a:avLst/>
                <a:gdLst>
                  <a:gd name="T0" fmla="*/ 10 w 16"/>
                  <a:gd name="T1" fmla="*/ 55 h 56"/>
                  <a:gd name="T2" fmla="*/ 13 w 16"/>
                  <a:gd name="T3" fmla="*/ 34 h 56"/>
                  <a:gd name="T4" fmla="*/ 5 w 16"/>
                  <a:gd name="T5" fmla="*/ 2 h 56"/>
                  <a:gd name="T6" fmla="*/ 0 w 16"/>
                  <a:gd name="T7" fmla="*/ 3 h 56"/>
                  <a:gd name="T8" fmla="*/ 4 w 16"/>
                  <a:gd name="T9" fmla="*/ 27 h 56"/>
                  <a:gd name="T10" fmla="*/ 7 w 16"/>
                  <a:gd name="T11" fmla="*/ 52 h 56"/>
                  <a:gd name="T12" fmla="*/ 10 w 16"/>
                  <a:gd name="T13" fmla="*/ 55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6" h="56">
                    <a:moveTo>
                      <a:pt x="10" y="55"/>
                    </a:moveTo>
                    <a:cubicBezTo>
                      <a:pt x="16" y="50"/>
                      <a:pt x="14" y="40"/>
                      <a:pt x="13" y="34"/>
                    </a:cubicBezTo>
                    <a:cubicBezTo>
                      <a:pt x="11" y="24"/>
                      <a:pt x="10" y="11"/>
                      <a:pt x="5" y="2"/>
                    </a:cubicBezTo>
                    <a:cubicBezTo>
                      <a:pt x="4" y="0"/>
                      <a:pt x="0" y="0"/>
                      <a:pt x="0" y="3"/>
                    </a:cubicBezTo>
                    <a:cubicBezTo>
                      <a:pt x="0" y="11"/>
                      <a:pt x="3" y="19"/>
                      <a:pt x="4" y="27"/>
                    </a:cubicBezTo>
                    <a:cubicBezTo>
                      <a:pt x="6" y="34"/>
                      <a:pt x="11" y="46"/>
                      <a:pt x="7" y="52"/>
                    </a:cubicBezTo>
                    <a:cubicBezTo>
                      <a:pt x="6" y="54"/>
                      <a:pt x="9" y="56"/>
                      <a:pt x="10" y="55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263" name="Freeform 175">
                <a:extLst>
                  <a:ext uri="{FF2B5EF4-FFF2-40B4-BE49-F238E27FC236}">
                    <a16:creationId xmlns:a16="http://schemas.microsoft.com/office/drawing/2014/main" id="{669982BD-16C9-4132-BA23-553F27FEBFAF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419" y="1340"/>
                <a:ext cx="42" cy="49"/>
              </a:xfrm>
              <a:custGeom>
                <a:avLst/>
                <a:gdLst>
                  <a:gd name="T0" fmla="*/ 2 w 40"/>
                  <a:gd name="T1" fmla="*/ 5 h 46"/>
                  <a:gd name="T2" fmla="*/ 19 w 40"/>
                  <a:gd name="T3" fmla="*/ 28 h 46"/>
                  <a:gd name="T4" fmla="*/ 26 w 40"/>
                  <a:gd name="T5" fmla="*/ 36 h 46"/>
                  <a:gd name="T6" fmla="*/ 35 w 40"/>
                  <a:gd name="T7" fmla="*/ 44 h 46"/>
                  <a:gd name="T8" fmla="*/ 39 w 40"/>
                  <a:gd name="T9" fmla="*/ 41 h 46"/>
                  <a:gd name="T10" fmla="*/ 33 w 40"/>
                  <a:gd name="T11" fmla="*/ 32 h 46"/>
                  <a:gd name="T12" fmla="*/ 23 w 40"/>
                  <a:gd name="T13" fmla="*/ 22 h 46"/>
                  <a:gd name="T14" fmla="*/ 3 w 40"/>
                  <a:gd name="T15" fmla="*/ 1 h 46"/>
                  <a:gd name="T16" fmla="*/ 2 w 40"/>
                  <a:gd name="T17" fmla="*/ 5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0" h="46">
                    <a:moveTo>
                      <a:pt x="2" y="5"/>
                    </a:moveTo>
                    <a:cubicBezTo>
                      <a:pt x="10" y="10"/>
                      <a:pt x="14" y="19"/>
                      <a:pt x="19" y="28"/>
                    </a:cubicBezTo>
                    <a:cubicBezTo>
                      <a:pt x="21" y="31"/>
                      <a:pt x="23" y="33"/>
                      <a:pt x="26" y="36"/>
                    </a:cubicBezTo>
                    <a:cubicBezTo>
                      <a:pt x="29" y="38"/>
                      <a:pt x="32" y="42"/>
                      <a:pt x="35" y="44"/>
                    </a:cubicBezTo>
                    <a:cubicBezTo>
                      <a:pt x="37" y="46"/>
                      <a:pt x="40" y="44"/>
                      <a:pt x="39" y="41"/>
                    </a:cubicBezTo>
                    <a:cubicBezTo>
                      <a:pt x="39" y="37"/>
                      <a:pt x="36" y="35"/>
                      <a:pt x="33" y="32"/>
                    </a:cubicBezTo>
                    <a:cubicBezTo>
                      <a:pt x="29" y="29"/>
                      <a:pt x="26" y="27"/>
                      <a:pt x="23" y="22"/>
                    </a:cubicBezTo>
                    <a:cubicBezTo>
                      <a:pt x="17" y="14"/>
                      <a:pt x="12" y="5"/>
                      <a:pt x="3" y="1"/>
                    </a:cubicBezTo>
                    <a:cubicBezTo>
                      <a:pt x="1" y="0"/>
                      <a:pt x="0" y="3"/>
                      <a:pt x="2" y="5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264" name="Freeform 176">
                <a:extLst>
                  <a:ext uri="{FF2B5EF4-FFF2-40B4-BE49-F238E27FC236}">
                    <a16:creationId xmlns:a16="http://schemas.microsoft.com/office/drawing/2014/main" id="{A2525113-0598-4ACA-9FC5-895784AD48F7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434" y="1387"/>
                <a:ext cx="23" cy="9"/>
              </a:xfrm>
              <a:custGeom>
                <a:avLst/>
                <a:gdLst>
                  <a:gd name="T0" fmla="*/ 4 w 22"/>
                  <a:gd name="T1" fmla="*/ 6 h 9"/>
                  <a:gd name="T2" fmla="*/ 18 w 22"/>
                  <a:gd name="T3" fmla="*/ 7 h 9"/>
                  <a:gd name="T4" fmla="*/ 17 w 22"/>
                  <a:gd name="T5" fmla="*/ 0 h 9"/>
                  <a:gd name="T6" fmla="*/ 11 w 22"/>
                  <a:gd name="T7" fmla="*/ 1 h 9"/>
                  <a:gd name="T8" fmla="*/ 7 w 22"/>
                  <a:gd name="T9" fmla="*/ 1 h 9"/>
                  <a:gd name="T10" fmla="*/ 4 w 22"/>
                  <a:gd name="T11" fmla="*/ 6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2" h="9">
                    <a:moveTo>
                      <a:pt x="4" y="6"/>
                    </a:moveTo>
                    <a:cubicBezTo>
                      <a:pt x="8" y="9"/>
                      <a:pt x="13" y="8"/>
                      <a:pt x="18" y="7"/>
                    </a:cubicBezTo>
                    <a:cubicBezTo>
                      <a:pt x="22" y="6"/>
                      <a:pt x="20" y="0"/>
                      <a:pt x="17" y="0"/>
                    </a:cubicBezTo>
                    <a:cubicBezTo>
                      <a:pt x="15" y="1"/>
                      <a:pt x="13" y="1"/>
                      <a:pt x="11" y="1"/>
                    </a:cubicBezTo>
                    <a:cubicBezTo>
                      <a:pt x="10" y="1"/>
                      <a:pt x="8" y="2"/>
                      <a:pt x="7" y="1"/>
                    </a:cubicBezTo>
                    <a:cubicBezTo>
                      <a:pt x="3" y="0"/>
                      <a:pt x="0" y="4"/>
                      <a:pt x="4" y="6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265" name="Freeform 177">
                <a:extLst>
                  <a:ext uri="{FF2B5EF4-FFF2-40B4-BE49-F238E27FC236}">
                    <a16:creationId xmlns:a16="http://schemas.microsoft.com/office/drawing/2014/main" id="{DA26FBD9-05B6-4C79-BF6A-E0E58D055E80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419" y="1331"/>
                <a:ext cx="73" cy="21"/>
              </a:xfrm>
              <a:custGeom>
                <a:avLst/>
                <a:gdLst>
                  <a:gd name="T0" fmla="*/ 2 w 69"/>
                  <a:gd name="T1" fmla="*/ 4 h 20"/>
                  <a:gd name="T2" fmla="*/ 27 w 69"/>
                  <a:gd name="T3" fmla="*/ 15 h 20"/>
                  <a:gd name="T4" fmla="*/ 66 w 69"/>
                  <a:gd name="T5" fmla="*/ 15 h 20"/>
                  <a:gd name="T6" fmla="*/ 66 w 69"/>
                  <a:gd name="T7" fmla="*/ 9 h 20"/>
                  <a:gd name="T8" fmla="*/ 4 w 69"/>
                  <a:gd name="T9" fmla="*/ 1 h 20"/>
                  <a:gd name="T10" fmla="*/ 2 w 69"/>
                  <a:gd name="T11" fmla="*/ 4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69" h="20">
                    <a:moveTo>
                      <a:pt x="2" y="4"/>
                    </a:moveTo>
                    <a:cubicBezTo>
                      <a:pt x="8" y="12"/>
                      <a:pt x="17" y="13"/>
                      <a:pt x="27" y="15"/>
                    </a:cubicBezTo>
                    <a:cubicBezTo>
                      <a:pt x="39" y="17"/>
                      <a:pt x="55" y="20"/>
                      <a:pt x="66" y="15"/>
                    </a:cubicBezTo>
                    <a:cubicBezTo>
                      <a:pt x="69" y="14"/>
                      <a:pt x="68" y="10"/>
                      <a:pt x="66" y="9"/>
                    </a:cubicBezTo>
                    <a:cubicBezTo>
                      <a:pt x="48" y="2"/>
                      <a:pt x="21" y="14"/>
                      <a:pt x="4" y="1"/>
                    </a:cubicBezTo>
                    <a:cubicBezTo>
                      <a:pt x="2" y="0"/>
                      <a:pt x="0" y="2"/>
                      <a:pt x="2" y="4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266" name="Freeform 178">
                <a:extLst>
                  <a:ext uri="{FF2B5EF4-FFF2-40B4-BE49-F238E27FC236}">
                    <a16:creationId xmlns:a16="http://schemas.microsoft.com/office/drawing/2014/main" id="{E83C7DD3-72A7-4DD5-93F3-7E79C7584124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470" y="1262"/>
                <a:ext cx="25" cy="76"/>
              </a:xfrm>
              <a:custGeom>
                <a:avLst/>
                <a:gdLst>
                  <a:gd name="T0" fmla="*/ 19 w 24"/>
                  <a:gd name="T1" fmla="*/ 71 h 72"/>
                  <a:gd name="T2" fmla="*/ 21 w 24"/>
                  <a:gd name="T3" fmla="*/ 36 h 72"/>
                  <a:gd name="T4" fmla="*/ 9 w 24"/>
                  <a:gd name="T5" fmla="*/ 4 h 72"/>
                  <a:gd name="T6" fmla="*/ 3 w 24"/>
                  <a:gd name="T7" fmla="*/ 8 h 72"/>
                  <a:gd name="T8" fmla="*/ 14 w 24"/>
                  <a:gd name="T9" fmla="*/ 34 h 72"/>
                  <a:gd name="T10" fmla="*/ 17 w 24"/>
                  <a:gd name="T11" fmla="*/ 70 h 72"/>
                  <a:gd name="T12" fmla="*/ 19 w 24"/>
                  <a:gd name="T13" fmla="*/ 71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4" h="72">
                    <a:moveTo>
                      <a:pt x="19" y="71"/>
                    </a:moveTo>
                    <a:cubicBezTo>
                      <a:pt x="24" y="59"/>
                      <a:pt x="23" y="49"/>
                      <a:pt x="21" y="36"/>
                    </a:cubicBezTo>
                    <a:cubicBezTo>
                      <a:pt x="18" y="25"/>
                      <a:pt x="17" y="13"/>
                      <a:pt x="9" y="4"/>
                    </a:cubicBezTo>
                    <a:cubicBezTo>
                      <a:pt x="6" y="0"/>
                      <a:pt x="0" y="4"/>
                      <a:pt x="3" y="8"/>
                    </a:cubicBezTo>
                    <a:cubicBezTo>
                      <a:pt x="10" y="15"/>
                      <a:pt x="11" y="25"/>
                      <a:pt x="14" y="34"/>
                    </a:cubicBezTo>
                    <a:cubicBezTo>
                      <a:pt x="17" y="46"/>
                      <a:pt x="21" y="58"/>
                      <a:pt x="17" y="70"/>
                    </a:cubicBezTo>
                    <a:cubicBezTo>
                      <a:pt x="16" y="71"/>
                      <a:pt x="18" y="72"/>
                      <a:pt x="19" y="71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267" name="Freeform 179">
                <a:extLst>
                  <a:ext uri="{FF2B5EF4-FFF2-40B4-BE49-F238E27FC236}">
                    <a16:creationId xmlns:a16="http://schemas.microsoft.com/office/drawing/2014/main" id="{CD89C0DA-2E9D-4F54-8F13-080585B7B95E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433" y="1260"/>
                <a:ext cx="49" cy="41"/>
              </a:xfrm>
              <a:custGeom>
                <a:avLst/>
                <a:gdLst>
                  <a:gd name="T0" fmla="*/ 1 w 47"/>
                  <a:gd name="T1" fmla="*/ 38 h 39"/>
                  <a:gd name="T2" fmla="*/ 24 w 47"/>
                  <a:gd name="T3" fmla="*/ 23 h 39"/>
                  <a:gd name="T4" fmla="*/ 33 w 47"/>
                  <a:gd name="T5" fmla="*/ 15 h 39"/>
                  <a:gd name="T6" fmla="*/ 46 w 47"/>
                  <a:gd name="T7" fmla="*/ 4 h 39"/>
                  <a:gd name="T8" fmla="*/ 44 w 47"/>
                  <a:gd name="T9" fmla="*/ 0 h 39"/>
                  <a:gd name="T10" fmla="*/ 27 w 47"/>
                  <a:gd name="T11" fmla="*/ 11 h 39"/>
                  <a:gd name="T12" fmla="*/ 1 w 47"/>
                  <a:gd name="T13" fmla="*/ 36 h 39"/>
                  <a:gd name="T14" fmla="*/ 1 w 47"/>
                  <a:gd name="T15" fmla="*/ 38 h 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47" h="39">
                    <a:moveTo>
                      <a:pt x="1" y="38"/>
                    </a:moveTo>
                    <a:cubicBezTo>
                      <a:pt x="11" y="36"/>
                      <a:pt x="18" y="30"/>
                      <a:pt x="24" y="23"/>
                    </a:cubicBezTo>
                    <a:cubicBezTo>
                      <a:pt x="27" y="21"/>
                      <a:pt x="30" y="18"/>
                      <a:pt x="33" y="15"/>
                    </a:cubicBezTo>
                    <a:cubicBezTo>
                      <a:pt x="37" y="11"/>
                      <a:pt x="43" y="8"/>
                      <a:pt x="46" y="4"/>
                    </a:cubicBezTo>
                    <a:cubicBezTo>
                      <a:pt x="47" y="2"/>
                      <a:pt x="46" y="0"/>
                      <a:pt x="44" y="0"/>
                    </a:cubicBezTo>
                    <a:cubicBezTo>
                      <a:pt x="37" y="0"/>
                      <a:pt x="32" y="6"/>
                      <a:pt x="27" y="11"/>
                    </a:cubicBezTo>
                    <a:cubicBezTo>
                      <a:pt x="19" y="19"/>
                      <a:pt x="12" y="32"/>
                      <a:pt x="1" y="36"/>
                    </a:cubicBezTo>
                    <a:cubicBezTo>
                      <a:pt x="0" y="36"/>
                      <a:pt x="0" y="39"/>
                      <a:pt x="1" y="38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268" name="Freeform 180">
                <a:extLst>
                  <a:ext uri="{FF2B5EF4-FFF2-40B4-BE49-F238E27FC236}">
                    <a16:creationId xmlns:a16="http://schemas.microsoft.com/office/drawing/2014/main" id="{F02EE8C9-B680-4C59-9FA4-FD144797AAD7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480" y="1262"/>
                <a:ext cx="36" cy="88"/>
              </a:xfrm>
              <a:custGeom>
                <a:avLst/>
                <a:gdLst>
                  <a:gd name="T0" fmla="*/ 2 w 34"/>
                  <a:gd name="T1" fmla="*/ 3 h 83"/>
                  <a:gd name="T2" fmla="*/ 25 w 34"/>
                  <a:gd name="T3" fmla="*/ 45 h 83"/>
                  <a:gd name="T4" fmla="*/ 11 w 34"/>
                  <a:gd name="T5" fmla="*/ 77 h 83"/>
                  <a:gd name="T6" fmla="*/ 17 w 34"/>
                  <a:gd name="T7" fmla="*/ 80 h 83"/>
                  <a:gd name="T8" fmla="*/ 25 w 34"/>
                  <a:gd name="T9" fmla="*/ 63 h 83"/>
                  <a:gd name="T10" fmla="*/ 31 w 34"/>
                  <a:gd name="T11" fmla="*/ 48 h 83"/>
                  <a:gd name="T12" fmla="*/ 33 w 34"/>
                  <a:gd name="T13" fmla="*/ 44 h 83"/>
                  <a:gd name="T14" fmla="*/ 3 w 34"/>
                  <a:gd name="T15" fmla="*/ 1 h 83"/>
                  <a:gd name="T16" fmla="*/ 2 w 34"/>
                  <a:gd name="T17" fmla="*/ 3 h 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4" h="83">
                    <a:moveTo>
                      <a:pt x="2" y="3"/>
                    </a:moveTo>
                    <a:cubicBezTo>
                      <a:pt x="11" y="11"/>
                      <a:pt x="27" y="33"/>
                      <a:pt x="25" y="45"/>
                    </a:cubicBezTo>
                    <a:cubicBezTo>
                      <a:pt x="24" y="57"/>
                      <a:pt x="14" y="67"/>
                      <a:pt x="11" y="77"/>
                    </a:cubicBezTo>
                    <a:cubicBezTo>
                      <a:pt x="10" y="81"/>
                      <a:pt x="16" y="83"/>
                      <a:pt x="17" y="80"/>
                    </a:cubicBezTo>
                    <a:cubicBezTo>
                      <a:pt x="19" y="74"/>
                      <a:pt x="23" y="69"/>
                      <a:pt x="25" y="63"/>
                    </a:cubicBezTo>
                    <a:cubicBezTo>
                      <a:pt x="26" y="59"/>
                      <a:pt x="26" y="49"/>
                      <a:pt x="31" y="48"/>
                    </a:cubicBezTo>
                    <a:cubicBezTo>
                      <a:pt x="32" y="47"/>
                      <a:pt x="34" y="45"/>
                      <a:pt x="33" y="44"/>
                    </a:cubicBezTo>
                    <a:cubicBezTo>
                      <a:pt x="28" y="27"/>
                      <a:pt x="18" y="10"/>
                      <a:pt x="3" y="1"/>
                    </a:cubicBezTo>
                    <a:cubicBezTo>
                      <a:pt x="2" y="0"/>
                      <a:pt x="0" y="2"/>
                      <a:pt x="2" y="3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269" name="Freeform 181">
                <a:extLst>
                  <a:ext uri="{FF2B5EF4-FFF2-40B4-BE49-F238E27FC236}">
                    <a16:creationId xmlns:a16="http://schemas.microsoft.com/office/drawing/2014/main" id="{339F9438-824A-4751-A037-7D86AC1B837C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341" y="1273"/>
                <a:ext cx="27" cy="37"/>
              </a:xfrm>
              <a:custGeom>
                <a:avLst/>
                <a:gdLst>
                  <a:gd name="T0" fmla="*/ 5 w 25"/>
                  <a:gd name="T1" fmla="*/ 33 h 35"/>
                  <a:gd name="T2" fmla="*/ 7 w 25"/>
                  <a:gd name="T3" fmla="*/ 27 h 35"/>
                  <a:gd name="T4" fmla="*/ 11 w 25"/>
                  <a:gd name="T5" fmla="*/ 20 h 35"/>
                  <a:gd name="T6" fmla="*/ 23 w 25"/>
                  <a:gd name="T7" fmla="*/ 5 h 35"/>
                  <a:gd name="T8" fmla="*/ 19 w 25"/>
                  <a:gd name="T9" fmla="*/ 2 h 35"/>
                  <a:gd name="T10" fmla="*/ 5 w 25"/>
                  <a:gd name="T11" fmla="*/ 18 h 35"/>
                  <a:gd name="T12" fmla="*/ 0 w 25"/>
                  <a:gd name="T13" fmla="*/ 28 h 35"/>
                  <a:gd name="T14" fmla="*/ 2 w 25"/>
                  <a:gd name="T15" fmla="*/ 34 h 35"/>
                  <a:gd name="T16" fmla="*/ 5 w 25"/>
                  <a:gd name="T17" fmla="*/ 33 h 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5" h="35">
                    <a:moveTo>
                      <a:pt x="5" y="33"/>
                    </a:moveTo>
                    <a:cubicBezTo>
                      <a:pt x="6" y="31"/>
                      <a:pt x="6" y="29"/>
                      <a:pt x="7" y="27"/>
                    </a:cubicBezTo>
                    <a:cubicBezTo>
                      <a:pt x="8" y="25"/>
                      <a:pt x="10" y="22"/>
                      <a:pt x="11" y="20"/>
                    </a:cubicBezTo>
                    <a:cubicBezTo>
                      <a:pt x="15" y="15"/>
                      <a:pt x="19" y="10"/>
                      <a:pt x="23" y="5"/>
                    </a:cubicBezTo>
                    <a:cubicBezTo>
                      <a:pt x="25" y="3"/>
                      <a:pt x="21" y="0"/>
                      <a:pt x="19" y="2"/>
                    </a:cubicBezTo>
                    <a:cubicBezTo>
                      <a:pt x="13" y="7"/>
                      <a:pt x="9" y="12"/>
                      <a:pt x="5" y="18"/>
                    </a:cubicBezTo>
                    <a:cubicBezTo>
                      <a:pt x="3" y="21"/>
                      <a:pt x="0" y="25"/>
                      <a:pt x="0" y="28"/>
                    </a:cubicBezTo>
                    <a:cubicBezTo>
                      <a:pt x="0" y="30"/>
                      <a:pt x="1" y="32"/>
                      <a:pt x="2" y="34"/>
                    </a:cubicBezTo>
                    <a:cubicBezTo>
                      <a:pt x="3" y="35"/>
                      <a:pt x="5" y="35"/>
                      <a:pt x="5" y="33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270" name="Freeform 182">
                <a:extLst>
                  <a:ext uri="{FF2B5EF4-FFF2-40B4-BE49-F238E27FC236}">
                    <a16:creationId xmlns:a16="http://schemas.microsoft.com/office/drawing/2014/main" id="{80356B17-004B-4C0E-B24D-65A1EA0DFBE9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329" y="1315"/>
                <a:ext cx="182" cy="129"/>
              </a:xfrm>
              <a:custGeom>
                <a:avLst/>
                <a:gdLst>
                  <a:gd name="T0" fmla="*/ 1 w 172"/>
                  <a:gd name="T1" fmla="*/ 46 h 122"/>
                  <a:gd name="T2" fmla="*/ 10 w 172"/>
                  <a:gd name="T3" fmla="*/ 88 h 122"/>
                  <a:gd name="T4" fmla="*/ 34 w 172"/>
                  <a:gd name="T5" fmla="*/ 108 h 122"/>
                  <a:gd name="T6" fmla="*/ 99 w 172"/>
                  <a:gd name="T7" fmla="*/ 117 h 122"/>
                  <a:gd name="T8" fmla="*/ 172 w 172"/>
                  <a:gd name="T9" fmla="*/ 2 h 122"/>
                  <a:gd name="T10" fmla="*/ 168 w 172"/>
                  <a:gd name="T11" fmla="*/ 2 h 122"/>
                  <a:gd name="T12" fmla="*/ 102 w 172"/>
                  <a:gd name="T13" fmla="*/ 106 h 122"/>
                  <a:gd name="T14" fmla="*/ 40 w 172"/>
                  <a:gd name="T15" fmla="*/ 104 h 122"/>
                  <a:gd name="T16" fmla="*/ 2 w 172"/>
                  <a:gd name="T17" fmla="*/ 45 h 122"/>
                  <a:gd name="T18" fmla="*/ 1 w 172"/>
                  <a:gd name="T19" fmla="*/ 46 h 1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72" h="122">
                    <a:moveTo>
                      <a:pt x="1" y="46"/>
                    </a:moveTo>
                    <a:cubicBezTo>
                      <a:pt x="1" y="62"/>
                      <a:pt x="0" y="74"/>
                      <a:pt x="10" y="88"/>
                    </a:cubicBezTo>
                    <a:cubicBezTo>
                      <a:pt x="16" y="97"/>
                      <a:pt x="24" y="103"/>
                      <a:pt x="34" y="108"/>
                    </a:cubicBezTo>
                    <a:cubicBezTo>
                      <a:pt x="53" y="118"/>
                      <a:pt x="78" y="122"/>
                      <a:pt x="99" y="117"/>
                    </a:cubicBezTo>
                    <a:cubicBezTo>
                      <a:pt x="151" y="104"/>
                      <a:pt x="172" y="51"/>
                      <a:pt x="172" y="2"/>
                    </a:cubicBezTo>
                    <a:cubicBezTo>
                      <a:pt x="172" y="0"/>
                      <a:pt x="168" y="0"/>
                      <a:pt x="168" y="2"/>
                    </a:cubicBezTo>
                    <a:cubicBezTo>
                      <a:pt x="170" y="47"/>
                      <a:pt x="147" y="90"/>
                      <a:pt x="102" y="106"/>
                    </a:cubicBezTo>
                    <a:cubicBezTo>
                      <a:pt x="82" y="113"/>
                      <a:pt x="59" y="112"/>
                      <a:pt x="40" y="104"/>
                    </a:cubicBezTo>
                    <a:cubicBezTo>
                      <a:pt x="13" y="92"/>
                      <a:pt x="8" y="72"/>
                      <a:pt x="2" y="45"/>
                    </a:cubicBezTo>
                    <a:cubicBezTo>
                      <a:pt x="2" y="45"/>
                      <a:pt x="1" y="45"/>
                      <a:pt x="1" y="46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271" name="Freeform 183">
                <a:extLst>
                  <a:ext uri="{FF2B5EF4-FFF2-40B4-BE49-F238E27FC236}">
                    <a16:creationId xmlns:a16="http://schemas.microsoft.com/office/drawing/2014/main" id="{7731D802-E65B-4A6A-8982-AB9F9D089F72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423" y="1330"/>
                <a:ext cx="52" cy="68"/>
              </a:xfrm>
              <a:custGeom>
                <a:avLst/>
                <a:gdLst>
                  <a:gd name="T0" fmla="*/ 2 w 49"/>
                  <a:gd name="T1" fmla="*/ 4 h 65"/>
                  <a:gd name="T2" fmla="*/ 15 w 49"/>
                  <a:gd name="T3" fmla="*/ 18 h 65"/>
                  <a:gd name="T4" fmla="*/ 29 w 49"/>
                  <a:gd name="T5" fmla="*/ 37 h 65"/>
                  <a:gd name="T6" fmla="*/ 33 w 49"/>
                  <a:gd name="T7" fmla="*/ 44 h 65"/>
                  <a:gd name="T8" fmla="*/ 28 w 49"/>
                  <a:gd name="T9" fmla="*/ 54 h 65"/>
                  <a:gd name="T10" fmla="*/ 8 w 49"/>
                  <a:gd name="T11" fmla="*/ 58 h 65"/>
                  <a:gd name="T12" fmla="*/ 9 w 49"/>
                  <a:gd name="T13" fmla="*/ 65 h 65"/>
                  <a:gd name="T14" fmla="*/ 42 w 49"/>
                  <a:gd name="T15" fmla="*/ 45 h 65"/>
                  <a:gd name="T16" fmla="*/ 25 w 49"/>
                  <a:gd name="T17" fmla="*/ 21 h 65"/>
                  <a:gd name="T18" fmla="*/ 4 w 49"/>
                  <a:gd name="T19" fmla="*/ 1 h 65"/>
                  <a:gd name="T20" fmla="*/ 2 w 49"/>
                  <a:gd name="T21" fmla="*/ 4 h 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49" h="65">
                    <a:moveTo>
                      <a:pt x="2" y="4"/>
                    </a:moveTo>
                    <a:cubicBezTo>
                      <a:pt x="8" y="7"/>
                      <a:pt x="11" y="13"/>
                      <a:pt x="15" y="18"/>
                    </a:cubicBezTo>
                    <a:cubicBezTo>
                      <a:pt x="19" y="24"/>
                      <a:pt x="25" y="30"/>
                      <a:pt x="29" y="37"/>
                    </a:cubicBezTo>
                    <a:cubicBezTo>
                      <a:pt x="30" y="39"/>
                      <a:pt x="31" y="42"/>
                      <a:pt x="33" y="44"/>
                    </a:cubicBezTo>
                    <a:cubicBezTo>
                      <a:pt x="36" y="51"/>
                      <a:pt x="38" y="52"/>
                      <a:pt x="28" y="54"/>
                    </a:cubicBezTo>
                    <a:cubicBezTo>
                      <a:pt x="21" y="56"/>
                      <a:pt x="15" y="56"/>
                      <a:pt x="8" y="58"/>
                    </a:cubicBezTo>
                    <a:cubicBezTo>
                      <a:pt x="5" y="59"/>
                      <a:pt x="5" y="65"/>
                      <a:pt x="9" y="65"/>
                    </a:cubicBezTo>
                    <a:cubicBezTo>
                      <a:pt x="19" y="64"/>
                      <a:pt x="49" y="61"/>
                      <a:pt x="42" y="45"/>
                    </a:cubicBezTo>
                    <a:cubicBezTo>
                      <a:pt x="38" y="37"/>
                      <a:pt x="31" y="28"/>
                      <a:pt x="25" y="21"/>
                    </a:cubicBezTo>
                    <a:cubicBezTo>
                      <a:pt x="19" y="14"/>
                      <a:pt x="13" y="4"/>
                      <a:pt x="4" y="1"/>
                    </a:cubicBezTo>
                    <a:cubicBezTo>
                      <a:pt x="2" y="0"/>
                      <a:pt x="0" y="3"/>
                      <a:pt x="2" y="4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272" name="Freeform 184">
                <a:extLst>
                  <a:ext uri="{FF2B5EF4-FFF2-40B4-BE49-F238E27FC236}">
                    <a16:creationId xmlns:a16="http://schemas.microsoft.com/office/drawing/2014/main" id="{D7FCE0F6-42D9-43FA-B5DD-CBB50F72D7B0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032" y="1083"/>
                <a:ext cx="93" cy="93"/>
              </a:xfrm>
              <a:custGeom>
                <a:avLst/>
                <a:gdLst>
                  <a:gd name="T0" fmla="*/ 40 w 88"/>
                  <a:gd name="T1" fmla="*/ 7 h 88"/>
                  <a:gd name="T2" fmla="*/ 9 w 88"/>
                  <a:gd name="T3" fmla="*/ 18 h 88"/>
                  <a:gd name="T4" fmla="*/ 1 w 88"/>
                  <a:gd name="T5" fmla="*/ 47 h 88"/>
                  <a:gd name="T6" fmla="*/ 47 w 88"/>
                  <a:gd name="T7" fmla="*/ 84 h 88"/>
                  <a:gd name="T8" fmla="*/ 85 w 88"/>
                  <a:gd name="T9" fmla="*/ 44 h 88"/>
                  <a:gd name="T10" fmla="*/ 38 w 88"/>
                  <a:gd name="T11" fmla="*/ 8 h 88"/>
                  <a:gd name="T12" fmla="*/ 38 w 88"/>
                  <a:gd name="T13" fmla="*/ 13 h 88"/>
                  <a:gd name="T14" fmla="*/ 78 w 88"/>
                  <a:gd name="T15" fmla="*/ 47 h 88"/>
                  <a:gd name="T16" fmla="*/ 43 w 88"/>
                  <a:gd name="T17" fmla="*/ 77 h 88"/>
                  <a:gd name="T18" fmla="*/ 9 w 88"/>
                  <a:gd name="T19" fmla="*/ 53 h 88"/>
                  <a:gd name="T20" fmla="*/ 12 w 88"/>
                  <a:gd name="T21" fmla="*/ 25 h 88"/>
                  <a:gd name="T22" fmla="*/ 40 w 88"/>
                  <a:gd name="T23" fmla="*/ 9 h 88"/>
                  <a:gd name="T24" fmla="*/ 40 w 88"/>
                  <a:gd name="T25" fmla="*/ 7 h 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88" h="88">
                    <a:moveTo>
                      <a:pt x="40" y="7"/>
                    </a:moveTo>
                    <a:cubicBezTo>
                      <a:pt x="26" y="7"/>
                      <a:pt x="18" y="7"/>
                      <a:pt x="9" y="18"/>
                    </a:cubicBezTo>
                    <a:cubicBezTo>
                      <a:pt x="3" y="27"/>
                      <a:pt x="0" y="36"/>
                      <a:pt x="1" y="47"/>
                    </a:cubicBezTo>
                    <a:cubicBezTo>
                      <a:pt x="4" y="71"/>
                      <a:pt x="23" y="88"/>
                      <a:pt x="47" y="84"/>
                    </a:cubicBezTo>
                    <a:cubicBezTo>
                      <a:pt x="66" y="81"/>
                      <a:pt x="88" y="65"/>
                      <a:pt x="85" y="44"/>
                    </a:cubicBezTo>
                    <a:cubicBezTo>
                      <a:pt x="82" y="23"/>
                      <a:pt x="60" y="0"/>
                      <a:pt x="38" y="8"/>
                    </a:cubicBezTo>
                    <a:cubicBezTo>
                      <a:pt x="35" y="9"/>
                      <a:pt x="35" y="13"/>
                      <a:pt x="38" y="13"/>
                    </a:cubicBezTo>
                    <a:cubicBezTo>
                      <a:pt x="56" y="14"/>
                      <a:pt x="76" y="26"/>
                      <a:pt x="78" y="47"/>
                    </a:cubicBezTo>
                    <a:cubicBezTo>
                      <a:pt x="78" y="64"/>
                      <a:pt x="58" y="76"/>
                      <a:pt x="43" y="77"/>
                    </a:cubicBezTo>
                    <a:cubicBezTo>
                      <a:pt x="26" y="79"/>
                      <a:pt x="14" y="68"/>
                      <a:pt x="9" y="53"/>
                    </a:cubicBezTo>
                    <a:cubicBezTo>
                      <a:pt x="6" y="43"/>
                      <a:pt x="6" y="33"/>
                      <a:pt x="12" y="25"/>
                    </a:cubicBezTo>
                    <a:cubicBezTo>
                      <a:pt x="18" y="14"/>
                      <a:pt x="28" y="11"/>
                      <a:pt x="40" y="9"/>
                    </a:cubicBezTo>
                    <a:cubicBezTo>
                      <a:pt x="41" y="9"/>
                      <a:pt x="41" y="7"/>
                      <a:pt x="40" y="7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273" name="Freeform 185">
                <a:extLst>
                  <a:ext uri="{FF2B5EF4-FFF2-40B4-BE49-F238E27FC236}">
                    <a16:creationId xmlns:a16="http://schemas.microsoft.com/office/drawing/2014/main" id="{00EC8F52-B191-4C0B-939C-07626F58569C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958" y="1174"/>
                <a:ext cx="94" cy="78"/>
              </a:xfrm>
              <a:custGeom>
                <a:avLst/>
                <a:gdLst>
                  <a:gd name="T0" fmla="*/ 33 w 89"/>
                  <a:gd name="T1" fmla="*/ 5 h 74"/>
                  <a:gd name="T2" fmla="*/ 11 w 89"/>
                  <a:gd name="T3" fmla="*/ 47 h 74"/>
                  <a:gd name="T4" fmla="*/ 55 w 89"/>
                  <a:gd name="T5" fmla="*/ 70 h 74"/>
                  <a:gd name="T6" fmla="*/ 88 w 89"/>
                  <a:gd name="T7" fmla="*/ 29 h 74"/>
                  <a:gd name="T8" fmla="*/ 44 w 89"/>
                  <a:gd name="T9" fmla="*/ 2 h 74"/>
                  <a:gd name="T10" fmla="*/ 44 w 89"/>
                  <a:gd name="T11" fmla="*/ 9 h 74"/>
                  <a:gd name="T12" fmla="*/ 79 w 89"/>
                  <a:gd name="T13" fmla="*/ 38 h 74"/>
                  <a:gd name="T14" fmla="*/ 46 w 89"/>
                  <a:gd name="T15" fmla="*/ 64 h 74"/>
                  <a:gd name="T16" fmla="*/ 16 w 89"/>
                  <a:gd name="T17" fmla="*/ 41 h 74"/>
                  <a:gd name="T18" fmla="*/ 34 w 89"/>
                  <a:gd name="T19" fmla="*/ 6 h 74"/>
                  <a:gd name="T20" fmla="*/ 33 w 89"/>
                  <a:gd name="T21" fmla="*/ 5 h 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89" h="74">
                    <a:moveTo>
                      <a:pt x="33" y="5"/>
                    </a:moveTo>
                    <a:cubicBezTo>
                      <a:pt x="16" y="16"/>
                      <a:pt x="0" y="25"/>
                      <a:pt x="11" y="47"/>
                    </a:cubicBezTo>
                    <a:cubicBezTo>
                      <a:pt x="19" y="63"/>
                      <a:pt x="37" y="74"/>
                      <a:pt x="55" y="70"/>
                    </a:cubicBezTo>
                    <a:cubicBezTo>
                      <a:pt x="73" y="66"/>
                      <a:pt x="89" y="48"/>
                      <a:pt x="88" y="29"/>
                    </a:cubicBezTo>
                    <a:cubicBezTo>
                      <a:pt x="87" y="6"/>
                      <a:pt x="63" y="0"/>
                      <a:pt x="44" y="2"/>
                    </a:cubicBezTo>
                    <a:cubicBezTo>
                      <a:pt x="40" y="2"/>
                      <a:pt x="40" y="9"/>
                      <a:pt x="44" y="9"/>
                    </a:cubicBezTo>
                    <a:cubicBezTo>
                      <a:pt x="62" y="10"/>
                      <a:pt x="87" y="13"/>
                      <a:pt x="79" y="38"/>
                    </a:cubicBezTo>
                    <a:cubicBezTo>
                      <a:pt x="75" y="52"/>
                      <a:pt x="61" y="64"/>
                      <a:pt x="46" y="64"/>
                    </a:cubicBezTo>
                    <a:cubicBezTo>
                      <a:pt x="32" y="64"/>
                      <a:pt x="21" y="53"/>
                      <a:pt x="16" y="41"/>
                    </a:cubicBezTo>
                    <a:cubicBezTo>
                      <a:pt x="9" y="24"/>
                      <a:pt x="23" y="16"/>
                      <a:pt x="34" y="6"/>
                    </a:cubicBezTo>
                    <a:cubicBezTo>
                      <a:pt x="35" y="6"/>
                      <a:pt x="34" y="4"/>
                      <a:pt x="33" y="5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274" name="Freeform 186">
                <a:extLst>
                  <a:ext uri="{FF2B5EF4-FFF2-40B4-BE49-F238E27FC236}">
                    <a16:creationId xmlns:a16="http://schemas.microsoft.com/office/drawing/2014/main" id="{68EC7503-C817-4200-BE47-CF3820CEFC93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136" y="1132"/>
                <a:ext cx="99" cy="92"/>
              </a:xfrm>
              <a:custGeom>
                <a:avLst/>
                <a:gdLst>
                  <a:gd name="T0" fmla="*/ 36 w 93"/>
                  <a:gd name="T1" fmla="*/ 12 h 87"/>
                  <a:gd name="T2" fmla="*/ 15 w 93"/>
                  <a:gd name="T3" fmla="*/ 68 h 87"/>
                  <a:gd name="T4" fmla="*/ 69 w 93"/>
                  <a:gd name="T5" fmla="*/ 79 h 87"/>
                  <a:gd name="T6" fmla="*/ 86 w 93"/>
                  <a:gd name="T7" fmla="*/ 31 h 87"/>
                  <a:gd name="T8" fmla="*/ 31 w 93"/>
                  <a:gd name="T9" fmla="*/ 16 h 87"/>
                  <a:gd name="T10" fmla="*/ 34 w 93"/>
                  <a:gd name="T11" fmla="*/ 22 h 87"/>
                  <a:gd name="T12" fmla="*/ 79 w 93"/>
                  <a:gd name="T13" fmla="*/ 37 h 87"/>
                  <a:gd name="T14" fmla="*/ 62 w 93"/>
                  <a:gd name="T15" fmla="*/ 73 h 87"/>
                  <a:gd name="T16" fmla="*/ 26 w 93"/>
                  <a:gd name="T17" fmla="*/ 69 h 87"/>
                  <a:gd name="T18" fmla="*/ 37 w 93"/>
                  <a:gd name="T19" fmla="*/ 14 h 87"/>
                  <a:gd name="T20" fmla="*/ 36 w 93"/>
                  <a:gd name="T21" fmla="*/ 12 h 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93" h="87">
                    <a:moveTo>
                      <a:pt x="36" y="12"/>
                    </a:moveTo>
                    <a:cubicBezTo>
                      <a:pt x="13" y="21"/>
                      <a:pt x="0" y="46"/>
                      <a:pt x="15" y="68"/>
                    </a:cubicBezTo>
                    <a:cubicBezTo>
                      <a:pt x="27" y="85"/>
                      <a:pt x="52" y="87"/>
                      <a:pt x="69" y="79"/>
                    </a:cubicBezTo>
                    <a:cubicBezTo>
                      <a:pt x="89" y="71"/>
                      <a:pt x="93" y="49"/>
                      <a:pt x="86" y="31"/>
                    </a:cubicBezTo>
                    <a:cubicBezTo>
                      <a:pt x="77" y="7"/>
                      <a:pt x="51" y="0"/>
                      <a:pt x="31" y="16"/>
                    </a:cubicBezTo>
                    <a:cubicBezTo>
                      <a:pt x="28" y="18"/>
                      <a:pt x="30" y="23"/>
                      <a:pt x="34" y="22"/>
                    </a:cubicBezTo>
                    <a:cubicBezTo>
                      <a:pt x="53" y="13"/>
                      <a:pt x="74" y="15"/>
                      <a:pt x="79" y="37"/>
                    </a:cubicBezTo>
                    <a:cubicBezTo>
                      <a:pt x="83" y="53"/>
                      <a:pt x="78" y="68"/>
                      <a:pt x="62" y="73"/>
                    </a:cubicBezTo>
                    <a:cubicBezTo>
                      <a:pt x="50" y="77"/>
                      <a:pt x="36" y="76"/>
                      <a:pt x="26" y="69"/>
                    </a:cubicBezTo>
                    <a:cubicBezTo>
                      <a:pt x="5" y="52"/>
                      <a:pt x="18" y="25"/>
                      <a:pt x="37" y="14"/>
                    </a:cubicBezTo>
                    <a:cubicBezTo>
                      <a:pt x="39" y="13"/>
                      <a:pt x="38" y="11"/>
                      <a:pt x="36" y="12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275" name="Freeform 187">
                <a:extLst>
                  <a:ext uri="{FF2B5EF4-FFF2-40B4-BE49-F238E27FC236}">
                    <a16:creationId xmlns:a16="http://schemas.microsoft.com/office/drawing/2014/main" id="{3E42CF86-967B-443C-834A-4791C0272DE1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081" y="1234"/>
                <a:ext cx="87" cy="78"/>
              </a:xfrm>
              <a:custGeom>
                <a:avLst/>
                <a:gdLst>
                  <a:gd name="T0" fmla="*/ 33 w 82"/>
                  <a:gd name="T1" fmla="*/ 3 h 73"/>
                  <a:gd name="T2" fmla="*/ 7 w 82"/>
                  <a:gd name="T3" fmla="*/ 11 h 73"/>
                  <a:gd name="T4" fmla="*/ 0 w 82"/>
                  <a:gd name="T5" fmla="*/ 38 h 73"/>
                  <a:gd name="T6" fmla="*/ 38 w 82"/>
                  <a:gd name="T7" fmla="*/ 73 h 73"/>
                  <a:gd name="T8" fmla="*/ 79 w 82"/>
                  <a:gd name="T9" fmla="*/ 29 h 73"/>
                  <a:gd name="T10" fmla="*/ 38 w 82"/>
                  <a:gd name="T11" fmla="*/ 1 h 73"/>
                  <a:gd name="T12" fmla="*/ 37 w 82"/>
                  <a:gd name="T13" fmla="*/ 6 h 73"/>
                  <a:gd name="T14" fmla="*/ 69 w 82"/>
                  <a:gd name="T15" fmla="*/ 21 h 73"/>
                  <a:gd name="T16" fmla="*/ 36 w 82"/>
                  <a:gd name="T17" fmla="*/ 66 h 73"/>
                  <a:gd name="T18" fmla="*/ 6 w 82"/>
                  <a:gd name="T19" fmla="*/ 34 h 73"/>
                  <a:gd name="T20" fmla="*/ 11 w 82"/>
                  <a:gd name="T21" fmla="*/ 17 h 73"/>
                  <a:gd name="T22" fmla="*/ 34 w 82"/>
                  <a:gd name="T23" fmla="*/ 6 h 73"/>
                  <a:gd name="T24" fmla="*/ 33 w 82"/>
                  <a:gd name="T25" fmla="*/ 3 h 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82" h="73">
                    <a:moveTo>
                      <a:pt x="33" y="3"/>
                    </a:moveTo>
                    <a:cubicBezTo>
                      <a:pt x="24" y="5"/>
                      <a:pt x="14" y="2"/>
                      <a:pt x="7" y="11"/>
                    </a:cubicBezTo>
                    <a:cubicBezTo>
                      <a:pt x="2" y="18"/>
                      <a:pt x="0" y="29"/>
                      <a:pt x="0" y="38"/>
                    </a:cubicBezTo>
                    <a:cubicBezTo>
                      <a:pt x="0" y="59"/>
                      <a:pt x="18" y="73"/>
                      <a:pt x="38" y="73"/>
                    </a:cubicBezTo>
                    <a:cubicBezTo>
                      <a:pt x="58" y="73"/>
                      <a:pt x="80" y="50"/>
                      <a:pt x="79" y="29"/>
                    </a:cubicBezTo>
                    <a:cubicBezTo>
                      <a:pt x="78" y="11"/>
                      <a:pt x="54" y="0"/>
                      <a:pt x="38" y="1"/>
                    </a:cubicBezTo>
                    <a:cubicBezTo>
                      <a:pt x="35" y="1"/>
                      <a:pt x="34" y="5"/>
                      <a:pt x="37" y="6"/>
                    </a:cubicBezTo>
                    <a:cubicBezTo>
                      <a:pt x="48" y="10"/>
                      <a:pt x="61" y="11"/>
                      <a:pt x="69" y="21"/>
                    </a:cubicBezTo>
                    <a:cubicBezTo>
                      <a:pt x="82" y="40"/>
                      <a:pt x="54" y="66"/>
                      <a:pt x="36" y="66"/>
                    </a:cubicBezTo>
                    <a:cubicBezTo>
                      <a:pt x="18" y="66"/>
                      <a:pt x="5" y="52"/>
                      <a:pt x="6" y="34"/>
                    </a:cubicBezTo>
                    <a:cubicBezTo>
                      <a:pt x="6" y="29"/>
                      <a:pt x="8" y="21"/>
                      <a:pt x="11" y="17"/>
                    </a:cubicBezTo>
                    <a:cubicBezTo>
                      <a:pt x="16" y="8"/>
                      <a:pt x="26" y="9"/>
                      <a:pt x="34" y="6"/>
                    </a:cubicBezTo>
                    <a:cubicBezTo>
                      <a:pt x="36" y="5"/>
                      <a:pt x="35" y="2"/>
                      <a:pt x="33" y="3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276" name="Freeform 188">
                <a:extLst>
                  <a:ext uri="{FF2B5EF4-FFF2-40B4-BE49-F238E27FC236}">
                    <a16:creationId xmlns:a16="http://schemas.microsoft.com/office/drawing/2014/main" id="{05DA4340-C186-4778-8057-02C9F77145AF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999" y="1136"/>
                <a:ext cx="34" cy="41"/>
              </a:xfrm>
              <a:custGeom>
                <a:avLst/>
                <a:gdLst>
                  <a:gd name="T0" fmla="*/ 5 w 32"/>
                  <a:gd name="T1" fmla="*/ 36 h 39"/>
                  <a:gd name="T2" fmla="*/ 5 w 32"/>
                  <a:gd name="T3" fmla="*/ 35 h 39"/>
                  <a:gd name="T4" fmla="*/ 6 w 32"/>
                  <a:gd name="T5" fmla="*/ 32 h 39"/>
                  <a:gd name="T6" fmla="*/ 12 w 32"/>
                  <a:gd name="T7" fmla="*/ 23 h 39"/>
                  <a:gd name="T8" fmla="*/ 29 w 32"/>
                  <a:gd name="T9" fmla="*/ 7 h 39"/>
                  <a:gd name="T10" fmla="*/ 27 w 32"/>
                  <a:gd name="T11" fmla="*/ 2 h 39"/>
                  <a:gd name="T12" fmla="*/ 9 w 32"/>
                  <a:gd name="T13" fmla="*/ 17 h 39"/>
                  <a:gd name="T14" fmla="*/ 1 w 32"/>
                  <a:gd name="T15" fmla="*/ 38 h 39"/>
                  <a:gd name="T16" fmla="*/ 4 w 32"/>
                  <a:gd name="T17" fmla="*/ 39 h 39"/>
                  <a:gd name="T18" fmla="*/ 5 w 32"/>
                  <a:gd name="T19" fmla="*/ 38 h 39"/>
                  <a:gd name="T20" fmla="*/ 5 w 32"/>
                  <a:gd name="T21" fmla="*/ 36 h 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32" h="39">
                    <a:moveTo>
                      <a:pt x="5" y="36"/>
                    </a:moveTo>
                    <a:cubicBezTo>
                      <a:pt x="4" y="36"/>
                      <a:pt x="5" y="37"/>
                      <a:pt x="5" y="35"/>
                    </a:cubicBezTo>
                    <a:cubicBezTo>
                      <a:pt x="5" y="34"/>
                      <a:pt x="6" y="33"/>
                      <a:pt x="6" y="32"/>
                    </a:cubicBezTo>
                    <a:cubicBezTo>
                      <a:pt x="7" y="29"/>
                      <a:pt x="10" y="26"/>
                      <a:pt x="12" y="23"/>
                    </a:cubicBezTo>
                    <a:cubicBezTo>
                      <a:pt x="17" y="17"/>
                      <a:pt x="22" y="11"/>
                      <a:pt x="29" y="7"/>
                    </a:cubicBezTo>
                    <a:cubicBezTo>
                      <a:pt x="32" y="5"/>
                      <a:pt x="30" y="0"/>
                      <a:pt x="27" y="2"/>
                    </a:cubicBezTo>
                    <a:cubicBezTo>
                      <a:pt x="20" y="6"/>
                      <a:pt x="14" y="11"/>
                      <a:pt x="9" y="17"/>
                    </a:cubicBezTo>
                    <a:cubicBezTo>
                      <a:pt x="4" y="24"/>
                      <a:pt x="0" y="29"/>
                      <a:pt x="1" y="38"/>
                    </a:cubicBezTo>
                    <a:cubicBezTo>
                      <a:pt x="1" y="39"/>
                      <a:pt x="3" y="39"/>
                      <a:pt x="4" y="39"/>
                    </a:cubicBezTo>
                    <a:cubicBezTo>
                      <a:pt x="4" y="38"/>
                      <a:pt x="5" y="38"/>
                      <a:pt x="5" y="38"/>
                    </a:cubicBezTo>
                    <a:cubicBezTo>
                      <a:pt x="6" y="37"/>
                      <a:pt x="6" y="36"/>
                      <a:pt x="5" y="36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277" name="Freeform 189">
                <a:extLst>
                  <a:ext uri="{FF2B5EF4-FFF2-40B4-BE49-F238E27FC236}">
                    <a16:creationId xmlns:a16="http://schemas.microsoft.com/office/drawing/2014/main" id="{C3B2FD93-7726-4BED-B026-B5553A1125E0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112" y="1109"/>
                <a:ext cx="59" cy="27"/>
              </a:xfrm>
              <a:custGeom>
                <a:avLst/>
                <a:gdLst>
                  <a:gd name="T0" fmla="*/ 2 w 56"/>
                  <a:gd name="T1" fmla="*/ 4 h 25"/>
                  <a:gd name="T2" fmla="*/ 30 w 56"/>
                  <a:gd name="T3" fmla="*/ 9 h 25"/>
                  <a:gd name="T4" fmla="*/ 51 w 56"/>
                  <a:gd name="T5" fmla="*/ 23 h 25"/>
                  <a:gd name="T6" fmla="*/ 54 w 56"/>
                  <a:gd name="T7" fmla="*/ 20 h 25"/>
                  <a:gd name="T8" fmla="*/ 33 w 56"/>
                  <a:gd name="T9" fmla="*/ 4 h 25"/>
                  <a:gd name="T10" fmla="*/ 2 w 56"/>
                  <a:gd name="T11" fmla="*/ 1 h 25"/>
                  <a:gd name="T12" fmla="*/ 2 w 56"/>
                  <a:gd name="T13" fmla="*/ 4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56" h="25">
                    <a:moveTo>
                      <a:pt x="2" y="4"/>
                    </a:moveTo>
                    <a:cubicBezTo>
                      <a:pt x="11" y="6"/>
                      <a:pt x="20" y="5"/>
                      <a:pt x="30" y="9"/>
                    </a:cubicBezTo>
                    <a:cubicBezTo>
                      <a:pt x="37" y="12"/>
                      <a:pt x="44" y="18"/>
                      <a:pt x="51" y="23"/>
                    </a:cubicBezTo>
                    <a:cubicBezTo>
                      <a:pt x="52" y="25"/>
                      <a:pt x="56" y="22"/>
                      <a:pt x="54" y="20"/>
                    </a:cubicBezTo>
                    <a:cubicBezTo>
                      <a:pt x="48" y="14"/>
                      <a:pt x="41" y="8"/>
                      <a:pt x="33" y="4"/>
                    </a:cubicBezTo>
                    <a:cubicBezTo>
                      <a:pt x="22" y="0"/>
                      <a:pt x="13" y="3"/>
                      <a:pt x="2" y="1"/>
                    </a:cubicBezTo>
                    <a:cubicBezTo>
                      <a:pt x="0" y="1"/>
                      <a:pt x="0" y="4"/>
                      <a:pt x="2" y="4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278" name="Freeform 190">
                <a:extLst>
                  <a:ext uri="{FF2B5EF4-FFF2-40B4-BE49-F238E27FC236}">
                    <a16:creationId xmlns:a16="http://schemas.microsoft.com/office/drawing/2014/main" id="{3B1BF68C-193A-41E2-A162-4CD5FD45710F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178" y="1212"/>
                <a:ext cx="30" cy="51"/>
              </a:xfrm>
              <a:custGeom>
                <a:avLst/>
                <a:gdLst>
                  <a:gd name="T0" fmla="*/ 20 w 28"/>
                  <a:gd name="T1" fmla="*/ 3 h 48"/>
                  <a:gd name="T2" fmla="*/ 1 w 28"/>
                  <a:gd name="T3" fmla="*/ 43 h 48"/>
                  <a:gd name="T4" fmla="*/ 5 w 28"/>
                  <a:gd name="T5" fmla="*/ 46 h 48"/>
                  <a:gd name="T6" fmla="*/ 24 w 28"/>
                  <a:gd name="T7" fmla="*/ 2 h 48"/>
                  <a:gd name="T8" fmla="*/ 20 w 28"/>
                  <a:gd name="T9" fmla="*/ 3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8" h="48">
                    <a:moveTo>
                      <a:pt x="20" y="3"/>
                    </a:moveTo>
                    <a:cubicBezTo>
                      <a:pt x="22" y="19"/>
                      <a:pt x="9" y="31"/>
                      <a:pt x="1" y="43"/>
                    </a:cubicBezTo>
                    <a:cubicBezTo>
                      <a:pt x="0" y="45"/>
                      <a:pt x="3" y="48"/>
                      <a:pt x="5" y="46"/>
                    </a:cubicBezTo>
                    <a:cubicBezTo>
                      <a:pt x="17" y="35"/>
                      <a:pt x="28" y="20"/>
                      <a:pt x="24" y="2"/>
                    </a:cubicBezTo>
                    <a:cubicBezTo>
                      <a:pt x="24" y="0"/>
                      <a:pt x="20" y="1"/>
                      <a:pt x="20" y="3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279" name="Freeform 191">
                <a:extLst>
                  <a:ext uri="{FF2B5EF4-FFF2-40B4-BE49-F238E27FC236}">
                    <a16:creationId xmlns:a16="http://schemas.microsoft.com/office/drawing/2014/main" id="{929FC03D-3B1D-40C8-9E4E-23A6D49E14D7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017" y="1238"/>
                <a:ext cx="51" cy="39"/>
              </a:xfrm>
              <a:custGeom>
                <a:avLst/>
                <a:gdLst>
                  <a:gd name="T0" fmla="*/ 0 w 48"/>
                  <a:gd name="T1" fmla="*/ 2 h 36"/>
                  <a:gd name="T2" fmla="*/ 46 w 48"/>
                  <a:gd name="T3" fmla="*/ 36 h 36"/>
                  <a:gd name="T4" fmla="*/ 46 w 48"/>
                  <a:gd name="T5" fmla="*/ 32 h 36"/>
                  <a:gd name="T6" fmla="*/ 2 w 48"/>
                  <a:gd name="T7" fmla="*/ 1 h 36"/>
                  <a:gd name="T8" fmla="*/ 0 w 48"/>
                  <a:gd name="T9" fmla="*/ 2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8" h="36">
                    <a:moveTo>
                      <a:pt x="0" y="2"/>
                    </a:moveTo>
                    <a:cubicBezTo>
                      <a:pt x="4" y="22"/>
                      <a:pt x="26" y="36"/>
                      <a:pt x="46" y="36"/>
                    </a:cubicBezTo>
                    <a:cubicBezTo>
                      <a:pt x="48" y="36"/>
                      <a:pt x="48" y="32"/>
                      <a:pt x="46" y="32"/>
                    </a:cubicBezTo>
                    <a:cubicBezTo>
                      <a:pt x="29" y="29"/>
                      <a:pt x="8" y="19"/>
                      <a:pt x="2" y="1"/>
                    </a:cubicBezTo>
                    <a:cubicBezTo>
                      <a:pt x="2" y="0"/>
                      <a:pt x="0" y="1"/>
                      <a:pt x="0" y="2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280" name="Freeform 192">
                <a:extLst>
                  <a:ext uri="{FF2B5EF4-FFF2-40B4-BE49-F238E27FC236}">
                    <a16:creationId xmlns:a16="http://schemas.microsoft.com/office/drawing/2014/main" id="{F5EDAC8D-2538-4EA9-8A43-F4F48DF27973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862" y="1253"/>
                <a:ext cx="174" cy="168"/>
              </a:xfrm>
              <a:custGeom>
                <a:avLst/>
                <a:gdLst>
                  <a:gd name="T0" fmla="*/ 74 w 165"/>
                  <a:gd name="T1" fmla="*/ 17 h 158"/>
                  <a:gd name="T2" fmla="*/ 16 w 165"/>
                  <a:gd name="T3" fmla="*/ 47 h 158"/>
                  <a:gd name="T4" fmla="*/ 5 w 165"/>
                  <a:gd name="T5" fmla="*/ 105 h 158"/>
                  <a:gd name="T6" fmla="*/ 48 w 165"/>
                  <a:gd name="T7" fmla="*/ 147 h 158"/>
                  <a:gd name="T8" fmla="*/ 110 w 165"/>
                  <a:gd name="T9" fmla="*/ 151 h 158"/>
                  <a:gd name="T10" fmla="*/ 154 w 165"/>
                  <a:gd name="T11" fmla="*/ 61 h 158"/>
                  <a:gd name="T12" fmla="*/ 55 w 165"/>
                  <a:gd name="T13" fmla="*/ 17 h 158"/>
                  <a:gd name="T14" fmla="*/ 56 w 165"/>
                  <a:gd name="T15" fmla="*/ 22 h 158"/>
                  <a:gd name="T16" fmla="*/ 144 w 165"/>
                  <a:gd name="T17" fmla="*/ 61 h 158"/>
                  <a:gd name="T18" fmla="*/ 112 w 165"/>
                  <a:gd name="T19" fmla="*/ 139 h 158"/>
                  <a:gd name="T20" fmla="*/ 9 w 165"/>
                  <a:gd name="T21" fmla="*/ 91 h 158"/>
                  <a:gd name="T22" fmla="*/ 26 w 165"/>
                  <a:gd name="T23" fmla="*/ 40 h 158"/>
                  <a:gd name="T24" fmla="*/ 74 w 165"/>
                  <a:gd name="T25" fmla="*/ 18 h 158"/>
                  <a:gd name="T26" fmla="*/ 74 w 165"/>
                  <a:gd name="T27" fmla="*/ 17 h 1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65" h="158">
                    <a:moveTo>
                      <a:pt x="74" y="17"/>
                    </a:moveTo>
                    <a:cubicBezTo>
                      <a:pt x="52" y="25"/>
                      <a:pt x="31" y="26"/>
                      <a:pt x="16" y="47"/>
                    </a:cubicBezTo>
                    <a:cubicBezTo>
                      <a:pt x="5" y="62"/>
                      <a:pt x="0" y="86"/>
                      <a:pt x="5" y="105"/>
                    </a:cubicBezTo>
                    <a:cubicBezTo>
                      <a:pt x="10" y="124"/>
                      <a:pt x="30" y="139"/>
                      <a:pt x="48" y="147"/>
                    </a:cubicBezTo>
                    <a:cubicBezTo>
                      <a:pt x="67" y="157"/>
                      <a:pt x="89" y="158"/>
                      <a:pt x="110" y="151"/>
                    </a:cubicBezTo>
                    <a:cubicBezTo>
                      <a:pt x="147" y="139"/>
                      <a:pt x="165" y="98"/>
                      <a:pt x="154" y="61"/>
                    </a:cubicBezTo>
                    <a:cubicBezTo>
                      <a:pt x="143" y="25"/>
                      <a:pt x="89" y="0"/>
                      <a:pt x="55" y="17"/>
                    </a:cubicBezTo>
                    <a:cubicBezTo>
                      <a:pt x="52" y="18"/>
                      <a:pt x="53" y="23"/>
                      <a:pt x="56" y="22"/>
                    </a:cubicBezTo>
                    <a:cubicBezTo>
                      <a:pt x="88" y="18"/>
                      <a:pt x="133" y="25"/>
                      <a:pt x="144" y="61"/>
                    </a:cubicBezTo>
                    <a:cubicBezTo>
                      <a:pt x="154" y="91"/>
                      <a:pt x="141" y="127"/>
                      <a:pt x="112" y="139"/>
                    </a:cubicBezTo>
                    <a:cubicBezTo>
                      <a:pt x="74" y="156"/>
                      <a:pt x="11" y="138"/>
                      <a:pt x="9" y="91"/>
                    </a:cubicBezTo>
                    <a:cubicBezTo>
                      <a:pt x="8" y="73"/>
                      <a:pt x="13" y="53"/>
                      <a:pt x="26" y="40"/>
                    </a:cubicBezTo>
                    <a:cubicBezTo>
                      <a:pt x="40" y="27"/>
                      <a:pt x="58" y="26"/>
                      <a:pt x="74" y="18"/>
                    </a:cubicBezTo>
                    <a:cubicBezTo>
                      <a:pt x="75" y="18"/>
                      <a:pt x="74" y="17"/>
                      <a:pt x="74" y="17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281" name="Freeform 193">
                <a:extLst>
                  <a:ext uri="{FF2B5EF4-FFF2-40B4-BE49-F238E27FC236}">
                    <a16:creationId xmlns:a16="http://schemas.microsoft.com/office/drawing/2014/main" id="{4ADD2839-4FEC-4D7E-9F57-A95029B4497D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851" y="1335"/>
                <a:ext cx="182" cy="116"/>
              </a:xfrm>
              <a:custGeom>
                <a:avLst/>
                <a:gdLst>
                  <a:gd name="T0" fmla="*/ 15 w 172"/>
                  <a:gd name="T1" fmla="*/ 1 h 110"/>
                  <a:gd name="T2" fmla="*/ 10 w 172"/>
                  <a:gd name="T3" fmla="*/ 66 h 110"/>
                  <a:gd name="T4" fmla="*/ 62 w 172"/>
                  <a:gd name="T5" fmla="*/ 104 h 110"/>
                  <a:gd name="T6" fmla="*/ 139 w 172"/>
                  <a:gd name="T7" fmla="*/ 90 h 110"/>
                  <a:gd name="T8" fmla="*/ 162 w 172"/>
                  <a:gd name="T9" fmla="*/ 19 h 110"/>
                  <a:gd name="T10" fmla="*/ 156 w 172"/>
                  <a:gd name="T11" fmla="*/ 20 h 110"/>
                  <a:gd name="T12" fmla="*/ 58 w 172"/>
                  <a:gd name="T13" fmla="*/ 98 h 110"/>
                  <a:gd name="T14" fmla="*/ 15 w 172"/>
                  <a:gd name="T15" fmla="*/ 64 h 110"/>
                  <a:gd name="T16" fmla="*/ 17 w 172"/>
                  <a:gd name="T17" fmla="*/ 2 h 110"/>
                  <a:gd name="T18" fmla="*/ 15 w 172"/>
                  <a:gd name="T19" fmla="*/ 1 h 1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72" h="110">
                    <a:moveTo>
                      <a:pt x="15" y="1"/>
                    </a:moveTo>
                    <a:cubicBezTo>
                      <a:pt x="4" y="22"/>
                      <a:pt x="0" y="43"/>
                      <a:pt x="10" y="66"/>
                    </a:cubicBezTo>
                    <a:cubicBezTo>
                      <a:pt x="19" y="86"/>
                      <a:pt x="40" y="100"/>
                      <a:pt x="62" y="104"/>
                    </a:cubicBezTo>
                    <a:cubicBezTo>
                      <a:pt x="85" y="109"/>
                      <a:pt x="120" y="105"/>
                      <a:pt x="139" y="90"/>
                    </a:cubicBezTo>
                    <a:cubicBezTo>
                      <a:pt x="159" y="74"/>
                      <a:pt x="172" y="43"/>
                      <a:pt x="162" y="19"/>
                    </a:cubicBezTo>
                    <a:cubicBezTo>
                      <a:pt x="160" y="15"/>
                      <a:pt x="155" y="16"/>
                      <a:pt x="156" y="20"/>
                    </a:cubicBezTo>
                    <a:cubicBezTo>
                      <a:pt x="171" y="76"/>
                      <a:pt x="106" y="110"/>
                      <a:pt x="58" y="98"/>
                    </a:cubicBezTo>
                    <a:cubicBezTo>
                      <a:pt x="40" y="93"/>
                      <a:pt x="23" y="81"/>
                      <a:pt x="15" y="64"/>
                    </a:cubicBezTo>
                    <a:cubicBezTo>
                      <a:pt x="5" y="42"/>
                      <a:pt x="10" y="23"/>
                      <a:pt x="17" y="2"/>
                    </a:cubicBezTo>
                    <a:cubicBezTo>
                      <a:pt x="18" y="1"/>
                      <a:pt x="16" y="0"/>
                      <a:pt x="15" y="1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282" name="Freeform 194">
                <a:extLst>
                  <a:ext uri="{FF2B5EF4-FFF2-40B4-BE49-F238E27FC236}">
                    <a16:creationId xmlns:a16="http://schemas.microsoft.com/office/drawing/2014/main" id="{4FDC3A6C-18E5-480B-94AF-2D5E58C42A0A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504" y="1172"/>
                <a:ext cx="198" cy="20"/>
              </a:xfrm>
              <a:custGeom>
                <a:avLst/>
                <a:gdLst>
                  <a:gd name="T0" fmla="*/ 2 w 187"/>
                  <a:gd name="T1" fmla="*/ 19 h 19"/>
                  <a:gd name="T2" fmla="*/ 91 w 187"/>
                  <a:gd name="T3" fmla="*/ 7 h 19"/>
                  <a:gd name="T4" fmla="*/ 185 w 187"/>
                  <a:gd name="T5" fmla="*/ 8 h 19"/>
                  <a:gd name="T6" fmla="*/ 185 w 187"/>
                  <a:gd name="T7" fmla="*/ 4 h 19"/>
                  <a:gd name="T8" fmla="*/ 88 w 187"/>
                  <a:gd name="T9" fmla="*/ 1 h 19"/>
                  <a:gd name="T10" fmla="*/ 2 w 187"/>
                  <a:gd name="T11" fmla="*/ 16 h 19"/>
                  <a:gd name="T12" fmla="*/ 2 w 187"/>
                  <a:gd name="T13" fmla="*/ 19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87" h="19">
                    <a:moveTo>
                      <a:pt x="2" y="19"/>
                    </a:moveTo>
                    <a:cubicBezTo>
                      <a:pt x="33" y="12"/>
                      <a:pt x="60" y="5"/>
                      <a:pt x="91" y="7"/>
                    </a:cubicBezTo>
                    <a:cubicBezTo>
                      <a:pt x="122" y="8"/>
                      <a:pt x="154" y="7"/>
                      <a:pt x="185" y="8"/>
                    </a:cubicBezTo>
                    <a:cubicBezTo>
                      <a:pt x="187" y="8"/>
                      <a:pt x="187" y="4"/>
                      <a:pt x="185" y="4"/>
                    </a:cubicBezTo>
                    <a:cubicBezTo>
                      <a:pt x="153" y="0"/>
                      <a:pt x="120" y="2"/>
                      <a:pt x="88" y="1"/>
                    </a:cubicBezTo>
                    <a:cubicBezTo>
                      <a:pt x="57" y="0"/>
                      <a:pt x="31" y="7"/>
                      <a:pt x="2" y="16"/>
                    </a:cubicBezTo>
                    <a:cubicBezTo>
                      <a:pt x="0" y="17"/>
                      <a:pt x="1" y="19"/>
                      <a:pt x="2" y="19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283" name="Freeform 195">
                <a:extLst>
                  <a:ext uri="{FF2B5EF4-FFF2-40B4-BE49-F238E27FC236}">
                    <a16:creationId xmlns:a16="http://schemas.microsoft.com/office/drawing/2014/main" id="{3C2D9D88-978F-4619-87AC-9EB1ABCD56E4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784" y="1082"/>
                <a:ext cx="213" cy="73"/>
              </a:xfrm>
              <a:custGeom>
                <a:avLst/>
                <a:gdLst>
                  <a:gd name="T0" fmla="*/ 0 w 201"/>
                  <a:gd name="T1" fmla="*/ 69 h 69"/>
                  <a:gd name="T2" fmla="*/ 96 w 201"/>
                  <a:gd name="T3" fmla="*/ 43 h 69"/>
                  <a:gd name="T4" fmla="*/ 199 w 201"/>
                  <a:gd name="T5" fmla="*/ 6 h 69"/>
                  <a:gd name="T6" fmla="*/ 199 w 201"/>
                  <a:gd name="T7" fmla="*/ 3 h 69"/>
                  <a:gd name="T8" fmla="*/ 113 w 201"/>
                  <a:gd name="T9" fmla="*/ 27 h 69"/>
                  <a:gd name="T10" fmla="*/ 0 w 201"/>
                  <a:gd name="T11" fmla="*/ 68 h 69"/>
                  <a:gd name="T12" fmla="*/ 0 w 201"/>
                  <a:gd name="T13" fmla="*/ 69 h 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01" h="69">
                    <a:moveTo>
                      <a:pt x="0" y="69"/>
                    </a:moveTo>
                    <a:cubicBezTo>
                      <a:pt x="34" y="67"/>
                      <a:pt x="66" y="57"/>
                      <a:pt x="96" y="43"/>
                    </a:cubicBezTo>
                    <a:cubicBezTo>
                      <a:pt x="129" y="27"/>
                      <a:pt x="161" y="6"/>
                      <a:pt x="199" y="6"/>
                    </a:cubicBezTo>
                    <a:cubicBezTo>
                      <a:pt x="201" y="6"/>
                      <a:pt x="201" y="3"/>
                      <a:pt x="199" y="3"/>
                    </a:cubicBezTo>
                    <a:cubicBezTo>
                      <a:pt x="167" y="0"/>
                      <a:pt x="141" y="13"/>
                      <a:pt x="113" y="27"/>
                    </a:cubicBezTo>
                    <a:cubicBezTo>
                      <a:pt x="77" y="46"/>
                      <a:pt x="41" y="63"/>
                      <a:pt x="0" y="68"/>
                    </a:cubicBezTo>
                    <a:lnTo>
                      <a:pt x="0" y="69"/>
                    </a:ln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284" name="Freeform 196">
                <a:extLst>
                  <a:ext uri="{FF2B5EF4-FFF2-40B4-BE49-F238E27FC236}">
                    <a16:creationId xmlns:a16="http://schemas.microsoft.com/office/drawing/2014/main" id="{4BFB8C42-1138-41D1-B21D-750EA97428CB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933" y="3141"/>
                <a:ext cx="32" cy="15"/>
              </a:xfrm>
              <a:custGeom>
                <a:avLst/>
                <a:gdLst>
                  <a:gd name="T0" fmla="*/ 2 w 30"/>
                  <a:gd name="T1" fmla="*/ 11 h 14"/>
                  <a:gd name="T2" fmla="*/ 5 w 30"/>
                  <a:gd name="T3" fmla="*/ 8 h 14"/>
                  <a:gd name="T4" fmla="*/ 6 w 30"/>
                  <a:gd name="T5" fmla="*/ 7 h 14"/>
                  <a:gd name="T6" fmla="*/ 3 w 30"/>
                  <a:gd name="T7" fmla="*/ 3 h 14"/>
                  <a:gd name="T8" fmla="*/ 1 w 30"/>
                  <a:gd name="T9" fmla="*/ 9 h 14"/>
                  <a:gd name="T10" fmla="*/ 5 w 30"/>
                  <a:gd name="T11" fmla="*/ 13 h 14"/>
                  <a:gd name="T12" fmla="*/ 9 w 30"/>
                  <a:gd name="T13" fmla="*/ 12 h 14"/>
                  <a:gd name="T14" fmla="*/ 12 w 30"/>
                  <a:gd name="T15" fmla="*/ 9 h 14"/>
                  <a:gd name="T16" fmla="*/ 8 w 30"/>
                  <a:gd name="T17" fmla="*/ 4 h 14"/>
                  <a:gd name="T18" fmla="*/ 8 w 30"/>
                  <a:gd name="T19" fmla="*/ 6 h 14"/>
                  <a:gd name="T20" fmla="*/ 10 w 30"/>
                  <a:gd name="T21" fmla="*/ 10 h 14"/>
                  <a:gd name="T22" fmla="*/ 16 w 30"/>
                  <a:gd name="T23" fmla="*/ 9 h 14"/>
                  <a:gd name="T24" fmla="*/ 13 w 30"/>
                  <a:gd name="T25" fmla="*/ 9 h 14"/>
                  <a:gd name="T26" fmla="*/ 13 w 30"/>
                  <a:gd name="T27" fmla="*/ 9 h 14"/>
                  <a:gd name="T28" fmla="*/ 11 w 30"/>
                  <a:gd name="T29" fmla="*/ 7 h 14"/>
                  <a:gd name="T30" fmla="*/ 22 w 30"/>
                  <a:gd name="T31" fmla="*/ 12 h 14"/>
                  <a:gd name="T32" fmla="*/ 18 w 30"/>
                  <a:gd name="T33" fmla="*/ 11 h 14"/>
                  <a:gd name="T34" fmla="*/ 23 w 30"/>
                  <a:gd name="T35" fmla="*/ 12 h 14"/>
                  <a:gd name="T36" fmla="*/ 21 w 30"/>
                  <a:gd name="T37" fmla="*/ 2 h 14"/>
                  <a:gd name="T38" fmla="*/ 19 w 30"/>
                  <a:gd name="T39" fmla="*/ 3 h 14"/>
                  <a:gd name="T40" fmla="*/ 25 w 30"/>
                  <a:gd name="T41" fmla="*/ 3 h 14"/>
                  <a:gd name="T42" fmla="*/ 20 w 30"/>
                  <a:gd name="T43" fmla="*/ 2 h 14"/>
                  <a:gd name="T44" fmla="*/ 16 w 30"/>
                  <a:gd name="T45" fmla="*/ 3 h 14"/>
                  <a:gd name="T46" fmla="*/ 20 w 30"/>
                  <a:gd name="T47" fmla="*/ 5 h 14"/>
                  <a:gd name="T48" fmla="*/ 16 w 30"/>
                  <a:gd name="T49" fmla="*/ 1 h 14"/>
                  <a:gd name="T50" fmla="*/ 10 w 30"/>
                  <a:gd name="T51" fmla="*/ 3 h 14"/>
                  <a:gd name="T52" fmla="*/ 14 w 30"/>
                  <a:gd name="T53" fmla="*/ 3 h 14"/>
                  <a:gd name="T54" fmla="*/ 13 w 30"/>
                  <a:gd name="T55" fmla="*/ 2 h 14"/>
                  <a:gd name="T56" fmla="*/ 16 w 30"/>
                  <a:gd name="T57" fmla="*/ 7 h 14"/>
                  <a:gd name="T58" fmla="*/ 16 w 30"/>
                  <a:gd name="T59" fmla="*/ 4 h 14"/>
                  <a:gd name="T60" fmla="*/ 12 w 30"/>
                  <a:gd name="T61" fmla="*/ 1 h 14"/>
                  <a:gd name="T62" fmla="*/ 3 w 30"/>
                  <a:gd name="T63" fmla="*/ 6 h 14"/>
                  <a:gd name="T64" fmla="*/ 7 w 30"/>
                  <a:gd name="T65" fmla="*/ 8 h 14"/>
                  <a:gd name="T66" fmla="*/ 8 w 30"/>
                  <a:gd name="T67" fmla="*/ 5 h 14"/>
                  <a:gd name="T68" fmla="*/ 4 w 30"/>
                  <a:gd name="T69" fmla="*/ 3 h 14"/>
                  <a:gd name="T70" fmla="*/ 1 w 30"/>
                  <a:gd name="T71" fmla="*/ 10 h 14"/>
                  <a:gd name="T72" fmla="*/ 2 w 30"/>
                  <a:gd name="T73" fmla="*/ 11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30" h="14">
                    <a:moveTo>
                      <a:pt x="2" y="11"/>
                    </a:moveTo>
                    <a:cubicBezTo>
                      <a:pt x="3" y="10"/>
                      <a:pt x="4" y="9"/>
                      <a:pt x="5" y="8"/>
                    </a:cubicBezTo>
                    <a:cubicBezTo>
                      <a:pt x="6" y="8"/>
                      <a:pt x="7" y="7"/>
                      <a:pt x="6" y="7"/>
                    </a:cubicBezTo>
                    <a:cubicBezTo>
                      <a:pt x="5" y="6"/>
                      <a:pt x="4" y="4"/>
                      <a:pt x="3" y="3"/>
                    </a:cubicBezTo>
                    <a:cubicBezTo>
                      <a:pt x="2" y="5"/>
                      <a:pt x="1" y="7"/>
                      <a:pt x="1" y="9"/>
                    </a:cubicBezTo>
                    <a:cubicBezTo>
                      <a:pt x="0" y="12"/>
                      <a:pt x="2" y="14"/>
                      <a:pt x="5" y="13"/>
                    </a:cubicBezTo>
                    <a:cubicBezTo>
                      <a:pt x="6" y="13"/>
                      <a:pt x="7" y="13"/>
                      <a:pt x="9" y="12"/>
                    </a:cubicBezTo>
                    <a:cubicBezTo>
                      <a:pt x="9" y="11"/>
                      <a:pt x="12" y="9"/>
                      <a:pt x="12" y="9"/>
                    </a:cubicBezTo>
                    <a:cubicBezTo>
                      <a:pt x="11" y="7"/>
                      <a:pt x="9" y="6"/>
                      <a:pt x="8" y="4"/>
                    </a:cubicBezTo>
                    <a:cubicBezTo>
                      <a:pt x="8" y="5"/>
                      <a:pt x="8" y="6"/>
                      <a:pt x="8" y="6"/>
                    </a:cubicBezTo>
                    <a:cubicBezTo>
                      <a:pt x="8" y="7"/>
                      <a:pt x="9" y="9"/>
                      <a:pt x="10" y="10"/>
                    </a:cubicBezTo>
                    <a:cubicBezTo>
                      <a:pt x="12" y="11"/>
                      <a:pt x="14" y="10"/>
                      <a:pt x="16" y="9"/>
                    </a:cubicBezTo>
                    <a:cubicBezTo>
                      <a:pt x="15" y="9"/>
                      <a:pt x="14" y="9"/>
                      <a:pt x="13" y="9"/>
                    </a:cubicBezTo>
                    <a:cubicBezTo>
                      <a:pt x="13" y="9"/>
                      <a:pt x="13" y="9"/>
                      <a:pt x="13" y="9"/>
                    </a:cubicBezTo>
                    <a:cubicBezTo>
                      <a:pt x="12" y="8"/>
                      <a:pt x="12" y="8"/>
                      <a:pt x="11" y="7"/>
                    </a:cubicBezTo>
                    <a:cubicBezTo>
                      <a:pt x="12" y="13"/>
                      <a:pt x="16" y="12"/>
                      <a:pt x="22" y="12"/>
                    </a:cubicBezTo>
                    <a:cubicBezTo>
                      <a:pt x="20" y="11"/>
                      <a:pt x="19" y="11"/>
                      <a:pt x="18" y="11"/>
                    </a:cubicBezTo>
                    <a:cubicBezTo>
                      <a:pt x="19" y="12"/>
                      <a:pt x="21" y="13"/>
                      <a:pt x="23" y="12"/>
                    </a:cubicBezTo>
                    <a:cubicBezTo>
                      <a:pt x="30" y="11"/>
                      <a:pt x="27" y="0"/>
                      <a:pt x="21" y="2"/>
                    </a:cubicBezTo>
                    <a:cubicBezTo>
                      <a:pt x="20" y="2"/>
                      <a:pt x="20" y="2"/>
                      <a:pt x="19" y="3"/>
                    </a:cubicBezTo>
                    <a:cubicBezTo>
                      <a:pt x="21" y="3"/>
                      <a:pt x="23" y="3"/>
                      <a:pt x="25" y="3"/>
                    </a:cubicBezTo>
                    <a:cubicBezTo>
                      <a:pt x="23" y="2"/>
                      <a:pt x="22" y="1"/>
                      <a:pt x="20" y="2"/>
                    </a:cubicBezTo>
                    <a:cubicBezTo>
                      <a:pt x="19" y="2"/>
                      <a:pt x="17" y="3"/>
                      <a:pt x="16" y="3"/>
                    </a:cubicBezTo>
                    <a:cubicBezTo>
                      <a:pt x="17" y="4"/>
                      <a:pt x="18" y="4"/>
                      <a:pt x="20" y="5"/>
                    </a:cubicBezTo>
                    <a:cubicBezTo>
                      <a:pt x="19" y="4"/>
                      <a:pt x="18" y="2"/>
                      <a:pt x="16" y="1"/>
                    </a:cubicBezTo>
                    <a:cubicBezTo>
                      <a:pt x="14" y="0"/>
                      <a:pt x="12" y="2"/>
                      <a:pt x="10" y="3"/>
                    </a:cubicBezTo>
                    <a:cubicBezTo>
                      <a:pt x="12" y="3"/>
                      <a:pt x="13" y="3"/>
                      <a:pt x="14" y="3"/>
                    </a:cubicBezTo>
                    <a:cubicBezTo>
                      <a:pt x="13" y="2"/>
                      <a:pt x="13" y="2"/>
                      <a:pt x="13" y="2"/>
                    </a:cubicBezTo>
                    <a:cubicBezTo>
                      <a:pt x="14" y="4"/>
                      <a:pt x="15" y="5"/>
                      <a:pt x="16" y="7"/>
                    </a:cubicBezTo>
                    <a:cubicBezTo>
                      <a:pt x="16" y="6"/>
                      <a:pt x="16" y="5"/>
                      <a:pt x="16" y="4"/>
                    </a:cubicBezTo>
                    <a:cubicBezTo>
                      <a:pt x="16" y="2"/>
                      <a:pt x="14" y="1"/>
                      <a:pt x="12" y="1"/>
                    </a:cubicBezTo>
                    <a:cubicBezTo>
                      <a:pt x="8" y="1"/>
                      <a:pt x="6" y="5"/>
                      <a:pt x="3" y="6"/>
                    </a:cubicBezTo>
                    <a:cubicBezTo>
                      <a:pt x="4" y="7"/>
                      <a:pt x="6" y="7"/>
                      <a:pt x="7" y="8"/>
                    </a:cubicBezTo>
                    <a:cubicBezTo>
                      <a:pt x="8" y="7"/>
                      <a:pt x="8" y="6"/>
                      <a:pt x="8" y="5"/>
                    </a:cubicBezTo>
                    <a:cubicBezTo>
                      <a:pt x="8" y="3"/>
                      <a:pt x="6" y="1"/>
                      <a:pt x="4" y="3"/>
                    </a:cubicBezTo>
                    <a:cubicBezTo>
                      <a:pt x="1" y="4"/>
                      <a:pt x="1" y="8"/>
                      <a:pt x="1" y="10"/>
                    </a:cubicBezTo>
                    <a:cubicBezTo>
                      <a:pt x="1" y="11"/>
                      <a:pt x="2" y="11"/>
                      <a:pt x="2" y="11"/>
                    </a:cubicBezTo>
                    <a:close/>
                  </a:path>
                </a:pathLst>
              </a:custGeom>
              <a:solidFill>
                <a:srgbClr val="3C3C3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285" name="Freeform 197">
                <a:extLst>
                  <a:ext uri="{FF2B5EF4-FFF2-40B4-BE49-F238E27FC236}">
                    <a16:creationId xmlns:a16="http://schemas.microsoft.com/office/drawing/2014/main" id="{6DD7648E-6987-40A9-ACB5-7B9A62D8EF4F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944" y="3140"/>
                <a:ext cx="22" cy="17"/>
              </a:xfrm>
              <a:custGeom>
                <a:avLst/>
                <a:gdLst>
                  <a:gd name="T0" fmla="*/ 11 w 21"/>
                  <a:gd name="T1" fmla="*/ 16 h 16"/>
                  <a:gd name="T2" fmla="*/ 11 w 21"/>
                  <a:gd name="T3" fmla="*/ 0 h 16"/>
                  <a:gd name="T4" fmla="*/ 11 w 21"/>
                  <a:gd name="T5" fmla="*/ 16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1" h="16">
                    <a:moveTo>
                      <a:pt x="11" y="16"/>
                    </a:moveTo>
                    <a:cubicBezTo>
                      <a:pt x="21" y="16"/>
                      <a:pt x="21" y="0"/>
                      <a:pt x="11" y="0"/>
                    </a:cubicBezTo>
                    <a:cubicBezTo>
                      <a:pt x="1" y="0"/>
                      <a:pt x="0" y="16"/>
                      <a:pt x="11" y="16"/>
                    </a:cubicBezTo>
                    <a:close/>
                  </a:path>
                </a:pathLst>
              </a:custGeom>
              <a:solidFill>
                <a:srgbClr val="3C3C3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286" name="Freeform 198">
                <a:extLst>
                  <a:ext uri="{FF2B5EF4-FFF2-40B4-BE49-F238E27FC236}">
                    <a16:creationId xmlns:a16="http://schemas.microsoft.com/office/drawing/2014/main" id="{A47082E9-7481-4236-AA61-BB3355D84F0F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770" y="3601"/>
                <a:ext cx="210" cy="73"/>
              </a:xfrm>
              <a:custGeom>
                <a:avLst/>
                <a:gdLst>
                  <a:gd name="T0" fmla="*/ 102 w 198"/>
                  <a:gd name="T1" fmla="*/ 16 h 69"/>
                  <a:gd name="T2" fmla="*/ 177 w 198"/>
                  <a:gd name="T3" fmla="*/ 15 h 69"/>
                  <a:gd name="T4" fmla="*/ 196 w 198"/>
                  <a:gd name="T5" fmla="*/ 14 h 69"/>
                  <a:gd name="T6" fmla="*/ 196 w 198"/>
                  <a:gd name="T7" fmla="*/ 18 h 69"/>
                  <a:gd name="T8" fmla="*/ 157 w 198"/>
                  <a:gd name="T9" fmla="*/ 49 h 69"/>
                  <a:gd name="T10" fmla="*/ 84 w 198"/>
                  <a:gd name="T11" fmla="*/ 67 h 69"/>
                  <a:gd name="T12" fmla="*/ 39 w 198"/>
                  <a:gd name="T13" fmla="*/ 68 h 69"/>
                  <a:gd name="T14" fmla="*/ 11 w 198"/>
                  <a:gd name="T15" fmla="*/ 53 h 69"/>
                  <a:gd name="T16" fmla="*/ 13 w 198"/>
                  <a:gd name="T17" fmla="*/ 18 h 69"/>
                  <a:gd name="T18" fmla="*/ 37 w 198"/>
                  <a:gd name="T19" fmla="*/ 0 h 69"/>
                  <a:gd name="T20" fmla="*/ 102 w 198"/>
                  <a:gd name="T21" fmla="*/ 16 h 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98" h="69">
                    <a:moveTo>
                      <a:pt x="102" y="16"/>
                    </a:moveTo>
                    <a:cubicBezTo>
                      <a:pt x="128" y="18"/>
                      <a:pt x="152" y="16"/>
                      <a:pt x="177" y="15"/>
                    </a:cubicBezTo>
                    <a:cubicBezTo>
                      <a:pt x="183" y="15"/>
                      <a:pt x="189" y="14"/>
                      <a:pt x="196" y="14"/>
                    </a:cubicBezTo>
                    <a:cubicBezTo>
                      <a:pt x="196" y="18"/>
                      <a:pt x="196" y="18"/>
                      <a:pt x="196" y="18"/>
                    </a:cubicBezTo>
                    <a:cubicBezTo>
                      <a:pt x="198" y="37"/>
                      <a:pt x="172" y="44"/>
                      <a:pt x="157" y="49"/>
                    </a:cubicBezTo>
                    <a:cubicBezTo>
                      <a:pt x="133" y="57"/>
                      <a:pt x="110" y="65"/>
                      <a:pt x="84" y="67"/>
                    </a:cubicBezTo>
                    <a:cubicBezTo>
                      <a:pt x="69" y="68"/>
                      <a:pt x="54" y="69"/>
                      <a:pt x="39" y="68"/>
                    </a:cubicBezTo>
                    <a:cubicBezTo>
                      <a:pt x="28" y="66"/>
                      <a:pt x="19" y="60"/>
                      <a:pt x="11" y="53"/>
                    </a:cubicBezTo>
                    <a:cubicBezTo>
                      <a:pt x="0" y="42"/>
                      <a:pt x="3" y="28"/>
                      <a:pt x="13" y="18"/>
                    </a:cubicBezTo>
                    <a:cubicBezTo>
                      <a:pt x="20" y="10"/>
                      <a:pt x="27" y="2"/>
                      <a:pt x="37" y="0"/>
                    </a:cubicBezTo>
                    <a:cubicBezTo>
                      <a:pt x="54" y="16"/>
                      <a:pt x="79" y="16"/>
                      <a:pt x="102" y="16"/>
                    </a:cubicBezTo>
                    <a:close/>
                  </a:path>
                </a:pathLst>
              </a:custGeom>
              <a:solidFill>
                <a:srgbClr val="F6B84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287" name="Freeform 199">
                <a:extLst>
                  <a:ext uri="{FF2B5EF4-FFF2-40B4-BE49-F238E27FC236}">
                    <a16:creationId xmlns:a16="http://schemas.microsoft.com/office/drawing/2014/main" id="{394E2658-570D-445B-BBE7-F3C22E47801D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7200" y="3548"/>
                <a:ext cx="234" cy="109"/>
              </a:xfrm>
              <a:custGeom>
                <a:avLst/>
                <a:gdLst>
                  <a:gd name="T0" fmla="*/ 208 w 221"/>
                  <a:gd name="T1" fmla="*/ 5 h 103"/>
                  <a:gd name="T2" fmla="*/ 220 w 221"/>
                  <a:gd name="T3" fmla="*/ 30 h 103"/>
                  <a:gd name="T4" fmla="*/ 179 w 221"/>
                  <a:gd name="T5" fmla="*/ 76 h 103"/>
                  <a:gd name="T6" fmla="*/ 112 w 221"/>
                  <a:gd name="T7" fmla="*/ 99 h 103"/>
                  <a:gd name="T8" fmla="*/ 43 w 221"/>
                  <a:gd name="T9" fmla="*/ 97 h 103"/>
                  <a:gd name="T10" fmla="*/ 3 w 221"/>
                  <a:gd name="T11" fmla="*/ 61 h 103"/>
                  <a:gd name="T12" fmla="*/ 2 w 221"/>
                  <a:gd name="T13" fmla="*/ 57 h 103"/>
                  <a:gd name="T14" fmla="*/ 12 w 221"/>
                  <a:gd name="T15" fmla="*/ 54 h 103"/>
                  <a:gd name="T16" fmla="*/ 22 w 221"/>
                  <a:gd name="T17" fmla="*/ 44 h 103"/>
                  <a:gd name="T18" fmla="*/ 20 w 221"/>
                  <a:gd name="T19" fmla="*/ 37 h 103"/>
                  <a:gd name="T20" fmla="*/ 19 w 221"/>
                  <a:gd name="T21" fmla="*/ 35 h 103"/>
                  <a:gd name="T22" fmla="*/ 24 w 221"/>
                  <a:gd name="T23" fmla="*/ 35 h 103"/>
                  <a:gd name="T24" fmla="*/ 36 w 221"/>
                  <a:gd name="T25" fmla="*/ 32 h 103"/>
                  <a:gd name="T26" fmla="*/ 52 w 221"/>
                  <a:gd name="T27" fmla="*/ 30 h 103"/>
                  <a:gd name="T28" fmla="*/ 103 w 221"/>
                  <a:gd name="T29" fmla="*/ 20 h 103"/>
                  <a:gd name="T30" fmla="*/ 144 w 221"/>
                  <a:gd name="T31" fmla="*/ 19 h 103"/>
                  <a:gd name="T32" fmla="*/ 173 w 221"/>
                  <a:gd name="T33" fmla="*/ 14 h 103"/>
                  <a:gd name="T34" fmla="*/ 172 w 221"/>
                  <a:gd name="T35" fmla="*/ 13 h 103"/>
                  <a:gd name="T36" fmla="*/ 177 w 221"/>
                  <a:gd name="T37" fmla="*/ 11 h 103"/>
                  <a:gd name="T38" fmla="*/ 190 w 221"/>
                  <a:gd name="T39" fmla="*/ 5 h 103"/>
                  <a:gd name="T40" fmla="*/ 198 w 221"/>
                  <a:gd name="T41" fmla="*/ 0 h 103"/>
                  <a:gd name="T42" fmla="*/ 208 w 221"/>
                  <a:gd name="T43" fmla="*/ 5 h 1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221" h="103">
                    <a:moveTo>
                      <a:pt x="208" y="5"/>
                    </a:moveTo>
                    <a:cubicBezTo>
                      <a:pt x="215" y="11"/>
                      <a:pt x="221" y="20"/>
                      <a:pt x="220" y="30"/>
                    </a:cubicBezTo>
                    <a:cubicBezTo>
                      <a:pt x="217" y="51"/>
                      <a:pt x="197" y="67"/>
                      <a:pt x="179" y="76"/>
                    </a:cubicBezTo>
                    <a:cubicBezTo>
                      <a:pt x="158" y="87"/>
                      <a:pt x="135" y="95"/>
                      <a:pt x="112" y="99"/>
                    </a:cubicBezTo>
                    <a:cubicBezTo>
                      <a:pt x="89" y="103"/>
                      <a:pt x="65" y="100"/>
                      <a:pt x="43" y="97"/>
                    </a:cubicBezTo>
                    <a:cubicBezTo>
                      <a:pt x="25" y="96"/>
                      <a:pt x="0" y="82"/>
                      <a:pt x="3" y="61"/>
                    </a:cubicBezTo>
                    <a:cubicBezTo>
                      <a:pt x="2" y="57"/>
                      <a:pt x="2" y="57"/>
                      <a:pt x="2" y="57"/>
                    </a:cubicBezTo>
                    <a:cubicBezTo>
                      <a:pt x="5" y="56"/>
                      <a:pt x="9" y="55"/>
                      <a:pt x="12" y="54"/>
                    </a:cubicBezTo>
                    <a:cubicBezTo>
                      <a:pt x="16" y="51"/>
                      <a:pt x="21" y="49"/>
                      <a:pt x="22" y="44"/>
                    </a:cubicBezTo>
                    <a:cubicBezTo>
                      <a:pt x="22" y="42"/>
                      <a:pt x="21" y="39"/>
                      <a:pt x="20" y="37"/>
                    </a:cubicBezTo>
                    <a:cubicBezTo>
                      <a:pt x="19" y="36"/>
                      <a:pt x="19" y="36"/>
                      <a:pt x="19" y="35"/>
                    </a:cubicBezTo>
                    <a:cubicBezTo>
                      <a:pt x="20" y="35"/>
                      <a:pt x="23" y="36"/>
                      <a:pt x="24" y="35"/>
                    </a:cubicBezTo>
                    <a:cubicBezTo>
                      <a:pt x="29" y="34"/>
                      <a:pt x="31" y="34"/>
                      <a:pt x="36" y="32"/>
                    </a:cubicBezTo>
                    <a:cubicBezTo>
                      <a:pt x="42" y="31"/>
                      <a:pt x="46" y="31"/>
                      <a:pt x="52" y="30"/>
                    </a:cubicBezTo>
                    <a:cubicBezTo>
                      <a:pt x="69" y="27"/>
                      <a:pt x="85" y="23"/>
                      <a:pt x="103" y="20"/>
                    </a:cubicBezTo>
                    <a:cubicBezTo>
                      <a:pt x="116" y="19"/>
                      <a:pt x="130" y="18"/>
                      <a:pt x="144" y="19"/>
                    </a:cubicBezTo>
                    <a:cubicBezTo>
                      <a:pt x="152" y="19"/>
                      <a:pt x="166" y="20"/>
                      <a:pt x="173" y="14"/>
                    </a:cubicBezTo>
                    <a:cubicBezTo>
                      <a:pt x="172" y="13"/>
                      <a:pt x="172" y="13"/>
                      <a:pt x="172" y="13"/>
                    </a:cubicBezTo>
                    <a:cubicBezTo>
                      <a:pt x="174" y="12"/>
                      <a:pt x="175" y="12"/>
                      <a:pt x="177" y="11"/>
                    </a:cubicBezTo>
                    <a:cubicBezTo>
                      <a:pt x="182" y="10"/>
                      <a:pt x="187" y="9"/>
                      <a:pt x="190" y="5"/>
                    </a:cubicBezTo>
                    <a:cubicBezTo>
                      <a:pt x="193" y="3"/>
                      <a:pt x="195" y="2"/>
                      <a:pt x="198" y="0"/>
                    </a:cubicBezTo>
                    <a:cubicBezTo>
                      <a:pt x="200" y="2"/>
                      <a:pt x="204" y="3"/>
                      <a:pt x="208" y="5"/>
                    </a:cubicBezTo>
                    <a:close/>
                  </a:path>
                </a:pathLst>
              </a:custGeom>
              <a:solidFill>
                <a:srgbClr val="F6B84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288" name="Freeform 200">
                <a:extLst>
                  <a:ext uri="{FF2B5EF4-FFF2-40B4-BE49-F238E27FC236}">
                    <a16:creationId xmlns:a16="http://schemas.microsoft.com/office/drawing/2014/main" id="{4870FC3E-F7EB-4AB6-9580-E8C7A6F5B92D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7570" y="3245"/>
                <a:ext cx="94" cy="94"/>
              </a:xfrm>
              <a:custGeom>
                <a:avLst/>
                <a:gdLst>
                  <a:gd name="T0" fmla="*/ 0 w 89"/>
                  <a:gd name="T1" fmla="*/ 87 h 89"/>
                  <a:gd name="T2" fmla="*/ 19 w 89"/>
                  <a:gd name="T3" fmla="*/ 64 h 89"/>
                  <a:gd name="T4" fmla="*/ 65 w 89"/>
                  <a:gd name="T5" fmla="*/ 0 h 89"/>
                  <a:gd name="T6" fmla="*/ 71 w 89"/>
                  <a:gd name="T7" fmla="*/ 6 h 89"/>
                  <a:gd name="T8" fmla="*/ 85 w 89"/>
                  <a:gd name="T9" fmla="*/ 18 h 89"/>
                  <a:gd name="T10" fmla="*/ 73 w 89"/>
                  <a:gd name="T11" fmla="*/ 51 h 89"/>
                  <a:gd name="T12" fmla="*/ 32 w 89"/>
                  <a:gd name="T13" fmla="*/ 79 h 89"/>
                  <a:gd name="T14" fmla="*/ 2 w 89"/>
                  <a:gd name="T15" fmla="*/ 89 h 89"/>
                  <a:gd name="T16" fmla="*/ 0 w 89"/>
                  <a:gd name="T17" fmla="*/ 87 h 8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89" h="89">
                    <a:moveTo>
                      <a:pt x="0" y="87"/>
                    </a:moveTo>
                    <a:cubicBezTo>
                      <a:pt x="6" y="79"/>
                      <a:pt x="13" y="72"/>
                      <a:pt x="19" y="64"/>
                    </a:cubicBezTo>
                    <a:cubicBezTo>
                      <a:pt x="35" y="44"/>
                      <a:pt x="50" y="22"/>
                      <a:pt x="65" y="0"/>
                    </a:cubicBezTo>
                    <a:cubicBezTo>
                      <a:pt x="66" y="3"/>
                      <a:pt x="69" y="4"/>
                      <a:pt x="71" y="6"/>
                    </a:cubicBezTo>
                    <a:cubicBezTo>
                      <a:pt x="76" y="8"/>
                      <a:pt x="82" y="11"/>
                      <a:pt x="85" y="18"/>
                    </a:cubicBezTo>
                    <a:cubicBezTo>
                      <a:pt x="89" y="29"/>
                      <a:pt x="81" y="44"/>
                      <a:pt x="73" y="51"/>
                    </a:cubicBezTo>
                    <a:cubicBezTo>
                      <a:pt x="61" y="63"/>
                      <a:pt x="47" y="72"/>
                      <a:pt x="32" y="79"/>
                    </a:cubicBezTo>
                    <a:cubicBezTo>
                      <a:pt x="22" y="82"/>
                      <a:pt x="11" y="89"/>
                      <a:pt x="2" y="89"/>
                    </a:cubicBezTo>
                    <a:lnTo>
                      <a:pt x="0" y="87"/>
                    </a:lnTo>
                    <a:close/>
                  </a:path>
                </a:pathLst>
              </a:custGeom>
              <a:solidFill>
                <a:srgbClr val="F6B84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289" name="Freeform 201">
                <a:extLst>
                  <a:ext uri="{FF2B5EF4-FFF2-40B4-BE49-F238E27FC236}">
                    <a16:creationId xmlns:a16="http://schemas.microsoft.com/office/drawing/2014/main" id="{5152B209-7394-4B72-B03C-84B928418C78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7240" y="2984"/>
                <a:ext cx="134" cy="66"/>
              </a:xfrm>
              <a:custGeom>
                <a:avLst/>
                <a:gdLst>
                  <a:gd name="T0" fmla="*/ 10 w 126"/>
                  <a:gd name="T1" fmla="*/ 22 h 62"/>
                  <a:gd name="T2" fmla="*/ 2 w 126"/>
                  <a:gd name="T3" fmla="*/ 16 h 62"/>
                  <a:gd name="T4" fmla="*/ 0 w 126"/>
                  <a:gd name="T5" fmla="*/ 16 h 62"/>
                  <a:gd name="T6" fmla="*/ 0 w 126"/>
                  <a:gd name="T7" fmla="*/ 16 h 62"/>
                  <a:gd name="T8" fmla="*/ 17 w 126"/>
                  <a:gd name="T9" fmla="*/ 14 h 62"/>
                  <a:gd name="T10" fmla="*/ 74 w 126"/>
                  <a:gd name="T11" fmla="*/ 6 h 62"/>
                  <a:gd name="T12" fmla="*/ 125 w 126"/>
                  <a:gd name="T13" fmla="*/ 0 h 62"/>
                  <a:gd name="T14" fmla="*/ 126 w 126"/>
                  <a:gd name="T15" fmla="*/ 15 h 62"/>
                  <a:gd name="T16" fmla="*/ 116 w 126"/>
                  <a:gd name="T17" fmla="*/ 24 h 62"/>
                  <a:gd name="T18" fmla="*/ 97 w 126"/>
                  <a:gd name="T19" fmla="*/ 31 h 62"/>
                  <a:gd name="T20" fmla="*/ 84 w 126"/>
                  <a:gd name="T21" fmla="*/ 41 h 62"/>
                  <a:gd name="T22" fmla="*/ 75 w 126"/>
                  <a:gd name="T23" fmla="*/ 43 h 62"/>
                  <a:gd name="T24" fmla="*/ 76 w 126"/>
                  <a:gd name="T25" fmla="*/ 44 h 62"/>
                  <a:gd name="T26" fmla="*/ 87 w 126"/>
                  <a:gd name="T27" fmla="*/ 46 h 62"/>
                  <a:gd name="T28" fmla="*/ 107 w 126"/>
                  <a:gd name="T29" fmla="*/ 54 h 62"/>
                  <a:gd name="T30" fmla="*/ 103 w 126"/>
                  <a:gd name="T31" fmla="*/ 55 h 62"/>
                  <a:gd name="T32" fmla="*/ 87 w 126"/>
                  <a:gd name="T33" fmla="*/ 57 h 62"/>
                  <a:gd name="T34" fmla="*/ 52 w 126"/>
                  <a:gd name="T35" fmla="*/ 60 h 62"/>
                  <a:gd name="T36" fmla="*/ 37 w 126"/>
                  <a:gd name="T37" fmla="*/ 62 h 62"/>
                  <a:gd name="T38" fmla="*/ 27 w 126"/>
                  <a:gd name="T39" fmla="*/ 61 h 62"/>
                  <a:gd name="T40" fmla="*/ 25 w 126"/>
                  <a:gd name="T41" fmla="*/ 61 h 62"/>
                  <a:gd name="T42" fmla="*/ 24 w 126"/>
                  <a:gd name="T43" fmla="*/ 48 h 62"/>
                  <a:gd name="T44" fmla="*/ 19 w 126"/>
                  <a:gd name="T45" fmla="*/ 35 h 62"/>
                  <a:gd name="T46" fmla="*/ 16 w 126"/>
                  <a:gd name="T47" fmla="*/ 34 h 62"/>
                  <a:gd name="T48" fmla="*/ 17 w 126"/>
                  <a:gd name="T49" fmla="*/ 33 h 62"/>
                  <a:gd name="T50" fmla="*/ 16 w 126"/>
                  <a:gd name="T51" fmla="*/ 26 h 62"/>
                  <a:gd name="T52" fmla="*/ 10 w 126"/>
                  <a:gd name="T53" fmla="*/ 22 h 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126" h="62">
                    <a:moveTo>
                      <a:pt x="10" y="22"/>
                    </a:moveTo>
                    <a:cubicBezTo>
                      <a:pt x="9" y="19"/>
                      <a:pt x="5" y="16"/>
                      <a:pt x="2" y="16"/>
                    </a:cubicBezTo>
                    <a:cubicBezTo>
                      <a:pt x="0" y="16"/>
                      <a:pt x="0" y="16"/>
                      <a:pt x="0" y="16"/>
                    </a:cubicBezTo>
                    <a:cubicBezTo>
                      <a:pt x="0" y="16"/>
                      <a:pt x="0" y="16"/>
                      <a:pt x="0" y="16"/>
                    </a:cubicBezTo>
                    <a:cubicBezTo>
                      <a:pt x="17" y="14"/>
                      <a:pt x="17" y="14"/>
                      <a:pt x="17" y="14"/>
                    </a:cubicBezTo>
                    <a:cubicBezTo>
                      <a:pt x="36" y="9"/>
                      <a:pt x="56" y="9"/>
                      <a:pt x="74" y="6"/>
                    </a:cubicBezTo>
                    <a:cubicBezTo>
                      <a:pt x="91" y="4"/>
                      <a:pt x="108" y="2"/>
                      <a:pt x="125" y="0"/>
                    </a:cubicBezTo>
                    <a:cubicBezTo>
                      <a:pt x="126" y="15"/>
                      <a:pt x="126" y="15"/>
                      <a:pt x="126" y="15"/>
                    </a:cubicBezTo>
                    <a:cubicBezTo>
                      <a:pt x="123" y="19"/>
                      <a:pt x="119" y="21"/>
                      <a:pt x="116" y="24"/>
                    </a:cubicBezTo>
                    <a:cubicBezTo>
                      <a:pt x="110" y="25"/>
                      <a:pt x="104" y="28"/>
                      <a:pt x="97" y="31"/>
                    </a:cubicBezTo>
                    <a:cubicBezTo>
                      <a:pt x="93" y="34"/>
                      <a:pt x="88" y="38"/>
                      <a:pt x="84" y="41"/>
                    </a:cubicBezTo>
                    <a:cubicBezTo>
                      <a:pt x="81" y="42"/>
                      <a:pt x="78" y="42"/>
                      <a:pt x="75" y="43"/>
                    </a:cubicBezTo>
                    <a:cubicBezTo>
                      <a:pt x="76" y="44"/>
                      <a:pt x="76" y="44"/>
                      <a:pt x="76" y="44"/>
                    </a:cubicBezTo>
                    <a:cubicBezTo>
                      <a:pt x="79" y="45"/>
                      <a:pt x="84" y="46"/>
                      <a:pt x="87" y="46"/>
                    </a:cubicBezTo>
                    <a:cubicBezTo>
                      <a:pt x="94" y="48"/>
                      <a:pt x="100" y="51"/>
                      <a:pt x="107" y="54"/>
                    </a:cubicBezTo>
                    <a:cubicBezTo>
                      <a:pt x="106" y="54"/>
                      <a:pt x="105" y="54"/>
                      <a:pt x="103" y="55"/>
                    </a:cubicBezTo>
                    <a:cubicBezTo>
                      <a:pt x="97" y="56"/>
                      <a:pt x="92" y="56"/>
                      <a:pt x="87" y="57"/>
                    </a:cubicBezTo>
                    <a:cubicBezTo>
                      <a:pt x="75" y="59"/>
                      <a:pt x="64" y="60"/>
                      <a:pt x="52" y="60"/>
                    </a:cubicBezTo>
                    <a:cubicBezTo>
                      <a:pt x="46" y="61"/>
                      <a:pt x="41" y="61"/>
                      <a:pt x="37" y="62"/>
                    </a:cubicBezTo>
                    <a:cubicBezTo>
                      <a:pt x="33" y="61"/>
                      <a:pt x="30" y="62"/>
                      <a:pt x="27" y="61"/>
                    </a:cubicBezTo>
                    <a:cubicBezTo>
                      <a:pt x="25" y="61"/>
                      <a:pt x="25" y="61"/>
                      <a:pt x="25" y="61"/>
                    </a:cubicBezTo>
                    <a:cubicBezTo>
                      <a:pt x="25" y="57"/>
                      <a:pt x="25" y="52"/>
                      <a:pt x="24" y="48"/>
                    </a:cubicBezTo>
                    <a:cubicBezTo>
                      <a:pt x="23" y="44"/>
                      <a:pt x="19" y="40"/>
                      <a:pt x="19" y="35"/>
                    </a:cubicBezTo>
                    <a:cubicBezTo>
                      <a:pt x="16" y="34"/>
                      <a:pt x="16" y="34"/>
                      <a:pt x="16" y="34"/>
                    </a:cubicBezTo>
                    <a:cubicBezTo>
                      <a:pt x="17" y="33"/>
                      <a:pt x="17" y="33"/>
                      <a:pt x="17" y="33"/>
                    </a:cubicBezTo>
                    <a:cubicBezTo>
                      <a:pt x="18" y="29"/>
                      <a:pt x="17" y="27"/>
                      <a:pt x="16" y="26"/>
                    </a:cubicBezTo>
                    <a:cubicBezTo>
                      <a:pt x="15" y="24"/>
                      <a:pt x="13" y="23"/>
                      <a:pt x="10" y="22"/>
                    </a:cubicBezTo>
                    <a:close/>
                  </a:path>
                </a:pathLst>
              </a:custGeom>
              <a:solidFill>
                <a:srgbClr val="F6B84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290" name="Freeform 202">
                <a:extLst>
                  <a:ext uri="{FF2B5EF4-FFF2-40B4-BE49-F238E27FC236}">
                    <a16:creationId xmlns:a16="http://schemas.microsoft.com/office/drawing/2014/main" id="{AF7704D0-803E-46C3-A3E6-2BA39EA11EEE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7320" y="2981"/>
                <a:ext cx="213" cy="60"/>
              </a:xfrm>
              <a:custGeom>
                <a:avLst/>
                <a:gdLst>
                  <a:gd name="T0" fmla="*/ 9 w 201"/>
                  <a:gd name="T1" fmla="*/ 44 h 57"/>
                  <a:gd name="T2" fmla="*/ 22 w 201"/>
                  <a:gd name="T3" fmla="*/ 34 h 57"/>
                  <a:gd name="T4" fmla="*/ 41 w 201"/>
                  <a:gd name="T5" fmla="*/ 27 h 57"/>
                  <a:gd name="T6" fmla="*/ 51 w 201"/>
                  <a:gd name="T7" fmla="*/ 18 h 57"/>
                  <a:gd name="T8" fmla="*/ 50 w 201"/>
                  <a:gd name="T9" fmla="*/ 3 h 57"/>
                  <a:gd name="T10" fmla="*/ 89 w 201"/>
                  <a:gd name="T11" fmla="*/ 2 h 57"/>
                  <a:gd name="T12" fmla="*/ 155 w 201"/>
                  <a:gd name="T13" fmla="*/ 1 h 57"/>
                  <a:gd name="T14" fmla="*/ 171 w 201"/>
                  <a:gd name="T15" fmla="*/ 0 h 57"/>
                  <a:gd name="T16" fmla="*/ 184 w 201"/>
                  <a:gd name="T17" fmla="*/ 6 h 57"/>
                  <a:gd name="T18" fmla="*/ 197 w 201"/>
                  <a:gd name="T19" fmla="*/ 19 h 57"/>
                  <a:gd name="T20" fmla="*/ 201 w 201"/>
                  <a:gd name="T21" fmla="*/ 22 h 57"/>
                  <a:gd name="T22" fmla="*/ 201 w 201"/>
                  <a:gd name="T23" fmla="*/ 25 h 57"/>
                  <a:gd name="T24" fmla="*/ 149 w 201"/>
                  <a:gd name="T25" fmla="*/ 34 h 57"/>
                  <a:gd name="T26" fmla="*/ 119 w 201"/>
                  <a:gd name="T27" fmla="*/ 38 h 57"/>
                  <a:gd name="T28" fmla="*/ 87 w 201"/>
                  <a:gd name="T29" fmla="*/ 45 h 57"/>
                  <a:gd name="T30" fmla="*/ 47 w 201"/>
                  <a:gd name="T31" fmla="*/ 53 h 57"/>
                  <a:gd name="T32" fmla="*/ 32 w 201"/>
                  <a:gd name="T33" fmla="*/ 57 h 57"/>
                  <a:gd name="T34" fmla="*/ 12 w 201"/>
                  <a:gd name="T35" fmla="*/ 49 h 57"/>
                  <a:gd name="T36" fmla="*/ 1 w 201"/>
                  <a:gd name="T37" fmla="*/ 47 h 57"/>
                  <a:gd name="T38" fmla="*/ 0 w 201"/>
                  <a:gd name="T39" fmla="*/ 46 h 57"/>
                  <a:gd name="T40" fmla="*/ 9 w 201"/>
                  <a:gd name="T41" fmla="*/ 44 h 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01" h="57">
                    <a:moveTo>
                      <a:pt x="9" y="44"/>
                    </a:moveTo>
                    <a:cubicBezTo>
                      <a:pt x="13" y="41"/>
                      <a:pt x="18" y="37"/>
                      <a:pt x="22" y="34"/>
                    </a:cubicBezTo>
                    <a:cubicBezTo>
                      <a:pt x="29" y="31"/>
                      <a:pt x="35" y="28"/>
                      <a:pt x="41" y="27"/>
                    </a:cubicBezTo>
                    <a:cubicBezTo>
                      <a:pt x="44" y="24"/>
                      <a:pt x="48" y="22"/>
                      <a:pt x="51" y="18"/>
                    </a:cubicBezTo>
                    <a:cubicBezTo>
                      <a:pt x="50" y="3"/>
                      <a:pt x="50" y="3"/>
                      <a:pt x="50" y="3"/>
                    </a:cubicBezTo>
                    <a:cubicBezTo>
                      <a:pt x="63" y="2"/>
                      <a:pt x="76" y="2"/>
                      <a:pt x="89" y="2"/>
                    </a:cubicBezTo>
                    <a:cubicBezTo>
                      <a:pt x="111" y="3"/>
                      <a:pt x="133" y="0"/>
                      <a:pt x="155" y="1"/>
                    </a:cubicBezTo>
                    <a:cubicBezTo>
                      <a:pt x="161" y="1"/>
                      <a:pt x="166" y="0"/>
                      <a:pt x="171" y="0"/>
                    </a:cubicBezTo>
                    <a:cubicBezTo>
                      <a:pt x="177" y="0"/>
                      <a:pt x="182" y="4"/>
                      <a:pt x="184" y="6"/>
                    </a:cubicBezTo>
                    <a:cubicBezTo>
                      <a:pt x="190" y="11"/>
                      <a:pt x="193" y="15"/>
                      <a:pt x="197" y="19"/>
                    </a:cubicBezTo>
                    <a:cubicBezTo>
                      <a:pt x="197" y="20"/>
                      <a:pt x="199" y="22"/>
                      <a:pt x="201" y="22"/>
                    </a:cubicBezTo>
                    <a:cubicBezTo>
                      <a:pt x="201" y="25"/>
                      <a:pt x="201" y="25"/>
                      <a:pt x="201" y="25"/>
                    </a:cubicBezTo>
                    <a:cubicBezTo>
                      <a:pt x="183" y="27"/>
                      <a:pt x="166" y="32"/>
                      <a:pt x="149" y="34"/>
                    </a:cubicBezTo>
                    <a:cubicBezTo>
                      <a:pt x="139" y="36"/>
                      <a:pt x="130" y="35"/>
                      <a:pt x="119" y="38"/>
                    </a:cubicBezTo>
                    <a:cubicBezTo>
                      <a:pt x="109" y="39"/>
                      <a:pt x="97" y="42"/>
                      <a:pt x="87" y="45"/>
                    </a:cubicBezTo>
                    <a:cubicBezTo>
                      <a:pt x="74" y="48"/>
                      <a:pt x="60" y="50"/>
                      <a:pt x="47" y="53"/>
                    </a:cubicBezTo>
                    <a:cubicBezTo>
                      <a:pt x="42" y="54"/>
                      <a:pt x="37" y="55"/>
                      <a:pt x="32" y="57"/>
                    </a:cubicBezTo>
                    <a:cubicBezTo>
                      <a:pt x="25" y="54"/>
                      <a:pt x="19" y="51"/>
                      <a:pt x="12" y="49"/>
                    </a:cubicBezTo>
                    <a:cubicBezTo>
                      <a:pt x="9" y="49"/>
                      <a:pt x="4" y="48"/>
                      <a:pt x="1" y="47"/>
                    </a:cubicBezTo>
                    <a:cubicBezTo>
                      <a:pt x="0" y="46"/>
                      <a:pt x="0" y="46"/>
                      <a:pt x="0" y="46"/>
                    </a:cubicBezTo>
                    <a:cubicBezTo>
                      <a:pt x="3" y="45"/>
                      <a:pt x="6" y="45"/>
                      <a:pt x="9" y="44"/>
                    </a:cubicBezTo>
                    <a:close/>
                  </a:path>
                </a:pathLst>
              </a:custGeom>
              <a:solidFill>
                <a:srgbClr val="F6B84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291" name="Freeform 203">
                <a:extLst>
                  <a:ext uri="{FF2B5EF4-FFF2-40B4-BE49-F238E27FC236}">
                    <a16:creationId xmlns:a16="http://schemas.microsoft.com/office/drawing/2014/main" id="{B37BECA6-C520-4BC9-BBD8-88FE037A3C5D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7140" y="3353"/>
                <a:ext cx="58" cy="193"/>
              </a:xfrm>
              <a:custGeom>
                <a:avLst/>
                <a:gdLst>
                  <a:gd name="T0" fmla="*/ 9 w 55"/>
                  <a:gd name="T1" fmla="*/ 166 h 183"/>
                  <a:gd name="T2" fmla="*/ 2 w 55"/>
                  <a:gd name="T3" fmla="*/ 94 h 183"/>
                  <a:gd name="T4" fmla="*/ 19 w 55"/>
                  <a:gd name="T5" fmla="*/ 23 h 183"/>
                  <a:gd name="T6" fmla="*/ 22 w 55"/>
                  <a:gd name="T7" fmla="*/ 0 h 183"/>
                  <a:gd name="T8" fmla="*/ 29 w 55"/>
                  <a:gd name="T9" fmla="*/ 0 h 183"/>
                  <a:gd name="T10" fmla="*/ 45 w 55"/>
                  <a:gd name="T11" fmla="*/ 1 h 183"/>
                  <a:gd name="T12" fmla="*/ 41 w 55"/>
                  <a:gd name="T13" fmla="*/ 41 h 183"/>
                  <a:gd name="T14" fmla="*/ 33 w 55"/>
                  <a:gd name="T15" fmla="*/ 97 h 183"/>
                  <a:gd name="T16" fmla="*/ 37 w 55"/>
                  <a:gd name="T17" fmla="*/ 137 h 183"/>
                  <a:gd name="T18" fmla="*/ 40 w 55"/>
                  <a:gd name="T19" fmla="*/ 161 h 183"/>
                  <a:gd name="T20" fmla="*/ 41 w 55"/>
                  <a:gd name="T21" fmla="*/ 165 h 183"/>
                  <a:gd name="T22" fmla="*/ 37 w 55"/>
                  <a:gd name="T23" fmla="*/ 166 h 183"/>
                  <a:gd name="T24" fmla="*/ 16 w 55"/>
                  <a:gd name="T25" fmla="*/ 182 h 183"/>
                  <a:gd name="T26" fmla="*/ 13 w 55"/>
                  <a:gd name="T27" fmla="*/ 183 h 183"/>
                  <a:gd name="T28" fmla="*/ 13 w 55"/>
                  <a:gd name="T29" fmla="*/ 182 h 183"/>
                  <a:gd name="T30" fmla="*/ 9 w 55"/>
                  <a:gd name="T31" fmla="*/ 166 h 1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55" h="183">
                    <a:moveTo>
                      <a:pt x="9" y="166"/>
                    </a:moveTo>
                    <a:cubicBezTo>
                      <a:pt x="3" y="142"/>
                      <a:pt x="0" y="118"/>
                      <a:pt x="2" y="94"/>
                    </a:cubicBezTo>
                    <a:cubicBezTo>
                      <a:pt x="3" y="71"/>
                      <a:pt x="8" y="45"/>
                      <a:pt x="19" y="23"/>
                    </a:cubicBezTo>
                    <a:cubicBezTo>
                      <a:pt x="22" y="0"/>
                      <a:pt x="22" y="0"/>
                      <a:pt x="22" y="0"/>
                    </a:cubicBezTo>
                    <a:cubicBezTo>
                      <a:pt x="25" y="0"/>
                      <a:pt x="27" y="0"/>
                      <a:pt x="29" y="0"/>
                    </a:cubicBezTo>
                    <a:cubicBezTo>
                      <a:pt x="45" y="1"/>
                      <a:pt x="45" y="1"/>
                      <a:pt x="45" y="1"/>
                    </a:cubicBezTo>
                    <a:cubicBezTo>
                      <a:pt x="55" y="10"/>
                      <a:pt x="45" y="31"/>
                      <a:pt x="41" y="41"/>
                    </a:cubicBezTo>
                    <a:cubicBezTo>
                      <a:pt x="35" y="60"/>
                      <a:pt x="33" y="77"/>
                      <a:pt x="33" y="97"/>
                    </a:cubicBezTo>
                    <a:cubicBezTo>
                      <a:pt x="32" y="110"/>
                      <a:pt x="34" y="124"/>
                      <a:pt x="37" y="137"/>
                    </a:cubicBezTo>
                    <a:cubicBezTo>
                      <a:pt x="38" y="144"/>
                      <a:pt x="39" y="153"/>
                      <a:pt x="40" y="161"/>
                    </a:cubicBezTo>
                    <a:cubicBezTo>
                      <a:pt x="41" y="163"/>
                      <a:pt x="41" y="164"/>
                      <a:pt x="41" y="165"/>
                    </a:cubicBezTo>
                    <a:cubicBezTo>
                      <a:pt x="37" y="166"/>
                      <a:pt x="37" y="166"/>
                      <a:pt x="37" y="166"/>
                    </a:cubicBezTo>
                    <a:cubicBezTo>
                      <a:pt x="31" y="174"/>
                      <a:pt x="25" y="180"/>
                      <a:pt x="16" y="182"/>
                    </a:cubicBezTo>
                    <a:cubicBezTo>
                      <a:pt x="13" y="183"/>
                      <a:pt x="13" y="183"/>
                      <a:pt x="13" y="183"/>
                    </a:cubicBezTo>
                    <a:cubicBezTo>
                      <a:pt x="13" y="183"/>
                      <a:pt x="13" y="182"/>
                      <a:pt x="13" y="182"/>
                    </a:cubicBezTo>
                    <a:cubicBezTo>
                      <a:pt x="11" y="176"/>
                      <a:pt x="10" y="171"/>
                      <a:pt x="9" y="166"/>
                    </a:cubicBezTo>
                    <a:close/>
                  </a:path>
                </a:pathLst>
              </a:custGeom>
              <a:solidFill>
                <a:srgbClr val="F6B84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292" name="Freeform 204">
                <a:extLst>
                  <a:ext uri="{FF2B5EF4-FFF2-40B4-BE49-F238E27FC236}">
                    <a16:creationId xmlns:a16="http://schemas.microsoft.com/office/drawing/2014/main" id="{CBCC0F6C-D48B-4831-84A1-DE7C1C1FA5F5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770" y="3527"/>
                <a:ext cx="453" cy="93"/>
              </a:xfrm>
              <a:custGeom>
                <a:avLst/>
                <a:gdLst>
                  <a:gd name="T0" fmla="*/ 24 w 428"/>
                  <a:gd name="T1" fmla="*/ 59 h 88"/>
                  <a:gd name="T2" fmla="*/ 0 w 428"/>
                  <a:gd name="T3" fmla="*/ 29 h 88"/>
                  <a:gd name="T4" fmla="*/ 13 w 428"/>
                  <a:gd name="T5" fmla="*/ 28 h 88"/>
                  <a:gd name="T6" fmla="*/ 179 w 428"/>
                  <a:gd name="T7" fmla="*/ 25 h 88"/>
                  <a:gd name="T8" fmla="*/ 298 w 428"/>
                  <a:gd name="T9" fmla="*/ 18 h 88"/>
                  <a:gd name="T10" fmla="*/ 330 w 428"/>
                  <a:gd name="T11" fmla="*/ 17 h 88"/>
                  <a:gd name="T12" fmla="*/ 349 w 428"/>
                  <a:gd name="T13" fmla="*/ 17 h 88"/>
                  <a:gd name="T14" fmla="*/ 360 w 428"/>
                  <a:gd name="T15" fmla="*/ 17 h 88"/>
                  <a:gd name="T16" fmla="*/ 362 w 428"/>
                  <a:gd name="T17" fmla="*/ 17 h 88"/>
                  <a:gd name="T18" fmla="*/ 362 w 428"/>
                  <a:gd name="T19" fmla="*/ 18 h 88"/>
                  <a:gd name="T20" fmla="*/ 365 w 428"/>
                  <a:gd name="T21" fmla="*/ 17 h 88"/>
                  <a:gd name="T22" fmla="*/ 386 w 428"/>
                  <a:gd name="T23" fmla="*/ 1 h 88"/>
                  <a:gd name="T24" fmla="*/ 390 w 428"/>
                  <a:gd name="T25" fmla="*/ 0 h 88"/>
                  <a:gd name="T26" fmla="*/ 391 w 428"/>
                  <a:gd name="T27" fmla="*/ 6 h 88"/>
                  <a:gd name="T28" fmla="*/ 423 w 428"/>
                  <a:gd name="T29" fmla="*/ 59 h 88"/>
                  <a:gd name="T30" fmla="*/ 426 w 428"/>
                  <a:gd name="T31" fmla="*/ 57 h 88"/>
                  <a:gd name="T32" fmla="*/ 428 w 428"/>
                  <a:gd name="T33" fmla="*/ 64 h 88"/>
                  <a:gd name="T34" fmla="*/ 418 w 428"/>
                  <a:gd name="T35" fmla="*/ 74 h 88"/>
                  <a:gd name="T36" fmla="*/ 408 w 428"/>
                  <a:gd name="T37" fmla="*/ 77 h 88"/>
                  <a:gd name="T38" fmla="*/ 390 w 428"/>
                  <a:gd name="T39" fmla="*/ 81 h 88"/>
                  <a:gd name="T40" fmla="*/ 309 w 428"/>
                  <a:gd name="T41" fmla="*/ 81 h 88"/>
                  <a:gd name="T42" fmla="*/ 257 w 428"/>
                  <a:gd name="T43" fmla="*/ 83 h 88"/>
                  <a:gd name="T44" fmla="*/ 196 w 428"/>
                  <a:gd name="T45" fmla="*/ 84 h 88"/>
                  <a:gd name="T46" fmla="*/ 177 w 428"/>
                  <a:gd name="T47" fmla="*/ 85 h 88"/>
                  <a:gd name="T48" fmla="*/ 102 w 428"/>
                  <a:gd name="T49" fmla="*/ 86 h 88"/>
                  <a:gd name="T50" fmla="*/ 37 w 428"/>
                  <a:gd name="T51" fmla="*/ 70 h 88"/>
                  <a:gd name="T52" fmla="*/ 33 w 428"/>
                  <a:gd name="T53" fmla="*/ 65 h 88"/>
                  <a:gd name="T54" fmla="*/ 31 w 428"/>
                  <a:gd name="T55" fmla="*/ 62 h 88"/>
                  <a:gd name="T56" fmla="*/ 24 w 428"/>
                  <a:gd name="T57" fmla="*/ 59 h 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428" h="88">
                    <a:moveTo>
                      <a:pt x="24" y="59"/>
                    </a:moveTo>
                    <a:cubicBezTo>
                      <a:pt x="15" y="50"/>
                      <a:pt x="7" y="40"/>
                      <a:pt x="0" y="29"/>
                    </a:cubicBezTo>
                    <a:cubicBezTo>
                      <a:pt x="13" y="28"/>
                      <a:pt x="13" y="28"/>
                      <a:pt x="13" y="28"/>
                    </a:cubicBezTo>
                    <a:cubicBezTo>
                      <a:pt x="70" y="29"/>
                      <a:pt x="124" y="28"/>
                      <a:pt x="179" y="25"/>
                    </a:cubicBezTo>
                    <a:cubicBezTo>
                      <a:pt x="219" y="24"/>
                      <a:pt x="259" y="22"/>
                      <a:pt x="298" y="18"/>
                    </a:cubicBezTo>
                    <a:cubicBezTo>
                      <a:pt x="309" y="19"/>
                      <a:pt x="320" y="18"/>
                      <a:pt x="330" y="17"/>
                    </a:cubicBezTo>
                    <a:cubicBezTo>
                      <a:pt x="337" y="17"/>
                      <a:pt x="343" y="17"/>
                      <a:pt x="349" y="17"/>
                    </a:cubicBezTo>
                    <a:cubicBezTo>
                      <a:pt x="352" y="17"/>
                      <a:pt x="357" y="18"/>
                      <a:pt x="360" y="17"/>
                    </a:cubicBezTo>
                    <a:cubicBezTo>
                      <a:pt x="362" y="17"/>
                      <a:pt x="362" y="17"/>
                      <a:pt x="362" y="17"/>
                    </a:cubicBezTo>
                    <a:cubicBezTo>
                      <a:pt x="362" y="17"/>
                      <a:pt x="362" y="18"/>
                      <a:pt x="362" y="18"/>
                    </a:cubicBezTo>
                    <a:cubicBezTo>
                      <a:pt x="365" y="17"/>
                      <a:pt x="365" y="17"/>
                      <a:pt x="365" y="17"/>
                    </a:cubicBezTo>
                    <a:cubicBezTo>
                      <a:pt x="374" y="15"/>
                      <a:pt x="380" y="9"/>
                      <a:pt x="386" y="1"/>
                    </a:cubicBezTo>
                    <a:cubicBezTo>
                      <a:pt x="390" y="0"/>
                      <a:pt x="390" y="0"/>
                      <a:pt x="390" y="0"/>
                    </a:cubicBezTo>
                    <a:cubicBezTo>
                      <a:pt x="391" y="2"/>
                      <a:pt x="391" y="4"/>
                      <a:pt x="391" y="6"/>
                    </a:cubicBezTo>
                    <a:cubicBezTo>
                      <a:pt x="398" y="25"/>
                      <a:pt x="407" y="44"/>
                      <a:pt x="423" y="59"/>
                    </a:cubicBezTo>
                    <a:cubicBezTo>
                      <a:pt x="426" y="57"/>
                      <a:pt x="426" y="57"/>
                      <a:pt x="426" y="57"/>
                    </a:cubicBezTo>
                    <a:cubicBezTo>
                      <a:pt x="427" y="59"/>
                      <a:pt x="428" y="62"/>
                      <a:pt x="428" y="64"/>
                    </a:cubicBezTo>
                    <a:cubicBezTo>
                      <a:pt x="427" y="69"/>
                      <a:pt x="422" y="71"/>
                      <a:pt x="418" y="74"/>
                    </a:cubicBezTo>
                    <a:cubicBezTo>
                      <a:pt x="415" y="75"/>
                      <a:pt x="411" y="76"/>
                      <a:pt x="408" y="77"/>
                    </a:cubicBezTo>
                    <a:cubicBezTo>
                      <a:pt x="402" y="79"/>
                      <a:pt x="396" y="80"/>
                      <a:pt x="390" y="81"/>
                    </a:cubicBezTo>
                    <a:cubicBezTo>
                      <a:pt x="363" y="83"/>
                      <a:pt x="336" y="82"/>
                      <a:pt x="309" y="81"/>
                    </a:cubicBezTo>
                    <a:cubicBezTo>
                      <a:pt x="292" y="82"/>
                      <a:pt x="274" y="83"/>
                      <a:pt x="257" y="83"/>
                    </a:cubicBezTo>
                    <a:cubicBezTo>
                      <a:pt x="237" y="83"/>
                      <a:pt x="216" y="84"/>
                      <a:pt x="196" y="84"/>
                    </a:cubicBezTo>
                    <a:cubicBezTo>
                      <a:pt x="189" y="84"/>
                      <a:pt x="183" y="85"/>
                      <a:pt x="177" y="85"/>
                    </a:cubicBezTo>
                    <a:cubicBezTo>
                      <a:pt x="152" y="86"/>
                      <a:pt x="128" y="88"/>
                      <a:pt x="102" y="86"/>
                    </a:cubicBezTo>
                    <a:cubicBezTo>
                      <a:pt x="79" y="86"/>
                      <a:pt x="54" y="86"/>
                      <a:pt x="37" y="70"/>
                    </a:cubicBezTo>
                    <a:cubicBezTo>
                      <a:pt x="36" y="68"/>
                      <a:pt x="34" y="66"/>
                      <a:pt x="33" y="65"/>
                    </a:cubicBezTo>
                    <a:cubicBezTo>
                      <a:pt x="32" y="64"/>
                      <a:pt x="32" y="63"/>
                      <a:pt x="31" y="62"/>
                    </a:cubicBezTo>
                    <a:lnTo>
                      <a:pt x="24" y="59"/>
                    </a:lnTo>
                    <a:close/>
                  </a:path>
                </a:pathLst>
              </a:custGeom>
              <a:solidFill>
                <a:srgbClr val="F6B84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</p:grpSp>
        <p:grpSp>
          <p:nvGrpSpPr>
            <p:cNvPr id="7" name="Group 406">
              <a:extLst>
                <a:ext uri="{FF2B5EF4-FFF2-40B4-BE49-F238E27FC236}">
                  <a16:creationId xmlns:a16="http://schemas.microsoft.com/office/drawing/2014/main" id="{7AB74670-6727-47B1-BDFC-EFAD304FA027}"/>
                </a:ext>
              </a:extLst>
            </p:cNvPr>
            <p:cNvGrpSpPr>
              <a:grpSpLocks/>
            </p:cNvGrpSpPr>
            <p:nvPr userDrawn="1"/>
          </p:nvGrpSpPr>
          <p:grpSpPr bwMode="auto">
            <a:xfrm>
              <a:off x="-3175" y="1004888"/>
              <a:ext cx="12198350" cy="4851400"/>
              <a:chOff x="-2" y="633"/>
              <a:chExt cx="7684" cy="3056"/>
            </a:xfrm>
          </p:grpSpPr>
          <p:sp>
            <p:nvSpPr>
              <p:cNvPr id="9893" name="Freeform 206">
                <a:extLst>
                  <a:ext uri="{FF2B5EF4-FFF2-40B4-BE49-F238E27FC236}">
                    <a16:creationId xmlns:a16="http://schemas.microsoft.com/office/drawing/2014/main" id="{AE7EAC85-2474-4774-949D-6E9CC5774DE7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743" y="3346"/>
                <a:ext cx="420" cy="212"/>
              </a:xfrm>
              <a:custGeom>
                <a:avLst/>
                <a:gdLst>
                  <a:gd name="T0" fmla="*/ 374 w 396"/>
                  <a:gd name="T1" fmla="*/ 188 h 200"/>
                  <a:gd name="T2" fmla="*/ 355 w 396"/>
                  <a:gd name="T3" fmla="*/ 188 h 200"/>
                  <a:gd name="T4" fmla="*/ 323 w 396"/>
                  <a:gd name="T5" fmla="*/ 189 h 200"/>
                  <a:gd name="T6" fmla="*/ 204 w 396"/>
                  <a:gd name="T7" fmla="*/ 196 h 200"/>
                  <a:gd name="T8" fmla="*/ 38 w 396"/>
                  <a:gd name="T9" fmla="*/ 199 h 200"/>
                  <a:gd name="T10" fmla="*/ 25 w 396"/>
                  <a:gd name="T11" fmla="*/ 200 h 200"/>
                  <a:gd name="T12" fmla="*/ 19 w 396"/>
                  <a:gd name="T13" fmla="*/ 188 h 200"/>
                  <a:gd name="T14" fmla="*/ 18 w 396"/>
                  <a:gd name="T15" fmla="*/ 186 h 200"/>
                  <a:gd name="T16" fmla="*/ 6 w 396"/>
                  <a:gd name="T17" fmla="*/ 151 h 200"/>
                  <a:gd name="T18" fmla="*/ 2 w 396"/>
                  <a:gd name="T19" fmla="*/ 90 h 200"/>
                  <a:gd name="T20" fmla="*/ 10 w 396"/>
                  <a:gd name="T21" fmla="*/ 60 h 200"/>
                  <a:gd name="T22" fmla="*/ 26 w 396"/>
                  <a:gd name="T23" fmla="*/ 37 h 200"/>
                  <a:gd name="T24" fmla="*/ 33 w 396"/>
                  <a:gd name="T25" fmla="*/ 29 h 200"/>
                  <a:gd name="T26" fmla="*/ 65 w 396"/>
                  <a:gd name="T27" fmla="*/ 0 h 200"/>
                  <a:gd name="T28" fmla="*/ 66 w 396"/>
                  <a:gd name="T29" fmla="*/ 1 h 200"/>
                  <a:gd name="T30" fmla="*/ 124 w 396"/>
                  <a:gd name="T31" fmla="*/ 0 h 200"/>
                  <a:gd name="T32" fmla="*/ 177 w 396"/>
                  <a:gd name="T33" fmla="*/ 1 h 200"/>
                  <a:gd name="T34" fmla="*/ 238 w 396"/>
                  <a:gd name="T35" fmla="*/ 3 h 200"/>
                  <a:gd name="T36" fmla="*/ 298 w 396"/>
                  <a:gd name="T37" fmla="*/ 2 h 200"/>
                  <a:gd name="T38" fmla="*/ 350 w 396"/>
                  <a:gd name="T39" fmla="*/ 3 h 200"/>
                  <a:gd name="T40" fmla="*/ 391 w 396"/>
                  <a:gd name="T41" fmla="*/ 5 h 200"/>
                  <a:gd name="T42" fmla="*/ 396 w 396"/>
                  <a:gd name="T43" fmla="*/ 6 h 200"/>
                  <a:gd name="T44" fmla="*/ 393 w 396"/>
                  <a:gd name="T45" fmla="*/ 29 h 200"/>
                  <a:gd name="T46" fmla="*/ 376 w 396"/>
                  <a:gd name="T47" fmla="*/ 100 h 200"/>
                  <a:gd name="T48" fmla="*/ 383 w 396"/>
                  <a:gd name="T49" fmla="*/ 172 h 200"/>
                  <a:gd name="T50" fmla="*/ 387 w 396"/>
                  <a:gd name="T51" fmla="*/ 188 h 200"/>
                  <a:gd name="T52" fmla="*/ 385 w 396"/>
                  <a:gd name="T53" fmla="*/ 188 h 200"/>
                  <a:gd name="T54" fmla="*/ 374 w 396"/>
                  <a:gd name="T55" fmla="*/ 188 h 2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396" h="200">
                    <a:moveTo>
                      <a:pt x="374" y="188"/>
                    </a:moveTo>
                    <a:cubicBezTo>
                      <a:pt x="368" y="188"/>
                      <a:pt x="362" y="188"/>
                      <a:pt x="355" y="188"/>
                    </a:cubicBezTo>
                    <a:cubicBezTo>
                      <a:pt x="345" y="189"/>
                      <a:pt x="334" y="190"/>
                      <a:pt x="323" y="189"/>
                    </a:cubicBezTo>
                    <a:cubicBezTo>
                      <a:pt x="284" y="193"/>
                      <a:pt x="244" y="195"/>
                      <a:pt x="204" y="196"/>
                    </a:cubicBezTo>
                    <a:cubicBezTo>
                      <a:pt x="149" y="199"/>
                      <a:pt x="95" y="200"/>
                      <a:pt x="38" y="199"/>
                    </a:cubicBezTo>
                    <a:cubicBezTo>
                      <a:pt x="25" y="200"/>
                      <a:pt x="25" y="200"/>
                      <a:pt x="25" y="200"/>
                    </a:cubicBezTo>
                    <a:cubicBezTo>
                      <a:pt x="22" y="196"/>
                      <a:pt x="20" y="192"/>
                      <a:pt x="19" y="188"/>
                    </a:cubicBezTo>
                    <a:cubicBezTo>
                      <a:pt x="18" y="187"/>
                      <a:pt x="18" y="187"/>
                      <a:pt x="18" y="186"/>
                    </a:cubicBezTo>
                    <a:cubicBezTo>
                      <a:pt x="12" y="175"/>
                      <a:pt x="9" y="163"/>
                      <a:pt x="6" y="151"/>
                    </a:cubicBezTo>
                    <a:cubicBezTo>
                      <a:pt x="1" y="130"/>
                      <a:pt x="0" y="112"/>
                      <a:pt x="2" y="90"/>
                    </a:cubicBezTo>
                    <a:cubicBezTo>
                      <a:pt x="3" y="80"/>
                      <a:pt x="4" y="69"/>
                      <a:pt x="10" y="60"/>
                    </a:cubicBezTo>
                    <a:cubicBezTo>
                      <a:pt x="13" y="51"/>
                      <a:pt x="19" y="44"/>
                      <a:pt x="26" y="37"/>
                    </a:cubicBezTo>
                    <a:cubicBezTo>
                      <a:pt x="28" y="34"/>
                      <a:pt x="31" y="32"/>
                      <a:pt x="33" y="29"/>
                    </a:cubicBezTo>
                    <a:cubicBezTo>
                      <a:pt x="43" y="19"/>
                      <a:pt x="55" y="10"/>
                      <a:pt x="65" y="0"/>
                    </a:cubicBezTo>
                    <a:cubicBezTo>
                      <a:pt x="66" y="1"/>
                      <a:pt x="66" y="1"/>
                      <a:pt x="66" y="1"/>
                    </a:cubicBezTo>
                    <a:cubicBezTo>
                      <a:pt x="85" y="1"/>
                      <a:pt x="105" y="0"/>
                      <a:pt x="124" y="0"/>
                    </a:cubicBezTo>
                    <a:cubicBezTo>
                      <a:pt x="141" y="1"/>
                      <a:pt x="160" y="1"/>
                      <a:pt x="177" y="1"/>
                    </a:cubicBezTo>
                    <a:cubicBezTo>
                      <a:pt x="197" y="1"/>
                      <a:pt x="217" y="2"/>
                      <a:pt x="238" y="3"/>
                    </a:cubicBezTo>
                    <a:cubicBezTo>
                      <a:pt x="258" y="2"/>
                      <a:pt x="278" y="2"/>
                      <a:pt x="298" y="2"/>
                    </a:cubicBezTo>
                    <a:cubicBezTo>
                      <a:pt x="315" y="2"/>
                      <a:pt x="334" y="1"/>
                      <a:pt x="350" y="3"/>
                    </a:cubicBezTo>
                    <a:cubicBezTo>
                      <a:pt x="364" y="4"/>
                      <a:pt x="376" y="4"/>
                      <a:pt x="391" y="5"/>
                    </a:cubicBezTo>
                    <a:cubicBezTo>
                      <a:pt x="392" y="5"/>
                      <a:pt x="394" y="6"/>
                      <a:pt x="396" y="6"/>
                    </a:cubicBezTo>
                    <a:cubicBezTo>
                      <a:pt x="393" y="29"/>
                      <a:pt x="393" y="29"/>
                      <a:pt x="393" y="29"/>
                    </a:cubicBezTo>
                    <a:cubicBezTo>
                      <a:pt x="382" y="51"/>
                      <a:pt x="377" y="77"/>
                      <a:pt x="376" y="100"/>
                    </a:cubicBezTo>
                    <a:cubicBezTo>
                      <a:pt x="374" y="124"/>
                      <a:pt x="377" y="148"/>
                      <a:pt x="383" y="172"/>
                    </a:cubicBezTo>
                    <a:cubicBezTo>
                      <a:pt x="384" y="177"/>
                      <a:pt x="385" y="182"/>
                      <a:pt x="387" y="188"/>
                    </a:cubicBezTo>
                    <a:cubicBezTo>
                      <a:pt x="385" y="188"/>
                      <a:pt x="385" y="188"/>
                      <a:pt x="385" y="188"/>
                    </a:cubicBezTo>
                    <a:cubicBezTo>
                      <a:pt x="382" y="189"/>
                      <a:pt x="377" y="188"/>
                      <a:pt x="374" y="188"/>
                    </a:cubicBezTo>
                    <a:close/>
                  </a:path>
                </a:pathLst>
              </a:custGeom>
              <a:solidFill>
                <a:srgbClr val="F6B84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894" name="Freeform 207">
                <a:extLst>
                  <a:ext uri="{FF2B5EF4-FFF2-40B4-BE49-F238E27FC236}">
                    <a16:creationId xmlns:a16="http://schemas.microsoft.com/office/drawing/2014/main" id="{78C09B47-4562-48B8-B48A-93AC062D88D3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686" y="3543"/>
                <a:ext cx="119" cy="53"/>
              </a:xfrm>
              <a:custGeom>
                <a:avLst/>
                <a:gdLst>
                  <a:gd name="T0" fmla="*/ 0 w 112"/>
                  <a:gd name="T1" fmla="*/ 5 h 50"/>
                  <a:gd name="T2" fmla="*/ 6 w 112"/>
                  <a:gd name="T3" fmla="*/ 3 h 50"/>
                  <a:gd name="T4" fmla="*/ 22 w 112"/>
                  <a:gd name="T5" fmla="*/ 4 h 50"/>
                  <a:gd name="T6" fmla="*/ 37 w 112"/>
                  <a:gd name="T7" fmla="*/ 3 h 50"/>
                  <a:gd name="T8" fmla="*/ 57 w 112"/>
                  <a:gd name="T9" fmla="*/ 3 h 50"/>
                  <a:gd name="T10" fmla="*/ 68 w 112"/>
                  <a:gd name="T11" fmla="*/ 2 h 50"/>
                  <a:gd name="T12" fmla="*/ 72 w 112"/>
                  <a:gd name="T13" fmla="*/ 0 h 50"/>
                  <a:gd name="T14" fmla="*/ 73 w 112"/>
                  <a:gd name="T15" fmla="*/ 2 h 50"/>
                  <a:gd name="T16" fmla="*/ 79 w 112"/>
                  <a:gd name="T17" fmla="*/ 14 h 50"/>
                  <a:gd name="T18" fmla="*/ 103 w 112"/>
                  <a:gd name="T19" fmla="*/ 44 h 50"/>
                  <a:gd name="T20" fmla="*/ 110 w 112"/>
                  <a:gd name="T21" fmla="*/ 47 h 50"/>
                  <a:gd name="T22" fmla="*/ 112 w 112"/>
                  <a:gd name="T23" fmla="*/ 50 h 50"/>
                  <a:gd name="T24" fmla="*/ 101 w 112"/>
                  <a:gd name="T25" fmla="*/ 49 h 50"/>
                  <a:gd name="T26" fmla="*/ 78 w 112"/>
                  <a:gd name="T27" fmla="*/ 49 h 50"/>
                  <a:gd name="T28" fmla="*/ 65 w 112"/>
                  <a:gd name="T29" fmla="*/ 47 h 50"/>
                  <a:gd name="T30" fmla="*/ 50 w 112"/>
                  <a:gd name="T31" fmla="*/ 47 h 50"/>
                  <a:gd name="T32" fmla="*/ 29 w 112"/>
                  <a:gd name="T33" fmla="*/ 45 h 50"/>
                  <a:gd name="T34" fmla="*/ 29 w 112"/>
                  <a:gd name="T35" fmla="*/ 44 h 50"/>
                  <a:gd name="T36" fmla="*/ 4 w 112"/>
                  <a:gd name="T37" fmla="*/ 14 h 50"/>
                  <a:gd name="T38" fmla="*/ 0 w 112"/>
                  <a:gd name="T39" fmla="*/ 5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112" h="50">
                    <a:moveTo>
                      <a:pt x="0" y="5"/>
                    </a:moveTo>
                    <a:cubicBezTo>
                      <a:pt x="6" y="3"/>
                      <a:pt x="6" y="3"/>
                      <a:pt x="6" y="3"/>
                    </a:cubicBezTo>
                    <a:cubicBezTo>
                      <a:pt x="12" y="3"/>
                      <a:pt x="16" y="4"/>
                      <a:pt x="22" y="4"/>
                    </a:cubicBezTo>
                    <a:cubicBezTo>
                      <a:pt x="27" y="4"/>
                      <a:pt x="31" y="3"/>
                      <a:pt x="37" y="3"/>
                    </a:cubicBezTo>
                    <a:cubicBezTo>
                      <a:pt x="43" y="3"/>
                      <a:pt x="51" y="3"/>
                      <a:pt x="57" y="3"/>
                    </a:cubicBezTo>
                    <a:cubicBezTo>
                      <a:pt x="60" y="2"/>
                      <a:pt x="65" y="2"/>
                      <a:pt x="68" y="2"/>
                    </a:cubicBezTo>
                    <a:cubicBezTo>
                      <a:pt x="72" y="0"/>
                      <a:pt x="72" y="0"/>
                      <a:pt x="72" y="0"/>
                    </a:cubicBezTo>
                    <a:cubicBezTo>
                      <a:pt x="72" y="1"/>
                      <a:pt x="72" y="1"/>
                      <a:pt x="73" y="2"/>
                    </a:cubicBezTo>
                    <a:cubicBezTo>
                      <a:pt x="74" y="6"/>
                      <a:pt x="76" y="10"/>
                      <a:pt x="79" y="14"/>
                    </a:cubicBezTo>
                    <a:cubicBezTo>
                      <a:pt x="86" y="25"/>
                      <a:pt x="94" y="35"/>
                      <a:pt x="103" y="44"/>
                    </a:cubicBezTo>
                    <a:cubicBezTo>
                      <a:pt x="110" y="47"/>
                      <a:pt x="110" y="47"/>
                      <a:pt x="110" y="47"/>
                    </a:cubicBezTo>
                    <a:cubicBezTo>
                      <a:pt x="111" y="48"/>
                      <a:pt x="111" y="49"/>
                      <a:pt x="112" y="50"/>
                    </a:cubicBezTo>
                    <a:cubicBezTo>
                      <a:pt x="109" y="50"/>
                      <a:pt x="105" y="50"/>
                      <a:pt x="101" y="49"/>
                    </a:cubicBezTo>
                    <a:cubicBezTo>
                      <a:pt x="94" y="50"/>
                      <a:pt x="86" y="48"/>
                      <a:pt x="78" y="49"/>
                    </a:cubicBezTo>
                    <a:cubicBezTo>
                      <a:pt x="74" y="50"/>
                      <a:pt x="70" y="48"/>
                      <a:pt x="65" y="47"/>
                    </a:cubicBezTo>
                    <a:cubicBezTo>
                      <a:pt x="61" y="47"/>
                      <a:pt x="56" y="47"/>
                      <a:pt x="50" y="47"/>
                    </a:cubicBezTo>
                    <a:cubicBezTo>
                      <a:pt x="43" y="47"/>
                      <a:pt x="36" y="46"/>
                      <a:pt x="29" y="45"/>
                    </a:cubicBezTo>
                    <a:cubicBezTo>
                      <a:pt x="29" y="44"/>
                      <a:pt x="29" y="44"/>
                      <a:pt x="29" y="44"/>
                    </a:cubicBezTo>
                    <a:cubicBezTo>
                      <a:pt x="19" y="36"/>
                      <a:pt x="10" y="25"/>
                      <a:pt x="4" y="14"/>
                    </a:cubicBezTo>
                    <a:cubicBezTo>
                      <a:pt x="3" y="11"/>
                      <a:pt x="1" y="8"/>
                      <a:pt x="0" y="5"/>
                    </a:cubicBezTo>
                    <a:close/>
                  </a:path>
                </a:pathLst>
              </a:custGeom>
              <a:solidFill>
                <a:srgbClr val="3C3C3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895" name="Freeform 208">
                <a:extLst>
                  <a:ext uri="{FF2B5EF4-FFF2-40B4-BE49-F238E27FC236}">
                    <a16:creationId xmlns:a16="http://schemas.microsoft.com/office/drawing/2014/main" id="{9C8CAAF3-4E66-44B4-96B0-FFBA9C8277F1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670" y="3371"/>
                <a:ext cx="101" cy="177"/>
              </a:xfrm>
              <a:custGeom>
                <a:avLst/>
                <a:gdLst>
                  <a:gd name="T0" fmla="*/ 95 w 95"/>
                  <a:gd name="T1" fmla="*/ 14 h 168"/>
                  <a:gd name="T2" fmla="*/ 79 w 95"/>
                  <a:gd name="T3" fmla="*/ 37 h 168"/>
                  <a:gd name="T4" fmla="*/ 71 w 95"/>
                  <a:gd name="T5" fmla="*/ 67 h 168"/>
                  <a:gd name="T6" fmla="*/ 75 w 95"/>
                  <a:gd name="T7" fmla="*/ 128 h 168"/>
                  <a:gd name="T8" fmla="*/ 87 w 95"/>
                  <a:gd name="T9" fmla="*/ 163 h 168"/>
                  <a:gd name="T10" fmla="*/ 83 w 95"/>
                  <a:gd name="T11" fmla="*/ 165 h 168"/>
                  <a:gd name="T12" fmla="*/ 72 w 95"/>
                  <a:gd name="T13" fmla="*/ 166 h 168"/>
                  <a:gd name="T14" fmla="*/ 52 w 95"/>
                  <a:gd name="T15" fmla="*/ 166 h 168"/>
                  <a:gd name="T16" fmla="*/ 37 w 95"/>
                  <a:gd name="T17" fmla="*/ 167 h 168"/>
                  <a:gd name="T18" fmla="*/ 21 w 95"/>
                  <a:gd name="T19" fmla="*/ 166 h 168"/>
                  <a:gd name="T20" fmla="*/ 15 w 95"/>
                  <a:gd name="T21" fmla="*/ 168 h 168"/>
                  <a:gd name="T22" fmla="*/ 7 w 95"/>
                  <a:gd name="T23" fmla="*/ 140 h 168"/>
                  <a:gd name="T24" fmla="*/ 10 w 95"/>
                  <a:gd name="T25" fmla="*/ 60 h 168"/>
                  <a:gd name="T26" fmla="*/ 24 w 95"/>
                  <a:gd name="T27" fmla="*/ 27 h 168"/>
                  <a:gd name="T28" fmla="*/ 39 w 95"/>
                  <a:gd name="T29" fmla="*/ 0 h 168"/>
                  <a:gd name="T30" fmla="*/ 47 w 95"/>
                  <a:gd name="T31" fmla="*/ 3 h 168"/>
                  <a:gd name="T32" fmla="*/ 73 w 95"/>
                  <a:gd name="T33" fmla="*/ 2 h 168"/>
                  <a:gd name="T34" fmla="*/ 86 w 95"/>
                  <a:gd name="T35" fmla="*/ 3 h 168"/>
                  <a:gd name="T36" fmla="*/ 95 w 95"/>
                  <a:gd name="T37" fmla="*/ 14 h 1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95" h="168">
                    <a:moveTo>
                      <a:pt x="95" y="14"/>
                    </a:moveTo>
                    <a:cubicBezTo>
                      <a:pt x="88" y="21"/>
                      <a:pt x="82" y="28"/>
                      <a:pt x="79" y="37"/>
                    </a:cubicBezTo>
                    <a:cubicBezTo>
                      <a:pt x="73" y="46"/>
                      <a:pt x="72" y="57"/>
                      <a:pt x="71" y="67"/>
                    </a:cubicBezTo>
                    <a:cubicBezTo>
                      <a:pt x="69" y="89"/>
                      <a:pt x="70" y="107"/>
                      <a:pt x="75" y="128"/>
                    </a:cubicBezTo>
                    <a:cubicBezTo>
                      <a:pt x="78" y="140"/>
                      <a:pt x="81" y="152"/>
                      <a:pt x="87" y="163"/>
                    </a:cubicBezTo>
                    <a:cubicBezTo>
                      <a:pt x="83" y="165"/>
                      <a:pt x="83" y="165"/>
                      <a:pt x="83" y="165"/>
                    </a:cubicBezTo>
                    <a:cubicBezTo>
                      <a:pt x="80" y="165"/>
                      <a:pt x="75" y="165"/>
                      <a:pt x="72" y="166"/>
                    </a:cubicBezTo>
                    <a:cubicBezTo>
                      <a:pt x="66" y="166"/>
                      <a:pt x="58" y="166"/>
                      <a:pt x="52" y="166"/>
                    </a:cubicBezTo>
                    <a:cubicBezTo>
                      <a:pt x="46" y="166"/>
                      <a:pt x="42" y="167"/>
                      <a:pt x="37" y="167"/>
                    </a:cubicBezTo>
                    <a:cubicBezTo>
                      <a:pt x="31" y="167"/>
                      <a:pt x="27" y="166"/>
                      <a:pt x="21" y="166"/>
                    </a:cubicBezTo>
                    <a:cubicBezTo>
                      <a:pt x="15" y="168"/>
                      <a:pt x="15" y="168"/>
                      <a:pt x="15" y="168"/>
                    </a:cubicBezTo>
                    <a:cubicBezTo>
                      <a:pt x="12" y="159"/>
                      <a:pt x="9" y="150"/>
                      <a:pt x="7" y="140"/>
                    </a:cubicBezTo>
                    <a:cubicBezTo>
                      <a:pt x="0" y="112"/>
                      <a:pt x="0" y="86"/>
                      <a:pt x="10" y="60"/>
                    </a:cubicBezTo>
                    <a:cubicBezTo>
                      <a:pt x="15" y="48"/>
                      <a:pt x="20" y="38"/>
                      <a:pt x="24" y="27"/>
                    </a:cubicBezTo>
                    <a:cubicBezTo>
                      <a:pt x="28" y="18"/>
                      <a:pt x="33" y="9"/>
                      <a:pt x="39" y="0"/>
                    </a:cubicBezTo>
                    <a:cubicBezTo>
                      <a:pt x="47" y="3"/>
                      <a:pt x="47" y="3"/>
                      <a:pt x="47" y="3"/>
                    </a:cubicBezTo>
                    <a:cubicBezTo>
                      <a:pt x="56" y="1"/>
                      <a:pt x="64" y="2"/>
                      <a:pt x="73" y="2"/>
                    </a:cubicBezTo>
                    <a:cubicBezTo>
                      <a:pt x="77" y="2"/>
                      <a:pt x="82" y="3"/>
                      <a:pt x="86" y="3"/>
                    </a:cubicBezTo>
                    <a:lnTo>
                      <a:pt x="95" y="14"/>
                    </a:lnTo>
                    <a:close/>
                  </a:path>
                </a:pathLst>
              </a:custGeom>
              <a:solidFill>
                <a:srgbClr val="3C3C3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896" name="Freeform 209">
                <a:extLst>
                  <a:ext uri="{FF2B5EF4-FFF2-40B4-BE49-F238E27FC236}">
                    <a16:creationId xmlns:a16="http://schemas.microsoft.com/office/drawing/2014/main" id="{0926F183-2688-4F9A-B487-6C0FC9C7ABC7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842" y="3152"/>
                <a:ext cx="115" cy="128"/>
              </a:xfrm>
              <a:custGeom>
                <a:avLst/>
                <a:gdLst>
                  <a:gd name="T0" fmla="*/ 6 w 109"/>
                  <a:gd name="T1" fmla="*/ 101 h 120"/>
                  <a:gd name="T2" fmla="*/ 19 w 109"/>
                  <a:gd name="T3" fmla="*/ 79 h 120"/>
                  <a:gd name="T4" fmla="*/ 47 w 109"/>
                  <a:gd name="T5" fmla="*/ 41 h 120"/>
                  <a:gd name="T6" fmla="*/ 63 w 109"/>
                  <a:gd name="T7" fmla="*/ 25 h 120"/>
                  <a:gd name="T8" fmla="*/ 71 w 109"/>
                  <a:gd name="T9" fmla="*/ 16 h 120"/>
                  <a:gd name="T10" fmla="*/ 81 w 109"/>
                  <a:gd name="T11" fmla="*/ 9 h 120"/>
                  <a:gd name="T12" fmla="*/ 97 w 109"/>
                  <a:gd name="T13" fmla="*/ 1 h 120"/>
                  <a:gd name="T14" fmla="*/ 108 w 109"/>
                  <a:gd name="T15" fmla="*/ 2 h 120"/>
                  <a:gd name="T16" fmla="*/ 109 w 109"/>
                  <a:gd name="T17" fmla="*/ 3 h 120"/>
                  <a:gd name="T18" fmla="*/ 107 w 109"/>
                  <a:gd name="T19" fmla="*/ 4 h 120"/>
                  <a:gd name="T20" fmla="*/ 88 w 109"/>
                  <a:gd name="T21" fmla="*/ 26 h 120"/>
                  <a:gd name="T22" fmla="*/ 66 w 109"/>
                  <a:gd name="T23" fmla="*/ 55 h 120"/>
                  <a:gd name="T24" fmla="*/ 46 w 109"/>
                  <a:gd name="T25" fmla="*/ 82 h 120"/>
                  <a:gd name="T26" fmla="*/ 27 w 109"/>
                  <a:gd name="T27" fmla="*/ 105 h 120"/>
                  <a:gd name="T28" fmla="*/ 9 w 109"/>
                  <a:gd name="T29" fmla="*/ 119 h 120"/>
                  <a:gd name="T30" fmla="*/ 0 w 109"/>
                  <a:gd name="T31" fmla="*/ 120 h 120"/>
                  <a:gd name="T32" fmla="*/ 6 w 109"/>
                  <a:gd name="T33" fmla="*/ 101 h 1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09" h="120">
                    <a:moveTo>
                      <a:pt x="6" y="101"/>
                    </a:moveTo>
                    <a:cubicBezTo>
                      <a:pt x="10" y="94"/>
                      <a:pt x="14" y="86"/>
                      <a:pt x="19" y="79"/>
                    </a:cubicBezTo>
                    <a:cubicBezTo>
                      <a:pt x="28" y="64"/>
                      <a:pt x="36" y="53"/>
                      <a:pt x="47" y="41"/>
                    </a:cubicBezTo>
                    <a:cubicBezTo>
                      <a:pt x="52" y="37"/>
                      <a:pt x="58" y="31"/>
                      <a:pt x="63" y="25"/>
                    </a:cubicBezTo>
                    <a:cubicBezTo>
                      <a:pt x="65" y="23"/>
                      <a:pt x="69" y="20"/>
                      <a:pt x="71" y="16"/>
                    </a:cubicBezTo>
                    <a:cubicBezTo>
                      <a:pt x="75" y="14"/>
                      <a:pt x="76" y="12"/>
                      <a:pt x="81" y="9"/>
                    </a:cubicBezTo>
                    <a:cubicBezTo>
                      <a:pt x="84" y="5"/>
                      <a:pt x="91" y="1"/>
                      <a:pt x="97" y="1"/>
                    </a:cubicBezTo>
                    <a:cubicBezTo>
                      <a:pt x="100" y="0"/>
                      <a:pt x="105" y="2"/>
                      <a:pt x="108" y="2"/>
                    </a:cubicBezTo>
                    <a:cubicBezTo>
                      <a:pt x="109" y="3"/>
                      <a:pt x="109" y="3"/>
                      <a:pt x="109" y="3"/>
                    </a:cubicBezTo>
                    <a:cubicBezTo>
                      <a:pt x="108" y="3"/>
                      <a:pt x="108" y="4"/>
                      <a:pt x="107" y="4"/>
                    </a:cubicBezTo>
                    <a:cubicBezTo>
                      <a:pt x="101" y="12"/>
                      <a:pt x="94" y="18"/>
                      <a:pt x="88" y="26"/>
                    </a:cubicBezTo>
                    <a:cubicBezTo>
                      <a:pt x="79" y="36"/>
                      <a:pt x="72" y="46"/>
                      <a:pt x="66" y="55"/>
                    </a:cubicBezTo>
                    <a:cubicBezTo>
                      <a:pt x="60" y="64"/>
                      <a:pt x="51" y="73"/>
                      <a:pt x="46" y="82"/>
                    </a:cubicBezTo>
                    <a:cubicBezTo>
                      <a:pt x="40" y="89"/>
                      <a:pt x="34" y="97"/>
                      <a:pt x="27" y="105"/>
                    </a:cubicBezTo>
                    <a:cubicBezTo>
                      <a:pt x="22" y="111"/>
                      <a:pt x="15" y="116"/>
                      <a:pt x="9" y="119"/>
                    </a:cubicBezTo>
                    <a:cubicBezTo>
                      <a:pt x="6" y="120"/>
                      <a:pt x="3" y="120"/>
                      <a:pt x="0" y="120"/>
                    </a:cubicBezTo>
                    <a:cubicBezTo>
                      <a:pt x="1" y="114"/>
                      <a:pt x="3" y="108"/>
                      <a:pt x="6" y="101"/>
                    </a:cubicBezTo>
                    <a:close/>
                  </a:path>
                </a:pathLst>
              </a:custGeom>
              <a:solidFill>
                <a:srgbClr val="E840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897" name="Freeform 210">
                <a:extLst>
                  <a:ext uri="{FF2B5EF4-FFF2-40B4-BE49-F238E27FC236}">
                    <a16:creationId xmlns:a16="http://schemas.microsoft.com/office/drawing/2014/main" id="{1E8FAB69-D89F-421D-B235-A5DFC92A0FD2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7031" y="3111"/>
                <a:ext cx="190" cy="56"/>
              </a:xfrm>
              <a:custGeom>
                <a:avLst/>
                <a:gdLst>
                  <a:gd name="T0" fmla="*/ 29 w 179"/>
                  <a:gd name="T1" fmla="*/ 32 h 53"/>
                  <a:gd name="T2" fmla="*/ 106 w 179"/>
                  <a:gd name="T3" fmla="*/ 23 h 53"/>
                  <a:gd name="T4" fmla="*/ 160 w 179"/>
                  <a:gd name="T5" fmla="*/ 7 h 53"/>
                  <a:gd name="T6" fmla="*/ 174 w 179"/>
                  <a:gd name="T7" fmla="*/ 0 h 53"/>
                  <a:gd name="T8" fmla="*/ 178 w 179"/>
                  <a:gd name="T9" fmla="*/ 4 h 53"/>
                  <a:gd name="T10" fmla="*/ 162 w 179"/>
                  <a:gd name="T11" fmla="*/ 22 h 53"/>
                  <a:gd name="T12" fmla="*/ 134 w 179"/>
                  <a:gd name="T13" fmla="*/ 34 h 53"/>
                  <a:gd name="T14" fmla="*/ 112 w 179"/>
                  <a:gd name="T15" fmla="*/ 41 h 53"/>
                  <a:gd name="T16" fmla="*/ 79 w 179"/>
                  <a:gd name="T17" fmla="*/ 51 h 53"/>
                  <a:gd name="T18" fmla="*/ 47 w 179"/>
                  <a:gd name="T19" fmla="*/ 52 h 53"/>
                  <a:gd name="T20" fmla="*/ 16 w 179"/>
                  <a:gd name="T21" fmla="*/ 48 h 53"/>
                  <a:gd name="T22" fmla="*/ 1 w 179"/>
                  <a:gd name="T23" fmla="*/ 30 h 53"/>
                  <a:gd name="T24" fmla="*/ 1 w 179"/>
                  <a:gd name="T25" fmla="*/ 29 h 53"/>
                  <a:gd name="T26" fmla="*/ 29 w 179"/>
                  <a:gd name="T27" fmla="*/ 32 h 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79" h="53">
                    <a:moveTo>
                      <a:pt x="29" y="32"/>
                    </a:moveTo>
                    <a:cubicBezTo>
                      <a:pt x="56" y="33"/>
                      <a:pt x="81" y="28"/>
                      <a:pt x="106" y="23"/>
                    </a:cubicBezTo>
                    <a:cubicBezTo>
                      <a:pt x="124" y="21"/>
                      <a:pt x="143" y="13"/>
                      <a:pt x="160" y="7"/>
                    </a:cubicBezTo>
                    <a:cubicBezTo>
                      <a:pt x="165" y="5"/>
                      <a:pt x="170" y="3"/>
                      <a:pt x="174" y="0"/>
                    </a:cubicBezTo>
                    <a:cubicBezTo>
                      <a:pt x="176" y="1"/>
                      <a:pt x="177" y="2"/>
                      <a:pt x="178" y="4"/>
                    </a:cubicBezTo>
                    <a:cubicBezTo>
                      <a:pt x="179" y="15"/>
                      <a:pt x="169" y="19"/>
                      <a:pt x="162" y="22"/>
                    </a:cubicBezTo>
                    <a:cubicBezTo>
                      <a:pt x="154" y="27"/>
                      <a:pt x="144" y="31"/>
                      <a:pt x="134" y="34"/>
                    </a:cubicBezTo>
                    <a:cubicBezTo>
                      <a:pt x="127" y="36"/>
                      <a:pt x="120" y="39"/>
                      <a:pt x="112" y="41"/>
                    </a:cubicBezTo>
                    <a:cubicBezTo>
                      <a:pt x="102" y="43"/>
                      <a:pt x="91" y="49"/>
                      <a:pt x="79" y="51"/>
                    </a:cubicBezTo>
                    <a:cubicBezTo>
                      <a:pt x="68" y="52"/>
                      <a:pt x="58" y="53"/>
                      <a:pt x="47" y="52"/>
                    </a:cubicBezTo>
                    <a:cubicBezTo>
                      <a:pt x="36" y="52"/>
                      <a:pt x="25" y="52"/>
                      <a:pt x="16" y="48"/>
                    </a:cubicBezTo>
                    <a:cubicBezTo>
                      <a:pt x="8" y="45"/>
                      <a:pt x="0" y="38"/>
                      <a:pt x="1" y="30"/>
                    </a:cubicBezTo>
                    <a:cubicBezTo>
                      <a:pt x="1" y="29"/>
                      <a:pt x="1" y="29"/>
                      <a:pt x="1" y="29"/>
                    </a:cubicBezTo>
                    <a:cubicBezTo>
                      <a:pt x="10" y="31"/>
                      <a:pt x="20" y="32"/>
                      <a:pt x="29" y="32"/>
                    </a:cubicBezTo>
                    <a:close/>
                  </a:path>
                </a:pathLst>
              </a:custGeom>
              <a:solidFill>
                <a:srgbClr val="E840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898" name="Freeform 211">
                <a:extLst>
                  <a:ext uri="{FF2B5EF4-FFF2-40B4-BE49-F238E27FC236}">
                    <a16:creationId xmlns:a16="http://schemas.microsoft.com/office/drawing/2014/main" id="{B0E0EE19-C94A-4BAE-9882-0FBF8F76ED21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711" y="3004"/>
                <a:ext cx="971" cy="586"/>
              </a:xfrm>
              <a:custGeom>
                <a:avLst/>
                <a:gdLst>
                  <a:gd name="T0" fmla="*/ 7 w 916"/>
                  <a:gd name="T1" fmla="*/ 338 h 553"/>
                  <a:gd name="T2" fmla="*/ 57 w 916"/>
                  <a:gd name="T3" fmla="*/ 282 h 553"/>
                  <a:gd name="T4" fmla="*/ 112 w 916"/>
                  <a:gd name="T5" fmla="*/ 261 h 553"/>
                  <a:gd name="T6" fmla="*/ 123 w 916"/>
                  <a:gd name="T7" fmla="*/ 260 h 553"/>
                  <a:gd name="T8" fmla="*/ 150 w 916"/>
                  <a:gd name="T9" fmla="*/ 245 h 553"/>
                  <a:gd name="T10" fmla="*/ 189 w 916"/>
                  <a:gd name="T11" fmla="*/ 195 h 553"/>
                  <a:gd name="T12" fmla="*/ 230 w 916"/>
                  <a:gd name="T13" fmla="*/ 144 h 553"/>
                  <a:gd name="T14" fmla="*/ 238 w 916"/>
                  <a:gd name="T15" fmla="*/ 133 h 553"/>
                  <a:gd name="T16" fmla="*/ 218 w 916"/>
                  <a:gd name="T17" fmla="*/ 132 h 553"/>
                  <a:gd name="T18" fmla="*/ 213 w 916"/>
                  <a:gd name="T19" fmla="*/ 130 h 553"/>
                  <a:gd name="T20" fmla="*/ 225 w 916"/>
                  <a:gd name="T21" fmla="*/ 113 h 553"/>
                  <a:gd name="T22" fmla="*/ 242 w 916"/>
                  <a:gd name="T23" fmla="*/ 93 h 553"/>
                  <a:gd name="T24" fmla="*/ 266 w 916"/>
                  <a:gd name="T25" fmla="*/ 114 h 553"/>
                  <a:gd name="T26" fmla="*/ 303 w 916"/>
                  <a:gd name="T27" fmla="*/ 130 h 553"/>
                  <a:gd name="T28" fmla="*/ 318 w 916"/>
                  <a:gd name="T29" fmla="*/ 149 h 553"/>
                  <a:gd name="T30" fmla="*/ 381 w 916"/>
                  <a:gd name="T31" fmla="*/ 152 h 553"/>
                  <a:gd name="T32" fmla="*/ 436 w 916"/>
                  <a:gd name="T33" fmla="*/ 135 h 553"/>
                  <a:gd name="T34" fmla="*/ 480 w 916"/>
                  <a:gd name="T35" fmla="*/ 105 h 553"/>
                  <a:gd name="T36" fmla="*/ 494 w 916"/>
                  <a:gd name="T37" fmla="*/ 86 h 553"/>
                  <a:gd name="T38" fmla="*/ 524 w 916"/>
                  <a:gd name="T39" fmla="*/ 42 h 553"/>
                  <a:gd name="T40" fmla="*/ 536 w 916"/>
                  <a:gd name="T41" fmla="*/ 43 h 553"/>
                  <a:gd name="T42" fmla="*/ 586 w 916"/>
                  <a:gd name="T43" fmla="*/ 38 h 553"/>
                  <a:gd name="T44" fmla="*/ 606 w 916"/>
                  <a:gd name="T45" fmla="*/ 35 h 553"/>
                  <a:gd name="T46" fmla="*/ 661 w 916"/>
                  <a:gd name="T47" fmla="*/ 23 h 553"/>
                  <a:gd name="T48" fmla="*/ 723 w 916"/>
                  <a:gd name="T49" fmla="*/ 12 h 553"/>
                  <a:gd name="T50" fmla="*/ 781 w 916"/>
                  <a:gd name="T51" fmla="*/ 3 h 553"/>
                  <a:gd name="T52" fmla="*/ 800 w 916"/>
                  <a:gd name="T53" fmla="*/ 3 h 553"/>
                  <a:gd name="T54" fmla="*/ 868 w 916"/>
                  <a:gd name="T55" fmla="*/ 20 h 553"/>
                  <a:gd name="T56" fmla="*/ 909 w 916"/>
                  <a:gd name="T57" fmla="*/ 75 h 553"/>
                  <a:gd name="T58" fmla="*/ 912 w 916"/>
                  <a:gd name="T59" fmla="*/ 95 h 553"/>
                  <a:gd name="T60" fmla="*/ 906 w 916"/>
                  <a:gd name="T61" fmla="*/ 172 h 553"/>
                  <a:gd name="T62" fmla="*/ 875 w 916"/>
                  <a:gd name="T63" fmla="*/ 227 h 553"/>
                  <a:gd name="T64" fmla="*/ 810 w 916"/>
                  <a:gd name="T65" fmla="*/ 314 h 553"/>
                  <a:gd name="T66" fmla="*/ 755 w 916"/>
                  <a:gd name="T67" fmla="*/ 392 h 553"/>
                  <a:gd name="T68" fmla="*/ 707 w 916"/>
                  <a:gd name="T69" fmla="*/ 460 h 553"/>
                  <a:gd name="T70" fmla="*/ 669 w 916"/>
                  <a:gd name="T71" fmla="*/ 501 h 553"/>
                  <a:gd name="T72" fmla="*/ 659 w 916"/>
                  <a:gd name="T73" fmla="*/ 514 h 553"/>
                  <a:gd name="T74" fmla="*/ 638 w 916"/>
                  <a:gd name="T75" fmla="*/ 525 h 553"/>
                  <a:gd name="T76" fmla="*/ 634 w 916"/>
                  <a:gd name="T77" fmla="*/ 528 h 553"/>
                  <a:gd name="T78" fmla="*/ 564 w 916"/>
                  <a:gd name="T79" fmla="*/ 534 h 553"/>
                  <a:gd name="T80" fmla="*/ 497 w 916"/>
                  <a:gd name="T81" fmla="*/ 546 h 553"/>
                  <a:gd name="T82" fmla="*/ 480 w 916"/>
                  <a:gd name="T83" fmla="*/ 549 h 553"/>
                  <a:gd name="T84" fmla="*/ 478 w 916"/>
                  <a:gd name="T85" fmla="*/ 553 h 553"/>
                  <a:gd name="T86" fmla="*/ 445 w 916"/>
                  <a:gd name="T87" fmla="*/ 494 h 553"/>
                  <a:gd name="T88" fmla="*/ 441 w 916"/>
                  <a:gd name="T89" fmla="*/ 466 h 553"/>
                  <a:gd name="T90" fmla="*/ 445 w 916"/>
                  <a:gd name="T91" fmla="*/ 370 h 553"/>
                  <a:gd name="T92" fmla="*/ 433 w 916"/>
                  <a:gd name="T93" fmla="*/ 329 h 553"/>
                  <a:gd name="T94" fmla="*/ 421 w 916"/>
                  <a:gd name="T95" fmla="*/ 328 h 553"/>
                  <a:gd name="T96" fmla="*/ 328 w 916"/>
                  <a:gd name="T97" fmla="*/ 325 h 553"/>
                  <a:gd name="T98" fmla="*/ 207 w 916"/>
                  <a:gd name="T99" fmla="*/ 324 h 553"/>
                  <a:gd name="T100" fmla="*/ 96 w 916"/>
                  <a:gd name="T101" fmla="*/ 324 h 553"/>
                  <a:gd name="T102" fmla="*/ 63 w 916"/>
                  <a:gd name="T103" fmla="*/ 352 h 553"/>
                  <a:gd name="T104" fmla="*/ 47 w 916"/>
                  <a:gd name="T105" fmla="*/ 349 h 553"/>
                  <a:gd name="T106" fmla="*/ 8 w 916"/>
                  <a:gd name="T107" fmla="*/ 349 h 5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916" h="553">
                    <a:moveTo>
                      <a:pt x="0" y="346"/>
                    </a:moveTo>
                    <a:cubicBezTo>
                      <a:pt x="2" y="343"/>
                      <a:pt x="4" y="341"/>
                      <a:pt x="7" y="338"/>
                    </a:cubicBezTo>
                    <a:cubicBezTo>
                      <a:pt x="14" y="330"/>
                      <a:pt x="22" y="322"/>
                      <a:pt x="29" y="314"/>
                    </a:cubicBezTo>
                    <a:cubicBezTo>
                      <a:pt x="39" y="304"/>
                      <a:pt x="47" y="294"/>
                      <a:pt x="57" y="282"/>
                    </a:cubicBezTo>
                    <a:cubicBezTo>
                      <a:pt x="64" y="274"/>
                      <a:pt x="70" y="262"/>
                      <a:pt x="82" y="260"/>
                    </a:cubicBezTo>
                    <a:cubicBezTo>
                      <a:pt x="91" y="258"/>
                      <a:pt x="102" y="260"/>
                      <a:pt x="112" y="261"/>
                    </a:cubicBezTo>
                    <a:cubicBezTo>
                      <a:pt x="112" y="261"/>
                      <a:pt x="112" y="261"/>
                      <a:pt x="112" y="261"/>
                    </a:cubicBezTo>
                    <a:cubicBezTo>
                      <a:pt x="115" y="260"/>
                      <a:pt x="119" y="260"/>
                      <a:pt x="123" y="260"/>
                    </a:cubicBezTo>
                    <a:cubicBezTo>
                      <a:pt x="126" y="260"/>
                      <a:pt x="129" y="260"/>
                      <a:pt x="132" y="259"/>
                    </a:cubicBezTo>
                    <a:cubicBezTo>
                      <a:pt x="138" y="256"/>
                      <a:pt x="145" y="251"/>
                      <a:pt x="150" y="245"/>
                    </a:cubicBezTo>
                    <a:cubicBezTo>
                      <a:pt x="157" y="237"/>
                      <a:pt x="163" y="229"/>
                      <a:pt x="169" y="222"/>
                    </a:cubicBezTo>
                    <a:cubicBezTo>
                      <a:pt x="174" y="213"/>
                      <a:pt x="183" y="204"/>
                      <a:pt x="189" y="195"/>
                    </a:cubicBezTo>
                    <a:cubicBezTo>
                      <a:pt x="195" y="186"/>
                      <a:pt x="202" y="176"/>
                      <a:pt x="211" y="166"/>
                    </a:cubicBezTo>
                    <a:cubicBezTo>
                      <a:pt x="217" y="158"/>
                      <a:pt x="224" y="152"/>
                      <a:pt x="230" y="144"/>
                    </a:cubicBezTo>
                    <a:cubicBezTo>
                      <a:pt x="231" y="144"/>
                      <a:pt x="231" y="143"/>
                      <a:pt x="232" y="143"/>
                    </a:cubicBezTo>
                    <a:cubicBezTo>
                      <a:pt x="234" y="140"/>
                      <a:pt x="238" y="136"/>
                      <a:pt x="238" y="133"/>
                    </a:cubicBezTo>
                    <a:cubicBezTo>
                      <a:pt x="237" y="130"/>
                      <a:pt x="236" y="132"/>
                      <a:pt x="233" y="133"/>
                    </a:cubicBezTo>
                    <a:cubicBezTo>
                      <a:pt x="229" y="132"/>
                      <a:pt x="224" y="132"/>
                      <a:pt x="218" y="132"/>
                    </a:cubicBezTo>
                    <a:cubicBezTo>
                      <a:pt x="215" y="132"/>
                      <a:pt x="213" y="132"/>
                      <a:pt x="211" y="131"/>
                    </a:cubicBezTo>
                    <a:cubicBezTo>
                      <a:pt x="211" y="131"/>
                      <a:pt x="212" y="130"/>
                      <a:pt x="213" y="130"/>
                    </a:cubicBezTo>
                    <a:cubicBezTo>
                      <a:pt x="214" y="128"/>
                      <a:pt x="214" y="128"/>
                      <a:pt x="214" y="128"/>
                    </a:cubicBezTo>
                    <a:cubicBezTo>
                      <a:pt x="217" y="123"/>
                      <a:pt x="221" y="119"/>
                      <a:pt x="225" y="113"/>
                    </a:cubicBezTo>
                    <a:cubicBezTo>
                      <a:pt x="229" y="107"/>
                      <a:pt x="235" y="100"/>
                      <a:pt x="240" y="95"/>
                    </a:cubicBezTo>
                    <a:cubicBezTo>
                      <a:pt x="242" y="93"/>
                      <a:pt x="242" y="93"/>
                      <a:pt x="242" y="93"/>
                    </a:cubicBezTo>
                    <a:cubicBezTo>
                      <a:pt x="248" y="100"/>
                      <a:pt x="254" y="106"/>
                      <a:pt x="261" y="112"/>
                    </a:cubicBezTo>
                    <a:cubicBezTo>
                      <a:pt x="266" y="114"/>
                      <a:pt x="266" y="114"/>
                      <a:pt x="266" y="114"/>
                    </a:cubicBezTo>
                    <a:cubicBezTo>
                      <a:pt x="278" y="121"/>
                      <a:pt x="290" y="127"/>
                      <a:pt x="303" y="130"/>
                    </a:cubicBezTo>
                    <a:cubicBezTo>
                      <a:pt x="303" y="130"/>
                      <a:pt x="303" y="130"/>
                      <a:pt x="303" y="130"/>
                    </a:cubicBezTo>
                    <a:cubicBezTo>
                      <a:pt x="303" y="131"/>
                      <a:pt x="303" y="131"/>
                      <a:pt x="303" y="131"/>
                    </a:cubicBezTo>
                    <a:cubicBezTo>
                      <a:pt x="302" y="139"/>
                      <a:pt x="310" y="146"/>
                      <a:pt x="318" y="149"/>
                    </a:cubicBezTo>
                    <a:cubicBezTo>
                      <a:pt x="327" y="153"/>
                      <a:pt x="338" y="153"/>
                      <a:pt x="349" y="153"/>
                    </a:cubicBezTo>
                    <a:cubicBezTo>
                      <a:pt x="360" y="154"/>
                      <a:pt x="370" y="153"/>
                      <a:pt x="381" y="152"/>
                    </a:cubicBezTo>
                    <a:cubicBezTo>
                      <a:pt x="393" y="150"/>
                      <a:pt x="404" y="144"/>
                      <a:pt x="414" y="142"/>
                    </a:cubicBezTo>
                    <a:cubicBezTo>
                      <a:pt x="422" y="140"/>
                      <a:pt x="429" y="137"/>
                      <a:pt x="436" y="135"/>
                    </a:cubicBezTo>
                    <a:cubicBezTo>
                      <a:pt x="446" y="132"/>
                      <a:pt x="456" y="128"/>
                      <a:pt x="464" y="123"/>
                    </a:cubicBezTo>
                    <a:cubicBezTo>
                      <a:pt x="471" y="120"/>
                      <a:pt x="481" y="116"/>
                      <a:pt x="480" y="105"/>
                    </a:cubicBezTo>
                    <a:cubicBezTo>
                      <a:pt x="479" y="103"/>
                      <a:pt x="478" y="102"/>
                      <a:pt x="476" y="101"/>
                    </a:cubicBezTo>
                    <a:cubicBezTo>
                      <a:pt x="483" y="97"/>
                      <a:pt x="489" y="92"/>
                      <a:pt x="494" y="86"/>
                    </a:cubicBezTo>
                    <a:cubicBezTo>
                      <a:pt x="501" y="78"/>
                      <a:pt x="510" y="71"/>
                      <a:pt x="515" y="62"/>
                    </a:cubicBezTo>
                    <a:cubicBezTo>
                      <a:pt x="520" y="56"/>
                      <a:pt x="523" y="49"/>
                      <a:pt x="524" y="42"/>
                    </a:cubicBezTo>
                    <a:cubicBezTo>
                      <a:pt x="526" y="42"/>
                      <a:pt x="526" y="42"/>
                      <a:pt x="526" y="42"/>
                    </a:cubicBezTo>
                    <a:cubicBezTo>
                      <a:pt x="529" y="43"/>
                      <a:pt x="532" y="42"/>
                      <a:pt x="536" y="43"/>
                    </a:cubicBezTo>
                    <a:cubicBezTo>
                      <a:pt x="540" y="42"/>
                      <a:pt x="545" y="42"/>
                      <a:pt x="551" y="41"/>
                    </a:cubicBezTo>
                    <a:cubicBezTo>
                      <a:pt x="563" y="41"/>
                      <a:pt x="574" y="40"/>
                      <a:pt x="586" y="38"/>
                    </a:cubicBezTo>
                    <a:cubicBezTo>
                      <a:pt x="591" y="37"/>
                      <a:pt x="596" y="37"/>
                      <a:pt x="602" y="36"/>
                    </a:cubicBezTo>
                    <a:cubicBezTo>
                      <a:pt x="604" y="35"/>
                      <a:pt x="605" y="35"/>
                      <a:pt x="606" y="35"/>
                    </a:cubicBezTo>
                    <a:cubicBezTo>
                      <a:pt x="611" y="33"/>
                      <a:pt x="616" y="32"/>
                      <a:pt x="621" y="31"/>
                    </a:cubicBezTo>
                    <a:cubicBezTo>
                      <a:pt x="634" y="28"/>
                      <a:pt x="648" y="26"/>
                      <a:pt x="661" y="23"/>
                    </a:cubicBezTo>
                    <a:cubicBezTo>
                      <a:pt x="671" y="20"/>
                      <a:pt x="683" y="17"/>
                      <a:pt x="693" y="16"/>
                    </a:cubicBezTo>
                    <a:cubicBezTo>
                      <a:pt x="704" y="13"/>
                      <a:pt x="713" y="14"/>
                      <a:pt x="723" y="12"/>
                    </a:cubicBezTo>
                    <a:cubicBezTo>
                      <a:pt x="740" y="10"/>
                      <a:pt x="757" y="5"/>
                      <a:pt x="775" y="3"/>
                    </a:cubicBezTo>
                    <a:cubicBezTo>
                      <a:pt x="777" y="3"/>
                      <a:pt x="779" y="3"/>
                      <a:pt x="781" y="3"/>
                    </a:cubicBezTo>
                    <a:cubicBezTo>
                      <a:pt x="781" y="2"/>
                      <a:pt x="781" y="2"/>
                      <a:pt x="781" y="2"/>
                    </a:cubicBezTo>
                    <a:cubicBezTo>
                      <a:pt x="789" y="0"/>
                      <a:pt x="794" y="3"/>
                      <a:pt x="800" y="3"/>
                    </a:cubicBezTo>
                    <a:cubicBezTo>
                      <a:pt x="807" y="5"/>
                      <a:pt x="814" y="6"/>
                      <a:pt x="820" y="8"/>
                    </a:cubicBezTo>
                    <a:cubicBezTo>
                      <a:pt x="835" y="12"/>
                      <a:pt x="852" y="15"/>
                      <a:pt x="868" y="20"/>
                    </a:cubicBezTo>
                    <a:cubicBezTo>
                      <a:pt x="883" y="24"/>
                      <a:pt x="893" y="31"/>
                      <a:pt x="899" y="45"/>
                    </a:cubicBezTo>
                    <a:cubicBezTo>
                      <a:pt x="903" y="55"/>
                      <a:pt x="906" y="65"/>
                      <a:pt x="909" y="75"/>
                    </a:cubicBezTo>
                    <a:cubicBezTo>
                      <a:pt x="906" y="76"/>
                      <a:pt x="906" y="76"/>
                      <a:pt x="906" y="76"/>
                    </a:cubicBezTo>
                    <a:cubicBezTo>
                      <a:pt x="908" y="82"/>
                      <a:pt x="910" y="89"/>
                      <a:pt x="912" y="95"/>
                    </a:cubicBezTo>
                    <a:cubicBezTo>
                      <a:pt x="915" y="108"/>
                      <a:pt x="916" y="122"/>
                      <a:pt x="914" y="136"/>
                    </a:cubicBezTo>
                    <a:cubicBezTo>
                      <a:pt x="913" y="149"/>
                      <a:pt x="910" y="162"/>
                      <a:pt x="906" y="172"/>
                    </a:cubicBezTo>
                    <a:cubicBezTo>
                      <a:pt x="901" y="188"/>
                      <a:pt x="893" y="199"/>
                      <a:pt x="885" y="212"/>
                    </a:cubicBezTo>
                    <a:cubicBezTo>
                      <a:pt x="882" y="217"/>
                      <a:pt x="879" y="222"/>
                      <a:pt x="875" y="227"/>
                    </a:cubicBezTo>
                    <a:cubicBezTo>
                      <a:pt x="860" y="249"/>
                      <a:pt x="845" y="271"/>
                      <a:pt x="829" y="291"/>
                    </a:cubicBezTo>
                    <a:cubicBezTo>
                      <a:pt x="823" y="299"/>
                      <a:pt x="816" y="306"/>
                      <a:pt x="810" y="314"/>
                    </a:cubicBezTo>
                    <a:cubicBezTo>
                      <a:pt x="796" y="333"/>
                      <a:pt x="782" y="351"/>
                      <a:pt x="769" y="370"/>
                    </a:cubicBezTo>
                    <a:cubicBezTo>
                      <a:pt x="765" y="377"/>
                      <a:pt x="759" y="385"/>
                      <a:pt x="755" y="392"/>
                    </a:cubicBezTo>
                    <a:cubicBezTo>
                      <a:pt x="748" y="403"/>
                      <a:pt x="740" y="413"/>
                      <a:pt x="733" y="422"/>
                    </a:cubicBezTo>
                    <a:cubicBezTo>
                      <a:pt x="723" y="434"/>
                      <a:pt x="716" y="447"/>
                      <a:pt x="707" y="460"/>
                    </a:cubicBezTo>
                    <a:cubicBezTo>
                      <a:pt x="696" y="475"/>
                      <a:pt x="684" y="489"/>
                      <a:pt x="670" y="501"/>
                    </a:cubicBezTo>
                    <a:cubicBezTo>
                      <a:pt x="669" y="501"/>
                      <a:pt x="669" y="501"/>
                      <a:pt x="669" y="501"/>
                    </a:cubicBezTo>
                    <a:cubicBezTo>
                      <a:pt x="668" y="502"/>
                      <a:pt x="668" y="504"/>
                      <a:pt x="667" y="505"/>
                    </a:cubicBezTo>
                    <a:cubicBezTo>
                      <a:pt x="664" y="509"/>
                      <a:pt x="662" y="511"/>
                      <a:pt x="659" y="514"/>
                    </a:cubicBezTo>
                    <a:cubicBezTo>
                      <a:pt x="656" y="516"/>
                      <a:pt x="654" y="517"/>
                      <a:pt x="651" y="519"/>
                    </a:cubicBezTo>
                    <a:cubicBezTo>
                      <a:pt x="648" y="523"/>
                      <a:pt x="643" y="524"/>
                      <a:pt x="638" y="525"/>
                    </a:cubicBezTo>
                    <a:cubicBezTo>
                      <a:pt x="636" y="526"/>
                      <a:pt x="635" y="526"/>
                      <a:pt x="633" y="527"/>
                    </a:cubicBezTo>
                    <a:cubicBezTo>
                      <a:pt x="634" y="528"/>
                      <a:pt x="634" y="528"/>
                      <a:pt x="634" y="528"/>
                    </a:cubicBezTo>
                    <a:cubicBezTo>
                      <a:pt x="627" y="534"/>
                      <a:pt x="613" y="533"/>
                      <a:pt x="605" y="533"/>
                    </a:cubicBezTo>
                    <a:cubicBezTo>
                      <a:pt x="591" y="532"/>
                      <a:pt x="577" y="533"/>
                      <a:pt x="564" y="534"/>
                    </a:cubicBezTo>
                    <a:cubicBezTo>
                      <a:pt x="546" y="537"/>
                      <a:pt x="530" y="541"/>
                      <a:pt x="513" y="544"/>
                    </a:cubicBezTo>
                    <a:cubicBezTo>
                      <a:pt x="507" y="545"/>
                      <a:pt x="503" y="545"/>
                      <a:pt x="497" y="546"/>
                    </a:cubicBezTo>
                    <a:cubicBezTo>
                      <a:pt x="492" y="548"/>
                      <a:pt x="490" y="548"/>
                      <a:pt x="485" y="549"/>
                    </a:cubicBezTo>
                    <a:cubicBezTo>
                      <a:pt x="484" y="550"/>
                      <a:pt x="481" y="549"/>
                      <a:pt x="480" y="549"/>
                    </a:cubicBezTo>
                    <a:cubicBezTo>
                      <a:pt x="480" y="550"/>
                      <a:pt x="480" y="550"/>
                      <a:pt x="481" y="551"/>
                    </a:cubicBezTo>
                    <a:cubicBezTo>
                      <a:pt x="478" y="553"/>
                      <a:pt x="478" y="553"/>
                      <a:pt x="478" y="553"/>
                    </a:cubicBezTo>
                    <a:cubicBezTo>
                      <a:pt x="462" y="538"/>
                      <a:pt x="453" y="519"/>
                      <a:pt x="446" y="500"/>
                    </a:cubicBezTo>
                    <a:cubicBezTo>
                      <a:pt x="446" y="498"/>
                      <a:pt x="446" y="496"/>
                      <a:pt x="445" y="494"/>
                    </a:cubicBezTo>
                    <a:cubicBezTo>
                      <a:pt x="445" y="493"/>
                      <a:pt x="445" y="492"/>
                      <a:pt x="444" y="490"/>
                    </a:cubicBezTo>
                    <a:cubicBezTo>
                      <a:pt x="443" y="482"/>
                      <a:pt x="442" y="473"/>
                      <a:pt x="441" y="466"/>
                    </a:cubicBezTo>
                    <a:cubicBezTo>
                      <a:pt x="438" y="453"/>
                      <a:pt x="436" y="439"/>
                      <a:pt x="437" y="426"/>
                    </a:cubicBezTo>
                    <a:cubicBezTo>
                      <a:pt x="437" y="406"/>
                      <a:pt x="439" y="389"/>
                      <a:pt x="445" y="370"/>
                    </a:cubicBezTo>
                    <a:cubicBezTo>
                      <a:pt x="449" y="360"/>
                      <a:pt x="459" y="339"/>
                      <a:pt x="449" y="330"/>
                    </a:cubicBezTo>
                    <a:cubicBezTo>
                      <a:pt x="433" y="329"/>
                      <a:pt x="433" y="329"/>
                      <a:pt x="433" y="329"/>
                    </a:cubicBezTo>
                    <a:cubicBezTo>
                      <a:pt x="431" y="329"/>
                      <a:pt x="429" y="329"/>
                      <a:pt x="426" y="329"/>
                    </a:cubicBezTo>
                    <a:cubicBezTo>
                      <a:pt x="424" y="329"/>
                      <a:pt x="422" y="328"/>
                      <a:pt x="421" y="328"/>
                    </a:cubicBezTo>
                    <a:cubicBezTo>
                      <a:pt x="406" y="327"/>
                      <a:pt x="394" y="327"/>
                      <a:pt x="380" y="326"/>
                    </a:cubicBezTo>
                    <a:cubicBezTo>
                      <a:pt x="364" y="324"/>
                      <a:pt x="345" y="325"/>
                      <a:pt x="328" y="325"/>
                    </a:cubicBezTo>
                    <a:cubicBezTo>
                      <a:pt x="308" y="325"/>
                      <a:pt x="288" y="325"/>
                      <a:pt x="268" y="326"/>
                    </a:cubicBezTo>
                    <a:cubicBezTo>
                      <a:pt x="247" y="325"/>
                      <a:pt x="227" y="324"/>
                      <a:pt x="207" y="324"/>
                    </a:cubicBezTo>
                    <a:cubicBezTo>
                      <a:pt x="190" y="324"/>
                      <a:pt x="171" y="324"/>
                      <a:pt x="154" y="323"/>
                    </a:cubicBezTo>
                    <a:cubicBezTo>
                      <a:pt x="135" y="323"/>
                      <a:pt x="115" y="324"/>
                      <a:pt x="96" y="324"/>
                    </a:cubicBezTo>
                    <a:cubicBezTo>
                      <a:pt x="95" y="323"/>
                      <a:pt x="95" y="323"/>
                      <a:pt x="95" y="323"/>
                    </a:cubicBezTo>
                    <a:cubicBezTo>
                      <a:pt x="85" y="333"/>
                      <a:pt x="73" y="342"/>
                      <a:pt x="63" y="352"/>
                    </a:cubicBezTo>
                    <a:cubicBezTo>
                      <a:pt x="61" y="355"/>
                      <a:pt x="58" y="357"/>
                      <a:pt x="56" y="360"/>
                    </a:cubicBezTo>
                    <a:cubicBezTo>
                      <a:pt x="47" y="349"/>
                      <a:pt x="47" y="349"/>
                      <a:pt x="47" y="349"/>
                    </a:cubicBezTo>
                    <a:cubicBezTo>
                      <a:pt x="43" y="349"/>
                      <a:pt x="38" y="348"/>
                      <a:pt x="34" y="348"/>
                    </a:cubicBezTo>
                    <a:cubicBezTo>
                      <a:pt x="25" y="348"/>
                      <a:pt x="17" y="347"/>
                      <a:pt x="8" y="349"/>
                    </a:cubicBezTo>
                    <a:lnTo>
                      <a:pt x="0" y="346"/>
                    </a:lnTo>
                    <a:close/>
                  </a:path>
                </a:pathLst>
              </a:custGeom>
              <a:solidFill>
                <a:srgbClr val="3C3C3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899" name="Freeform 212">
                <a:extLst>
                  <a:ext uri="{FF2B5EF4-FFF2-40B4-BE49-F238E27FC236}">
                    <a16:creationId xmlns:a16="http://schemas.microsoft.com/office/drawing/2014/main" id="{E0A89B89-2B5D-421E-AB99-80731C77FD1A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780" y="2530"/>
                <a:ext cx="84" cy="223"/>
              </a:xfrm>
              <a:custGeom>
                <a:avLst/>
                <a:gdLst>
                  <a:gd name="T0" fmla="*/ 20 w 79"/>
                  <a:gd name="T1" fmla="*/ 26 h 211"/>
                  <a:gd name="T2" fmla="*/ 0 w 79"/>
                  <a:gd name="T3" fmla="*/ 0 h 211"/>
                  <a:gd name="T4" fmla="*/ 17 w 79"/>
                  <a:gd name="T5" fmla="*/ 5 h 211"/>
                  <a:gd name="T6" fmla="*/ 50 w 79"/>
                  <a:gd name="T7" fmla="*/ 19 h 211"/>
                  <a:gd name="T8" fmla="*/ 66 w 79"/>
                  <a:gd name="T9" fmla="*/ 49 h 211"/>
                  <a:gd name="T10" fmla="*/ 77 w 79"/>
                  <a:gd name="T11" fmla="*/ 130 h 211"/>
                  <a:gd name="T12" fmla="*/ 74 w 79"/>
                  <a:gd name="T13" fmla="*/ 210 h 211"/>
                  <a:gd name="T14" fmla="*/ 56 w 79"/>
                  <a:gd name="T15" fmla="*/ 211 h 211"/>
                  <a:gd name="T16" fmla="*/ 53 w 79"/>
                  <a:gd name="T17" fmla="*/ 164 h 211"/>
                  <a:gd name="T18" fmla="*/ 41 w 79"/>
                  <a:gd name="T19" fmla="*/ 60 h 211"/>
                  <a:gd name="T20" fmla="*/ 20 w 79"/>
                  <a:gd name="T21" fmla="*/ 26 h 2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79" h="211">
                    <a:moveTo>
                      <a:pt x="20" y="26"/>
                    </a:moveTo>
                    <a:cubicBezTo>
                      <a:pt x="14" y="19"/>
                      <a:pt x="2" y="11"/>
                      <a:pt x="0" y="0"/>
                    </a:cubicBezTo>
                    <a:cubicBezTo>
                      <a:pt x="6" y="1"/>
                      <a:pt x="10" y="2"/>
                      <a:pt x="17" y="5"/>
                    </a:cubicBezTo>
                    <a:cubicBezTo>
                      <a:pt x="27" y="9"/>
                      <a:pt x="41" y="10"/>
                      <a:pt x="50" y="19"/>
                    </a:cubicBezTo>
                    <a:cubicBezTo>
                      <a:pt x="57" y="28"/>
                      <a:pt x="62" y="39"/>
                      <a:pt x="66" y="49"/>
                    </a:cubicBezTo>
                    <a:cubicBezTo>
                      <a:pt x="79" y="73"/>
                      <a:pt x="77" y="102"/>
                      <a:pt x="77" y="130"/>
                    </a:cubicBezTo>
                    <a:cubicBezTo>
                      <a:pt x="76" y="156"/>
                      <a:pt x="74" y="183"/>
                      <a:pt x="74" y="210"/>
                    </a:cubicBezTo>
                    <a:cubicBezTo>
                      <a:pt x="56" y="211"/>
                      <a:pt x="56" y="211"/>
                      <a:pt x="56" y="211"/>
                    </a:cubicBezTo>
                    <a:cubicBezTo>
                      <a:pt x="55" y="195"/>
                      <a:pt x="54" y="179"/>
                      <a:pt x="53" y="164"/>
                    </a:cubicBezTo>
                    <a:cubicBezTo>
                      <a:pt x="53" y="130"/>
                      <a:pt x="52" y="94"/>
                      <a:pt x="41" y="60"/>
                    </a:cubicBezTo>
                    <a:cubicBezTo>
                      <a:pt x="38" y="46"/>
                      <a:pt x="29" y="36"/>
                      <a:pt x="20" y="26"/>
                    </a:cubicBezTo>
                    <a:close/>
                  </a:path>
                </a:pathLst>
              </a:custGeom>
              <a:solidFill>
                <a:srgbClr val="21AAD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900" name="Freeform 213">
                <a:extLst>
                  <a:ext uri="{FF2B5EF4-FFF2-40B4-BE49-F238E27FC236}">
                    <a16:creationId xmlns:a16="http://schemas.microsoft.com/office/drawing/2014/main" id="{D51BBCC4-61A1-4D7E-B026-20425D5201BD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761" y="2156"/>
                <a:ext cx="506" cy="990"/>
              </a:xfrm>
              <a:custGeom>
                <a:avLst/>
                <a:gdLst>
                  <a:gd name="T0" fmla="*/ 23 w 477"/>
                  <a:gd name="T1" fmla="*/ 260 h 935"/>
                  <a:gd name="T2" fmla="*/ 83 w 477"/>
                  <a:gd name="T3" fmla="*/ 178 h 935"/>
                  <a:gd name="T4" fmla="*/ 197 w 477"/>
                  <a:gd name="T5" fmla="*/ 105 h 935"/>
                  <a:gd name="T6" fmla="*/ 236 w 477"/>
                  <a:gd name="T7" fmla="*/ 76 h 935"/>
                  <a:gd name="T8" fmla="*/ 306 w 477"/>
                  <a:gd name="T9" fmla="*/ 20 h 935"/>
                  <a:gd name="T10" fmla="*/ 339 w 477"/>
                  <a:gd name="T11" fmla="*/ 6 h 935"/>
                  <a:gd name="T12" fmla="*/ 368 w 477"/>
                  <a:gd name="T13" fmla="*/ 44 h 935"/>
                  <a:gd name="T14" fmla="*/ 361 w 477"/>
                  <a:gd name="T15" fmla="*/ 55 h 935"/>
                  <a:gd name="T16" fmla="*/ 325 w 477"/>
                  <a:gd name="T17" fmla="*/ 85 h 935"/>
                  <a:gd name="T18" fmla="*/ 269 w 477"/>
                  <a:gd name="T19" fmla="*/ 121 h 935"/>
                  <a:gd name="T20" fmla="*/ 259 w 477"/>
                  <a:gd name="T21" fmla="*/ 155 h 935"/>
                  <a:gd name="T22" fmla="*/ 268 w 477"/>
                  <a:gd name="T23" fmla="*/ 249 h 935"/>
                  <a:gd name="T24" fmla="*/ 317 w 477"/>
                  <a:gd name="T25" fmla="*/ 325 h 935"/>
                  <a:gd name="T26" fmla="*/ 343 w 477"/>
                  <a:gd name="T27" fmla="*/ 341 h 935"/>
                  <a:gd name="T28" fmla="*/ 369 w 477"/>
                  <a:gd name="T29" fmla="*/ 315 h 935"/>
                  <a:gd name="T30" fmla="*/ 383 w 477"/>
                  <a:gd name="T31" fmla="*/ 296 h 935"/>
                  <a:gd name="T32" fmla="*/ 392 w 477"/>
                  <a:gd name="T33" fmla="*/ 292 h 935"/>
                  <a:gd name="T34" fmla="*/ 407 w 477"/>
                  <a:gd name="T35" fmla="*/ 308 h 935"/>
                  <a:gd name="T36" fmla="*/ 406 w 477"/>
                  <a:gd name="T37" fmla="*/ 310 h 935"/>
                  <a:gd name="T38" fmla="*/ 408 w 477"/>
                  <a:gd name="T39" fmla="*/ 310 h 935"/>
                  <a:gd name="T40" fmla="*/ 403 w 477"/>
                  <a:gd name="T41" fmla="*/ 347 h 935"/>
                  <a:gd name="T42" fmla="*/ 362 w 477"/>
                  <a:gd name="T43" fmla="*/ 381 h 935"/>
                  <a:gd name="T44" fmla="*/ 348 w 477"/>
                  <a:gd name="T45" fmla="*/ 382 h 935"/>
                  <a:gd name="T46" fmla="*/ 260 w 477"/>
                  <a:gd name="T47" fmla="*/ 459 h 935"/>
                  <a:gd name="T48" fmla="*/ 296 w 477"/>
                  <a:gd name="T49" fmla="*/ 516 h 935"/>
                  <a:gd name="T50" fmla="*/ 341 w 477"/>
                  <a:gd name="T51" fmla="*/ 514 h 935"/>
                  <a:gd name="T52" fmla="*/ 362 w 477"/>
                  <a:gd name="T53" fmla="*/ 498 h 935"/>
                  <a:gd name="T54" fmla="*/ 379 w 477"/>
                  <a:gd name="T55" fmla="*/ 472 h 935"/>
                  <a:gd name="T56" fmla="*/ 387 w 477"/>
                  <a:gd name="T57" fmla="*/ 488 h 935"/>
                  <a:gd name="T58" fmla="*/ 393 w 477"/>
                  <a:gd name="T59" fmla="*/ 505 h 935"/>
                  <a:gd name="T60" fmla="*/ 378 w 477"/>
                  <a:gd name="T61" fmla="*/ 527 h 935"/>
                  <a:gd name="T62" fmla="*/ 338 w 477"/>
                  <a:gd name="T63" fmla="*/ 554 h 935"/>
                  <a:gd name="T64" fmla="*/ 292 w 477"/>
                  <a:gd name="T65" fmla="*/ 567 h 935"/>
                  <a:gd name="T66" fmla="*/ 285 w 477"/>
                  <a:gd name="T67" fmla="*/ 656 h 935"/>
                  <a:gd name="T68" fmla="*/ 298 w 477"/>
                  <a:gd name="T69" fmla="*/ 685 h 935"/>
                  <a:gd name="T70" fmla="*/ 348 w 477"/>
                  <a:gd name="T71" fmla="*/ 705 h 935"/>
                  <a:gd name="T72" fmla="*/ 357 w 477"/>
                  <a:gd name="T73" fmla="*/ 691 h 935"/>
                  <a:gd name="T74" fmla="*/ 402 w 477"/>
                  <a:gd name="T75" fmla="*/ 649 h 935"/>
                  <a:gd name="T76" fmla="*/ 406 w 477"/>
                  <a:gd name="T77" fmla="*/ 644 h 935"/>
                  <a:gd name="T78" fmla="*/ 417 w 477"/>
                  <a:gd name="T79" fmla="*/ 652 h 935"/>
                  <a:gd name="T80" fmla="*/ 414 w 477"/>
                  <a:gd name="T81" fmla="*/ 688 h 935"/>
                  <a:gd name="T82" fmla="*/ 355 w 477"/>
                  <a:gd name="T83" fmla="*/ 725 h 935"/>
                  <a:gd name="T84" fmla="*/ 337 w 477"/>
                  <a:gd name="T85" fmla="*/ 820 h 935"/>
                  <a:gd name="T86" fmla="*/ 433 w 477"/>
                  <a:gd name="T87" fmla="*/ 839 h 935"/>
                  <a:gd name="T88" fmla="*/ 459 w 477"/>
                  <a:gd name="T89" fmla="*/ 808 h 935"/>
                  <a:gd name="T90" fmla="*/ 469 w 477"/>
                  <a:gd name="T91" fmla="*/ 815 h 935"/>
                  <a:gd name="T92" fmla="*/ 471 w 477"/>
                  <a:gd name="T93" fmla="*/ 817 h 935"/>
                  <a:gd name="T94" fmla="*/ 477 w 477"/>
                  <a:gd name="T95" fmla="*/ 843 h 935"/>
                  <a:gd name="T96" fmla="*/ 447 w 477"/>
                  <a:gd name="T97" fmla="*/ 887 h 935"/>
                  <a:gd name="T98" fmla="*/ 415 w 477"/>
                  <a:gd name="T99" fmla="*/ 909 h 935"/>
                  <a:gd name="T100" fmla="*/ 284 w 477"/>
                  <a:gd name="T101" fmla="*/ 934 h 935"/>
                  <a:gd name="T102" fmla="*/ 256 w 477"/>
                  <a:gd name="T103" fmla="*/ 931 h 935"/>
                  <a:gd name="T104" fmla="*/ 214 w 477"/>
                  <a:gd name="T105" fmla="*/ 913 h 935"/>
                  <a:gd name="T106" fmla="*/ 169 w 477"/>
                  <a:gd name="T107" fmla="*/ 862 h 935"/>
                  <a:gd name="T108" fmla="*/ 109 w 477"/>
                  <a:gd name="T109" fmla="*/ 728 h 935"/>
                  <a:gd name="T110" fmla="*/ 88 w 477"/>
                  <a:gd name="T111" fmla="*/ 651 h 935"/>
                  <a:gd name="T112" fmla="*/ 74 w 477"/>
                  <a:gd name="T113" fmla="*/ 564 h 935"/>
                  <a:gd name="T114" fmla="*/ 95 w 477"/>
                  <a:gd name="T115" fmla="*/ 483 h 935"/>
                  <a:gd name="T116" fmla="*/ 68 w 477"/>
                  <a:gd name="T117" fmla="*/ 372 h 935"/>
                  <a:gd name="T118" fmla="*/ 18 w 477"/>
                  <a:gd name="T119" fmla="*/ 353 h 935"/>
                  <a:gd name="T120" fmla="*/ 3 w 477"/>
                  <a:gd name="T121" fmla="*/ 349 h 935"/>
                  <a:gd name="T122" fmla="*/ 20 w 477"/>
                  <a:gd name="T123" fmla="*/ 267 h 9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477" h="935">
                    <a:moveTo>
                      <a:pt x="20" y="267"/>
                    </a:moveTo>
                    <a:cubicBezTo>
                      <a:pt x="21" y="265"/>
                      <a:pt x="22" y="263"/>
                      <a:pt x="23" y="260"/>
                    </a:cubicBezTo>
                    <a:cubicBezTo>
                      <a:pt x="29" y="240"/>
                      <a:pt x="31" y="213"/>
                      <a:pt x="49" y="199"/>
                    </a:cubicBezTo>
                    <a:cubicBezTo>
                      <a:pt x="60" y="192"/>
                      <a:pt x="72" y="184"/>
                      <a:pt x="83" y="178"/>
                    </a:cubicBezTo>
                    <a:cubicBezTo>
                      <a:pt x="98" y="169"/>
                      <a:pt x="112" y="157"/>
                      <a:pt x="126" y="147"/>
                    </a:cubicBezTo>
                    <a:cubicBezTo>
                      <a:pt x="149" y="134"/>
                      <a:pt x="174" y="120"/>
                      <a:pt x="197" y="105"/>
                    </a:cubicBezTo>
                    <a:cubicBezTo>
                      <a:pt x="205" y="99"/>
                      <a:pt x="214" y="92"/>
                      <a:pt x="223" y="86"/>
                    </a:cubicBezTo>
                    <a:cubicBezTo>
                      <a:pt x="227" y="83"/>
                      <a:pt x="232" y="80"/>
                      <a:pt x="236" y="76"/>
                    </a:cubicBezTo>
                    <a:cubicBezTo>
                      <a:pt x="258" y="63"/>
                      <a:pt x="277" y="45"/>
                      <a:pt x="297" y="28"/>
                    </a:cubicBezTo>
                    <a:cubicBezTo>
                      <a:pt x="300" y="25"/>
                      <a:pt x="303" y="23"/>
                      <a:pt x="306" y="20"/>
                    </a:cubicBezTo>
                    <a:cubicBezTo>
                      <a:pt x="312" y="14"/>
                      <a:pt x="318" y="8"/>
                      <a:pt x="326" y="3"/>
                    </a:cubicBezTo>
                    <a:cubicBezTo>
                      <a:pt x="332" y="0"/>
                      <a:pt x="335" y="2"/>
                      <a:pt x="339" y="6"/>
                    </a:cubicBezTo>
                    <a:cubicBezTo>
                      <a:pt x="347" y="13"/>
                      <a:pt x="354" y="22"/>
                      <a:pt x="361" y="30"/>
                    </a:cubicBezTo>
                    <a:cubicBezTo>
                      <a:pt x="364" y="34"/>
                      <a:pt x="368" y="39"/>
                      <a:pt x="368" y="44"/>
                    </a:cubicBezTo>
                    <a:cubicBezTo>
                      <a:pt x="368" y="44"/>
                      <a:pt x="368" y="44"/>
                      <a:pt x="368" y="44"/>
                    </a:cubicBezTo>
                    <a:cubicBezTo>
                      <a:pt x="366" y="47"/>
                      <a:pt x="364" y="51"/>
                      <a:pt x="361" y="55"/>
                    </a:cubicBezTo>
                    <a:cubicBezTo>
                      <a:pt x="356" y="59"/>
                      <a:pt x="351" y="63"/>
                      <a:pt x="346" y="69"/>
                    </a:cubicBezTo>
                    <a:cubicBezTo>
                      <a:pt x="340" y="75"/>
                      <a:pt x="333" y="80"/>
                      <a:pt x="325" y="85"/>
                    </a:cubicBezTo>
                    <a:cubicBezTo>
                      <a:pt x="321" y="88"/>
                      <a:pt x="317" y="91"/>
                      <a:pt x="312" y="94"/>
                    </a:cubicBezTo>
                    <a:cubicBezTo>
                      <a:pt x="298" y="103"/>
                      <a:pt x="284" y="112"/>
                      <a:pt x="269" y="121"/>
                    </a:cubicBezTo>
                    <a:cubicBezTo>
                      <a:pt x="272" y="125"/>
                      <a:pt x="272" y="125"/>
                      <a:pt x="272" y="125"/>
                    </a:cubicBezTo>
                    <a:cubicBezTo>
                      <a:pt x="266" y="134"/>
                      <a:pt x="262" y="144"/>
                      <a:pt x="259" y="155"/>
                    </a:cubicBezTo>
                    <a:cubicBezTo>
                      <a:pt x="255" y="163"/>
                      <a:pt x="251" y="175"/>
                      <a:pt x="251" y="186"/>
                    </a:cubicBezTo>
                    <a:cubicBezTo>
                      <a:pt x="253" y="207"/>
                      <a:pt x="260" y="229"/>
                      <a:pt x="268" y="249"/>
                    </a:cubicBezTo>
                    <a:cubicBezTo>
                      <a:pt x="276" y="267"/>
                      <a:pt x="285" y="285"/>
                      <a:pt x="295" y="301"/>
                    </a:cubicBezTo>
                    <a:cubicBezTo>
                      <a:pt x="302" y="310"/>
                      <a:pt x="309" y="318"/>
                      <a:pt x="317" y="325"/>
                    </a:cubicBezTo>
                    <a:cubicBezTo>
                      <a:pt x="321" y="330"/>
                      <a:pt x="327" y="333"/>
                      <a:pt x="332" y="337"/>
                    </a:cubicBezTo>
                    <a:cubicBezTo>
                      <a:pt x="335" y="339"/>
                      <a:pt x="339" y="340"/>
                      <a:pt x="343" y="341"/>
                    </a:cubicBezTo>
                    <a:cubicBezTo>
                      <a:pt x="348" y="338"/>
                      <a:pt x="352" y="333"/>
                      <a:pt x="355" y="329"/>
                    </a:cubicBezTo>
                    <a:cubicBezTo>
                      <a:pt x="359" y="325"/>
                      <a:pt x="364" y="321"/>
                      <a:pt x="369" y="315"/>
                    </a:cubicBezTo>
                    <a:cubicBezTo>
                      <a:pt x="373" y="309"/>
                      <a:pt x="380" y="304"/>
                      <a:pt x="384" y="297"/>
                    </a:cubicBezTo>
                    <a:cubicBezTo>
                      <a:pt x="383" y="296"/>
                      <a:pt x="383" y="296"/>
                      <a:pt x="383" y="296"/>
                    </a:cubicBezTo>
                    <a:cubicBezTo>
                      <a:pt x="386" y="294"/>
                      <a:pt x="388" y="292"/>
                      <a:pt x="391" y="290"/>
                    </a:cubicBezTo>
                    <a:cubicBezTo>
                      <a:pt x="392" y="292"/>
                      <a:pt x="392" y="292"/>
                      <a:pt x="392" y="292"/>
                    </a:cubicBezTo>
                    <a:cubicBezTo>
                      <a:pt x="396" y="296"/>
                      <a:pt x="407" y="301"/>
                      <a:pt x="407" y="307"/>
                    </a:cubicBezTo>
                    <a:cubicBezTo>
                      <a:pt x="407" y="308"/>
                      <a:pt x="407" y="308"/>
                      <a:pt x="407" y="308"/>
                    </a:cubicBezTo>
                    <a:cubicBezTo>
                      <a:pt x="407" y="308"/>
                      <a:pt x="406" y="308"/>
                      <a:pt x="406" y="309"/>
                    </a:cubicBezTo>
                    <a:cubicBezTo>
                      <a:pt x="406" y="310"/>
                      <a:pt x="406" y="310"/>
                      <a:pt x="406" y="310"/>
                    </a:cubicBezTo>
                    <a:cubicBezTo>
                      <a:pt x="407" y="309"/>
                      <a:pt x="407" y="309"/>
                      <a:pt x="407" y="308"/>
                    </a:cubicBezTo>
                    <a:cubicBezTo>
                      <a:pt x="407" y="308"/>
                      <a:pt x="408" y="309"/>
                      <a:pt x="408" y="310"/>
                    </a:cubicBezTo>
                    <a:cubicBezTo>
                      <a:pt x="409" y="314"/>
                      <a:pt x="409" y="320"/>
                      <a:pt x="409" y="325"/>
                    </a:cubicBezTo>
                    <a:cubicBezTo>
                      <a:pt x="409" y="334"/>
                      <a:pt x="411" y="342"/>
                      <a:pt x="403" y="347"/>
                    </a:cubicBezTo>
                    <a:cubicBezTo>
                      <a:pt x="392" y="354"/>
                      <a:pt x="383" y="361"/>
                      <a:pt x="375" y="371"/>
                    </a:cubicBezTo>
                    <a:cubicBezTo>
                      <a:pt x="370" y="376"/>
                      <a:pt x="366" y="380"/>
                      <a:pt x="362" y="381"/>
                    </a:cubicBezTo>
                    <a:cubicBezTo>
                      <a:pt x="361" y="382"/>
                      <a:pt x="359" y="382"/>
                      <a:pt x="358" y="382"/>
                    </a:cubicBezTo>
                    <a:cubicBezTo>
                      <a:pt x="355" y="383"/>
                      <a:pt x="352" y="383"/>
                      <a:pt x="348" y="382"/>
                    </a:cubicBezTo>
                    <a:cubicBezTo>
                      <a:pt x="327" y="378"/>
                      <a:pt x="301" y="369"/>
                      <a:pt x="280" y="384"/>
                    </a:cubicBezTo>
                    <a:cubicBezTo>
                      <a:pt x="258" y="400"/>
                      <a:pt x="258" y="433"/>
                      <a:pt x="260" y="459"/>
                    </a:cubicBezTo>
                    <a:cubicBezTo>
                      <a:pt x="261" y="466"/>
                      <a:pt x="261" y="475"/>
                      <a:pt x="264" y="484"/>
                    </a:cubicBezTo>
                    <a:cubicBezTo>
                      <a:pt x="268" y="500"/>
                      <a:pt x="281" y="509"/>
                      <a:pt x="296" y="516"/>
                    </a:cubicBezTo>
                    <a:cubicBezTo>
                      <a:pt x="296" y="517"/>
                      <a:pt x="296" y="517"/>
                      <a:pt x="296" y="517"/>
                    </a:cubicBezTo>
                    <a:cubicBezTo>
                      <a:pt x="311" y="523"/>
                      <a:pt x="326" y="522"/>
                      <a:pt x="341" y="514"/>
                    </a:cubicBezTo>
                    <a:cubicBezTo>
                      <a:pt x="349" y="511"/>
                      <a:pt x="356" y="505"/>
                      <a:pt x="362" y="498"/>
                    </a:cubicBezTo>
                    <a:cubicBezTo>
                      <a:pt x="362" y="498"/>
                      <a:pt x="362" y="498"/>
                      <a:pt x="362" y="498"/>
                    </a:cubicBezTo>
                    <a:cubicBezTo>
                      <a:pt x="368" y="492"/>
                      <a:pt x="376" y="485"/>
                      <a:pt x="378" y="477"/>
                    </a:cubicBezTo>
                    <a:cubicBezTo>
                      <a:pt x="379" y="476"/>
                      <a:pt x="379" y="474"/>
                      <a:pt x="379" y="472"/>
                    </a:cubicBezTo>
                    <a:cubicBezTo>
                      <a:pt x="380" y="475"/>
                      <a:pt x="383" y="475"/>
                      <a:pt x="385" y="480"/>
                    </a:cubicBezTo>
                    <a:cubicBezTo>
                      <a:pt x="387" y="482"/>
                      <a:pt x="387" y="485"/>
                      <a:pt x="387" y="488"/>
                    </a:cubicBezTo>
                    <a:cubicBezTo>
                      <a:pt x="389" y="488"/>
                      <a:pt x="389" y="488"/>
                      <a:pt x="389" y="488"/>
                    </a:cubicBezTo>
                    <a:cubicBezTo>
                      <a:pt x="389" y="493"/>
                      <a:pt x="393" y="499"/>
                      <a:pt x="393" y="505"/>
                    </a:cubicBezTo>
                    <a:cubicBezTo>
                      <a:pt x="393" y="512"/>
                      <a:pt x="387" y="517"/>
                      <a:pt x="383" y="521"/>
                    </a:cubicBezTo>
                    <a:cubicBezTo>
                      <a:pt x="381" y="523"/>
                      <a:pt x="380" y="525"/>
                      <a:pt x="378" y="527"/>
                    </a:cubicBezTo>
                    <a:cubicBezTo>
                      <a:pt x="373" y="534"/>
                      <a:pt x="367" y="540"/>
                      <a:pt x="359" y="544"/>
                    </a:cubicBezTo>
                    <a:cubicBezTo>
                      <a:pt x="353" y="549"/>
                      <a:pt x="345" y="551"/>
                      <a:pt x="338" y="554"/>
                    </a:cubicBezTo>
                    <a:cubicBezTo>
                      <a:pt x="330" y="558"/>
                      <a:pt x="321" y="558"/>
                      <a:pt x="312" y="562"/>
                    </a:cubicBezTo>
                    <a:cubicBezTo>
                      <a:pt x="307" y="563"/>
                      <a:pt x="298" y="566"/>
                      <a:pt x="292" y="567"/>
                    </a:cubicBezTo>
                    <a:cubicBezTo>
                      <a:pt x="279" y="570"/>
                      <a:pt x="278" y="585"/>
                      <a:pt x="274" y="595"/>
                    </a:cubicBezTo>
                    <a:cubicBezTo>
                      <a:pt x="268" y="615"/>
                      <a:pt x="278" y="637"/>
                      <a:pt x="285" y="656"/>
                    </a:cubicBezTo>
                    <a:cubicBezTo>
                      <a:pt x="283" y="657"/>
                      <a:pt x="283" y="657"/>
                      <a:pt x="283" y="657"/>
                    </a:cubicBezTo>
                    <a:cubicBezTo>
                      <a:pt x="288" y="666"/>
                      <a:pt x="293" y="676"/>
                      <a:pt x="298" y="685"/>
                    </a:cubicBezTo>
                    <a:cubicBezTo>
                      <a:pt x="303" y="693"/>
                      <a:pt x="312" y="703"/>
                      <a:pt x="322" y="707"/>
                    </a:cubicBezTo>
                    <a:cubicBezTo>
                      <a:pt x="331" y="710"/>
                      <a:pt x="340" y="707"/>
                      <a:pt x="348" y="705"/>
                    </a:cubicBezTo>
                    <a:cubicBezTo>
                      <a:pt x="346" y="693"/>
                      <a:pt x="346" y="693"/>
                      <a:pt x="346" y="693"/>
                    </a:cubicBezTo>
                    <a:cubicBezTo>
                      <a:pt x="350" y="692"/>
                      <a:pt x="354" y="691"/>
                      <a:pt x="357" y="691"/>
                    </a:cubicBezTo>
                    <a:cubicBezTo>
                      <a:pt x="364" y="689"/>
                      <a:pt x="374" y="685"/>
                      <a:pt x="379" y="680"/>
                    </a:cubicBezTo>
                    <a:cubicBezTo>
                      <a:pt x="388" y="671"/>
                      <a:pt x="397" y="661"/>
                      <a:pt x="402" y="649"/>
                    </a:cubicBezTo>
                    <a:cubicBezTo>
                      <a:pt x="402" y="648"/>
                      <a:pt x="403" y="646"/>
                      <a:pt x="403" y="645"/>
                    </a:cubicBezTo>
                    <a:cubicBezTo>
                      <a:pt x="406" y="644"/>
                      <a:pt x="406" y="644"/>
                      <a:pt x="406" y="644"/>
                    </a:cubicBezTo>
                    <a:cubicBezTo>
                      <a:pt x="408" y="647"/>
                      <a:pt x="415" y="648"/>
                      <a:pt x="416" y="653"/>
                    </a:cubicBezTo>
                    <a:cubicBezTo>
                      <a:pt x="417" y="652"/>
                      <a:pt x="417" y="652"/>
                      <a:pt x="417" y="652"/>
                    </a:cubicBezTo>
                    <a:cubicBezTo>
                      <a:pt x="420" y="662"/>
                      <a:pt x="422" y="672"/>
                      <a:pt x="417" y="682"/>
                    </a:cubicBezTo>
                    <a:cubicBezTo>
                      <a:pt x="416" y="684"/>
                      <a:pt x="415" y="686"/>
                      <a:pt x="414" y="688"/>
                    </a:cubicBezTo>
                    <a:cubicBezTo>
                      <a:pt x="408" y="696"/>
                      <a:pt x="400" y="704"/>
                      <a:pt x="393" y="710"/>
                    </a:cubicBezTo>
                    <a:cubicBezTo>
                      <a:pt x="381" y="719"/>
                      <a:pt x="368" y="721"/>
                      <a:pt x="355" y="725"/>
                    </a:cubicBezTo>
                    <a:cubicBezTo>
                      <a:pt x="342" y="729"/>
                      <a:pt x="327" y="734"/>
                      <a:pt x="322" y="748"/>
                    </a:cubicBezTo>
                    <a:cubicBezTo>
                      <a:pt x="312" y="772"/>
                      <a:pt x="325" y="799"/>
                      <a:pt x="337" y="820"/>
                    </a:cubicBezTo>
                    <a:cubicBezTo>
                      <a:pt x="348" y="842"/>
                      <a:pt x="371" y="869"/>
                      <a:pt x="398" y="860"/>
                    </a:cubicBezTo>
                    <a:cubicBezTo>
                      <a:pt x="411" y="856"/>
                      <a:pt x="423" y="848"/>
                      <a:pt x="433" y="839"/>
                    </a:cubicBezTo>
                    <a:cubicBezTo>
                      <a:pt x="437" y="836"/>
                      <a:pt x="440" y="833"/>
                      <a:pt x="443" y="830"/>
                    </a:cubicBezTo>
                    <a:cubicBezTo>
                      <a:pt x="449" y="824"/>
                      <a:pt x="454" y="817"/>
                      <a:pt x="459" y="808"/>
                    </a:cubicBezTo>
                    <a:cubicBezTo>
                      <a:pt x="468" y="808"/>
                      <a:pt x="468" y="808"/>
                      <a:pt x="468" y="808"/>
                    </a:cubicBezTo>
                    <a:cubicBezTo>
                      <a:pt x="469" y="809"/>
                      <a:pt x="470" y="811"/>
                      <a:pt x="469" y="815"/>
                    </a:cubicBezTo>
                    <a:cubicBezTo>
                      <a:pt x="468" y="816"/>
                      <a:pt x="468" y="816"/>
                      <a:pt x="468" y="816"/>
                    </a:cubicBezTo>
                    <a:cubicBezTo>
                      <a:pt x="471" y="817"/>
                      <a:pt x="471" y="817"/>
                      <a:pt x="471" y="817"/>
                    </a:cubicBezTo>
                    <a:cubicBezTo>
                      <a:pt x="471" y="822"/>
                      <a:pt x="475" y="826"/>
                      <a:pt x="476" y="830"/>
                    </a:cubicBezTo>
                    <a:cubicBezTo>
                      <a:pt x="477" y="834"/>
                      <a:pt x="477" y="839"/>
                      <a:pt x="477" y="843"/>
                    </a:cubicBezTo>
                    <a:cubicBezTo>
                      <a:pt x="476" y="850"/>
                      <a:pt x="473" y="857"/>
                      <a:pt x="468" y="863"/>
                    </a:cubicBezTo>
                    <a:cubicBezTo>
                      <a:pt x="463" y="872"/>
                      <a:pt x="454" y="879"/>
                      <a:pt x="447" y="887"/>
                    </a:cubicBezTo>
                    <a:cubicBezTo>
                      <a:pt x="442" y="893"/>
                      <a:pt x="436" y="898"/>
                      <a:pt x="429" y="902"/>
                    </a:cubicBezTo>
                    <a:cubicBezTo>
                      <a:pt x="425" y="905"/>
                      <a:pt x="420" y="907"/>
                      <a:pt x="415" y="909"/>
                    </a:cubicBezTo>
                    <a:cubicBezTo>
                      <a:pt x="398" y="915"/>
                      <a:pt x="379" y="923"/>
                      <a:pt x="361" y="925"/>
                    </a:cubicBezTo>
                    <a:cubicBezTo>
                      <a:pt x="336" y="930"/>
                      <a:pt x="311" y="935"/>
                      <a:pt x="284" y="934"/>
                    </a:cubicBezTo>
                    <a:cubicBezTo>
                      <a:pt x="275" y="934"/>
                      <a:pt x="265" y="933"/>
                      <a:pt x="256" y="931"/>
                    </a:cubicBezTo>
                    <a:cubicBezTo>
                      <a:pt x="256" y="931"/>
                      <a:pt x="256" y="931"/>
                      <a:pt x="256" y="931"/>
                    </a:cubicBezTo>
                    <a:cubicBezTo>
                      <a:pt x="243" y="928"/>
                      <a:pt x="231" y="922"/>
                      <a:pt x="219" y="915"/>
                    </a:cubicBezTo>
                    <a:cubicBezTo>
                      <a:pt x="214" y="913"/>
                      <a:pt x="214" y="913"/>
                      <a:pt x="214" y="913"/>
                    </a:cubicBezTo>
                    <a:cubicBezTo>
                      <a:pt x="207" y="907"/>
                      <a:pt x="201" y="901"/>
                      <a:pt x="195" y="894"/>
                    </a:cubicBezTo>
                    <a:cubicBezTo>
                      <a:pt x="185" y="884"/>
                      <a:pt x="177" y="873"/>
                      <a:pt x="169" y="862"/>
                    </a:cubicBezTo>
                    <a:cubicBezTo>
                      <a:pt x="152" y="841"/>
                      <a:pt x="142" y="817"/>
                      <a:pt x="133" y="793"/>
                    </a:cubicBezTo>
                    <a:cubicBezTo>
                      <a:pt x="124" y="771"/>
                      <a:pt x="116" y="749"/>
                      <a:pt x="109" y="728"/>
                    </a:cubicBezTo>
                    <a:cubicBezTo>
                      <a:pt x="103" y="711"/>
                      <a:pt x="97" y="695"/>
                      <a:pt x="93" y="679"/>
                    </a:cubicBezTo>
                    <a:cubicBezTo>
                      <a:pt x="91" y="670"/>
                      <a:pt x="90" y="660"/>
                      <a:pt x="88" y="651"/>
                    </a:cubicBezTo>
                    <a:cubicBezTo>
                      <a:pt x="85" y="633"/>
                      <a:pt x="81" y="612"/>
                      <a:pt x="78" y="594"/>
                    </a:cubicBezTo>
                    <a:cubicBezTo>
                      <a:pt x="76" y="584"/>
                      <a:pt x="75" y="574"/>
                      <a:pt x="74" y="564"/>
                    </a:cubicBezTo>
                    <a:cubicBezTo>
                      <a:pt x="92" y="563"/>
                      <a:pt x="92" y="563"/>
                      <a:pt x="92" y="563"/>
                    </a:cubicBezTo>
                    <a:cubicBezTo>
                      <a:pt x="92" y="536"/>
                      <a:pt x="94" y="509"/>
                      <a:pt x="95" y="483"/>
                    </a:cubicBezTo>
                    <a:cubicBezTo>
                      <a:pt x="95" y="455"/>
                      <a:pt x="97" y="426"/>
                      <a:pt x="84" y="402"/>
                    </a:cubicBezTo>
                    <a:cubicBezTo>
                      <a:pt x="80" y="392"/>
                      <a:pt x="75" y="381"/>
                      <a:pt x="68" y="372"/>
                    </a:cubicBezTo>
                    <a:cubicBezTo>
                      <a:pt x="59" y="363"/>
                      <a:pt x="45" y="362"/>
                      <a:pt x="35" y="358"/>
                    </a:cubicBezTo>
                    <a:cubicBezTo>
                      <a:pt x="28" y="355"/>
                      <a:pt x="24" y="354"/>
                      <a:pt x="18" y="353"/>
                    </a:cubicBezTo>
                    <a:cubicBezTo>
                      <a:pt x="17" y="353"/>
                      <a:pt x="17" y="353"/>
                      <a:pt x="17" y="353"/>
                    </a:cubicBezTo>
                    <a:cubicBezTo>
                      <a:pt x="12" y="353"/>
                      <a:pt x="7" y="353"/>
                      <a:pt x="3" y="349"/>
                    </a:cubicBezTo>
                    <a:cubicBezTo>
                      <a:pt x="0" y="344"/>
                      <a:pt x="1" y="341"/>
                      <a:pt x="2" y="336"/>
                    </a:cubicBezTo>
                    <a:cubicBezTo>
                      <a:pt x="6" y="312"/>
                      <a:pt x="12" y="290"/>
                      <a:pt x="20" y="267"/>
                    </a:cubicBezTo>
                    <a:close/>
                  </a:path>
                </a:pathLst>
              </a:custGeom>
              <a:solidFill>
                <a:srgbClr val="21AAD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901" name="Freeform 214">
                <a:extLst>
                  <a:ext uri="{FF2B5EF4-FFF2-40B4-BE49-F238E27FC236}">
                    <a16:creationId xmlns:a16="http://schemas.microsoft.com/office/drawing/2014/main" id="{02F4EA87-FDD4-4330-9B64-41A5B0059DB7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7172" y="2914"/>
                <a:ext cx="85" cy="121"/>
              </a:xfrm>
              <a:custGeom>
                <a:avLst/>
                <a:gdLst>
                  <a:gd name="T0" fmla="*/ 35 w 80"/>
                  <a:gd name="T1" fmla="*/ 90 h 114"/>
                  <a:gd name="T2" fmla="*/ 21 w 80"/>
                  <a:gd name="T3" fmla="*/ 70 h 114"/>
                  <a:gd name="T4" fmla="*/ 6 w 80"/>
                  <a:gd name="T5" fmla="*/ 21 h 114"/>
                  <a:gd name="T6" fmla="*/ 0 w 80"/>
                  <a:gd name="T7" fmla="*/ 20 h 114"/>
                  <a:gd name="T8" fmla="*/ 8 w 80"/>
                  <a:gd name="T9" fmla="*/ 13 h 114"/>
                  <a:gd name="T10" fmla="*/ 24 w 80"/>
                  <a:gd name="T11" fmla="*/ 0 h 114"/>
                  <a:gd name="T12" fmla="*/ 39 w 80"/>
                  <a:gd name="T13" fmla="*/ 50 h 114"/>
                  <a:gd name="T14" fmla="*/ 58 w 80"/>
                  <a:gd name="T15" fmla="*/ 70 h 114"/>
                  <a:gd name="T16" fmla="*/ 64 w 80"/>
                  <a:gd name="T17" fmla="*/ 82 h 114"/>
                  <a:gd name="T18" fmla="*/ 64 w 80"/>
                  <a:gd name="T19" fmla="*/ 82 h 114"/>
                  <a:gd name="T20" fmla="*/ 66 w 80"/>
                  <a:gd name="T21" fmla="*/ 82 h 114"/>
                  <a:gd name="T22" fmla="*/ 74 w 80"/>
                  <a:gd name="T23" fmla="*/ 88 h 114"/>
                  <a:gd name="T24" fmla="*/ 80 w 80"/>
                  <a:gd name="T25" fmla="*/ 92 h 114"/>
                  <a:gd name="T26" fmla="*/ 71 w 80"/>
                  <a:gd name="T27" fmla="*/ 92 h 114"/>
                  <a:gd name="T28" fmla="*/ 55 w 80"/>
                  <a:gd name="T29" fmla="*/ 114 h 114"/>
                  <a:gd name="T30" fmla="*/ 51 w 80"/>
                  <a:gd name="T31" fmla="*/ 114 h 114"/>
                  <a:gd name="T32" fmla="*/ 43 w 80"/>
                  <a:gd name="T33" fmla="*/ 99 h 114"/>
                  <a:gd name="T34" fmla="*/ 42 w 80"/>
                  <a:gd name="T35" fmla="*/ 98 h 114"/>
                  <a:gd name="T36" fmla="*/ 41 w 80"/>
                  <a:gd name="T37" fmla="*/ 96 h 114"/>
                  <a:gd name="T38" fmla="*/ 35 w 80"/>
                  <a:gd name="T39" fmla="*/ 90 h 1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80" h="114">
                    <a:moveTo>
                      <a:pt x="35" y="90"/>
                    </a:moveTo>
                    <a:cubicBezTo>
                      <a:pt x="30" y="83"/>
                      <a:pt x="24" y="77"/>
                      <a:pt x="21" y="70"/>
                    </a:cubicBezTo>
                    <a:cubicBezTo>
                      <a:pt x="11" y="56"/>
                      <a:pt x="5" y="39"/>
                      <a:pt x="6" y="21"/>
                    </a:cubicBezTo>
                    <a:cubicBezTo>
                      <a:pt x="0" y="20"/>
                      <a:pt x="0" y="20"/>
                      <a:pt x="0" y="20"/>
                    </a:cubicBezTo>
                    <a:cubicBezTo>
                      <a:pt x="2" y="18"/>
                      <a:pt x="5" y="15"/>
                      <a:pt x="8" y="13"/>
                    </a:cubicBezTo>
                    <a:cubicBezTo>
                      <a:pt x="14" y="9"/>
                      <a:pt x="20" y="5"/>
                      <a:pt x="24" y="0"/>
                    </a:cubicBezTo>
                    <a:cubicBezTo>
                      <a:pt x="22" y="18"/>
                      <a:pt x="30" y="37"/>
                      <a:pt x="39" y="50"/>
                    </a:cubicBezTo>
                    <a:cubicBezTo>
                      <a:pt x="44" y="58"/>
                      <a:pt x="51" y="64"/>
                      <a:pt x="58" y="70"/>
                    </a:cubicBezTo>
                    <a:cubicBezTo>
                      <a:pt x="61" y="73"/>
                      <a:pt x="64" y="78"/>
                      <a:pt x="64" y="82"/>
                    </a:cubicBezTo>
                    <a:cubicBezTo>
                      <a:pt x="64" y="82"/>
                      <a:pt x="64" y="82"/>
                      <a:pt x="64" y="82"/>
                    </a:cubicBezTo>
                    <a:cubicBezTo>
                      <a:pt x="66" y="82"/>
                      <a:pt x="66" y="82"/>
                      <a:pt x="66" y="82"/>
                    </a:cubicBezTo>
                    <a:cubicBezTo>
                      <a:pt x="69" y="82"/>
                      <a:pt x="73" y="85"/>
                      <a:pt x="74" y="88"/>
                    </a:cubicBezTo>
                    <a:cubicBezTo>
                      <a:pt x="77" y="89"/>
                      <a:pt x="79" y="90"/>
                      <a:pt x="80" y="92"/>
                    </a:cubicBezTo>
                    <a:cubicBezTo>
                      <a:pt x="71" y="92"/>
                      <a:pt x="71" y="92"/>
                      <a:pt x="71" y="92"/>
                    </a:cubicBezTo>
                    <a:cubicBezTo>
                      <a:pt x="66" y="101"/>
                      <a:pt x="61" y="108"/>
                      <a:pt x="55" y="114"/>
                    </a:cubicBezTo>
                    <a:cubicBezTo>
                      <a:pt x="51" y="114"/>
                      <a:pt x="51" y="114"/>
                      <a:pt x="51" y="114"/>
                    </a:cubicBezTo>
                    <a:cubicBezTo>
                      <a:pt x="48" y="109"/>
                      <a:pt x="47" y="103"/>
                      <a:pt x="43" y="99"/>
                    </a:cubicBezTo>
                    <a:cubicBezTo>
                      <a:pt x="43" y="99"/>
                      <a:pt x="42" y="98"/>
                      <a:pt x="42" y="98"/>
                    </a:cubicBezTo>
                    <a:cubicBezTo>
                      <a:pt x="41" y="96"/>
                      <a:pt x="41" y="96"/>
                      <a:pt x="41" y="96"/>
                    </a:cubicBezTo>
                    <a:cubicBezTo>
                      <a:pt x="39" y="94"/>
                      <a:pt x="37" y="93"/>
                      <a:pt x="35" y="90"/>
                    </a:cubicBezTo>
                    <a:close/>
                  </a:path>
                </a:pathLst>
              </a:custGeom>
              <a:solidFill>
                <a:srgbClr val="E840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902" name="Freeform 215">
                <a:extLst>
                  <a:ext uri="{FF2B5EF4-FFF2-40B4-BE49-F238E27FC236}">
                    <a16:creationId xmlns:a16="http://schemas.microsoft.com/office/drawing/2014/main" id="{3B4295B2-68A9-45DA-A347-B415AF0071CB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7092" y="2885"/>
                <a:ext cx="139" cy="191"/>
              </a:xfrm>
              <a:custGeom>
                <a:avLst/>
                <a:gdLst>
                  <a:gd name="T0" fmla="*/ 86 w 131"/>
                  <a:gd name="T1" fmla="*/ 172 h 181"/>
                  <a:gd name="T2" fmla="*/ 25 w 131"/>
                  <a:gd name="T3" fmla="*/ 132 h 181"/>
                  <a:gd name="T4" fmla="*/ 10 w 131"/>
                  <a:gd name="T5" fmla="*/ 60 h 181"/>
                  <a:gd name="T6" fmla="*/ 43 w 131"/>
                  <a:gd name="T7" fmla="*/ 37 h 181"/>
                  <a:gd name="T8" fmla="*/ 81 w 131"/>
                  <a:gd name="T9" fmla="*/ 22 h 181"/>
                  <a:gd name="T10" fmla="*/ 102 w 131"/>
                  <a:gd name="T11" fmla="*/ 0 h 181"/>
                  <a:gd name="T12" fmla="*/ 103 w 131"/>
                  <a:gd name="T13" fmla="*/ 22 h 181"/>
                  <a:gd name="T14" fmla="*/ 100 w 131"/>
                  <a:gd name="T15" fmla="*/ 28 h 181"/>
                  <a:gd name="T16" fmla="*/ 84 w 131"/>
                  <a:gd name="T17" fmla="*/ 41 h 181"/>
                  <a:gd name="T18" fmla="*/ 76 w 131"/>
                  <a:gd name="T19" fmla="*/ 48 h 181"/>
                  <a:gd name="T20" fmla="*/ 82 w 131"/>
                  <a:gd name="T21" fmla="*/ 49 h 181"/>
                  <a:gd name="T22" fmla="*/ 97 w 131"/>
                  <a:gd name="T23" fmla="*/ 98 h 181"/>
                  <a:gd name="T24" fmla="*/ 111 w 131"/>
                  <a:gd name="T25" fmla="*/ 118 h 181"/>
                  <a:gd name="T26" fmla="*/ 117 w 131"/>
                  <a:gd name="T27" fmla="*/ 124 h 181"/>
                  <a:gd name="T28" fmla="*/ 118 w 131"/>
                  <a:gd name="T29" fmla="*/ 126 h 181"/>
                  <a:gd name="T30" fmla="*/ 119 w 131"/>
                  <a:gd name="T31" fmla="*/ 127 h 181"/>
                  <a:gd name="T32" fmla="*/ 127 w 131"/>
                  <a:gd name="T33" fmla="*/ 142 h 181"/>
                  <a:gd name="T34" fmla="*/ 131 w 131"/>
                  <a:gd name="T35" fmla="*/ 142 h 181"/>
                  <a:gd name="T36" fmla="*/ 121 w 131"/>
                  <a:gd name="T37" fmla="*/ 151 h 181"/>
                  <a:gd name="T38" fmla="*/ 86 w 131"/>
                  <a:gd name="T39" fmla="*/ 172 h 1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131" h="181">
                    <a:moveTo>
                      <a:pt x="86" y="172"/>
                    </a:moveTo>
                    <a:cubicBezTo>
                      <a:pt x="59" y="181"/>
                      <a:pt x="36" y="154"/>
                      <a:pt x="25" y="132"/>
                    </a:cubicBezTo>
                    <a:cubicBezTo>
                      <a:pt x="13" y="111"/>
                      <a:pt x="0" y="84"/>
                      <a:pt x="10" y="60"/>
                    </a:cubicBezTo>
                    <a:cubicBezTo>
                      <a:pt x="15" y="46"/>
                      <a:pt x="30" y="41"/>
                      <a:pt x="43" y="37"/>
                    </a:cubicBezTo>
                    <a:cubicBezTo>
                      <a:pt x="56" y="33"/>
                      <a:pt x="69" y="31"/>
                      <a:pt x="81" y="22"/>
                    </a:cubicBezTo>
                    <a:cubicBezTo>
                      <a:pt x="88" y="16"/>
                      <a:pt x="96" y="8"/>
                      <a:pt x="102" y="0"/>
                    </a:cubicBezTo>
                    <a:cubicBezTo>
                      <a:pt x="104" y="7"/>
                      <a:pt x="105" y="14"/>
                      <a:pt x="103" y="22"/>
                    </a:cubicBezTo>
                    <a:cubicBezTo>
                      <a:pt x="102" y="24"/>
                      <a:pt x="101" y="26"/>
                      <a:pt x="100" y="28"/>
                    </a:cubicBezTo>
                    <a:cubicBezTo>
                      <a:pt x="96" y="33"/>
                      <a:pt x="90" y="37"/>
                      <a:pt x="84" y="41"/>
                    </a:cubicBezTo>
                    <a:cubicBezTo>
                      <a:pt x="81" y="43"/>
                      <a:pt x="78" y="46"/>
                      <a:pt x="76" y="48"/>
                    </a:cubicBezTo>
                    <a:cubicBezTo>
                      <a:pt x="82" y="49"/>
                      <a:pt x="82" y="49"/>
                      <a:pt x="82" y="49"/>
                    </a:cubicBezTo>
                    <a:cubicBezTo>
                      <a:pt x="81" y="67"/>
                      <a:pt x="87" y="84"/>
                      <a:pt x="97" y="98"/>
                    </a:cubicBezTo>
                    <a:cubicBezTo>
                      <a:pt x="100" y="105"/>
                      <a:pt x="106" y="111"/>
                      <a:pt x="111" y="118"/>
                    </a:cubicBezTo>
                    <a:cubicBezTo>
                      <a:pt x="113" y="121"/>
                      <a:pt x="115" y="122"/>
                      <a:pt x="117" y="124"/>
                    </a:cubicBezTo>
                    <a:cubicBezTo>
                      <a:pt x="118" y="126"/>
                      <a:pt x="118" y="126"/>
                      <a:pt x="118" y="126"/>
                    </a:cubicBezTo>
                    <a:cubicBezTo>
                      <a:pt x="118" y="126"/>
                      <a:pt x="119" y="127"/>
                      <a:pt x="119" y="127"/>
                    </a:cubicBezTo>
                    <a:cubicBezTo>
                      <a:pt x="123" y="131"/>
                      <a:pt x="124" y="137"/>
                      <a:pt x="127" y="142"/>
                    </a:cubicBezTo>
                    <a:cubicBezTo>
                      <a:pt x="131" y="142"/>
                      <a:pt x="131" y="142"/>
                      <a:pt x="131" y="142"/>
                    </a:cubicBezTo>
                    <a:cubicBezTo>
                      <a:pt x="128" y="145"/>
                      <a:pt x="125" y="148"/>
                      <a:pt x="121" y="151"/>
                    </a:cubicBezTo>
                    <a:cubicBezTo>
                      <a:pt x="111" y="160"/>
                      <a:pt x="99" y="168"/>
                      <a:pt x="86" y="172"/>
                    </a:cubicBezTo>
                    <a:close/>
                  </a:path>
                </a:pathLst>
              </a:custGeom>
              <a:solidFill>
                <a:srgbClr val="E840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903" name="Freeform 216">
                <a:extLst>
                  <a:ext uri="{FF2B5EF4-FFF2-40B4-BE49-F238E27FC236}">
                    <a16:creationId xmlns:a16="http://schemas.microsoft.com/office/drawing/2014/main" id="{4EF62D63-3CD6-4CFB-A1B4-CF19B0CF6F02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7123" y="2560"/>
                <a:ext cx="40" cy="124"/>
              </a:xfrm>
              <a:custGeom>
                <a:avLst/>
                <a:gdLst>
                  <a:gd name="T0" fmla="*/ 0 w 38"/>
                  <a:gd name="T1" fmla="*/ 54 h 117"/>
                  <a:gd name="T2" fmla="*/ 9 w 38"/>
                  <a:gd name="T3" fmla="*/ 21 h 117"/>
                  <a:gd name="T4" fmla="*/ 17 w 38"/>
                  <a:gd name="T5" fmla="*/ 3 h 117"/>
                  <a:gd name="T6" fmla="*/ 17 w 38"/>
                  <a:gd name="T7" fmla="*/ 1 h 117"/>
                  <a:gd name="T8" fmla="*/ 21 w 38"/>
                  <a:gd name="T9" fmla="*/ 0 h 117"/>
                  <a:gd name="T10" fmla="*/ 21 w 38"/>
                  <a:gd name="T11" fmla="*/ 1 h 117"/>
                  <a:gd name="T12" fmla="*/ 22 w 38"/>
                  <a:gd name="T13" fmla="*/ 47 h 117"/>
                  <a:gd name="T14" fmla="*/ 31 w 38"/>
                  <a:gd name="T15" fmla="*/ 70 h 117"/>
                  <a:gd name="T16" fmla="*/ 38 w 38"/>
                  <a:gd name="T17" fmla="*/ 91 h 117"/>
                  <a:gd name="T18" fmla="*/ 37 w 38"/>
                  <a:gd name="T19" fmla="*/ 96 h 117"/>
                  <a:gd name="T20" fmla="*/ 21 w 38"/>
                  <a:gd name="T21" fmla="*/ 117 h 117"/>
                  <a:gd name="T22" fmla="*/ 20 w 38"/>
                  <a:gd name="T23" fmla="*/ 116 h 117"/>
                  <a:gd name="T24" fmla="*/ 8 w 38"/>
                  <a:gd name="T25" fmla="*/ 83 h 117"/>
                  <a:gd name="T26" fmla="*/ 0 w 38"/>
                  <a:gd name="T27" fmla="*/ 54 h 1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38" h="117">
                    <a:moveTo>
                      <a:pt x="0" y="54"/>
                    </a:moveTo>
                    <a:cubicBezTo>
                      <a:pt x="1" y="43"/>
                      <a:pt x="4" y="32"/>
                      <a:pt x="9" y="21"/>
                    </a:cubicBezTo>
                    <a:cubicBezTo>
                      <a:pt x="12" y="15"/>
                      <a:pt x="16" y="10"/>
                      <a:pt x="17" y="3"/>
                    </a:cubicBezTo>
                    <a:cubicBezTo>
                      <a:pt x="17" y="1"/>
                      <a:pt x="17" y="1"/>
                      <a:pt x="17" y="1"/>
                    </a:cubicBezTo>
                    <a:cubicBezTo>
                      <a:pt x="18" y="1"/>
                      <a:pt x="20" y="1"/>
                      <a:pt x="21" y="0"/>
                    </a:cubicBezTo>
                    <a:cubicBezTo>
                      <a:pt x="21" y="1"/>
                      <a:pt x="21" y="1"/>
                      <a:pt x="21" y="1"/>
                    </a:cubicBezTo>
                    <a:cubicBezTo>
                      <a:pt x="20" y="17"/>
                      <a:pt x="18" y="33"/>
                      <a:pt x="22" y="47"/>
                    </a:cubicBezTo>
                    <a:cubicBezTo>
                      <a:pt x="24" y="56"/>
                      <a:pt x="27" y="63"/>
                      <a:pt x="31" y="70"/>
                    </a:cubicBezTo>
                    <a:cubicBezTo>
                      <a:pt x="34" y="77"/>
                      <a:pt x="38" y="84"/>
                      <a:pt x="38" y="91"/>
                    </a:cubicBezTo>
                    <a:cubicBezTo>
                      <a:pt x="38" y="93"/>
                      <a:pt x="38" y="95"/>
                      <a:pt x="37" y="96"/>
                    </a:cubicBezTo>
                    <a:cubicBezTo>
                      <a:pt x="35" y="104"/>
                      <a:pt x="27" y="111"/>
                      <a:pt x="21" y="117"/>
                    </a:cubicBezTo>
                    <a:cubicBezTo>
                      <a:pt x="20" y="116"/>
                      <a:pt x="20" y="116"/>
                      <a:pt x="20" y="116"/>
                    </a:cubicBezTo>
                    <a:cubicBezTo>
                      <a:pt x="24" y="106"/>
                      <a:pt x="11" y="92"/>
                      <a:pt x="8" y="83"/>
                    </a:cubicBezTo>
                    <a:cubicBezTo>
                      <a:pt x="2" y="75"/>
                      <a:pt x="0" y="64"/>
                      <a:pt x="0" y="54"/>
                    </a:cubicBezTo>
                    <a:close/>
                  </a:path>
                </a:pathLst>
              </a:custGeom>
              <a:solidFill>
                <a:srgbClr val="E840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904" name="Freeform 217">
                <a:extLst>
                  <a:ext uri="{FF2B5EF4-FFF2-40B4-BE49-F238E27FC236}">
                    <a16:creationId xmlns:a16="http://schemas.microsoft.com/office/drawing/2014/main" id="{6D8774BD-5BBF-4A32-96E8-F430C360DE57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7045" y="2714"/>
                <a:ext cx="143" cy="194"/>
              </a:xfrm>
              <a:custGeom>
                <a:avLst/>
                <a:gdLst>
                  <a:gd name="T0" fmla="*/ 30 w 135"/>
                  <a:gd name="T1" fmla="*/ 158 h 183"/>
                  <a:gd name="T2" fmla="*/ 15 w 135"/>
                  <a:gd name="T3" fmla="*/ 130 h 183"/>
                  <a:gd name="T4" fmla="*/ 17 w 135"/>
                  <a:gd name="T5" fmla="*/ 129 h 183"/>
                  <a:gd name="T6" fmla="*/ 6 w 135"/>
                  <a:gd name="T7" fmla="*/ 68 h 183"/>
                  <a:gd name="T8" fmla="*/ 24 w 135"/>
                  <a:gd name="T9" fmla="*/ 40 h 183"/>
                  <a:gd name="T10" fmla="*/ 44 w 135"/>
                  <a:gd name="T11" fmla="*/ 35 h 183"/>
                  <a:gd name="T12" fmla="*/ 70 w 135"/>
                  <a:gd name="T13" fmla="*/ 27 h 183"/>
                  <a:gd name="T14" fmla="*/ 91 w 135"/>
                  <a:gd name="T15" fmla="*/ 17 h 183"/>
                  <a:gd name="T16" fmla="*/ 110 w 135"/>
                  <a:gd name="T17" fmla="*/ 0 h 183"/>
                  <a:gd name="T18" fmla="*/ 109 w 135"/>
                  <a:gd name="T19" fmla="*/ 9 h 183"/>
                  <a:gd name="T20" fmla="*/ 109 w 135"/>
                  <a:gd name="T21" fmla="*/ 10 h 183"/>
                  <a:gd name="T22" fmla="*/ 108 w 135"/>
                  <a:gd name="T23" fmla="*/ 17 h 183"/>
                  <a:gd name="T24" fmla="*/ 105 w 135"/>
                  <a:gd name="T25" fmla="*/ 34 h 183"/>
                  <a:gd name="T26" fmla="*/ 114 w 135"/>
                  <a:gd name="T27" fmla="*/ 72 h 183"/>
                  <a:gd name="T28" fmla="*/ 124 w 135"/>
                  <a:gd name="T29" fmla="*/ 88 h 183"/>
                  <a:gd name="T30" fmla="*/ 132 w 135"/>
                  <a:gd name="T31" fmla="*/ 99 h 183"/>
                  <a:gd name="T32" fmla="*/ 133 w 135"/>
                  <a:gd name="T33" fmla="*/ 122 h 183"/>
                  <a:gd name="T34" fmla="*/ 134 w 135"/>
                  <a:gd name="T35" fmla="*/ 122 h 183"/>
                  <a:gd name="T36" fmla="*/ 111 w 135"/>
                  <a:gd name="T37" fmla="*/ 153 h 183"/>
                  <a:gd name="T38" fmla="*/ 89 w 135"/>
                  <a:gd name="T39" fmla="*/ 164 h 183"/>
                  <a:gd name="T40" fmla="*/ 78 w 135"/>
                  <a:gd name="T41" fmla="*/ 166 h 183"/>
                  <a:gd name="T42" fmla="*/ 80 w 135"/>
                  <a:gd name="T43" fmla="*/ 178 h 183"/>
                  <a:gd name="T44" fmla="*/ 54 w 135"/>
                  <a:gd name="T45" fmla="*/ 180 h 183"/>
                  <a:gd name="T46" fmla="*/ 30 w 135"/>
                  <a:gd name="T47" fmla="*/ 158 h 1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135" h="183">
                    <a:moveTo>
                      <a:pt x="30" y="158"/>
                    </a:moveTo>
                    <a:cubicBezTo>
                      <a:pt x="25" y="149"/>
                      <a:pt x="20" y="139"/>
                      <a:pt x="15" y="130"/>
                    </a:cubicBezTo>
                    <a:cubicBezTo>
                      <a:pt x="17" y="129"/>
                      <a:pt x="17" y="129"/>
                      <a:pt x="17" y="129"/>
                    </a:cubicBezTo>
                    <a:cubicBezTo>
                      <a:pt x="10" y="110"/>
                      <a:pt x="0" y="88"/>
                      <a:pt x="6" y="68"/>
                    </a:cubicBezTo>
                    <a:cubicBezTo>
                      <a:pt x="10" y="58"/>
                      <a:pt x="11" y="43"/>
                      <a:pt x="24" y="40"/>
                    </a:cubicBezTo>
                    <a:cubicBezTo>
                      <a:pt x="30" y="39"/>
                      <a:pt x="39" y="36"/>
                      <a:pt x="44" y="35"/>
                    </a:cubicBezTo>
                    <a:cubicBezTo>
                      <a:pt x="53" y="31"/>
                      <a:pt x="62" y="31"/>
                      <a:pt x="70" y="27"/>
                    </a:cubicBezTo>
                    <a:cubicBezTo>
                      <a:pt x="77" y="24"/>
                      <a:pt x="85" y="22"/>
                      <a:pt x="91" y="17"/>
                    </a:cubicBezTo>
                    <a:cubicBezTo>
                      <a:pt x="99" y="13"/>
                      <a:pt x="105" y="7"/>
                      <a:pt x="110" y="0"/>
                    </a:cubicBezTo>
                    <a:cubicBezTo>
                      <a:pt x="111" y="3"/>
                      <a:pt x="110" y="6"/>
                      <a:pt x="109" y="9"/>
                    </a:cubicBezTo>
                    <a:cubicBezTo>
                      <a:pt x="109" y="10"/>
                      <a:pt x="109" y="10"/>
                      <a:pt x="109" y="10"/>
                    </a:cubicBezTo>
                    <a:cubicBezTo>
                      <a:pt x="109" y="12"/>
                      <a:pt x="108" y="15"/>
                      <a:pt x="108" y="17"/>
                    </a:cubicBezTo>
                    <a:cubicBezTo>
                      <a:pt x="107" y="23"/>
                      <a:pt x="105" y="28"/>
                      <a:pt x="105" y="34"/>
                    </a:cubicBezTo>
                    <a:cubicBezTo>
                      <a:pt x="104" y="48"/>
                      <a:pt x="108" y="59"/>
                      <a:pt x="114" y="72"/>
                    </a:cubicBezTo>
                    <a:cubicBezTo>
                      <a:pt x="117" y="77"/>
                      <a:pt x="120" y="83"/>
                      <a:pt x="124" y="88"/>
                    </a:cubicBezTo>
                    <a:cubicBezTo>
                      <a:pt x="127" y="92"/>
                      <a:pt x="131" y="94"/>
                      <a:pt x="132" y="99"/>
                    </a:cubicBezTo>
                    <a:cubicBezTo>
                      <a:pt x="135" y="105"/>
                      <a:pt x="134" y="113"/>
                      <a:pt x="133" y="122"/>
                    </a:cubicBezTo>
                    <a:cubicBezTo>
                      <a:pt x="134" y="122"/>
                      <a:pt x="134" y="122"/>
                      <a:pt x="134" y="122"/>
                    </a:cubicBezTo>
                    <a:cubicBezTo>
                      <a:pt x="129" y="134"/>
                      <a:pt x="120" y="144"/>
                      <a:pt x="111" y="153"/>
                    </a:cubicBezTo>
                    <a:cubicBezTo>
                      <a:pt x="106" y="158"/>
                      <a:pt x="96" y="162"/>
                      <a:pt x="89" y="164"/>
                    </a:cubicBezTo>
                    <a:cubicBezTo>
                      <a:pt x="86" y="164"/>
                      <a:pt x="82" y="165"/>
                      <a:pt x="78" y="166"/>
                    </a:cubicBezTo>
                    <a:cubicBezTo>
                      <a:pt x="80" y="178"/>
                      <a:pt x="80" y="178"/>
                      <a:pt x="80" y="178"/>
                    </a:cubicBezTo>
                    <a:cubicBezTo>
                      <a:pt x="72" y="180"/>
                      <a:pt x="63" y="183"/>
                      <a:pt x="54" y="180"/>
                    </a:cubicBezTo>
                    <a:cubicBezTo>
                      <a:pt x="44" y="176"/>
                      <a:pt x="35" y="166"/>
                      <a:pt x="30" y="158"/>
                    </a:cubicBezTo>
                    <a:close/>
                  </a:path>
                </a:pathLst>
              </a:custGeom>
              <a:solidFill>
                <a:srgbClr val="E840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905" name="Freeform 218">
                <a:extLst>
                  <a:ext uri="{FF2B5EF4-FFF2-40B4-BE49-F238E27FC236}">
                    <a16:creationId xmlns:a16="http://schemas.microsoft.com/office/drawing/2014/main" id="{1EB07778-75A1-4BC5-AAC9-05113E3B63E9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7035" y="2547"/>
                <a:ext cx="113" cy="163"/>
              </a:xfrm>
              <a:custGeom>
                <a:avLst/>
                <a:gdLst>
                  <a:gd name="T0" fmla="*/ 38 w 107"/>
                  <a:gd name="T1" fmla="*/ 147 h 154"/>
                  <a:gd name="T2" fmla="*/ 6 w 107"/>
                  <a:gd name="T3" fmla="*/ 115 h 154"/>
                  <a:gd name="T4" fmla="*/ 2 w 107"/>
                  <a:gd name="T5" fmla="*/ 90 h 154"/>
                  <a:gd name="T6" fmla="*/ 22 w 107"/>
                  <a:gd name="T7" fmla="*/ 15 h 154"/>
                  <a:gd name="T8" fmla="*/ 90 w 107"/>
                  <a:gd name="T9" fmla="*/ 13 h 154"/>
                  <a:gd name="T10" fmla="*/ 100 w 107"/>
                  <a:gd name="T11" fmla="*/ 13 h 154"/>
                  <a:gd name="T12" fmla="*/ 100 w 107"/>
                  <a:gd name="T13" fmla="*/ 15 h 154"/>
                  <a:gd name="T14" fmla="*/ 92 w 107"/>
                  <a:gd name="T15" fmla="*/ 33 h 154"/>
                  <a:gd name="T16" fmla="*/ 83 w 107"/>
                  <a:gd name="T17" fmla="*/ 66 h 154"/>
                  <a:gd name="T18" fmla="*/ 91 w 107"/>
                  <a:gd name="T19" fmla="*/ 95 h 154"/>
                  <a:gd name="T20" fmla="*/ 103 w 107"/>
                  <a:gd name="T21" fmla="*/ 128 h 154"/>
                  <a:gd name="T22" fmla="*/ 104 w 107"/>
                  <a:gd name="T23" fmla="*/ 129 h 154"/>
                  <a:gd name="T24" fmla="*/ 104 w 107"/>
                  <a:gd name="T25" fmla="*/ 129 h 154"/>
                  <a:gd name="T26" fmla="*/ 83 w 107"/>
                  <a:gd name="T27" fmla="*/ 145 h 154"/>
                  <a:gd name="T28" fmla="*/ 38 w 107"/>
                  <a:gd name="T29" fmla="*/ 148 h 154"/>
                  <a:gd name="T30" fmla="*/ 38 w 107"/>
                  <a:gd name="T31" fmla="*/ 147 h 1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107" h="154">
                    <a:moveTo>
                      <a:pt x="38" y="147"/>
                    </a:moveTo>
                    <a:cubicBezTo>
                      <a:pt x="23" y="140"/>
                      <a:pt x="10" y="131"/>
                      <a:pt x="6" y="115"/>
                    </a:cubicBezTo>
                    <a:cubicBezTo>
                      <a:pt x="3" y="106"/>
                      <a:pt x="3" y="97"/>
                      <a:pt x="2" y="90"/>
                    </a:cubicBezTo>
                    <a:cubicBezTo>
                      <a:pt x="0" y="64"/>
                      <a:pt x="0" y="31"/>
                      <a:pt x="22" y="15"/>
                    </a:cubicBezTo>
                    <a:cubicBezTo>
                      <a:pt x="43" y="0"/>
                      <a:pt x="69" y="9"/>
                      <a:pt x="90" y="13"/>
                    </a:cubicBezTo>
                    <a:cubicBezTo>
                      <a:pt x="94" y="14"/>
                      <a:pt x="97" y="14"/>
                      <a:pt x="100" y="13"/>
                    </a:cubicBezTo>
                    <a:cubicBezTo>
                      <a:pt x="100" y="15"/>
                      <a:pt x="100" y="15"/>
                      <a:pt x="100" y="15"/>
                    </a:cubicBezTo>
                    <a:cubicBezTo>
                      <a:pt x="99" y="22"/>
                      <a:pt x="95" y="27"/>
                      <a:pt x="92" y="33"/>
                    </a:cubicBezTo>
                    <a:cubicBezTo>
                      <a:pt x="87" y="44"/>
                      <a:pt x="84" y="55"/>
                      <a:pt x="83" y="66"/>
                    </a:cubicBezTo>
                    <a:cubicBezTo>
                      <a:pt x="83" y="76"/>
                      <a:pt x="85" y="87"/>
                      <a:pt x="91" y="95"/>
                    </a:cubicBezTo>
                    <a:cubicBezTo>
                      <a:pt x="94" y="104"/>
                      <a:pt x="107" y="118"/>
                      <a:pt x="103" y="128"/>
                    </a:cubicBezTo>
                    <a:cubicBezTo>
                      <a:pt x="104" y="129"/>
                      <a:pt x="104" y="129"/>
                      <a:pt x="104" y="129"/>
                    </a:cubicBezTo>
                    <a:cubicBezTo>
                      <a:pt x="104" y="129"/>
                      <a:pt x="104" y="129"/>
                      <a:pt x="104" y="129"/>
                    </a:cubicBezTo>
                    <a:cubicBezTo>
                      <a:pt x="98" y="136"/>
                      <a:pt x="91" y="142"/>
                      <a:pt x="83" y="145"/>
                    </a:cubicBezTo>
                    <a:cubicBezTo>
                      <a:pt x="68" y="153"/>
                      <a:pt x="53" y="154"/>
                      <a:pt x="38" y="148"/>
                    </a:cubicBezTo>
                    <a:lnTo>
                      <a:pt x="38" y="147"/>
                    </a:lnTo>
                    <a:close/>
                  </a:path>
                </a:pathLst>
              </a:custGeom>
              <a:solidFill>
                <a:srgbClr val="E840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906" name="Freeform 219">
                <a:extLst>
                  <a:ext uri="{FF2B5EF4-FFF2-40B4-BE49-F238E27FC236}">
                    <a16:creationId xmlns:a16="http://schemas.microsoft.com/office/drawing/2014/main" id="{41D93844-8C1C-4EEE-9608-BFB967EB6C9A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7027" y="2256"/>
                <a:ext cx="186" cy="261"/>
              </a:xfrm>
              <a:custGeom>
                <a:avLst/>
                <a:gdLst>
                  <a:gd name="T0" fmla="*/ 18 w 175"/>
                  <a:gd name="T1" fmla="*/ 27 h 247"/>
                  <a:gd name="T2" fmla="*/ 61 w 175"/>
                  <a:gd name="T3" fmla="*/ 0 h 247"/>
                  <a:gd name="T4" fmla="*/ 63 w 175"/>
                  <a:gd name="T5" fmla="*/ 3 h 247"/>
                  <a:gd name="T6" fmla="*/ 65 w 175"/>
                  <a:gd name="T7" fmla="*/ 18 h 247"/>
                  <a:gd name="T8" fmla="*/ 76 w 175"/>
                  <a:gd name="T9" fmla="*/ 48 h 247"/>
                  <a:gd name="T10" fmla="*/ 100 w 175"/>
                  <a:gd name="T11" fmla="*/ 94 h 247"/>
                  <a:gd name="T12" fmla="*/ 123 w 175"/>
                  <a:gd name="T13" fmla="*/ 125 h 247"/>
                  <a:gd name="T14" fmla="*/ 136 w 175"/>
                  <a:gd name="T15" fmla="*/ 140 h 247"/>
                  <a:gd name="T16" fmla="*/ 150 w 175"/>
                  <a:gd name="T17" fmla="*/ 150 h 247"/>
                  <a:gd name="T18" fmla="*/ 150 w 175"/>
                  <a:gd name="T19" fmla="*/ 152 h 247"/>
                  <a:gd name="T20" fmla="*/ 158 w 175"/>
                  <a:gd name="T21" fmla="*/ 152 h 247"/>
                  <a:gd name="T22" fmla="*/ 175 w 175"/>
                  <a:gd name="T23" fmla="*/ 163 h 247"/>
                  <a:gd name="T24" fmla="*/ 173 w 175"/>
                  <a:gd name="T25" fmla="*/ 164 h 247"/>
                  <a:gd name="T26" fmla="*/ 140 w 175"/>
                  <a:gd name="T27" fmla="*/ 196 h 247"/>
                  <a:gd name="T28" fmla="*/ 132 w 175"/>
                  <a:gd name="T29" fmla="*/ 202 h 247"/>
                  <a:gd name="T30" fmla="*/ 133 w 175"/>
                  <a:gd name="T31" fmla="*/ 203 h 247"/>
                  <a:gd name="T32" fmla="*/ 118 w 175"/>
                  <a:gd name="T33" fmla="*/ 221 h 247"/>
                  <a:gd name="T34" fmla="*/ 104 w 175"/>
                  <a:gd name="T35" fmla="*/ 235 h 247"/>
                  <a:gd name="T36" fmla="*/ 92 w 175"/>
                  <a:gd name="T37" fmla="*/ 247 h 247"/>
                  <a:gd name="T38" fmla="*/ 81 w 175"/>
                  <a:gd name="T39" fmla="*/ 243 h 247"/>
                  <a:gd name="T40" fmla="*/ 66 w 175"/>
                  <a:gd name="T41" fmla="*/ 231 h 247"/>
                  <a:gd name="T42" fmla="*/ 44 w 175"/>
                  <a:gd name="T43" fmla="*/ 207 h 247"/>
                  <a:gd name="T44" fmla="*/ 17 w 175"/>
                  <a:gd name="T45" fmla="*/ 155 h 247"/>
                  <a:gd name="T46" fmla="*/ 0 w 175"/>
                  <a:gd name="T47" fmla="*/ 92 h 247"/>
                  <a:gd name="T48" fmla="*/ 8 w 175"/>
                  <a:gd name="T49" fmla="*/ 61 h 247"/>
                  <a:gd name="T50" fmla="*/ 21 w 175"/>
                  <a:gd name="T51" fmla="*/ 31 h 247"/>
                  <a:gd name="T52" fmla="*/ 18 w 175"/>
                  <a:gd name="T53" fmla="*/ 27 h 2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175" h="247">
                    <a:moveTo>
                      <a:pt x="18" y="27"/>
                    </a:moveTo>
                    <a:cubicBezTo>
                      <a:pt x="33" y="18"/>
                      <a:pt x="47" y="9"/>
                      <a:pt x="61" y="0"/>
                    </a:cubicBezTo>
                    <a:cubicBezTo>
                      <a:pt x="63" y="3"/>
                      <a:pt x="63" y="3"/>
                      <a:pt x="63" y="3"/>
                    </a:cubicBezTo>
                    <a:cubicBezTo>
                      <a:pt x="61" y="7"/>
                      <a:pt x="65" y="15"/>
                      <a:pt x="65" y="18"/>
                    </a:cubicBezTo>
                    <a:cubicBezTo>
                      <a:pt x="68" y="28"/>
                      <a:pt x="72" y="38"/>
                      <a:pt x="76" y="48"/>
                    </a:cubicBezTo>
                    <a:cubicBezTo>
                      <a:pt x="83" y="64"/>
                      <a:pt x="90" y="79"/>
                      <a:pt x="100" y="94"/>
                    </a:cubicBezTo>
                    <a:cubicBezTo>
                      <a:pt x="107" y="104"/>
                      <a:pt x="116" y="116"/>
                      <a:pt x="123" y="125"/>
                    </a:cubicBezTo>
                    <a:cubicBezTo>
                      <a:pt x="128" y="130"/>
                      <a:pt x="132" y="135"/>
                      <a:pt x="136" y="140"/>
                    </a:cubicBezTo>
                    <a:cubicBezTo>
                      <a:pt x="140" y="144"/>
                      <a:pt x="146" y="149"/>
                      <a:pt x="150" y="150"/>
                    </a:cubicBezTo>
                    <a:cubicBezTo>
                      <a:pt x="150" y="152"/>
                      <a:pt x="150" y="152"/>
                      <a:pt x="150" y="152"/>
                    </a:cubicBezTo>
                    <a:cubicBezTo>
                      <a:pt x="151" y="154"/>
                      <a:pt x="155" y="151"/>
                      <a:pt x="158" y="152"/>
                    </a:cubicBezTo>
                    <a:cubicBezTo>
                      <a:pt x="164" y="152"/>
                      <a:pt x="171" y="156"/>
                      <a:pt x="175" y="163"/>
                    </a:cubicBezTo>
                    <a:cubicBezTo>
                      <a:pt x="173" y="164"/>
                      <a:pt x="173" y="164"/>
                      <a:pt x="173" y="164"/>
                    </a:cubicBezTo>
                    <a:cubicBezTo>
                      <a:pt x="165" y="177"/>
                      <a:pt x="152" y="187"/>
                      <a:pt x="140" y="196"/>
                    </a:cubicBezTo>
                    <a:cubicBezTo>
                      <a:pt x="137" y="198"/>
                      <a:pt x="135" y="200"/>
                      <a:pt x="132" y="202"/>
                    </a:cubicBezTo>
                    <a:cubicBezTo>
                      <a:pt x="133" y="203"/>
                      <a:pt x="133" y="203"/>
                      <a:pt x="133" y="203"/>
                    </a:cubicBezTo>
                    <a:cubicBezTo>
                      <a:pt x="129" y="210"/>
                      <a:pt x="122" y="215"/>
                      <a:pt x="118" y="221"/>
                    </a:cubicBezTo>
                    <a:cubicBezTo>
                      <a:pt x="113" y="227"/>
                      <a:pt x="108" y="231"/>
                      <a:pt x="104" y="235"/>
                    </a:cubicBezTo>
                    <a:cubicBezTo>
                      <a:pt x="101" y="239"/>
                      <a:pt x="97" y="244"/>
                      <a:pt x="92" y="247"/>
                    </a:cubicBezTo>
                    <a:cubicBezTo>
                      <a:pt x="88" y="246"/>
                      <a:pt x="84" y="245"/>
                      <a:pt x="81" y="243"/>
                    </a:cubicBezTo>
                    <a:cubicBezTo>
                      <a:pt x="76" y="239"/>
                      <a:pt x="70" y="236"/>
                      <a:pt x="66" y="231"/>
                    </a:cubicBezTo>
                    <a:cubicBezTo>
                      <a:pt x="58" y="224"/>
                      <a:pt x="51" y="216"/>
                      <a:pt x="44" y="207"/>
                    </a:cubicBezTo>
                    <a:cubicBezTo>
                      <a:pt x="34" y="191"/>
                      <a:pt x="25" y="173"/>
                      <a:pt x="17" y="155"/>
                    </a:cubicBezTo>
                    <a:cubicBezTo>
                      <a:pt x="9" y="135"/>
                      <a:pt x="2" y="113"/>
                      <a:pt x="0" y="92"/>
                    </a:cubicBezTo>
                    <a:cubicBezTo>
                      <a:pt x="0" y="81"/>
                      <a:pt x="4" y="69"/>
                      <a:pt x="8" y="61"/>
                    </a:cubicBezTo>
                    <a:cubicBezTo>
                      <a:pt x="11" y="50"/>
                      <a:pt x="15" y="40"/>
                      <a:pt x="21" y="31"/>
                    </a:cubicBezTo>
                    <a:lnTo>
                      <a:pt x="18" y="27"/>
                    </a:lnTo>
                    <a:close/>
                  </a:path>
                </a:pathLst>
              </a:custGeom>
              <a:solidFill>
                <a:srgbClr val="E840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907" name="Freeform 220">
                <a:extLst>
                  <a:ext uri="{FF2B5EF4-FFF2-40B4-BE49-F238E27FC236}">
                    <a16:creationId xmlns:a16="http://schemas.microsoft.com/office/drawing/2014/main" id="{80E4BE09-6AA6-42BB-8806-9ABB4BE0DF68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765" y="2208"/>
                <a:ext cx="233" cy="231"/>
              </a:xfrm>
              <a:custGeom>
                <a:avLst/>
                <a:gdLst>
                  <a:gd name="T0" fmla="*/ 1 w 219"/>
                  <a:gd name="T1" fmla="*/ 197 h 218"/>
                  <a:gd name="T2" fmla="*/ 15 w 219"/>
                  <a:gd name="T3" fmla="*/ 153 h 218"/>
                  <a:gd name="T4" fmla="*/ 25 w 219"/>
                  <a:gd name="T5" fmla="*/ 123 h 218"/>
                  <a:gd name="T6" fmla="*/ 60 w 219"/>
                  <a:gd name="T7" fmla="*/ 97 h 218"/>
                  <a:gd name="T8" fmla="*/ 63 w 219"/>
                  <a:gd name="T9" fmla="*/ 95 h 218"/>
                  <a:gd name="T10" fmla="*/ 133 w 219"/>
                  <a:gd name="T11" fmla="*/ 43 h 218"/>
                  <a:gd name="T12" fmla="*/ 164 w 219"/>
                  <a:gd name="T13" fmla="*/ 18 h 218"/>
                  <a:gd name="T14" fmla="*/ 194 w 219"/>
                  <a:gd name="T15" fmla="*/ 0 h 218"/>
                  <a:gd name="T16" fmla="*/ 196 w 219"/>
                  <a:gd name="T17" fmla="*/ 0 h 218"/>
                  <a:gd name="T18" fmla="*/ 196 w 219"/>
                  <a:gd name="T19" fmla="*/ 7 h 218"/>
                  <a:gd name="T20" fmla="*/ 212 w 219"/>
                  <a:gd name="T21" fmla="*/ 26 h 218"/>
                  <a:gd name="T22" fmla="*/ 219 w 219"/>
                  <a:gd name="T23" fmla="*/ 37 h 218"/>
                  <a:gd name="T24" fmla="*/ 193 w 219"/>
                  <a:gd name="T25" fmla="*/ 56 h 218"/>
                  <a:gd name="T26" fmla="*/ 122 w 219"/>
                  <a:gd name="T27" fmla="*/ 98 h 218"/>
                  <a:gd name="T28" fmla="*/ 79 w 219"/>
                  <a:gd name="T29" fmla="*/ 129 h 218"/>
                  <a:gd name="T30" fmla="*/ 45 w 219"/>
                  <a:gd name="T31" fmla="*/ 150 h 218"/>
                  <a:gd name="T32" fmla="*/ 19 w 219"/>
                  <a:gd name="T33" fmla="*/ 211 h 218"/>
                  <a:gd name="T34" fmla="*/ 16 w 219"/>
                  <a:gd name="T35" fmla="*/ 218 h 218"/>
                  <a:gd name="T36" fmla="*/ 5 w 219"/>
                  <a:gd name="T37" fmla="*/ 212 h 218"/>
                  <a:gd name="T38" fmla="*/ 1 w 219"/>
                  <a:gd name="T39" fmla="*/ 197 h 2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219" h="218">
                    <a:moveTo>
                      <a:pt x="1" y="197"/>
                    </a:moveTo>
                    <a:cubicBezTo>
                      <a:pt x="4" y="182"/>
                      <a:pt x="10" y="168"/>
                      <a:pt x="15" y="153"/>
                    </a:cubicBezTo>
                    <a:cubicBezTo>
                      <a:pt x="17" y="143"/>
                      <a:pt x="21" y="132"/>
                      <a:pt x="25" y="123"/>
                    </a:cubicBezTo>
                    <a:cubicBezTo>
                      <a:pt x="32" y="110"/>
                      <a:pt x="48" y="105"/>
                      <a:pt x="60" y="97"/>
                    </a:cubicBezTo>
                    <a:cubicBezTo>
                      <a:pt x="61" y="96"/>
                      <a:pt x="62" y="96"/>
                      <a:pt x="63" y="95"/>
                    </a:cubicBezTo>
                    <a:cubicBezTo>
                      <a:pt x="88" y="80"/>
                      <a:pt x="111" y="62"/>
                      <a:pt x="133" y="43"/>
                    </a:cubicBezTo>
                    <a:cubicBezTo>
                      <a:pt x="144" y="35"/>
                      <a:pt x="154" y="25"/>
                      <a:pt x="164" y="18"/>
                    </a:cubicBezTo>
                    <a:cubicBezTo>
                      <a:pt x="174" y="11"/>
                      <a:pt x="182" y="1"/>
                      <a:pt x="194" y="0"/>
                    </a:cubicBezTo>
                    <a:cubicBezTo>
                      <a:pt x="195" y="0"/>
                      <a:pt x="195" y="0"/>
                      <a:pt x="196" y="0"/>
                    </a:cubicBezTo>
                    <a:cubicBezTo>
                      <a:pt x="196" y="7"/>
                      <a:pt x="196" y="7"/>
                      <a:pt x="196" y="7"/>
                    </a:cubicBezTo>
                    <a:cubicBezTo>
                      <a:pt x="199" y="14"/>
                      <a:pt x="207" y="20"/>
                      <a:pt x="212" y="26"/>
                    </a:cubicBezTo>
                    <a:cubicBezTo>
                      <a:pt x="214" y="29"/>
                      <a:pt x="215" y="35"/>
                      <a:pt x="219" y="37"/>
                    </a:cubicBezTo>
                    <a:cubicBezTo>
                      <a:pt x="210" y="43"/>
                      <a:pt x="201" y="50"/>
                      <a:pt x="193" y="56"/>
                    </a:cubicBezTo>
                    <a:cubicBezTo>
                      <a:pt x="170" y="71"/>
                      <a:pt x="145" y="85"/>
                      <a:pt x="122" y="98"/>
                    </a:cubicBezTo>
                    <a:cubicBezTo>
                      <a:pt x="108" y="108"/>
                      <a:pt x="94" y="120"/>
                      <a:pt x="79" y="129"/>
                    </a:cubicBezTo>
                    <a:cubicBezTo>
                      <a:pt x="68" y="135"/>
                      <a:pt x="56" y="143"/>
                      <a:pt x="45" y="150"/>
                    </a:cubicBezTo>
                    <a:cubicBezTo>
                      <a:pt x="27" y="164"/>
                      <a:pt x="25" y="191"/>
                      <a:pt x="19" y="211"/>
                    </a:cubicBezTo>
                    <a:cubicBezTo>
                      <a:pt x="18" y="214"/>
                      <a:pt x="17" y="216"/>
                      <a:pt x="16" y="218"/>
                    </a:cubicBezTo>
                    <a:cubicBezTo>
                      <a:pt x="13" y="217"/>
                      <a:pt x="8" y="215"/>
                      <a:pt x="5" y="212"/>
                    </a:cubicBezTo>
                    <a:cubicBezTo>
                      <a:pt x="1" y="208"/>
                      <a:pt x="0" y="204"/>
                      <a:pt x="1" y="197"/>
                    </a:cubicBezTo>
                    <a:close/>
                  </a:path>
                </a:pathLst>
              </a:custGeom>
              <a:solidFill>
                <a:srgbClr val="E840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908" name="Freeform 221">
                <a:extLst>
                  <a:ext uri="{FF2B5EF4-FFF2-40B4-BE49-F238E27FC236}">
                    <a16:creationId xmlns:a16="http://schemas.microsoft.com/office/drawing/2014/main" id="{23F6B1D3-BDDA-4DBB-958A-5679E2BEC6BE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831" y="2152"/>
                <a:ext cx="245" cy="157"/>
              </a:xfrm>
              <a:custGeom>
                <a:avLst/>
                <a:gdLst>
                  <a:gd name="T0" fmla="*/ 0 w 231"/>
                  <a:gd name="T1" fmla="*/ 146 h 148"/>
                  <a:gd name="T2" fmla="*/ 29 w 231"/>
                  <a:gd name="T3" fmla="*/ 113 h 148"/>
                  <a:gd name="T4" fmla="*/ 82 w 231"/>
                  <a:gd name="T5" fmla="*/ 78 h 148"/>
                  <a:gd name="T6" fmla="*/ 132 w 231"/>
                  <a:gd name="T7" fmla="*/ 39 h 148"/>
                  <a:gd name="T8" fmla="*/ 153 w 231"/>
                  <a:gd name="T9" fmla="*/ 23 h 148"/>
                  <a:gd name="T10" fmla="*/ 176 w 231"/>
                  <a:gd name="T11" fmla="*/ 6 h 148"/>
                  <a:gd name="T12" fmla="*/ 203 w 231"/>
                  <a:gd name="T13" fmla="*/ 6 h 148"/>
                  <a:gd name="T14" fmla="*/ 222 w 231"/>
                  <a:gd name="T15" fmla="*/ 21 h 148"/>
                  <a:gd name="T16" fmla="*/ 229 w 231"/>
                  <a:gd name="T17" fmla="*/ 30 h 148"/>
                  <a:gd name="T18" fmla="*/ 231 w 231"/>
                  <a:gd name="T19" fmla="*/ 32 h 148"/>
                  <a:gd name="T20" fmla="*/ 170 w 231"/>
                  <a:gd name="T21" fmla="*/ 80 h 148"/>
                  <a:gd name="T22" fmla="*/ 157 w 231"/>
                  <a:gd name="T23" fmla="*/ 90 h 148"/>
                  <a:gd name="T24" fmla="*/ 150 w 231"/>
                  <a:gd name="T25" fmla="*/ 79 h 148"/>
                  <a:gd name="T26" fmla="*/ 134 w 231"/>
                  <a:gd name="T27" fmla="*/ 60 h 148"/>
                  <a:gd name="T28" fmla="*/ 134 w 231"/>
                  <a:gd name="T29" fmla="*/ 53 h 148"/>
                  <a:gd name="T30" fmla="*/ 132 w 231"/>
                  <a:gd name="T31" fmla="*/ 53 h 148"/>
                  <a:gd name="T32" fmla="*/ 102 w 231"/>
                  <a:gd name="T33" fmla="*/ 71 h 148"/>
                  <a:gd name="T34" fmla="*/ 71 w 231"/>
                  <a:gd name="T35" fmla="*/ 96 h 148"/>
                  <a:gd name="T36" fmla="*/ 1 w 231"/>
                  <a:gd name="T37" fmla="*/ 148 h 148"/>
                  <a:gd name="T38" fmla="*/ 0 w 231"/>
                  <a:gd name="T39" fmla="*/ 146 h 1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231" h="148">
                    <a:moveTo>
                      <a:pt x="0" y="146"/>
                    </a:moveTo>
                    <a:cubicBezTo>
                      <a:pt x="12" y="136"/>
                      <a:pt x="16" y="121"/>
                      <a:pt x="29" y="113"/>
                    </a:cubicBezTo>
                    <a:cubicBezTo>
                      <a:pt x="48" y="100"/>
                      <a:pt x="65" y="90"/>
                      <a:pt x="82" y="78"/>
                    </a:cubicBezTo>
                    <a:cubicBezTo>
                      <a:pt x="100" y="65"/>
                      <a:pt x="116" y="52"/>
                      <a:pt x="132" y="39"/>
                    </a:cubicBezTo>
                    <a:cubicBezTo>
                      <a:pt x="140" y="34"/>
                      <a:pt x="146" y="29"/>
                      <a:pt x="153" y="23"/>
                    </a:cubicBezTo>
                    <a:cubicBezTo>
                      <a:pt x="160" y="16"/>
                      <a:pt x="166" y="10"/>
                      <a:pt x="176" y="6"/>
                    </a:cubicBezTo>
                    <a:cubicBezTo>
                      <a:pt x="186" y="2"/>
                      <a:pt x="193" y="0"/>
                      <a:pt x="203" y="6"/>
                    </a:cubicBezTo>
                    <a:cubicBezTo>
                      <a:pt x="210" y="10"/>
                      <a:pt x="216" y="16"/>
                      <a:pt x="222" y="21"/>
                    </a:cubicBezTo>
                    <a:cubicBezTo>
                      <a:pt x="224" y="23"/>
                      <a:pt x="228" y="27"/>
                      <a:pt x="229" y="30"/>
                    </a:cubicBezTo>
                    <a:cubicBezTo>
                      <a:pt x="231" y="32"/>
                      <a:pt x="231" y="32"/>
                      <a:pt x="231" y="32"/>
                    </a:cubicBezTo>
                    <a:cubicBezTo>
                      <a:pt x="211" y="49"/>
                      <a:pt x="192" y="67"/>
                      <a:pt x="170" y="80"/>
                    </a:cubicBezTo>
                    <a:cubicBezTo>
                      <a:pt x="166" y="84"/>
                      <a:pt x="161" y="87"/>
                      <a:pt x="157" y="90"/>
                    </a:cubicBezTo>
                    <a:cubicBezTo>
                      <a:pt x="153" y="88"/>
                      <a:pt x="152" y="82"/>
                      <a:pt x="150" y="79"/>
                    </a:cubicBezTo>
                    <a:cubicBezTo>
                      <a:pt x="145" y="73"/>
                      <a:pt x="137" y="67"/>
                      <a:pt x="134" y="60"/>
                    </a:cubicBezTo>
                    <a:cubicBezTo>
                      <a:pt x="134" y="53"/>
                      <a:pt x="134" y="53"/>
                      <a:pt x="134" y="53"/>
                    </a:cubicBezTo>
                    <a:cubicBezTo>
                      <a:pt x="133" y="53"/>
                      <a:pt x="133" y="53"/>
                      <a:pt x="132" y="53"/>
                    </a:cubicBezTo>
                    <a:cubicBezTo>
                      <a:pt x="120" y="54"/>
                      <a:pt x="112" y="64"/>
                      <a:pt x="102" y="71"/>
                    </a:cubicBezTo>
                    <a:cubicBezTo>
                      <a:pt x="92" y="78"/>
                      <a:pt x="82" y="88"/>
                      <a:pt x="71" y="96"/>
                    </a:cubicBezTo>
                    <a:cubicBezTo>
                      <a:pt x="49" y="115"/>
                      <a:pt x="26" y="133"/>
                      <a:pt x="1" y="148"/>
                    </a:cubicBezTo>
                    <a:lnTo>
                      <a:pt x="0" y="146"/>
                    </a:lnTo>
                    <a:close/>
                  </a:path>
                </a:pathLst>
              </a:custGeom>
              <a:solidFill>
                <a:srgbClr val="E840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909" name="Freeform 222">
                <a:extLst>
                  <a:ext uri="{FF2B5EF4-FFF2-40B4-BE49-F238E27FC236}">
                    <a16:creationId xmlns:a16="http://schemas.microsoft.com/office/drawing/2014/main" id="{1DFF3FEC-1759-4B47-A3CB-542A3B4369F0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7094" y="2890"/>
                <a:ext cx="46" cy="14"/>
              </a:xfrm>
              <a:custGeom>
                <a:avLst/>
                <a:gdLst>
                  <a:gd name="T0" fmla="*/ 38 w 43"/>
                  <a:gd name="T1" fmla="*/ 2 h 13"/>
                  <a:gd name="T2" fmla="*/ 32 w 43"/>
                  <a:gd name="T3" fmla="*/ 1 h 13"/>
                  <a:gd name="T4" fmla="*/ 27 w 43"/>
                  <a:gd name="T5" fmla="*/ 2 h 13"/>
                  <a:gd name="T6" fmla="*/ 9 w 43"/>
                  <a:gd name="T7" fmla="*/ 3 h 13"/>
                  <a:gd name="T8" fmla="*/ 7 w 43"/>
                  <a:gd name="T9" fmla="*/ 13 h 13"/>
                  <a:gd name="T10" fmla="*/ 28 w 43"/>
                  <a:gd name="T11" fmla="*/ 11 h 13"/>
                  <a:gd name="T12" fmla="*/ 42 w 43"/>
                  <a:gd name="T13" fmla="*/ 6 h 13"/>
                  <a:gd name="T14" fmla="*/ 38 w 43"/>
                  <a:gd name="T15" fmla="*/ 2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43" h="13">
                    <a:moveTo>
                      <a:pt x="38" y="2"/>
                    </a:moveTo>
                    <a:cubicBezTo>
                      <a:pt x="37" y="3"/>
                      <a:pt x="33" y="1"/>
                      <a:pt x="32" y="1"/>
                    </a:cubicBezTo>
                    <a:cubicBezTo>
                      <a:pt x="30" y="1"/>
                      <a:pt x="28" y="2"/>
                      <a:pt x="27" y="2"/>
                    </a:cubicBezTo>
                    <a:cubicBezTo>
                      <a:pt x="20" y="4"/>
                      <a:pt x="16" y="5"/>
                      <a:pt x="9" y="3"/>
                    </a:cubicBezTo>
                    <a:cubicBezTo>
                      <a:pt x="2" y="1"/>
                      <a:pt x="0" y="13"/>
                      <a:pt x="7" y="13"/>
                    </a:cubicBezTo>
                    <a:cubicBezTo>
                      <a:pt x="15" y="13"/>
                      <a:pt x="21" y="13"/>
                      <a:pt x="28" y="11"/>
                    </a:cubicBezTo>
                    <a:cubicBezTo>
                      <a:pt x="33" y="9"/>
                      <a:pt x="38" y="10"/>
                      <a:pt x="42" y="6"/>
                    </a:cubicBezTo>
                    <a:cubicBezTo>
                      <a:pt x="43" y="4"/>
                      <a:pt x="41" y="0"/>
                      <a:pt x="38" y="2"/>
                    </a:cubicBezTo>
                    <a:close/>
                  </a:path>
                </a:pathLst>
              </a:custGeom>
              <a:solidFill>
                <a:srgbClr val="21AAD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910" name="Freeform 223">
                <a:extLst>
                  <a:ext uri="{FF2B5EF4-FFF2-40B4-BE49-F238E27FC236}">
                    <a16:creationId xmlns:a16="http://schemas.microsoft.com/office/drawing/2014/main" id="{AB8D9FAA-4C76-4215-A1CB-71DD63CFF889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828" y="2207"/>
                <a:ext cx="318" cy="268"/>
              </a:xfrm>
              <a:custGeom>
                <a:avLst/>
                <a:gdLst>
                  <a:gd name="T0" fmla="*/ 297 w 300"/>
                  <a:gd name="T1" fmla="*/ 1 h 253"/>
                  <a:gd name="T2" fmla="*/ 251 w 300"/>
                  <a:gd name="T3" fmla="*/ 43 h 253"/>
                  <a:gd name="T4" fmla="*/ 207 w 300"/>
                  <a:gd name="T5" fmla="*/ 71 h 253"/>
                  <a:gd name="T6" fmla="*/ 121 w 300"/>
                  <a:gd name="T7" fmla="*/ 128 h 253"/>
                  <a:gd name="T8" fmla="*/ 48 w 300"/>
                  <a:gd name="T9" fmla="*/ 181 h 253"/>
                  <a:gd name="T10" fmla="*/ 1 w 300"/>
                  <a:gd name="T11" fmla="*/ 248 h 253"/>
                  <a:gd name="T12" fmla="*/ 7 w 300"/>
                  <a:gd name="T13" fmla="*/ 249 h 253"/>
                  <a:gd name="T14" fmla="*/ 37 w 300"/>
                  <a:gd name="T15" fmla="*/ 200 h 253"/>
                  <a:gd name="T16" fmla="*/ 73 w 300"/>
                  <a:gd name="T17" fmla="*/ 174 h 253"/>
                  <a:gd name="T18" fmla="*/ 145 w 300"/>
                  <a:gd name="T19" fmla="*/ 121 h 253"/>
                  <a:gd name="T20" fmla="*/ 231 w 300"/>
                  <a:gd name="T21" fmla="*/ 65 h 253"/>
                  <a:gd name="T22" fmla="*/ 299 w 300"/>
                  <a:gd name="T23" fmla="*/ 3 h 253"/>
                  <a:gd name="T24" fmla="*/ 297 w 300"/>
                  <a:gd name="T25" fmla="*/ 1 h 2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300" h="253">
                    <a:moveTo>
                      <a:pt x="297" y="1"/>
                    </a:moveTo>
                    <a:cubicBezTo>
                      <a:pt x="282" y="17"/>
                      <a:pt x="270" y="31"/>
                      <a:pt x="251" y="43"/>
                    </a:cubicBezTo>
                    <a:cubicBezTo>
                      <a:pt x="237" y="53"/>
                      <a:pt x="222" y="62"/>
                      <a:pt x="207" y="71"/>
                    </a:cubicBezTo>
                    <a:cubicBezTo>
                      <a:pt x="179" y="90"/>
                      <a:pt x="150" y="109"/>
                      <a:pt x="121" y="128"/>
                    </a:cubicBezTo>
                    <a:cubicBezTo>
                      <a:pt x="97" y="145"/>
                      <a:pt x="73" y="164"/>
                      <a:pt x="48" y="181"/>
                    </a:cubicBezTo>
                    <a:cubicBezTo>
                      <a:pt x="25" y="197"/>
                      <a:pt x="9" y="221"/>
                      <a:pt x="1" y="248"/>
                    </a:cubicBezTo>
                    <a:cubicBezTo>
                      <a:pt x="0" y="252"/>
                      <a:pt x="6" y="253"/>
                      <a:pt x="7" y="249"/>
                    </a:cubicBezTo>
                    <a:cubicBezTo>
                      <a:pt x="13" y="230"/>
                      <a:pt x="23" y="214"/>
                      <a:pt x="37" y="200"/>
                    </a:cubicBezTo>
                    <a:cubicBezTo>
                      <a:pt x="48" y="189"/>
                      <a:pt x="61" y="183"/>
                      <a:pt x="73" y="174"/>
                    </a:cubicBezTo>
                    <a:cubicBezTo>
                      <a:pt x="98" y="156"/>
                      <a:pt x="121" y="138"/>
                      <a:pt x="145" y="121"/>
                    </a:cubicBezTo>
                    <a:cubicBezTo>
                      <a:pt x="174" y="102"/>
                      <a:pt x="202" y="84"/>
                      <a:pt x="231" y="65"/>
                    </a:cubicBezTo>
                    <a:cubicBezTo>
                      <a:pt x="257" y="49"/>
                      <a:pt x="283" y="30"/>
                      <a:pt x="299" y="3"/>
                    </a:cubicBezTo>
                    <a:cubicBezTo>
                      <a:pt x="300" y="2"/>
                      <a:pt x="298" y="0"/>
                      <a:pt x="297" y="1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911" name="Freeform 224">
                <a:extLst>
                  <a:ext uri="{FF2B5EF4-FFF2-40B4-BE49-F238E27FC236}">
                    <a16:creationId xmlns:a16="http://schemas.microsoft.com/office/drawing/2014/main" id="{7482C075-CAA3-4C81-993F-68A49F5544F0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749" y="2157"/>
                <a:ext cx="394" cy="373"/>
              </a:xfrm>
              <a:custGeom>
                <a:avLst/>
                <a:gdLst>
                  <a:gd name="T0" fmla="*/ 372 w 372"/>
                  <a:gd name="T1" fmla="*/ 52 h 352"/>
                  <a:gd name="T2" fmla="*/ 342 w 372"/>
                  <a:gd name="T3" fmla="*/ 10 h 352"/>
                  <a:gd name="T4" fmla="*/ 302 w 372"/>
                  <a:gd name="T5" fmla="*/ 30 h 352"/>
                  <a:gd name="T6" fmla="*/ 172 w 372"/>
                  <a:gd name="T7" fmla="*/ 126 h 352"/>
                  <a:gd name="T8" fmla="*/ 102 w 372"/>
                  <a:gd name="T9" fmla="*/ 170 h 352"/>
                  <a:gd name="T10" fmla="*/ 42 w 372"/>
                  <a:gd name="T11" fmla="*/ 212 h 352"/>
                  <a:gd name="T12" fmla="*/ 23 w 372"/>
                  <a:gd name="T13" fmla="*/ 262 h 352"/>
                  <a:gd name="T14" fmla="*/ 1 w 372"/>
                  <a:gd name="T15" fmla="*/ 346 h 352"/>
                  <a:gd name="T16" fmla="*/ 9 w 372"/>
                  <a:gd name="T17" fmla="*/ 348 h 352"/>
                  <a:gd name="T18" fmla="*/ 25 w 372"/>
                  <a:gd name="T19" fmla="*/ 283 h 352"/>
                  <a:gd name="T20" fmla="*/ 40 w 372"/>
                  <a:gd name="T21" fmla="*/ 232 h 352"/>
                  <a:gd name="T22" fmla="*/ 88 w 372"/>
                  <a:gd name="T23" fmla="*/ 190 h 352"/>
                  <a:gd name="T24" fmla="*/ 150 w 372"/>
                  <a:gd name="T25" fmla="*/ 148 h 352"/>
                  <a:gd name="T26" fmla="*/ 253 w 372"/>
                  <a:gd name="T27" fmla="*/ 80 h 352"/>
                  <a:gd name="T28" fmla="*/ 306 w 372"/>
                  <a:gd name="T29" fmla="*/ 35 h 352"/>
                  <a:gd name="T30" fmla="*/ 349 w 372"/>
                  <a:gd name="T31" fmla="*/ 25 h 352"/>
                  <a:gd name="T32" fmla="*/ 369 w 372"/>
                  <a:gd name="T33" fmla="*/ 52 h 352"/>
                  <a:gd name="T34" fmla="*/ 372 w 372"/>
                  <a:gd name="T35" fmla="*/ 52 h 3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372" h="352">
                    <a:moveTo>
                      <a:pt x="372" y="52"/>
                    </a:moveTo>
                    <a:cubicBezTo>
                      <a:pt x="371" y="37"/>
                      <a:pt x="354" y="17"/>
                      <a:pt x="342" y="10"/>
                    </a:cubicBezTo>
                    <a:cubicBezTo>
                      <a:pt x="327" y="0"/>
                      <a:pt x="312" y="21"/>
                      <a:pt x="302" y="30"/>
                    </a:cubicBezTo>
                    <a:cubicBezTo>
                      <a:pt x="261" y="65"/>
                      <a:pt x="218" y="98"/>
                      <a:pt x="172" y="126"/>
                    </a:cubicBezTo>
                    <a:cubicBezTo>
                      <a:pt x="148" y="140"/>
                      <a:pt x="125" y="154"/>
                      <a:pt x="102" y="170"/>
                    </a:cubicBezTo>
                    <a:cubicBezTo>
                      <a:pt x="84" y="184"/>
                      <a:pt x="56" y="194"/>
                      <a:pt x="42" y="212"/>
                    </a:cubicBezTo>
                    <a:cubicBezTo>
                      <a:pt x="30" y="227"/>
                      <a:pt x="28" y="245"/>
                      <a:pt x="23" y="262"/>
                    </a:cubicBezTo>
                    <a:cubicBezTo>
                      <a:pt x="15" y="290"/>
                      <a:pt x="4" y="317"/>
                      <a:pt x="1" y="346"/>
                    </a:cubicBezTo>
                    <a:cubicBezTo>
                      <a:pt x="0" y="351"/>
                      <a:pt x="8" y="352"/>
                      <a:pt x="9" y="348"/>
                    </a:cubicBezTo>
                    <a:cubicBezTo>
                      <a:pt x="13" y="326"/>
                      <a:pt x="18" y="304"/>
                      <a:pt x="25" y="283"/>
                    </a:cubicBezTo>
                    <a:cubicBezTo>
                      <a:pt x="31" y="266"/>
                      <a:pt x="33" y="248"/>
                      <a:pt x="40" y="232"/>
                    </a:cubicBezTo>
                    <a:cubicBezTo>
                      <a:pt x="49" y="210"/>
                      <a:pt x="69" y="202"/>
                      <a:pt x="88" y="190"/>
                    </a:cubicBezTo>
                    <a:cubicBezTo>
                      <a:pt x="109" y="176"/>
                      <a:pt x="128" y="160"/>
                      <a:pt x="150" y="148"/>
                    </a:cubicBezTo>
                    <a:cubicBezTo>
                      <a:pt x="186" y="127"/>
                      <a:pt x="219" y="104"/>
                      <a:pt x="253" y="80"/>
                    </a:cubicBezTo>
                    <a:cubicBezTo>
                      <a:pt x="272" y="67"/>
                      <a:pt x="289" y="51"/>
                      <a:pt x="306" y="35"/>
                    </a:cubicBezTo>
                    <a:cubicBezTo>
                      <a:pt x="318" y="24"/>
                      <a:pt x="332" y="9"/>
                      <a:pt x="349" y="25"/>
                    </a:cubicBezTo>
                    <a:cubicBezTo>
                      <a:pt x="357" y="32"/>
                      <a:pt x="366" y="42"/>
                      <a:pt x="369" y="52"/>
                    </a:cubicBezTo>
                    <a:cubicBezTo>
                      <a:pt x="369" y="54"/>
                      <a:pt x="372" y="54"/>
                      <a:pt x="372" y="52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912" name="Freeform 225">
                <a:extLst>
                  <a:ext uri="{FF2B5EF4-FFF2-40B4-BE49-F238E27FC236}">
                    <a16:creationId xmlns:a16="http://schemas.microsoft.com/office/drawing/2014/main" id="{6DEF825D-52EF-4C57-86EF-97991196F794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962" y="2222"/>
                <a:ext cx="28" cy="37"/>
              </a:xfrm>
              <a:custGeom>
                <a:avLst/>
                <a:gdLst>
                  <a:gd name="T0" fmla="*/ 26 w 27"/>
                  <a:gd name="T1" fmla="*/ 32 h 35"/>
                  <a:gd name="T2" fmla="*/ 21 w 27"/>
                  <a:gd name="T3" fmla="*/ 24 h 35"/>
                  <a:gd name="T4" fmla="*/ 16 w 27"/>
                  <a:gd name="T5" fmla="*/ 17 h 35"/>
                  <a:gd name="T6" fmla="*/ 3 w 27"/>
                  <a:gd name="T7" fmla="*/ 2 h 35"/>
                  <a:gd name="T8" fmla="*/ 0 w 27"/>
                  <a:gd name="T9" fmla="*/ 4 h 35"/>
                  <a:gd name="T10" fmla="*/ 13 w 27"/>
                  <a:gd name="T11" fmla="*/ 20 h 35"/>
                  <a:gd name="T12" fmla="*/ 24 w 27"/>
                  <a:gd name="T13" fmla="*/ 34 h 35"/>
                  <a:gd name="T14" fmla="*/ 26 w 27"/>
                  <a:gd name="T15" fmla="*/ 32 h 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7" h="35">
                    <a:moveTo>
                      <a:pt x="26" y="32"/>
                    </a:moveTo>
                    <a:cubicBezTo>
                      <a:pt x="23" y="30"/>
                      <a:pt x="23" y="27"/>
                      <a:pt x="21" y="24"/>
                    </a:cubicBezTo>
                    <a:cubicBezTo>
                      <a:pt x="20" y="21"/>
                      <a:pt x="18" y="19"/>
                      <a:pt x="16" y="17"/>
                    </a:cubicBezTo>
                    <a:cubicBezTo>
                      <a:pt x="12" y="12"/>
                      <a:pt x="8" y="6"/>
                      <a:pt x="3" y="2"/>
                    </a:cubicBezTo>
                    <a:cubicBezTo>
                      <a:pt x="2" y="0"/>
                      <a:pt x="0" y="2"/>
                      <a:pt x="0" y="4"/>
                    </a:cubicBezTo>
                    <a:cubicBezTo>
                      <a:pt x="1" y="10"/>
                      <a:pt x="8" y="15"/>
                      <a:pt x="13" y="20"/>
                    </a:cubicBezTo>
                    <a:cubicBezTo>
                      <a:pt x="17" y="25"/>
                      <a:pt x="19" y="31"/>
                      <a:pt x="24" y="34"/>
                    </a:cubicBezTo>
                    <a:cubicBezTo>
                      <a:pt x="26" y="35"/>
                      <a:pt x="27" y="33"/>
                      <a:pt x="26" y="32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913" name="Freeform 226">
                <a:extLst>
                  <a:ext uri="{FF2B5EF4-FFF2-40B4-BE49-F238E27FC236}">
                    <a16:creationId xmlns:a16="http://schemas.microsoft.com/office/drawing/2014/main" id="{AB4514D1-D39A-4340-89C5-90ACCE687C1F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736" y="2173"/>
                <a:ext cx="287" cy="282"/>
              </a:xfrm>
              <a:custGeom>
                <a:avLst/>
                <a:gdLst>
                  <a:gd name="T0" fmla="*/ 259 w 271"/>
                  <a:gd name="T1" fmla="*/ 2 h 266"/>
                  <a:gd name="T2" fmla="*/ 227 w 271"/>
                  <a:gd name="T3" fmla="*/ 40 h 266"/>
                  <a:gd name="T4" fmla="*/ 206 w 271"/>
                  <a:gd name="T5" fmla="*/ 41 h 266"/>
                  <a:gd name="T6" fmla="*/ 172 w 271"/>
                  <a:gd name="T7" fmla="*/ 67 h 266"/>
                  <a:gd name="T8" fmla="*/ 75 w 271"/>
                  <a:gd name="T9" fmla="*/ 138 h 266"/>
                  <a:gd name="T10" fmla="*/ 42 w 271"/>
                  <a:gd name="T11" fmla="*/ 163 h 266"/>
                  <a:gd name="T12" fmla="*/ 32 w 271"/>
                  <a:gd name="T13" fmla="*/ 189 h 266"/>
                  <a:gd name="T14" fmla="*/ 35 w 271"/>
                  <a:gd name="T15" fmla="*/ 265 h 266"/>
                  <a:gd name="T16" fmla="*/ 39 w 271"/>
                  <a:gd name="T17" fmla="*/ 258 h 266"/>
                  <a:gd name="T18" fmla="*/ 27 w 271"/>
                  <a:gd name="T19" fmla="*/ 228 h 266"/>
                  <a:gd name="T20" fmla="*/ 35 w 271"/>
                  <a:gd name="T21" fmla="*/ 203 h 266"/>
                  <a:gd name="T22" fmla="*/ 56 w 271"/>
                  <a:gd name="T23" fmla="*/ 155 h 266"/>
                  <a:gd name="T24" fmla="*/ 98 w 271"/>
                  <a:gd name="T25" fmla="*/ 129 h 266"/>
                  <a:gd name="T26" fmla="*/ 146 w 271"/>
                  <a:gd name="T27" fmla="*/ 93 h 266"/>
                  <a:gd name="T28" fmla="*/ 185 w 271"/>
                  <a:gd name="T29" fmla="*/ 62 h 266"/>
                  <a:gd name="T30" fmla="*/ 212 w 271"/>
                  <a:gd name="T31" fmla="*/ 45 h 266"/>
                  <a:gd name="T32" fmla="*/ 238 w 271"/>
                  <a:gd name="T33" fmla="*/ 42 h 266"/>
                  <a:gd name="T34" fmla="*/ 262 w 271"/>
                  <a:gd name="T35" fmla="*/ 1 h 266"/>
                  <a:gd name="T36" fmla="*/ 259 w 271"/>
                  <a:gd name="T37" fmla="*/ 2 h 2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271" h="266">
                    <a:moveTo>
                      <a:pt x="259" y="2"/>
                    </a:moveTo>
                    <a:cubicBezTo>
                      <a:pt x="266" y="24"/>
                      <a:pt x="246" y="38"/>
                      <a:pt x="227" y="40"/>
                    </a:cubicBezTo>
                    <a:cubicBezTo>
                      <a:pt x="220" y="40"/>
                      <a:pt x="213" y="39"/>
                      <a:pt x="206" y="41"/>
                    </a:cubicBezTo>
                    <a:cubicBezTo>
                      <a:pt x="194" y="46"/>
                      <a:pt x="182" y="58"/>
                      <a:pt x="172" y="67"/>
                    </a:cubicBezTo>
                    <a:cubicBezTo>
                      <a:pt x="141" y="92"/>
                      <a:pt x="110" y="118"/>
                      <a:pt x="75" y="138"/>
                    </a:cubicBezTo>
                    <a:cubicBezTo>
                      <a:pt x="63" y="146"/>
                      <a:pt x="50" y="151"/>
                      <a:pt x="42" y="163"/>
                    </a:cubicBezTo>
                    <a:cubicBezTo>
                      <a:pt x="37" y="171"/>
                      <a:pt x="34" y="180"/>
                      <a:pt x="32" y="189"/>
                    </a:cubicBezTo>
                    <a:cubicBezTo>
                      <a:pt x="24" y="214"/>
                      <a:pt x="0" y="252"/>
                      <a:pt x="35" y="265"/>
                    </a:cubicBezTo>
                    <a:cubicBezTo>
                      <a:pt x="39" y="266"/>
                      <a:pt x="42" y="261"/>
                      <a:pt x="39" y="258"/>
                    </a:cubicBezTo>
                    <a:cubicBezTo>
                      <a:pt x="27" y="250"/>
                      <a:pt x="22" y="243"/>
                      <a:pt x="27" y="228"/>
                    </a:cubicBezTo>
                    <a:cubicBezTo>
                      <a:pt x="29" y="220"/>
                      <a:pt x="32" y="211"/>
                      <a:pt x="35" y="203"/>
                    </a:cubicBezTo>
                    <a:cubicBezTo>
                      <a:pt x="41" y="187"/>
                      <a:pt x="41" y="166"/>
                      <a:pt x="56" y="155"/>
                    </a:cubicBezTo>
                    <a:cubicBezTo>
                      <a:pt x="69" y="145"/>
                      <a:pt x="84" y="138"/>
                      <a:pt x="98" y="129"/>
                    </a:cubicBezTo>
                    <a:cubicBezTo>
                      <a:pt x="114" y="118"/>
                      <a:pt x="130" y="106"/>
                      <a:pt x="146" y="93"/>
                    </a:cubicBezTo>
                    <a:cubicBezTo>
                      <a:pt x="158" y="83"/>
                      <a:pt x="172" y="72"/>
                      <a:pt x="185" y="62"/>
                    </a:cubicBezTo>
                    <a:cubicBezTo>
                      <a:pt x="193" y="54"/>
                      <a:pt x="200" y="48"/>
                      <a:pt x="212" y="45"/>
                    </a:cubicBezTo>
                    <a:cubicBezTo>
                      <a:pt x="221" y="44"/>
                      <a:pt x="229" y="44"/>
                      <a:pt x="238" y="42"/>
                    </a:cubicBezTo>
                    <a:cubicBezTo>
                      <a:pt x="256" y="36"/>
                      <a:pt x="271" y="20"/>
                      <a:pt x="262" y="1"/>
                    </a:cubicBezTo>
                    <a:cubicBezTo>
                      <a:pt x="261" y="0"/>
                      <a:pt x="259" y="1"/>
                      <a:pt x="259" y="2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914" name="Freeform 227">
                <a:extLst>
                  <a:ext uri="{FF2B5EF4-FFF2-40B4-BE49-F238E27FC236}">
                    <a16:creationId xmlns:a16="http://schemas.microsoft.com/office/drawing/2014/main" id="{14B98FDD-6B8D-4035-A234-0B1402B786C6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821" y="2161"/>
                <a:ext cx="249" cy="156"/>
              </a:xfrm>
              <a:custGeom>
                <a:avLst/>
                <a:gdLst>
                  <a:gd name="T0" fmla="*/ 2 w 235"/>
                  <a:gd name="T1" fmla="*/ 148 h 148"/>
                  <a:gd name="T2" fmla="*/ 43 w 235"/>
                  <a:gd name="T3" fmla="*/ 107 h 148"/>
                  <a:gd name="T4" fmla="*/ 93 w 235"/>
                  <a:gd name="T5" fmla="*/ 74 h 148"/>
                  <a:gd name="T6" fmla="*/ 145 w 235"/>
                  <a:gd name="T7" fmla="*/ 33 h 148"/>
                  <a:gd name="T8" fmla="*/ 178 w 235"/>
                  <a:gd name="T9" fmla="*/ 9 h 148"/>
                  <a:gd name="T10" fmla="*/ 227 w 235"/>
                  <a:gd name="T11" fmla="*/ 32 h 148"/>
                  <a:gd name="T12" fmla="*/ 233 w 235"/>
                  <a:gd name="T13" fmla="*/ 29 h 148"/>
                  <a:gd name="T14" fmla="*/ 193 w 235"/>
                  <a:gd name="T15" fmla="*/ 1 h 148"/>
                  <a:gd name="T16" fmla="*/ 132 w 235"/>
                  <a:gd name="T17" fmla="*/ 38 h 148"/>
                  <a:gd name="T18" fmla="*/ 54 w 235"/>
                  <a:gd name="T19" fmla="*/ 96 h 148"/>
                  <a:gd name="T20" fmla="*/ 20 w 235"/>
                  <a:gd name="T21" fmla="*/ 119 h 148"/>
                  <a:gd name="T22" fmla="*/ 0 w 235"/>
                  <a:gd name="T23" fmla="*/ 147 h 148"/>
                  <a:gd name="T24" fmla="*/ 2 w 235"/>
                  <a:gd name="T25" fmla="*/ 148 h 1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35" h="148">
                    <a:moveTo>
                      <a:pt x="2" y="148"/>
                    </a:moveTo>
                    <a:cubicBezTo>
                      <a:pt x="17" y="136"/>
                      <a:pt x="26" y="119"/>
                      <a:pt x="43" y="107"/>
                    </a:cubicBezTo>
                    <a:cubicBezTo>
                      <a:pt x="60" y="96"/>
                      <a:pt x="77" y="85"/>
                      <a:pt x="93" y="74"/>
                    </a:cubicBezTo>
                    <a:cubicBezTo>
                      <a:pt x="111" y="61"/>
                      <a:pt x="128" y="47"/>
                      <a:pt x="145" y="33"/>
                    </a:cubicBezTo>
                    <a:cubicBezTo>
                      <a:pt x="156" y="25"/>
                      <a:pt x="165" y="14"/>
                      <a:pt x="178" y="9"/>
                    </a:cubicBezTo>
                    <a:cubicBezTo>
                      <a:pt x="194" y="3"/>
                      <a:pt x="219" y="16"/>
                      <a:pt x="227" y="32"/>
                    </a:cubicBezTo>
                    <a:cubicBezTo>
                      <a:pt x="229" y="37"/>
                      <a:pt x="235" y="34"/>
                      <a:pt x="233" y="29"/>
                    </a:cubicBezTo>
                    <a:cubicBezTo>
                      <a:pt x="226" y="17"/>
                      <a:pt x="207" y="1"/>
                      <a:pt x="193" y="1"/>
                    </a:cubicBezTo>
                    <a:cubicBezTo>
                      <a:pt x="170" y="0"/>
                      <a:pt x="148" y="26"/>
                      <a:pt x="132" y="38"/>
                    </a:cubicBezTo>
                    <a:cubicBezTo>
                      <a:pt x="106" y="58"/>
                      <a:pt x="81" y="79"/>
                      <a:pt x="54" y="96"/>
                    </a:cubicBezTo>
                    <a:cubicBezTo>
                      <a:pt x="42" y="104"/>
                      <a:pt x="29" y="109"/>
                      <a:pt x="20" y="119"/>
                    </a:cubicBezTo>
                    <a:cubicBezTo>
                      <a:pt x="12" y="127"/>
                      <a:pt x="7" y="138"/>
                      <a:pt x="0" y="147"/>
                    </a:cubicBezTo>
                    <a:cubicBezTo>
                      <a:pt x="0" y="148"/>
                      <a:pt x="1" y="148"/>
                      <a:pt x="2" y="148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915" name="Freeform 228">
                <a:extLst>
                  <a:ext uri="{FF2B5EF4-FFF2-40B4-BE49-F238E27FC236}">
                    <a16:creationId xmlns:a16="http://schemas.microsoft.com/office/drawing/2014/main" id="{7AF6F89A-A202-4954-AFE1-BE72C3796D8C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7058" y="2327"/>
                <a:ext cx="89" cy="123"/>
              </a:xfrm>
              <a:custGeom>
                <a:avLst/>
                <a:gdLst>
                  <a:gd name="T0" fmla="*/ 81 w 84"/>
                  <a:gd name="T1" fmla="*/ 108 h 116"/>
                  <a:gd name="T2" fmla="*/ 34 w 84"/>
                  <a:gd name="T3" fmla="*/ 61 h 116"/>
                  <a:gd name="T4" fmla="*/ 4 w 84"/>
                  <a:gd name="T5" fmla="*/ 2 h 116"/>
                  <a:gd name="T6" fmla="*/ 0 w 84"/>
                  <a:gd name="T7" fmla="*/ 3 h 116"/>
                  <a:gd name="T8" fmla="*/ 40 w 84"/>
                  <a:gd name="T9" fmla="*/ 78 h 116"/>
                  <a:gd name="T10" fmla="*/ 82 w 84"/>
                  <a:gd name="T11" fmla="*/ 111 h 116"/>
                  <a:gd name="T12" fmla="*/ 81 w 84"/>
                  <a:gd name="T13" fmla="*/ 108 h 1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4" h="116">
                    <a:moveTo>
                      <a:pt x="81" y="108"/>
                    </a:moveTo>
                    <a:cubicBezTo>
                      <a:pt x="65" y="110"/>
                      <a:pt x="42" y="73"/>
                      <a:pt x="34" y="61"/>
                    </a:cubicBezTo>
                    <a:cubicBezTo>
                      <a:pt x="20" y="43"/>
                      <a:pt x="12" y="23"/>
                      <a:pt x="4" y="2"/>
                    </a:cubicBezTo>
                    <a:cubicBezTo>
                      <a:pt x="3" y="0"/>
                      <a:pt x="0" y="0"/>
                      <a:pt x="0" y="3"/>
                    </a:cubicBezTo>
                    <a:cubicBezTo>
                      <a:pt x="5" y="31"/>
                      <a:pt x="22" y="57"/>
                      <a:pt x="40" y="78"/>
                    </a:cubicBezTo>
                    <a:cubicBezTo>
                      <a:pt x="49" y="88"/>
                      <a:pt x="66" y="116"/>
                      <a:pt x="82" y="111"/>
                    </a:cubicBezTo>
                    <a:cubicBezTo>
                      <a:pt x="84" y="111"/>
                      <a:pt x="84" y="108"/>
                      <a:pt x="81" y="108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916" name="Freeform 229">
                <a:extLst>
                  <a:ext uri="{FF2B5EF4-FFF2-40B4-BE49-F238E27FC236}">
                    <a16:creationId xmlns:a16="http://schemas.microsoft.com/office/drawing/2014/main" id="{3A6CA577-2DFB-41CA-AF51-BC54F67EDC9C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7078" y="2265"/>
                <a:ext cx="105" cy="164"/>
              </a:xfrm>
              <a:custGeom>
                <a:avLst/>
                <a:gdLst>
                  <a:gd name="T0" fmla="*/ 4 w 99"/>
                  <a:gd name="T1" fmla="*/ 2 h 155"/>
                  <a:gd name="T2" fmla="*/ 10 w 99"/>
                  <a:gd name="T3" fmla="*/ 34 h 155"/>
                  <a:gd name="T4" fmla="*/ 32 w 99"/>
                  <a:gd name="T5" fmla="*/ 83 h 155"/>
                  <a:gd name="T6" fmla="*/ 63 w 99"/>
                  <a:gd name="T7" fmla="*/ 127 h 155"/>
                  <a:gd name="T8" fmla="*/ 94 w 99"/>
                  <a:gd name="T9" fmla="*/ 154 h 155"/>
                  <a:gd name="T10" fmla="*/ 96 w 99"/>
                  <a:gd name="T11" fmla="*/ 147 h 155"/>
                  <a:gd name="T12" fmla="*/ 37 w 99"/>
                  <a:gd name="T13" fmla="*/ 76 h 155"/>
                  <a:gd name="T14" fmla="*/ 8 w 99"/>
                  <a:gd name="T15" fmla="*/ 3 h 155"/>
                  <a:gd name="T16" fmla="*/ 4 w 99"/>
                  <a:gd name="T17" fmla="*/ 2 h 1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99" h="155">
                    <a:moveTo>
                      <a:pt x="4" y="2"/>
                    </a:moveTo>
                    <a:cubicBezTo>
                      <a:pt x="0" y="12"/>
                      <a:pt x="7" y="25"/>
                      <a:pt x="10" y="34"/>
                    </a:cubicBezTo>
                    <a:cubicBezTo>
                      <a:pt x="16" y="51"/>
                      <a:pt x="23" y="68"/>
                      <a:pt x="32" y="83"/>
                    </a:cubicBezTo>
                    <a:cubicBezTo>
                      <a:pt x="41" y="99"/>
                      <a:pt x="52" y="113"/>
                      <a:pt x="63" y="127"/>
                    </a:cubicBezTo>
                    <a:cubicBezTo>
                      <a:pt x="71" y="137"/>
                      <a:pt x="81" y="151"/>
                      <a:pt x="94" y="154"/>
                    </a:cubicBezTo>
                    <a:cubicBezTo>
                      <a:pt x="98" y="155"/>
                      <a:pt x="99" y="149"/>
                      <a:pt x="96" y="147"/>
                    </a:cubicBezTo>
                    <a:cubicBezTo>
                      <a:pt x="72" y="137"/>
                      <a:pt x="49" y="98"/>
                      <a:pt x="37" y="76"/>
                    </a:cubicBezTo>
                    <a:cubicBezTo>
                      <a:pt x="26" y="56"/>
                      <a:pt x="8" y="27"/>
                      <a:pt x="8" y="3"/>
                    </a:cubicBezTo>
                    <a:cubicBezTo>
                      <a:pt x="8" y="1"/>
                      <a:pt x="5" y="0"/>
                      <a:pt x="4" y="2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917" name="Freeform 230">
                <a:extLst>
                  <a:ext uri="{FF2B5EF4-FFF2-40B4-BE49-F238E27FC236}">
                    <a16:creationId xmlns:a16="http://schemas.microsoft.com/office/drawing/2014/main" id="{A26B7D20-6B7F-4127-958D-EDD2DEFF617F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7151" y="2422"/>
                <a:ext cx="57" cy="62"/>
              </a:xfrm>
              <a:custGeom>
                <a:avLst/>
                <a:gdLst>
                  <a:gd name="T0" fmla="*/ 23 w 54"/>
                  <a:gd name="T1" fmla="*/ 6 h 59"/>
                  <a:gd name="T2" fmla="*/ 30 w 54"/>
                  <a:gd name="T3" fmla="*/ 7 h 59"/>
                  <a:gd name="T4" fmla="*/ 45 w 54"/>
                  <a:gd name="T5" fmla="*/ 17 h 59"/>
                  <a:gd name="T6" fmla="*/ 48 w 54"/>
                  <a:gd name="T7" fmla="*/ 12 h 59"/>
                  <a:gd name="T8" fmla="*/ 41 w 54"/>
                  <a:gd name="T9" fmla="*/ 19 h 59"/>
                  <a:gd name="T10" fmla="*/ 28 w 54"/>
                  <a:gd name="T11" fmla="*/ 32 h 59"/>
                  <a:gd name="T12" fmla="*/ 1 w 54"/>
                  <a:gd name="T13" fmla="*/ 55 h 59"/>
                  <a:gd name="T14" fmla="*/ 4 w 54"/>
                  <a:gd name="T15" fmla="*/ 58 h 59"/>
                  <a:gd name="T16" fmla="*/ 26 w 54"/>
                  <a:gd name="T17" fmla="*/ 43 h 59"/>
                  <a:gd name="T18" fmla="*/ 37 w 54"/>
                  <a:gd name="T19" fmla="*/ 33 h 59"/>
                  <a:gd name="T20" fmla="*/ 49 w 54"/>
                  <a:gd name="T21" fmla="*/ 19 h 59"/>
                  <a:gd name="T22" fmla="*/ 52 w 54"/>
                  <a:gd name="T23" fmla="*/ 14 h 59"/>
                  <a:gd name="T24" fmla="*/ 38 w 54"/>
                  <a:gd name="T25" fmla="*/ 1 h 59"/>
                  <a:gd name="T26" fmla="*/ 32 w 54"/>
                  <a:gd name="T27" fmla="*/ 1 h 59"/>
                  <a:gd name="T28" fmla="*/ 25 w 54"/>
                  <a:gd name="T29" fmla="*/ 3 h 59"/>
                  <a:gd name="T30" fmla="*/ 23 w 54"/>
                  <a:gd name="T31" fmla="*/ 6 h 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54" h="59">
                    <a:moveTo>
                      <a:pt x="23" y="6"/>
                    </a:moveTo>
                    <a:cubicBezTo>
                      <a:pt x="25" y="8"/>
                      <a:pt x="27" y="7"/>
                      <a:pt x="30" y="7"/>
                    </a:cubicBezTo>
                    <a:cubicBezTo>
                      <a:pt x="37" y="8"/>
                      <a:pt x="42" y="11"/>
                      <a:pt x="45" y="17"/>
                    </a:cubicBezTo>
                    <a:cubicBezTo>
                      <a:pt x="46" y="15"/>
                      <a:pt x="47" y="13"/>
                      <a:pt x="48" y="12"/>
                    </a:cubicBezTo>
                    <a:cubicBezTo>
                      <a:pt x="44" y="12"/>
                      <a:pt x="43" y="16"/>
                      <a:pt x="41" y="19"/>
                    </a:cubicBezTo>
                    <a:cubicBezTo>
                      <a:pt x="37" y="24"/>
                      <a:pt x="33" y="28"/>
                      <a:pt x="28" y="32"/>
                    </a:cubicBezTo>
                    <a:cubicBezTo>
                      <a:pt x="20" y="40"/>
                      <a:pt x="7" y="46"/>
                      <a:pt x="1" y="55"/>
                    </a:cubicBezTo>
                    <a:cubicBezTo>
                      <a:pt x="0" y="57"/>
                      <a:pt x="2" y="59"/>
                      <a:pt x="4" y="58"/>
                    </a:cubicBezTo>
                    <a:cubicBezTo>
                      <a:pt x="12" y="56"/>
                      <a:pt x="20" y="48"/>
                      <a:pt x="26" y="43"/>
                    </a:cubicBezTo>
                    <a:cubicBezTo>
                      <a:pt x="30" y="40"/>
                      <a:pt x="33" y="37"/>
                      <a:pt x="37" y="33"/>
                    </a:cubicBezTo>
                    <a:cubicBezTo>
                      <a:pt x="39" y="30"/>
                      <a:pt x="46" y="20"/>
                      <a:pt x="49" y="19"/>
                    </a:cubicBezTo>
                    <a:cubicBezTo>
                      <a:pt x="51" y="19"/>
                      <a:pt x="54" y="16"/>
                      <a:pt x="52" y="14"/>
                    </a:cubicBezTo>
                    <a:cubicBezTo>
                      <a:pt x="49" y="8"/>
                      <a:pt x="44" y="3"/>
                      <a:pt x="38" y="1"/>
                    </a:cubicBezTo>
                    <a:cubicBezTo>
                      <a:pt x="36" y="1"/>
                      <a:pt x="34" y="0"/>
                      <a:pt x="32" y="1"/>
                    </a:cubicBezTo>
                    <a:cubicBezTo>
                      <a:pt x="30" y="1"/>
                      <a:pt x="26" y="3"/>
                      <a:pt x="25" y="3"/>
                    </a:cubicBezTo>
                    <a:cubicBezTo>
                      <a:pt x="23" y="2"/>
                      <a:pt x="21" y="4"/>
                      <a:pt x="23" y="6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918" name="Freeform 231">
                <a:extLst>
                  <a:ext uri="{FF2B5EF4-FFF2-40B4-BE49-F238E27FC236}">
                    <a16:creationId xmlns:a16="http://schemas.microsoft.com/office/drawing/2014/main" id="{5CB84F5A-8A3E-4734-99FB-55EFF99AE9EF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7149" y="2439"/>
                <a:ext cx="22" cy="25"/>
              </a:xfrm>
              <a:custGeom>
                <a:avLst/>
                <a:gdLst>
                  <a:gd name="T0" fmla="*/ 18 w 21"/>
                  <a:gd name="T1" fmla="*/ 1 h 24"/>
                  <a:gd name="T2" fmla="*/ 1 w 21"/>
                  <a:gd name="T3" fmla="*/ 22 h 24"/>
                  <a:gd name="T4" fmla="*/ 3 w 21"/>
                  <a:gd name="T5" fmla="*/ 23 h 24"/>
                  <a:gd name="T6" fmla="*/ 20 w 21"/>
                  <a:gd name="T7" fmla="*/ 4 h 24"/>
                  <a:gd name="T8" fmla="*/ 18 w 21"/>
                  <a:gd name="T9" fmla="*/ 1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1" h="24">
                    <a:moveTo>
                      <a:pt x="18" y="1"/>
                    </a:moveTo>
                    <a:cubicBezTo>
                      <a:pt x="12" y="8"/>
                      <a:pt x="7" y="15"/>
                      <a:pt x="1" y="22"/>
                    </a:cubicBezTo>
                    <a:cubicBezTo>
                      <a:pt x="0" y="23"/>
                      <a:pt x="2" y="24"/>
                      <a:pt x="3" y="23"/>
                    </a:cubicBezTo>
                    <a:cubicBezTo>
                      <a:pt x="10" y="19"/>
                      <a:pt x="15" y="10"/>
                      <a:pt x="20" y="4"/>
                    </a:cubicBezTo>
                    <a:cubicBezTo>
                      <a:pt x="21" y="2"/>
                      <a:pt x="19" y="0"/>
                      <a:pt x="18" y="1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919" name="Freeform 232">
                <a:extLst>
                  <a:ext uri="{FF2B5EF4-FFF2-40B4-BE49-F238E27FC236}">
                    <a16:creationId xmlns:a16="http://schemas.microsoft.com/office/drawing/2014/main" id="{A2BD628B-E43B-4273-B222-8790C9B1AFE4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7122" y="2450"/>
                <a:ext cx="27" cy="19"/>
              </a:xfrm>
              <a:custGeom>
                <a:avLst/>
                <a:gdLst>
                  <a:gd name="T0" fmla="*/ 25 w 26"/>
                  <a:gd name="T1" fmla="*/ 15 h 18"/>
                  <a:gd name="T2" fmla="*/ 3 w 26"/>
                  <a:gd name="T3" fmla="*/ 1 h 18"/>
                  <a:gd name="T4" fmla="*/ 1 w 26"/>
                  <a:gd name="T5" fmla="*/ 2 h 18"/>
                  <a:gd name="T6" fmla="*/ 24 w 26"/>
                  <a:gd name="T7" fmla="*/ 17 h 18"/>
                  <a:gd name="T8" fmla="*/ 25 w 26"/>
                  <a:gd name="T9" fmla="*/ 15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6" h="18">
                    <a:moveTo>
                      <a:pt x="25" y="15"/>
                    </a:moveTo>
                    <a:cubicBezTo>
                      <a:pt x="17" y="12"/>
                      <a:pt x="9" y="7"/>
                      <a:pt x="3" y="1"/>
                    </a:cubicBezTo>
                    <a:cubicBezTo>
                      <a:pt x="2" y="0"/>
                      <a:pt x="0" y="1"/>
                      <a:pt x="1" y="2"/>
                    </a:cubicBezTo>
                    <a:cubicBezTo>
                      <a:pt x="8" y="9"/>
                      <a:pt x="15" y="14"/>
                      <a:pt x="24" y="17"/>
                    </a:cubicBezTo>
                    <a:cubicBezTo>
                      <a:pt x="25" y="18"/>
                      <a:pt x="26" y="16"/>
                      <a:pt x="25" y="15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920" name="Freeform 233">
                <a:extLst>
                  <a:ext uri="{FF2B5EF4-FFF2-40B4-BE49-F238E27FC236}">
                    <a16:creationId xmlns:a16="http://schemas.microsoft.com/office/drawing/2014/main" id="{7AF95848-B512-43E6-8EC9-925DF45A9D6B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7108" y="2479"/>
                <a:ext cx="53" cy="54"/>
              </a:xfrm>
              <a:custGeom>
                <a:avLst/>
                <a:gdLst>
                  <a:gd name="T0" fmla="*/ 48 w 50"/>
                  <a:gd name="T1" fmla="*/ 0 h 51"/>
                  <a:gd name="T2" fmla="*/ 25 w 50"/>
                  <a:gd name="T3" fmla="*/ 23 h 51"/>
                  <a:gd name="T4" fmla="*/ 4 w 50"/>
                  <a:gd name="T5" fmla="*/ 43 h 51"/>
                  <a:gd name="T6" fmla="*/ 8 w 50"/>
                  <a:gd name="T7" fmla="*/ 44 h 51"/>
                  <a:gd name="T8" fmla="*/ 7 w 50"/>
                  <a:gd name="T9" fmla="*/ 43 h 51"/>
                  <a:gd name="T10" fmla="*/ 2 w 50"/>
                  <a:gd name="T11" fmla="*/ 44 h 51"/>
                  <a:gd name="T12" fmla="*/ 2 w 50"/>
                  <a:gd name="T13" fmla="*/ 45 h 51"/>
                  <a:gd name="T14" fmla="*/ 8 w 50"/>
                  <a:gd name="T15" fmla="*/ 49 h 51"/>
                  <a:gd name="T16" fmla="*/ 32 w 50"/>
                  <a:gd name="T17" fmla="*/ 25 h 51"/>
                  <a:gd name="T18" fmla="*/ 49 w 50"/>
                  <a:gd name="T19" fmla="*/ 2 h 51"/>
                  <a:gd name="T20" fmla="*/ 48 w 50"/>
                  <a:gd name="T21" fmla="*/ 0 h 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50" h="51">
                    <a:moveTo>
                      <a:pt x="48" y="0"/>
                    </a:moveTo>
                    <a:cubicBezTo>
                      <a:pt x="41" y="8"/>
                      <a:pt x="32" y="15"/>
                      <a:pt x="25" y="23"/>
                    </a:cubicBezTo>
                    <a:cubicBezTo>
                      <a:pt x="18" y="29"/>
                      <a:pt x="12" y="38"/>
                      <a:pt x="4" y="43"/>
                    </a:cubicBezTo>
                    <a:cubicBezTo>
                      <a:pt x="5" y="43"/>
                      <a:pt x="7" y="43"/>
                      <a:pt x="8" y="44"/>
                    </a:cubicBezTo>
                    <a:cubicBezTo>
                      <a:pt x="8" y="43"/>
                      <a:pt x="8" y="43"/>
                      <a:pt x="7" y="43"/>
                    </a:cubicBezTo>
                    <a:cubicBezTo>
                      <a:pt x="5" y="41"/>
                      <a:pt x="3" y="42"/>
                      <a:pt x="2" y="44"/>
                    </a:cubicBezTo>
                    <a:cubicBezTo>
                      <a:pt x="2" y="45"/>
                      <a:pt x="2" y="45"/>
                      <a:pt x="2" y="45"/>
                    </a:cubicBezTo>
                    <a:cubicBezTo>
                      <a:pt x="0" y="49"/>
                      <a:pt x="5" y="51"/>
                      <a:pt x="8" y="49"/>
                    </a:cubicBezTo>
                    <a:cubicBezTo>
                      <a:pt x="17" y="43"/>
                      <a:pt x="25" y="33"/>
                      <a:pt x="32" y="25"/>
                    </a:cubicBezTo>
                    <a:cubicBezTo>
                      <a:pt x="38" y="17"/>
                      <a:pt x="45" y="10"/>
                      <a:pt x="49" y="2"/>
                    </a:cubicBezTo>
                    <a:cubicBezTo>
                      <a:pt x="50" y="1"/>
                      <a:pt x="48" y="0"/>
                      <a:pt x="48" y="0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921" name="Freeform 234">
                <a:extLst>
                  <a:ext uri="{FF2B5EF4-FFF2-40B4-BE49-F238E27FC236}">
                    <a16:creationId xmlns:a16="http://schemas.microsoft.com/office/drawing/2014/main" id="{1DDB809C-E2FA-4BCD-9217-C4ADA12A33FD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7013" y="2296"/>
                <a:ext cx="111" cy="235"/>
              </a:xfrm>
              <a:custGeom>
                <a:avLst/>
                <a:gdLst>
                  <a:gd name="T0" fmla="*/ 23 w 104"/>
                  <a:gd name="T1" fmla="*/ 1 h 222"/>
                  <a:gd name="T2" fmla="*/ 2 w 104"/>
                  <a:gd name="T3" fmla="*/ 56 h 222"/>
                  <a:gd name="T4" fmla="*/ 16 w 104"/>
                  <a:gd name="T5" fmla="*/ 120 h 222"/>
                  <a:gd name="T6" fmla="*/ 100 w 104"/>
                  <a:gd name="T7" fmla="*/ 221 h 222"/>
                  <a:gd name="T8" fmla="*/ 101 w 104"/>
                  <a:gd name="T9" fmla="*/ 217 h 222"/>
                  <a:gd name="T10" fmla="*/ 25 w 104"/>
                  <a:gd name="T11" fmla="*/ 128 h 222"/>
                  <a:gd name="T12" fmla="*/ 7 w 104"/>
                  <a:gd name="T13" fmla="*/ 63 h 222"/>
                  <a:gd name="T14" fmla="*/ 26 w 104"/>
                  <a:gd name="T15" fmla="*/ 3 h 222"/>
                  <a:gd name="T16" fmla="*/ 23 w 104"/>
                  <a:gd name="T17" fmla="*/ 1 h 2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04" h="222">
                    <a:moveTo>
                      <a:pt x="23" y="1"/>
                    </a:moveTo>
                    <a:cubicBezTo>
                      <a:pt x="12" y="16"/>
                      <a:pt x="4" y="38"/>
                      <a:pt x="2" y="56"/>
                    </a:cubicBezTo>
                    <a:cubicBezTo>
                      <a:pt x="0" y="78"/>
                      <a:pt x="8" y="100"/>
                      <a:pt x="16" y="120"/>
                    </a:cubicBezTo>
                    <a:cubicBezTo>
                      <a:pt x="30" y="156"/>
                      <a:pt x="56" y="216"/>
                      <a:pt x="100" y="221"/>
                    </a:cubicBezTo>
                    <a:cubicBezTo>
                      <a:pt x="103" y="222"/>
                      <a:pt x="104" y="218"/>
                      <a:pt x="101" y="217"/>
                    </a:cubicBezTo>
                    <a:cubicBezTo>
                      <a:pt x="62" y="200"/>
                      <a:pt x="42" y="166"/>
                      <a:pt x="25" y="128"/>
                    </a:cubicBezTo>
                    <a:cubicBezTo>
                      <a:pt x="17" y="108"/>
                      <a:pt x="8" y="85"/>
                      <a:pt x="7" y="63"/>
                    </a:cubicBezTo>
                    <a:cubicBezTo>
                      <a:pt x="7" y="42"/>
                      <a:pt x="18" y="22"/>
                      <a:pt x="26" y="3"/>
                    </a:cubicBezTo>
                    <a:cubicBezTo>
                      <a:pt x="27" y="1"/>
                      <a:pt x="24" y="0"/>
                      <a:pt x="23" y="1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922" name="Freeform 235">
                <a:extLst>
                  <a:ext uri="{FF2B5EF4-FFF2-40B4-BE49-F238E27FC236}">
                    <a16:creationId xmlns:a16="http://schemas.microsoft.com/office/drawing/2014/main" id="{4CEA1C7B-5F96-4EF0-96F8-7309E7E9699E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7152" y="2472"/>
                <a:ext cx="37" cy="55"/>
              </a:xfrm>
              <a:custGeom>
                <a:avLst/>
                <a:gdLst>
                  <a:gd name="T0" fmla="*/ 13 w 35"/>
                  <a:gd name="T1" fmla="*/ 4 h 52"/>
                  <a:gd name="T2" fmla="*/ 19 w 35"/>
                  <a:gd name="T3" fmla="*/ 10 h 52"/>
                  <a:gd name="T4" fmla="*/ 23 w 35"/>
                  <a:gd name="T5" fmla="*/ 26 h 52"/>
                  <a:gd name="T6" fmla="*/ 2 w 35"/>
                  <a:gd name="T7" fmla="*/ 48 h 52"/>
                  <a:gd name="T8" fmla="*/ 4 w 35"/>
                  <a:gd name="T9" fmla="*/ 51 h 52"/>
                  <a:gd name="T10" fmla="*/ 30 w 35"/>
                  <a:gd name="T11" fmla="*/ 22 h 52"/>
                  <a:gd name="T12" fmla="*/ 15 w 35"/>
                  <a:gd name="T13" fmla="*/ 1 h 52"/>
                  <a:gd name="T14" fmla="*/ 13 w 35"/>
                  <a:gd name="T15" fmla="*/ 4 h 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5" h="52">
                    <a:moveTo>
                      <a:pt x="13" y="4"/>
                    </a:moveTo>
                    <a:cubicBezTo>
                      <a:pt x="15" y="6"/>
                      <a:pt x="17" y="8"/>
                      <a:pt x="19" y="10"/>
                    </a:cubicBezTo>
                    <a:cubicBezTo>
                      <a:pt x="25" y="15"/>
                      <a:pt x="28" y="19"/>
                      <a:pt x="23" y="26"/>
                    </a:cubicBezTo>
                    <a:cubicBezTo>
                      <a:pt x="16" y="35"/>
                      <a:pt x="10" y="41"/>
                      <a:pt x="2" y="48"/>
                    </a:cubicBezTo>
                    <a:cubicBezTo>
                      <a:pt x="0" y="49"/>
                      <a:pt x="2" y="52"/>
                      <a:pt x="4" y="51"/>
                    </a:cubicBezTo>
                    <a:cubicBezTo>
                      <a:pt x="14" y="44"/>
                      <a:pt x="25" y="33"/>
                      <a:pt x="30" y="22"/>
                    </a:cubicBezTo>
                    <a:cubicBezTo>
                      <a:pt x="35" y="11"/>
                      <a:pt x="23" y="6"/>
                      <a:pt x="15" y="1"/>
                    </a:cubicBezTo>
                    <a:cubicBezTo>
                      <a:pt x="13" y="0"/>
                      <a:pt x="12" y="3"/>
                      <a:pt x="13" y="4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923" name="Freeform 236">
                <a:extLst>
                  <a:ext uri="{FF2B5EF4-FFF2-40B4-BE49-F238E27FC236}">
                    <a16:creationId xmlns:a16="http://schemas.microsoft.com/office/drawing/2014/main" id="{2567DEA8-70F4-436E-8E3B-6237AFB6C60E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7078" y="2541"/>
                <a:ext cx="49" cy="15"/>
              </a:xfrm>
              <a:custGeom>
                <a:avLst/>
                <a:gdLst>
                  <a:gd name="T0" fmla="*/ 44 w 46"/>
                  <a:gd name="T1" fmla="*/ 2 h 15"/>
                  <a:gd name="T2" fmla="*/ 1 w 46"/>
                  <a:gd name="T3" fmla="*/ 0 h 15"/>
                  <a:gd name="T4" fmla="*/ 0 w 46"/>
                  <a:gd name="T5" fmla="*/ 1 h 15"/>
                  <a:gd name="T6" fmla="*/ 45 w 46"/>
                  <a:gd name="T7" fmla="*/ 3 h 15"/>
                  <a:gd name="T8" fmla="*/ 44 w 46"/>
                  <a:gd name="T9" fmla="*/ 2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6" h="15">
                    <a:moveTo>
                      <a:pt x="44" y="2"/>
                    </a:moveTo>
                    <a:cubicBezTo>
                      <a:pt x="32" y="14"/>
                      <a:pt x="13" y="5"/>
                      <a:pt x="1" y="0"/>
                    </a:cubicBezTo>
                    <a:cubicBezTo>
                      <a:pt x="0" y="0"/>
                      <a:pt x="0" y="1"/>
                      <a:pt x="0" y="1"/>
                    </a:cubicBezTo>
                    <a:cubicBezTo>
                      <a:pt x="13" y="8"/>
                      <a:pt x="33" y="15"/>
                      <a:pt x="45" y="3"/>
                    </a:cubicBezTo>
                    <a:cubicBezTo>
                      <a:pt x="46" y="2"/>
                      <a:pt x="45" y="1"/>
                      <a:pt x="44" y="2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924" name="Freeform 237">
                <a:extLst>
                  <a:ext uri="{FF2B5EF4-FFF2-40B4-BE49-F238E27FC236}">
                    <a16:creationId xmlns:a16="http://schemas.microsoft.com/office/drawing/2014/main" id="{7C9FA73E-8576-424D-8063-39F8C0E69870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988" y="2323"/>
                <a:ext cx="63" cy="183"/>
              </a:xfrm>
              <a:custGeom>
                <a:avLst/>
                <a:gdLst>
                  <a:gd name="T0" fmla="*/ 59 w 59"/>
                  <a:gd name="T1" fmla="*/ 173 h 173"/>
                  <a:gd name="T2" fmla="*/ 25 w 59"/>
                  <a:gd name="T3" fmla="*/ 99 h 173"/>
                  <a:gd name="T4" fmla="*/ 13 w 59"/>
                  <a:gd name="T5" fmla="*/ 52 h 173"/>
                  <a:gd name="T6" fmla="*/ 18 w 59"/>
                  <a:gd name="T7" fmla="*/ 4 h 173"/>
                  <a:gd name="T8" fmla="*/ 12 w 59"/>
                  <a:gd name="T9" fmla="*/ 3 h 173"/>
                  <a:gd name="T10" fmla="*/ 15 w 59"/>
                  <a:gd name="T11" fmla="*/ 89 h 173"/>
                  <a:gd name="T12" fmla="*/ 59 w 59"/>
                  <a:gd name="T13" fmla="*/ 173 h 1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59" h="173">
                    <a:moveTo>
                      <a:pt x="59" y="173"/>
                    </a:moveTo>
                    <a:cubicBezTo>
                      <a:pt x="43" y="151"/>
                      <a:pt x="33" y="125"/>
                      <a:pt x="25" y="99"/>
                    </a:cubicBezTo>
                    <a:cubicBezTo>
                      <a:pt x="21" y="84"/>
                      <a:pt x="15" y="68"/>
                      <a:pt x="13" y="52"/>
                    </a:cubicBezTo>
                    <a:cubicBezTo>
                      <a:pt x="11" y="35"/>
                      <a:pt x="16" y="21"/>
                      <a:pt x="18" y="4"/>
                    </a:cubicBezTo>
                    <a:cubicBezTo>
                      <a:pt x="18" y="1"/>
                      <a:pt x="13" y="0"/>
                      <a:pt x="12" y="3"/>
                    </a:cubicBezTo>
                    <a:cubicBezTo>
                      <a:pt x="0" y="33"/>
                      <a:pt x="6" y="59"/>
                      <a:pt x="15" y="89"/>
                    </a:cubicBezTo>
                    <a:cubicBezTo>
                      <a:pt x="24" y="119"/>
                      <a:pt x="38" y="149"/>
                      <a:pt x="59" y="173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925" name="Freeform 238">
                <a:extLst>
                  <a:ext uri="{FF2B5EF4-FFF2-40B4-BE49-F238E27FC236}">
                    <a16:creationId xmlns:a16="http://schemas.microsoft.com/office/drawing/2014/main" id="{EBEC3F51-0EE4-41E8-A919-0913BDCF9A58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7020" y="2489"/>
                <a:ext cx="171" cy="227"/>
              </a:xfrm>
              <a:custGeom>
                <a:avLst/>
                <a:gdLst>
                  <a:gd name="T0" fmla="*/ 155 w 162"/>
                  <a:gd name="T1" fmla="*/ 5 h 215"/>
                  <a:gd name="T2" fmla="*/ 152 w 162"/>
                  <a:gd name="T3" fmla="*/ 5 h 215"/>
                  <a:gd name="T4" fmla="*/ 153 w 162"/>
                  <a:gd name="T5" fmla="*/ 20 h 215"/>
                  <a:gd name="T6" fmla="*/ 143 w 162"/>
                  <a:gd name="T7" fmla="*/ 43 h 215"/>
                  <a:gd name="T8" fmla="*/ 90 w 162"/>
                  <a:gd name="T9" fmla="*/ 75 h 215"/>
                  <a:gd name="T10" fmla="*/ 16 w 162"/>
                  <a:gd name="T11" fmla="*/ 87 h 215"/>
                  <a:gd name="T12" fmla="*/ 4 w 162"/>
                  <a:gd name="T13" fmla="*/ 163 h 215"/>
                  <a:gd name="T14" fmla="*/ 42 w 162"/>
                  <a:gd name="T15" fmla="*/ 214 h 215"/>
                  <a:gd name="T16" fmla="*/ 45 w 162"/>
                  <a:gd name="T17" fmla="*/ 209 h 215"/>
                  <a:gd name="T18" fmla="*/ 20 w 162"/>
                  <a:gd name="T19" fmla="*/ 191 h 215"/>
                  <a:gd name="T20" fmla="*/ 10 w 162"/>
                  <a:gd name="T21" fmla="*/ 154 h 215"/>
                  <a:gd name="T22" fmla="*/ 11 w 162"/>
                  <a:gd name="T23" fmla="*/ 116 h 215"/>
                  <a:gd name="T24" fmla="*/ 67 w 162"/>
                  <a:gd name="T25" fmla="*/ 73 h 215"/>
                  <a:gd name="T26" fmla="*/ 105 w 162"/>
                  <a:gd name="T27" fmla="*/ 79 h 215"/>
                  <a:gd name="T28" fmla="*/ 120 w 162"/>
                  <a:gd name="T29" fmla="*/ 71 h 215"/>
                  <a:gd name="T30" fmla="*/ 152 w 162"/>
                  <a:gd name="T31" fmla="*/ 44 h 215"/>
                  <a:gd name="T32" fmla="*/ 157 w 162"/>
                  <a:gd name="T33" fmla="*/ 2 h 215"/>
                  <a:gd name="T34" fmla="*/ 152 w 162"/>
                  <a:gd name="T35" fmla="*/ 1 h 215"/>
                  <a:gd name="T36" fmla="*/ 151 w 162"/>
                  <a:gd name="T37" fmla="*/ 2 h 215"/>
                  <a:gd name="T38" fmla="*/ 151 w 162"/>
                  <a:gd name="T39" fmla="*/ 5 h 215"/>
                  <a:gd name="T40" fmla="*/ 152 w 162"/>
                  <a:gd name="T41" fmla="*/ 6 h 215"/>
                  <a:gd name="T42" fmla="*/ 155 w 162"/>
                  <a:gd name="T43" fmla="*/ 5 h 2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62" h="215">
                    <a:moveTo>
                      <a:pt x="155" y="5"/>
                    </a:moveTo>
                    <a:cubicBezTo>
                      <a:pt x="155" y="4"/>
                      <a:pt x="153" y="5"/>
                      <a:pt x="152" y="5"/>
                    </a:cubicBezTo>
                    <a:cubicBezTo>
                      <a:pt x="151" y="7"/>
                      <a:pt x="153" y="17"/>
                      <a:pt x="153" y="20"/>
                    </a:cubicBezTo>
                    <a:cubicBezTo>
                      <a:pt x="152" y="30"/>
                      <a:pt x="150" y="36"/>
                      <a:pt x="143" y="43"/>
                    </a:cubicBezTo>
                    <a:cubicBezTo>
                      <a:pt x="129" y="56"/>
                      <a:pt x="110" y="78"/>
                      <a:pt x="90" y="75"/>
                    </a:cubicBezTo>
                    <a:cubicBezTo>
                      <a:pt x="65" y="70"/>
                      <a:pt x="34" y="62"/>
                      <a:pt x="16" y="87"/>
                    </a:cubicBezTo>
                    <a:cubicBezTo>
                      <a:pt x="0" y="108"/>
                      <a:pt x="2" y="138"/>
                      <a:pt x="4" y="163"/>
                    </a:cubicBezTo>
                    <a:cubicBezTo>
                      <a:pt x="7" y="187"/>
                      <a:pt x="18" y="207"/>
                      <a:pt x="42" y="214"/>
                    </a:cubicBezTo>
                    <a:cubicBezTo>
                      <a:pt x="45" y="215"/>
                      <a:pt x="47" y="211"/>
                      <a:pt x="45" y="209"/>
                    </a:cubicBezTo>
                    <a:cubicBezTo>
                      <a:pt x="37" y="203"/>
                      <a:pt x="27" y="199"/>
                      <a:pt x="20" y="191"/>
                    </a:cubicBezTo>
                    <a:cubicBezTo>
                      <a:pt x="12" y="180"/>
                      <a:pt x="11" y="166"/>
                      <a:pt x="10" y="154"/>
                    </a:cubicBezTo>
                    <a:cubicBezTo>
                      <a:pt x="9" y="141"/>
                      <a:pt x="9" y="128"/>
                      <a:pt x="11" y="116"/>
                    </a:cubicBezTo>
                    <a:cubicBezTo>
                      <a:pt x="15" y="85"/>
                      <a:pt x="36" y="70"/>
                      <a:pt x="67" y="73"/>
                    </a:cubicBezTo>
                    <a:cubicBezTo>
                      <a:pt x="79" y="74"/>
                      <a:pt x="92" y="81"/>
                      <a:pt x="105" y="79"/>
                    </a:cubicBezTo>
                    <a:cubicBezTo>
                      <a:pt x="111" y="78"/>
                      <a:pt x="116" y="76"/>
                      <a:pt x="120" y="71"/>
                    </a:cubicBezTo>
                    <a:cubicBezTo>
                      <a:pt x="130" y="63"/>
                      <a:pt x="144" y="54"/>
                      <a:pt x="152" y="44"/>
                    </a:cubicBezTo>
                    <a:cubicBezTo>
                      <a:pt x="161" y="34"/>
                      <a:pt x="162" y="14"/>
                      <a:pt x="157" y="2"/>
                    </a:cubicBezTo>
                    <a:cubicBezTo>
                      <a:pt x="156" y="0"/>
                      <a:pt x="154" y="0"/>
                      <a:pt x="152" y="1"/>
                    </a:cubicBezTo>
                    <a:cubicBezTo>
                      <a:pt x="151" y="2"/>
                      <a:pt x="151" y="2"/>
                      <a:pt x="151" y="2"/>
                    </a:cubicBezTo>
                    <a:cubicBezTo>
                      <a:pt x="151" y="3"/>
                      <a:pt x="150" y="4"/>
                      <a:pt x="151" y="5"/>
                    </a:cubicBezTo>
                    <a:cubicBezTo>
                      <a:pt x="151" y="5"/>
                      <a:pt x="151" y="6"/>
                      <a:pt x="152" y="6"/>
                    </a:cubicBezTo>
                    <a:cubicBezTo>
                      <a:pt x="153" y="8"/>
                      <a:pt x="155" y="7"/>
                      <a:pt x="155" y="5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926" name="Freeform 239">
                <a:extLst>
                  <a:ext uri="{FF2B5EF4-FFF2-40B4-BE49-F238E27FC236}">
                    <a16:creationId xmlns:a16="http://schemas.microsoft.com/office/drawing/2014/main" id="{0A749E4B-F045-419B-8397-12C8634BFD04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7111" y="2569"/>
                <a:ext cx="30" cy="127"/>
              </a:xfrm>
              <a:custGeom>
                <a:avLst/>
                <a:gdLst>
                  <a:gd name="T0" fmla="*/ 17 w 28"/>
                  <a:gd name="T1" fmla="*/ 5 h 120"/>
                  <a:gd name="T2" fmla="*/ 1 w 28"/>
                  <a:gd name="T3" fmla="*/ 54 h 120"/>
                  <a:gd name="T4" fmla="*/ 5 w 28"/>
                  <a:gd name="T5" fmla="*/ 79 h 120"/>
                  <a:gd name="T6" fmla="*/ 20 w 28"/>
                  <a:gd name="T7" fmla="*/ 116 h 120"/>
                  <a:gd name="T8" fmla="*/ 25 w 28"/>
                  <a:gd name="T9" fmla="*/ 116 h 120"/>
                  <a:gd name="T10" fmla="*/ 11 w 28"/>
                  <a:gd name="T11" fmla="*/ 82 h 120"/>
                  <a:gd name="T12" fmla="*/ 7 w 28"/>
                  <a:gd name="T13" fmla="*/ 35 h 120"/>
                  <a:gd name="T14" fmla="*/ 21 w 28"/>
                  <a:gd name="T15" fmla="*/ 4 h 120"/>
                  <a:gd name="T16" fmla="*/ 18 w 28"/>
                  <a:gd name="T17" fmla="*/ 2 h 120"/>
                  <a:gd name="T18" fmla="*/ 17 w 28"/>
                  <a:gd name="T19" fmla="*/ 3 h 120"/>
                  <a:gd name="T20" fmla="*/ 17 w 28"/>
                  <a:gd name="T21" fmla="*/ 5 h 1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28" h="120">
                    <a:moveTo>
                      <a:pt x="17" y="5"/>
                    </a:moveTo>
                    <a:cubicBezTo>
                      <a:pt x="13" y="3"/>
                      <a:pt x="1" y="48"/>
                      <a:pt x="1" y="54"/>
                    </a:cubicBezTo>
                    <a:cubicBezTo>
                      <a:pt x="0" y="63"/>
                      <a:pt x="2" y="71"/>
                      <a:pt x="5" y="79"/>
                    </a:cubicBezTo>
                    <a:cubicBezTo>
                      <a:pt x="10" y="91"/>
                      <a:pt x="21" y="102"/>
                      <a:pt x="20" y="116"/>
                    </a:cubicBezTo>
                    <a:cubicBezTo>
                      <a:pt x="19" y="119"/>
                      <a:pt x="24" y="120"/>
                      <a:pt x="25" y="116"/>
                    </a:cubicBezTo>
                    <a:cubicBezTo>
                      <a:pt x="28" y="103"/>
                      <a:pt x="17" y="93"/>
                      <a:pt x="11" y="82"/>
                    </a:cubicBezTo>
                    <a:cubicBezTo>
                      <a:pt x="3" y="67"/>
                      <a:pt x="2" y="51"/>
                      <a:pt x="7" y="35"/>
                    </a:cubicBezTo>
                    <a:cubicBezTo>
                      <a:pt x="11" y="23"/>
                      <a:pt x="18" y="15"/>
                      <a:pt x="21" y="4"/>
                    </a:cubicBezTo>
                    <a:cubicBezTo>
                      <a:pt x="22" y="2"/>
                      <a:pt x="19" y="0"/>
                      <a:pt x="18" y="2"/>
                    </a:cubicBezTo>
                    <a:cubicBezTo>
                      <a:pt x="17" y="2"/>
                      <a:pt x="17" y="2"/>
                      <a:pt x="17" y="3"/>
                    </a:cubicBezTo>
                    <a:cubicBezTo>
                      <a:pt x="16" y="4"/>
                      <a:pt x="16" y="5"/>
                      <a:pt x="17" y="5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927" name="Freeform 240">
                <a:extLst>
                  <a:ext uri="{FF2B5EF4-FFF2-40B4-BE49-F238E27FC236}">
                    <a16:creationId xmlns:a16="http://schemas.microsoft.com/office/drawing/2014/main" id="{59127E00-D498-48BA-A966-3501292BB0E7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7056" y="2568"/>
                <a:ext cx="102" cy="163"/>
              </a:xfrm>
              <a:custGeom>
                <a:avLst/>
                <a:gdLst>
                  <a:gd name="T0" fmla="*/ 74 w 96"/>
                  <a:gd name="T1" fmla="*/ 2 h 154"/>
                  <a:gd name="T2" fmla="*/ 73 w 96"/>
                  <a:gd name="T3" fmla="*/ 43 h 154"/>
                  <a:gd name="T4" fmla="*/ 86 w 96"/>
                  <a:gd name="T5" fmla="*/ 79 h 154"/>
                  <a:gd name="T6" fmla="*/ 69 w 96"/>
                  <a:gd name="T7" fmla="*/ 121 h 154"/>
                  <a:gd name="T8" fmla="*/ 5 w 96"/>
                  <a:gd name="T9" fmla="*/ 132 h 154"/>
                  <a:gd name="T10" fmla="*/ 3 w 96"/>
                  <a:gd name="T11" fmla="*/ 137 h 154"/>
                  <a:gd name="T12" fmla="*/ 88 w 96"/>
                  <a:gd name="T13" fmla="*/ 108 h 154"/>
                  <a:gd name="T14" fmla="*/ 89 w 96"/>
                  <a:gd name="T15" fmla="*/ 75 h 154"/>
                  <a:gd name="T16" fmla="*/ 78 w 96"/>
                  <a:gd name="T17" fmla="*/ 48 h 154"/>
                  <a:gd name="T18" fmla="*/ 77 w 96"/>
                  <a:gd name="T19" fmla="*/ 2 h 154"/>
                  <a:gd name="T20" fmla="*/ 74 w 96"/>
                  <a:gd name="T21" fmla="*/ 2 h 1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96" h="154">
                    <a:moveTo>
                      <a:pt x="74" y="2"/>
                    </a:moveTo>
                    <a:cubicBezTo>
                      <a:pt x="73" y="15"/>
                      <a:pt x="71" y="29"/>
                      <a:pt x="73" y="43"/>
                    </a:cubicBezTo>
                    <a:cubicBezTo>
                      <a:pt x="75" y="56"/>
                      <a:pt x="81" y="67"/>
                      <a:pt x="86" y="79"/>
                    </a:cubicBezTo>
                    <a:cubicBezTo>
                      <a:pt x="93" y="98"/>
                      <a:pt x="82" y="110"/>
                      <a:pt x="69" y="121"/>
                    </a:cubicBezTo>
                    <a:cubicBezTo>
                      <a:pt x="50" y="137"/>
                      <a:pt x="29" y="141"/>
                      <a:pt x="5" y="132"/>
                    </a:cubicBezTo>
                    <a:cubicBezTo>
                      <a:pt x="2" y="130"/>
                      <a:pt x="0" y="135"/>
                      <a:pt x="3" y="137"/>
                    </a:cubicBezTo>
                    <a:cubicBezTo>
                      <a:pt x="36" y="154"/>
                      <a:pt x="67" y="135"/>
                      <a:pt x="88" y="108"/>
                    </a:cubicBezTo>
                    <a:cubicBezTo>
                      <a:pt x="96" y="97"/>
                      <a:pt x="94" y="87"/>
                      <a:pt x="89" y="75"/>
                    </a:cubicBezTo>
                    <a:cubicBezTo>
                      <a:pt x="85" y="66"/>
                      <a:pt x="80" y="57"/>
                      <a:pt x="78" y="48"/>
                    </a:cubicBezTo>
                    <a:cubicBezTo>
                      <a:pt x="74" y="33"/>
                      <a:pt x="76" y="17"/>
                      <a:pt x="77" y="2"/>
                    </a:cubicBezTo>
                    <a:cubicBezTo>
                      <a:pt x="77" y="0"/>
                      <a:pt x="74" y="0"/>
                      <a:pt x="74" y="2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928" name="Freeform 241">
                <a:extLst>
                  <a:ext uri="{FF2B5EF4-FFF2-40B4-BE49-F238E27FC236}">
                    <a16:creationId xmlns:a16="http://schemas.microsoft.com/office/drawing/2014/main" id="{8C41A88B-1485-4F34-9AE2-0DA0E6D07153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7149" y="2661"/>
                <a:ext cx="16" cy="35"/>
              </a:xfrm>
              <a:custGeom>
                <a:avLst/>
                <a:gdLst>
                  <a:gd name="T0" fmla="*/ 1 w 15"/>
                  <a:gd name="T1" fmla="*/ 3 h 33"/>
                  <a:gd name="T2" fmla="*/ 8 w 15"/>
                  <a:gd name="T3" fmla="*/ 14 h 33"/>
                  <a:gd name="T4" fmla="*/ 2 w 15"/>
                  <a:gd name="T5" fmla="*/ 29 h 33"/>
                  <a:gd name="T6" fmla="*/ 4 w 15"/>
                  <a:gd name="T7" fmla="*/ 33 h 33"/>
                  <a:gd name="T8" fmla="*/ 15 w 15"/>
                  <a:gd name="T9" fmla="*/ 19 h 33"/>
                  <a:gd name="T10" fmla="*/ 13 w 15"/>
                  <a:gd name="T11" fmla="*/ 11 h 33"/>
                  <a:gd name="T12" fmla="*/ 5 w 15"/>
                  <a:gd name="T13" fmla="*/ 2 h 33"/>
                  <a:gd name="T14" fmla="*/ 1 w 15"/>
                  <a:gd name="T15" fmla="*/ 3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5" h="33">
                    <a:moveTo>
                      <a:pt x="1" y="3"/>
                    </a:moveTo>
                    <a:cubicBezTo>
                      <a:pt x="2" y="8"/>
                      <a:pt x="6" y="10"/>
                      <a:pt x="8" y="14"/>
                    </a:cubicBezTo>
                    <a:cubicBezTo>
                      <a:pt x="11" y="20"/>
                      <a:pt x="8" y="26"/>
                      <a:pt x="2" y="29"/>
                    </a:cubicBezTo>
                    <a:cubicBezTo>
                      <a:pt x="0" y="30"/>
                      <a:pt x="2" y="33"/>
                      <a:pt x="4" y="33"/>
                    </a:cubicBezTo>
                    <a:cubicBezTo>
                      <a:pt x="11" y="32"/>
                      <a:pt x="15" y="26"/>
                      <a:pt x="15" y="19"/>
                    </a:cubicBezTo>
                    <a:cubicBezTo>
                      <a:pt x="15" y="16"/>
                      <a:pt x="14" y="14"/>
                      <a:pt x="13" y="11"/>
                    </a:cubicBezTo>
                    <a:cubicBezTo>
                      <a:pt x="11" y="7"/>
                      <a:pt x="7" y="5"/>
                      <a:pt x="5" y="2"/>
                    </a:cubicBezTo>
                    <a:cubicBezTo>
                      <a:pt x="4" y="0"/>
                      <a:pt x="1" y="1"/>
                      <a:pt x="1" y="3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929" name="Freeform 242">
                <a:extLst>
                  <a:ext uri="{FF2B5EF4-FFF2-40B4-BE49-F238E27FC236}">
                    <a16:creationId xmlns:a16="http://schemas.microsoft.com/office/drawing/2014/main" id="{743F0581-F974-455F-9F5A-B9FCEE412EBF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7057" y="2699"/>
                <a:ext cx="89" cy="37"/>
              </a:xfrm>
              <a:custGeom>
                <a:avLst/>
                <a:gdLst>
                  <a:gd name="T0" fmla="*/ 83 w 84"/>
                  <a:gd name="T1" fmla="*/ 1 h 35"/>
                  <a:gd name="T2" fmla="*/ 48 w 84"/>
                  <a:gd name="T3" fmla="*/ 25 h 35"/>
                  <a:gd name="T4" fmla="*/ 2 w 84"/>
                  <a:gd name="T5" fmla="*/ 29 h 35"/>
                  <a:gd name="T6" fmla="*/ 2 w 84"/>
                  <a:gd name="T7" fmla="*/ 32 h 35"/>
                  <a:gd name="T8" fmla="*/ 84 w 84"/>
                  <a:gd name="T9" fmla="*/ 2 h 35"/>
                  <a:gd name="T10" fmla="*/ 83 w 84"/>
                  <a:gd name="T11" fmla="*/ 1 h 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84" h="35">
                    <a:moveTo>
                      <a:pt x="83" y="1"/>
                    </a:moveTo>
                    <a:cubicBezTo>
                      <a:pt x="74" y="13"/>
                      <a:pt x="63" y="22"/>
                      <a:pt x="48" y="25"/>
                    </a:cubicBezTo>
                    <a:cubicBezTo>
                      <a:pt x="33" y="28"/>
                      <a:pt x="18" y="29"/>
                      <a:pt x="2" y="29"/>
                    </a:cubicBezTo>
                    <a:cubicBezTo>
                      <a:pt x="0" y="30"/>
                      <a:pt x="0" y="32"/>
                      <a:pt x="2" y="32"/>
                    </a:cubicBezTo>
                    <a:cubicBezTo>
                      <a:pt x="33" y="35"/>
                      <a:pt x="67" y="30"/>
                      <a:pt x="84" y="2"/>
                    </a:cubicBezTo>
                    <a:cubicBezTo>
                      <a:pt x="84" y="1"/>
                      <a:pt x="83" y="0"/>
                      <a:pt x="83" y="1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930" name="Freeform 243">
                <a:extLst>
                  <a:ext uri="{FF2B5EF4-FFF2-40B4-BE49-F238E27FC236}">
                    <a16:creationId xmlns:a16="http://schemas.microsoft.com/office/drawing/2014/main" id="{8C8FAD68-B3DC-45CA-8280-40E42C22B00C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7033" y="2678"/>
                <a:ext cx="142" cy="188"/>
              </a:xfrm>
              <a:custGeom>
                <a:avLst/>
                <a:gdLst>
                  <a:gd name="T0" fmla="*/ 124 w 134"/>
                  <a:gd name="T1" fmla="*/ 1 h 177"/>
                  <a:gd name="T2" fmla="*/ 116 w 134"/>
                  <a:gd name="T3" fmla="*/ 36 h 177"/>
                  <a:gd name="T4" fmla="*/ 82 w 134"/>
                  <a:gd name="T5" fmla="*/ 63 h 177"/>
                  <a:gd name="T6" fmla="*/ 50 w 134"/>
                  <a:gd name="T7" fmla="*/ 74 h 177"/>
                  <a:gd name="T8" fmla="*/ 21 w 134"/>
                  <a:gd name="T9" fmla="*/ 82 h 177"/>
                  <a:gd name="T10" fmla="*/ 5 w 134"/>
                  <a:gd name="T11" fmla="*/ 110 h 177"/>
                  <a:gd name="T12" fmla="*/ 16 w 134"/>
                  <a:gd name="T13" fmla="*/ 173 h 177"/>
                  <a:gd name="T14" fmla="*/ 23 w 134"/>
                  <a:gd name="T15" fmla="*/ 171 h 177"/>
                  <a:gd name="T16" fmla="*/ 18 w 134"/>
                  <a:gd name="T17" fmla="*/ 96 h 177"/>
                  <a:gd name="T18" fmla="*/ 52 w 134"/>
                  <a:gd name="T19" fmla="*/ 80 h 177"/>
                  <a:gd name="T20" fmla="*/ 80 w 134"/>
                  <a:gd name="T21" fmla="*/ 70 h 177"/>
                  <a:gd name="T22" fmla="*/ 123 w 134"/>
                  <a:gd name="T23" fmla="*/ 36 h 177"/>
                  <a:gd name="T24" fmla="*/ 126 w 134"/>
                  <a:gd name="T25" fmla="*/ 1 h 177"/>
                  <a:gd name="T26" fmla="*/ 124 w 134"/>
                  <a:gd name="T27" fmla="*/ 1 h 1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34" h="177">
                    <a:moveTo>
                      <a:pt x="124" y="1"/>
                    </a:moveTo>
                    <a:cubicBezTo>
                      <a:pt x="122" y="13"/>
                      <a:pt x="123" y="25"/>
                      <a:pt x="116" y="36"/>
                    </a:cubicBezTo>
                    <a:cubicBezTo>
                      <a:pt x="107" y="48"/>
                      <a:pt x="96" y="57"/>
                      <a:pt x="82" y="63"/>
                    </a:cubicBezTo>
                    <a:cubicBezTo>
                      <a:pt x="72" y="68"/>
                      <a:pt x="61" y="71"/>
                      <a:pt x="50" y="74"/>
                    </a:cubicBezTo>
                    <a:cubicBezTo>
                      <a:pt x="41" y="76"/>
                      <a:pt x="29" y="77"/>
                      <a:pt x="21" y="82"/>
                    </a:cubicBezTo>
                    <a:cubicBezTo>
                      <a:pt x="11" y="87"/>
                      <a:pt x="8" y="100"/>
                      <a:pt x="5" y="110"/>
                    </a:cubicBezTo>
                    <a:cubicBezTo>
                      <a:pt x="0" y="132"/>
                      <a:pt x="8" y="154"/>
                      <a:pt x="16" y="173"/>
                    </a:cubicBezTo>
                    <a:cubicBezTo>
                      <a:pt x="18" y="177"/>
                      <a:pt x="24" y="175"/>
                      <a:pt x="23" y="171"/>
                    </a:cubicBezTo>
                    <a:cubicBezTo>
                      <a:pt x="16" y="147"/>
                      <a:pt x="3" y="120"/>
                      <a:pt x="18" y="96"/>
                    </a:cubicBezTo>
                    <a:cubicBezTo>
                      <a:pt x="25" y="84"/>
                      <a:pt x="40" y="84"/>
                      <a:pt x="52" y="80"/>
                    </a:cubicBezTo>
                    <a:cubicBezTo>
                      <a:pt x="61" y="77"/>
                      <a:pt x="71" y="74"/>
                      <a:pt x="80" y="70"/>
                    </a:cubicBezTo>
                    <a:cubicBezTo>
                      <a:pt x="98" y="63"/>
                      <a:pt x="111" y="52"/>
                      <a:pt x="123" y="36"/>
                    </a:cubicBezTo>
                    <a:cubicBezTo>
                      <a:pt x="134" y="22"/>
                      <a:pt x="126" y="18"/>
                      <a:pt x="126" y="1"/>
                    </a:cubicBezTo>
                    <a:cubicBezTo>
                      <a:pt x="125" y="0"/>
                      <a:pt x="124" y="0"/>
                      <a:pt x="124" y="1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931" name="Freeform 244">
                <a:extLst>
                  <a:ext uri="{FF2B5EF4-FFF2-40B4-BE49-F238E27FC236}">
                    <a16:creationId xmlns:a16="http://schemas.microsoft.com/office/drawing/2014/main" id="{C5768F5F-6400-47F3-B576-EA41E93CD5A8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7158" y="2844"/>
                <a:ext cx="38" cy="55"/>
              </a:xfrm>
              <a:custGeom>
                <a:avLst/>
                <a:gdLst>
                  <a:gd name="T0" fmla="*/ 22 w 36"/>
                  <a:gd name="T1" fmla="*/ 5 h 52"/>
                  <a:gd name="T2" fmla="*/ 28 w 36"/>
                  <a:gd name="T3" fmla="*/ 16 h 52"/>
                  <a:gd name="T4" fmla="*/ 26 w 36"/>
                  <a:gd name="T5" fmla="*/ 18 h 52"/>
                  <a:gd name="T6" fmla="*/ 23 w 36"/>
                  <a:gd name="T7" fmla="*/ 26 h 52"/>
                  <a:gd name="T8" fmla="*/ 2 w 36"/>
                  <a:gd name="T9" fmla="*/ 47 h 52"/>
                  <a:gd name="T10" fmla="*/ 4 w 36"/>
                  <a:gd name="T11" fmla="*/ 50 h 52"/>
                  <a:gd name="T12" fmla="*/ 20 w 36"/>
                  <a:gd name="T13" fmla="*/ 38 h 52"/>
                  <a:gd name="T14" fmla="*/ 27 w 36"/>
                  <a:gd name="T15" fmla="*/ 30 h 52"/>
                  <a:gd name="T16" fmla="*/ 30 w 36"/>
                  <a:gd name="T17" fmla="*/ 21 h 52"/>
                  <a:gd name="T18" fmla="*/ 35 w 36"/>
                  <a:gd name="T19" fmla="*/ 11 h 52"/>
                  <a:gd name="T20" fmla="*/ 24 w 36"/>
                  <a:gd name="T21" fmla="*/ 2 h 52"/>
                  <a:gd name="T22" fmla="*/ 22 w 36"/>
                  <a:gd name="T23" fmla="*/ 5 h 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52">
                    <a:moveTo>
                      <a:pt x="22" y="5"/>
                    </a:moveTo>
                    <a:cubicBezTo>
                      <a:pt x="25" y="8"/>
                      <a:pt x="30" y="9"/>
                      <a:pt x="28" y="16"/>
                    </a:cubicBezTo>
                    <a:cubicBezTo>
                      <a:pt x="28" y="16"/>
                      <a:pt x="27" y="17"/>
                      <a:pt x="26" y="18"/>
                    </a:cubicBezTo>
                    <a:cubicBezTo>
                      <a:pt x="25" y="20"/>
                      <a:pt x="25" y="23"/>
                      <a:pt x="23" y="26"/>
                    </a:cubicBezTo>
                    <a:cubicBezTo>
                      <a:pt x="19" y="36"/>
                      <a:pt x="10" y="40"/>
                      <a:pt x="2" y="47"/>
                    </a:cubicBezTo>
                    <a:cubicBezTo>
                      <a:pt x="0" y="48"/>
                      <a:pt x="2" y="52"/>
                      <a:pt x="4" y="50"/>
                    </a:cubicBezTo>
                    <a:cubicBezTo>
                      <a:pt x="10" y="47"/>
                      <a:pt x="16" y="43"/>
                      <a:pt x="20" y="38"/>
                    </a:cubicBezTo>
                    <a:cubicBezTo>
                      <a:pt x="22" y="36"/>
                      <a:pt x="25" y="33"/>
                      <a:pt x="27" y="30"/>
                    </a:cubicBezTo>
                    <a:cubicBezTo>
                      <a:pt x="29" y="27"/>
                      <a:pt x="29" y="23"/>
                      <a:pt x="30" y="21"/>
                    </a:cubicBezTo>
                    <a:cubicBezTo>
                      <a:pt x="32" y="17"/>
                      <a:pt x="36" y="15"/>
                      <a:pt x="35" y="11"/>
                    </a:cubicBezTo>
                    <a:cubicBezTo>
                      <a:pt x="34" y="6"/>
                      <a:pt x="28" y="4"/>
                      <a:pt x="24" y="2"/>
                    </a:cubicBezTo>
                    <a:cubicBezTo>
                      <a:pt x="22" y="0"/>
                      <a:pt x="19" y="3"/>
                      <a:pt x="22" y="5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932" name="Freeform 245">
                <a:extLst>
                  <a:ext uri="{FF2B5EF4-FFF2-40B4-BE49-F238E27FC236}">
                    <a16:creationId xmlns:a16="http://schemas.microsoft.com/office/drawing/2014/main" id="{A45B306D-E242-442B-912B-F89EEBF7F9B5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7046" y="2856"/>
                <a:ext cx="107" cy="66"/>
              </a:xfrm>
              <a:custGeom>
                <a:avLst/>
                <a:gdLst>
                  <a:gd name="T0" fmla="*/ 99 w 101"/>
                  <a:gd name="T1" fmla="*/ 43 h 62"/>
                  <a:gd name="T2" fmla="*/ 36 w 101"/>
                  <a:gd name="T3" fmla="*/ 48 h 62"/>
                  <a:gd name="T4" fmla="*/ 5 w 101"/>
                  <a:gd name="T5" fmla="*/ 2 h 62"/>
                  <a:gd name="T6" fmla="*/ 1 w 101"/>
                  <a:gd name="T7" fmla="*/ 4 h 62"/>
                  <a:gd name="T8" fmla="*/ 46 w 101"/>
                  <a:gd name="T9" fmla="*/ 59 h 62"/>
                  <a:gd name="T10" fmla="*/ 100 w 101"/>
                  <a:gd name="T11" fmla="*/ 45 h 62"/>
                  <a:gd name="T12" fmla="*/ 99 w 101"/>
                  <a:gd name="T13" fmla="*/ 43 h 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01" h="62">
                    <a:moveTo>
                      <a:pt x="99" y="43"/>
                    </a:moveTo>
                    <a:cubicBezTo>
                      <a:pt x="83" y="50"/>
                      <a:pt x="51" y="58"/>
                      <a:pt x="36" y="48"/>
                    </a:cubicBezTo>
                    <a:cubicBezTo>
                      <a:pt x="20" y="37"/>
                      <a:pt x="15" y="16"/>
                      <a:pt x="5" y="2"/>
                    </a:cubicBezTo>
                    <a:cubicBezTo>
                      <a:pt x="4" y="0"/>
                      <a:pt x="0" y="2"/>
                      <a:pt x="1" y="4"/>
                    </a:cubicBezTo>
                    <a:cubicBezTo>
                      <a:pt x="9" y="22"/>
                      <a:pt x="24" y="54"/>
                      <a:pt x="46" y="59"/>
                    </a:cubicBezTo>
                    <a:cubicBezTo>
                      <a:pt x="63" y="62"/>
                      <a:pt x="87" y="56"/>
                      <a:pt x="100" y="45"/>
                    </a:cubicBezTo>
                    <a:cubicBezTo>
                      <a:pt x="101" y="45"/>
                      <a:pt x="100" y="43"/>
                      <a:pt x="99" y="43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933" name="Freeform 246">
                <a:extLst>
                  <a:ext uri="{FF2B5EF4-FFF2-40B4-BE49-F238E27FC236}">
                    <a16:creationId xmlns:a16="http://schemas.microsoft.com/office/drawing/2014/main" id="{46DD2E2C-4296-4261-B1AC-30FC02ED31F3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7072" y="2851"/>
                <a:ext cx="169" cy="243"/>
              </a:xfrm>
              <a:custGeom>
                <a:avLst/>
                <a:gdLst>
                  <a:gd name="T0" fmla="*/ 113 w 160"/>
                  <a:gd name="T1" fmla="*/ 2 h 230"/>
                  <a:gd name="T2" fmla="*/ 66 w 160"/>
                  <a:gd name="T3" fmla="*/ 71 h 230"/>
                  <a:gd name="T4" fmla="*/ 27 w 160"/>
                  <a:gd name="T5" fmla="*/ 85 h 230"/>
                  <a:gd name="T6" fmla="*/ 29 w 160"/>
                  <a:gd name="T7" fmla="*/ 170 h 230"/>
                  <a:gd name="T8" fmla="*/ 85 w 160"/>
                  <a:gd name="T9" fmla="*/ 217 h 230"/>
                  <a:gd name="T10" fmla="*/ 159 w 160"/>
                  <a:gd name="T11" fmla="*/ 162 h 230"/>
                  <a:gd name="T12" fmla="*/ 156 w 160"/>
                  <a:gd name="T13" fmla="*/ 160 h 230"/>
                  <a:gd name="T14" fmla="*/ 63 w 160"/>
                  <a:gd name="T15" fmla="*/ 204 h 230"/>
                  <a:gd name="T16" fmla="*/ 21 w 160"/>
                  <a:gd name="T17" fmla="*/ 108 h 230"/>
                  <a:gd name="T18" fmla="*/ 97 w 160"/>
                  <a:gd name="T19" fmla="*/ 61 h 230"/>
                  <a:gd name="T20" fmla="*/ 116 w 160"/>
                  <a:gd name="T21" fmla="*/ 2 h 230"/>
                  <a:gd name="T22" fmla="*/ 113 w 160"/>
                  <a:gd name="T23" fmla="*/ 2 h 2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60" h="230">
                    <a:moveTo>
                      <a:pt x="113" y="2"/>
                    </a:moveTo>
                    <a:cubicBezTo>
                      <a:pt x="121" y="38"/>
                      <a:pt x="98" y="61"/>
                      <a:pt x="66" y="71"/>
                    </a:cubicBezTo>
                    <a:cubicBezTo>
                      <a:pt x="53" y="75"/>
                      <a:pt x="38" y="77"/>
                      <a:pt x="27" y="85"/>
                    </a:cubicBezTo>
                    <a:cubicBezTo>
                      <a:pt x="0" y="106"/>
                      <a:pt x="16" y="146"/>
                      <a:pt x="29" y="170"/>
                    </a:cubicBezTo>
                    <a:cubicBezTo>
                      <a:pt x="40" y="190"/>
                      <a:pt x="59" y="217"/>
                      <a:pt x="85" y="217"/>
                    </a:cubicBezTo>
                    <a:cubicBezTo>
                      <a:pt x="116" y="217"/>
                      <a:pt x="145" y="186"/>
                      <a:pt x="159" y="162"/>
                    </a:cubicBezTo>
                    <a:cubicBezTo>
                      <a:pt x="160" y="160"/>
                      <a:pt x="157" y="158"/>
                      <a:pt x="156" y="160"/>
                    </a:cubicBezTo>
                    <a:cubicBezTo>
                      <a:pt x="138" y="187"/>
                      <a:pt x="97" y="230"/>
                      <a:pt x="63" y="204"/>
                    </a:cubicBezTo>
                    <a:cubicBezTo>
                      <a:pt x="39" y="186"/>
                      <a:pt x="13" y="137"/>
                      <a:pt x="21" y="108"/>
                    </a:cubicBezTo>
                    <a:cubicBezTo>
                      <a:pt x="31" y="77"/>
                      <a:pt x="75" y="80"/>
                      <a:pt x="97" y="61"/>
                    </a:cubicBezTo>
                    <a:cubicBezTo>
                      <a:pt x="116" y="44"/>
                      <a:pt x="122" y="26"/>
                      <a:pt x="116" y="2"/>
                    </a:cubicBezTo>
                    <a:cubicBezTo>
                      <a:pt x="115" y="0"/>
                      <a:pt x="113" y="1"/>
                      <a:pt x="113" y="2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934" name="Freeform 247">
                <a:extLst>
                  <a:ext uri="{FF2B5EF4-FFF2-40B4-BE49-F238E27FC236}">
                    <a16:creationId xmlns:a16="http://schemas.microsoft.com/office/drawing/2014/main" id="{02DA269B-4DA2-4951-AEE1-5F9CFE4308BE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7235" y="3014"/>
                <a:ext cx="17" cy="35"/>
              </a:xfrm>
              <a:custGeom>
                <a:avLst/>
                <a:gdLst>
                  <a:gd name="T0" fmla="*/ 5 w 16"/>
                  <a:gd name="T1" fmla="*/ 6 h 33"/>
                  <a:gd name="T2" fmla="*/ 9 w 16"/>
                  <a:gd name="T3" fmla="*/ 15 h 33"/>
                  <a:gd name="T4" fmla="*/ 1 w 16"/>
                  <a:gd name="T5" fmla="*/ 30 h 33"/>
                  <a:gd name="T6" fmla="*/ 4 w 16"/>
                  <a:gd name="T7" fmla="*/ 32 h 33"/>
                  <a:gd name="T8" fmla="*/ 14 w 16"/>
                  <a:gd name="T9" fmla="*/ 17 h 33"/>
                  <a:gd name="T10" fmla="*/ 16 w 16"/>
                  <a:gd name="T11" fmla="*/ 10 h 33"/>
                  <a:gd name="T12" fmla="*/ 6 w 16"/>
                  <a:gd name="T13" fmla="*/ 1 h 33"/>
                  <a:gd name="T14" fmla="*/ 5 w 16"/>
                  <a:gd name="T15" fmla="*/ 6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6" h="33">
                    <a:moveTo>
                      <a:pt x="5" y="6"/>
                    </a:moveTo>
                    <a:cubicBezTo>
                      <a:pt x="10" y="7"/>
                      <a:pt x="12" y="9"/>
                      <a:pt x="9" y="15"/>
                    </a:cubicBezTo>
                    <a:cubicBezTo>
                      <a:pt x="7" y="20"/>
                      <a:pt x="3" y="24"/>
                      <a:pt x="1" y="30"/>
                    </a:cubicBezTo>
                    <a:cubicBezTo>
                      <a:pt x="0" y="31"/>
                      <a:pt x="3" y="33"/>
                      <a:pt x="4" y="32"/>
                    </a:cubicBezTo>
                    <a:cubicBezTo>
                      <a:pt x="8" y="27"/>
                      <a:pt x="11" y="22"/>
                      <a:pt x="14" y="17"/>
                    </a:cubicBezTo>
                    <a:cubicBezTo>
                      <a:pt x="15" y="15"/>
                      <a:pt x="16" y="13"/>
                      <a:pt x="16" y="10"/>
                    </a:cubicBezTo>
                    <a:cubicBezTo>
                      <a:pt x="15" y="4"/>
                      <a:pt x="11" y="2"/>
                      <a:pt x="6" y="1"/>
                    </a:cubicBezTo>
                    <a:cubicBezTo>
                      <a:pt x="3" y="0"/>
                      <a:pt x="2" y="5"/>
                      <a:pt x="5" y="6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935" name="Freeform 248">
                <a:extLst>
                  <a:ext uri="{FF2B5EF4-FFF2-40B4-BE49-F238E27FC236}">
                    <a16:creationId xmlns:a16="http://schemas.microsoft.com/office/drawing/2014/main" id="{F1917D67-466C-492F-A3A4-BECCA93B0FEC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7178" y="3053"/>
                <a:ext cx="52" cy="36"/>
              </a:xfrm>
              <a:custGeom>
                <a:avLst/>
                <a:gdLst>
                  <a:gd name="T0" fmla="*/ 47 w 49"/>
                  <a:gd name="T1" fmla="*/ 1 h 34"/>
                  <a:gd name="T2" fmla="*/ 29 w 49"/>
                  <a:gd name="T3" fmla="*/ 18 h 34"/>
                  <a:gd name="T4" fmla="*/ 3 w 49"/>
                  <a:gd name="T5" fmla="*/ 30 h 34"/>
                  <a:gd name="T6" fmla="*/ 3 w 49"/>
                  <a:gd name="T7" fmla="*/ 33 h 34"/>
                  <a:gd name="T8" fmla="*/ 33 w 49"/>
                  <a:gd name="T9" fmla="*/ 20 h 34"/>
                  <a:gd name="T10" fmla="*/ 49 w 49"/>
                  <a:gd name="T11" fmla="*/ 2 h 34"/>
                  <a:gd name="T12" fmla="*/ 47 w 49"/>
                  <a:gd name="T13" fmla="*/ 1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9" h="34">
                    <a:moveTo>
                      <a:pt x="47" y="1"/>
                    </a:moveTo>
                    <a:cubicBezTo>
                      <a:pt x="45" y="9"/>
                      <a:pt x="36" y="14"/>
                      <a:pt x="29" y="18"/>
                    </a:cubicBezTo>
                    <a:cubicBezTo>
                      <a:pt x="20" y="23"/>
                      <a:pt x="13" y="29"/>
                      <a:pt x="3" y="30"/>
                    </a:cubicBezTo>
                    <a:cubicBezTo>
                      <a:pt x="1" y="30"/>
                      <a:pt x="0" y="33"/>
                      <a:pt x="3" y="33"/>
                    </a:cubicBezTo>
                    <a:cubicBezTo>
                      <a:pt x="15" y="34"/>
                      <a:pt x="24" y="26"/>
                      <a:pt x="33" y="20"/>
                    </a:cubicBezTo>
                    <a:cubicBezTo>
                      <a:pt x="40" y="16"/>
                      <a:pt x="47" y="10"/>
                      <a:pt x="49" y="2"/>
                    </a:cubicBezTo>
                    <a:cubicBezTo>
                      <a:pt x="49" y="1"/>
                      <a:pt x="48" y="0"/>
                      <a:pt x="47" y="1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936" name="Freeform 249">
                <a:extLst>
                  <a:ext uri="{FF2B5EF4-FFF2-40B4-BE49-F238E27FC236}">
                    <a16:creationId xmlns:a16="http://schemas.microsoft.com/office/drawing/2014/main" id="{00AE49EE-1299-4237-BBBC-6617CC2DA6B2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7231" y="3006"/>
                <a:ext cx="12" cy="14"/>
              </a:xfrm>
              <a:custGeom>
                <a:avLst/>
                <a:gdLst>
                  <a:gd name="T0" fmla="*/ 11 w 12"/>
                  <a:gd name="T1" fmla="*/ 10 h 13"/>
                  <a:gd name="T2" fmla="*/ 1 w 12"/>
                  <a:gd name="T3" fmla="*/ 3 h 13"/>
                  <a:gd name="T4" fmla="*/ 0 w 12"/>
                  <a:gd name="T5" fmla="*/ 5 h 13"/>
                  <a:gd name="T6" fmla="*/ 3 w 12"/>
                  <a:gd name="T7" fmla="*/ 7 h 13"/>
                  <a:gd name="T8" fmla="*/ 8 w 12"/>
                  <a:gd name="T9" fmla="*/ 11 h 13"/>
                  <a:gd name="T10" fmla="*/ 11 w 12"/>
                  <a:gd name="T11" fmla="*/ 10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2" h="13">
                    <a:moveTo>
                      <a:pt x="11" y="10"/>
                    </a:moveTo>
                    <a:cubicBezTo>
                      <a:pt x="11" y="6"/>
                      <a:pt x="6" y="0"/>
                      <a:pt x="1" y="3"/>
                    </a:cubicBezTo>
                    <a:cubicBezTo>
                      <a:pt x="0" y="3"/>
                      <a:pt x="0" y="4"/>
                      <a:pt x="0" y="5"/>
                    </a:cubicBezTo>
                    <a:cubicBezTo>
                      <a:pt x="0" y="6"/>
                      <a:pt x="2" y="6"/>
                      <a:pt x="3" y="7"/>
                    </a:cubicBezTo>
                    <a:cubicBezTo>
                      <a:pt x="5" y="8"/>
                      <a:pt x="7" y="9"/>
                      <a:pt x="8" y="11"/>
                    </a:cubicBezTo>
                    <a:cubicBezTo>
                      <a:pt x="9" y="13"/>
                      <a:pt x="12" y="12"/>
                      <a:pt x="11" y="10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937" name="Freeform 250">
                <a:extLst>
                  <a:ext uri="{FF2B5EF4-FFF2-40B4-BE49-F238E27FC236}">
                    <a16:creationId xmlns:a16="http://schemas.microsoft.com/office/drawing/2014/main" id="{88DE4FC4-DD78-409F-BC51-09BF432E431C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7183" y="2916"/>
                <a:ext cx="52" cy="105"/>
              </a:xfrm>
              <a:custGeom>
                <a:avLst/>
                <a:gdLst>
                  <a:gd name="T0" fmla="*/ 43 w 49"/>
                  <a:gd name="T1" fmla="*/ 97 h 99"/>
                  <a:gd name="T2" fmla="*/ 40 w 49"/>
                  <a:gd name="T3" fmla="*/ 76 h 99"/>
                  <a:gd name="T4" fmla="*/ 18 w 49"/>
                  <a:gd name="T5" fmla="*/ 48 h 99"/>
                  <a:gd name="T6" fmla="*/ 8 w 49"/>
                  <a:gd name="T7" fmla="*/ 4 h 99"/>
                  <a:gd name="T8" fmla="*/ 3 w 49"/>
                  <a:gd name="T9" fmla="*/ 3 h 99"/>
                  <a:gd name="T10" fmla="*/ 10 w 49"/>
                  <a:gd name="T11" fmla="*/ 45 h 99"/>
                  <a:gd name="T12" fmla="*/ 42 w 49"/>
                  <a:gd name="T13" fmla="*/ 96 h 99"/>
                  <a:gd name="T14" fmla="*/ 43 w 49"/>
                  <a:gd name="T15" fmla="*/ 97 h 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49" h="99">
                    <a:moveTo>
                      <a:pt x="43" y="97"/>
                    </a:moveTo>
                    <a:cubicBezTo>
                      <a:pt x="49" y="90"/>
                      <a:pt x="46" y="83"/>
                      <a:pt x="40" y="76"/>
                    </a:cubicBezTo>
                    <a:cubicBezTo>
                      <a:pt x="33" y="66"/>
                      <a:pt x="24" y="59"/>
                      <a:pt x="18" y="48"/>
                    </a:cubicBezTo>
                    <a:cubicBezTo>
                      <a:pt x="10" y="34"/>
                      <a:pt x="7" y="20"/>
                      <a:pt x="8" y="4"/>
                    </a:cubicBezTo>
                    <a:cubicBezTo>
                      <a:pt x="8" y="1"/>
                      <a:pt x="3" y="0"/>
                      <a:pt x="3" y="3"/>
                    </a:cubicBezTo>
                    <a:cubicBezTo>
                      <a:pt x="0" y="18"/>
                      <a:pt x="4" y="32"/>
                      <a:pt x="10" y="45"/>
                    </a:cubicBezTo>
                    <a:cubicBezTo>
                      <a:pt x="15" y="55"/>
                      <a:pt x="46" y="89"/>
                      <a:pt x="42" y="96"/>
                    </a:cubicBezTo>
                    <a:cubicBezTo>
                      <a:pt x="41" y="97"/>
                      <a:pt x="42" y="99"/>
                      <a:pt x="43" y="97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938" name="Freeform 251">
                <a:extLst>
                  <a:ext uri="{FF2B5EF4-FFF2-40B4-BE49-F238E27FC236}">
                    <a16:creationId xmlns:a16="http://schemas.microsoft.com/office/drawing/2014/main" id="{49CFC7C5-89C6-4FEF-9D21-9F5D355928B9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7137" y="2892"/>
                <a:ext cx="60" cy="86"/>
              </a:xfrm>
              <a:custGeom>
                <a:avLst/>
                <a:gdLst>
                  <a:gd name="T0" fmla="*/ 49 w 56"/>
                  <a:gd name="T1" fmla="*/ 1 h 81"/>
                  <a:gd name="T2" fmla="*/ 33 w 56"/>
                  <a:gd name="T3" fmla="*/ 39 h 81"/>
                  <a:gd name="T4" fmla="*/ 20 w 56"/>
                  <a:gd name="T5" fmla="*/ 49 h 81"/>
                  <a:gd name="T6" fmla="*/ 1 w 56"/>
                  <a:gd name="T7" fmla="*/ 76 h 81"/>
                  <a:gd name="T8" fmla="*/ 5 w 56"/>
                  <a:gd name="T9" fmla="*/ 78 h 81"/>
                  <a:gd name="T10" fmla="*/ 24 w 56"/>
                  <a:gd name="T11" fmla="*/ 54 h 81"/>
                  <a:gd name="T12" fmla="*/ 46 w 56"/>
                  <a:gd name="T13" fmla="*/ 37 h 81"/>
                  <a:gd name="T14" fmla="*/ 50 w 56"/>
                  <a:gd name="T15" fmla="*/ 1 h 81"/>
                  <a:gd name="T16" fmla="*/ 49 w 56"/>
                  <a:gd name="T17" fmla="*/ 1 h 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6" h="81">
                    <a:moveTo>
                      <a:pt x="49" y="1"/>
                    </a:moveTo>
                    <a:cubicBezTo>
                      <a:pt x="51" y="18"/>
                      <a:pt x="47" y="29"/>
                      <a:pt x="33" y="39"/>
                    </a:cubicBezTo>
                    <a:cubicBezTo>
                      <a:pt x="28" y="42"/>
                      <a:pt x="24" y="46"/>
                      <a:pt x="20" y="49"/>
                    </a:cubicBezTo>
                    <a:cubicBezTo>
                      <a:pt x="11" y="57"/>
                      <a:pt x="5" y="65"/>
                      <a:pt x="1" y="76"/>
                    </a:cubicBezTo>
                    <a:cubicBezTo>
                      <a:pt x="0" y="78"/>
                      <a:pt x="4" y="81"/>
                      <a:pt x="5" y="78"/>
                    </a:cubicBezTo>
                    <a:cubicBezTo>
                      <a:pt x="10" y="69"/>
                      <a:pt x="16" y="61"/>
                      <a:pt x="24" y="54"/>
                    </a:cubicBezTo>
                    <a:cubicBezTo>
                      <a:pt x="31" y="48"/>
                      <a:pt x="39" y="43"/>
                      <a:pt x="46" y="37"/>
                    </a:cubicBezTo>
                    <a:cubicBezTo>
                      <a:pt x="56" y="27"/>
                      <a:pt x="56" y="14"/>
                      <a:pt x="50" y="1"/>
                    </a:cubicBezTo>
                    <a:cubicBezTo>
                      <a:pt x="50" y="0"/>
                      <a:pt x="49" y="0"/>
                      <a:pt x="49" y="1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939" name="Freeform 252">
                <a:extLst>
                  <a:ext uri="{FF2B5EF4-FFF2-40B4-BE49-F238E27FC236}">
                    <a16:creationId xmlns:a16="http://schemas.microsoft.com/office/drawing/2014/main" id="{055B7F28-13FA-4EDD-8A68-56BF86D4ED88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7130" y="3006"/>
                <a:ext cx="35" cy="53"/>
              </a:xfrm>
              <a:custGeom>
                <a:avLst/>
                <a:gdLst>
                  <a:gd name="T0" fmla="*/ 2 w 33"/>
                  <a:gd name="T1" fmla="*/ 1 h 50"/>
                  <a:gd name="T2" fmla="*/ 32 w 33"/>
                  <a:gd name="T3" fmla="*/ 49 h 50"/>
                  <a:gd name="T4" fmla="*/ 32 w 33"/>
                  <a:gd name="T5" fmla="*/ 48 h 50"/>
                  <a:gd name="T6" fmla="*/ 13 w 33"/>
                  <a:gd name="T7" fmla="*/ 33 h 50"/>
                  <a:gd name="T8" fmla="*/ 4 w 33"/>
                  <a:gd name="T9" fmla="*/ 2 h 50"/>
                  <a:gd name="T10" fmla="*/ 2 w 33"/>
                  <a:gd name="T11" fmla="*/ 1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3" h="50">
                    <a:moveTo>
                      <a:pt x="2" y="1"/>
                    </a:moveTo>
                    <a:cubicBezTo>
                      <a:pt x="0" y="21"/>
                      <a:pt x="11" y="45"/>
                      <a:pt x="32" y="49"/>
                    </a:cubicBezTo>
                    <a:cubicBezTo>
                      <a:pt x="33" y="50"/>
                      <a:pt x="33" y="48"/>
                      <a:pt x="32" y="48"/>
                    </a:cubicBezTo>
                    <a:cubicBezTo>
                      <a:pt x="23" y="46"/>
                      <a:pt x="17" y="41"/>
                      <a:pt x="13" y="33"/>
                    </a:cubicBezTo>
                    <a:cubicBezTo>
                      <a:pt x="9" y="24"/>
                      <a:pt x="3" y="11"/>
                      <a:pt x="4" y="2"/>
                    </a:cubicBezTo>
                    <a:cubicBezTo>
                      <a:pt x="4" y="0"/>
                      <a:pt x="2" y="0"/>
                      <a:pt x="2" y="1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940" name="Freeform 253">
                <a:extLst>
                  <a:ext uri="{FF2B5EF4-FFF2-40B4-BE49-F238E27FC236}">
                    <a16:creationId xmlns:a16="http://schemas.microsoft.com/office/drawing/2014/main" id="{1558D81C-60B9-4BFD-92B4-FE0194C00FA3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7184" y="3020"/>
                <a:ext cx="36" cy="38"/>
              </a:xfrm>
              <a:custGeom>
                <a:avLst/>
                <a:gdLst>
                  <a:gd name="T0" fmla="*/ 32 w 34"/>
                  <a:gd name="T1" fmla="*/ 0 h 36"/>
                  <a:gd name="T2" fmla="*/ 15 w 34"/>
                  <a:gd name="T3" fmla="*/ 14 h 36"/>
                  <a:gd name="T4" fmla="*/ 2 w 34"/>
                  <a:gd name="T5" fmla="*/ 32 h 36"/>
                  <a:gd name="T6" fmla="*/ 5 w 34"/>
                  <a:gd name="T7" fmla="*/ 35 h 36"/>
                  <a:gd name="T8" fmla="*/ 16 w 34"/>
                  <a:gd name="T9" fmla="*/ 19 h 36"/>
                  <a:gd name="T10" fmla="*/ 33 w 34"/>
                  <a:gd name="T11" fmla="*/ 1 h 36"/>
                  <a:gd name="T12" fmla="*/ 32 w 34"/>
                  <a:gd name="T13" fmla="*/ 0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4" h="36">
                    <a:moveTo>
                      <a:pt x="32" y="0"/>
                    </a:moveTo>
                    <a:cubicBezTo>
                      <a:pt x="26" y="5"/>
                      <a:pt x="19" y="8"/>
                      <a:pt x="15" y="14"/>
                    </a:cubicBezTo>
                    <a:cubicBezTo>
                      <a:pt x="10" y="20"/>
                      <a:pt x="7" y="27"/>
                      <a:pt x="2" y="32"/>
                    </a:cubicBezTo>
                    <a:cubicBezTo>
                      <a:pt x="0" y="33"/>
                      <a:pt x="3" y="36"/>
                      <a:pt x="5" y="35"/>
                    </a:cubicBezTo>
                    <a:cubicBezTo>
                      <a:pt x="10" y="31"/>
                      <a:pt x="13" y="25"/>
                      <a:pt x="16" y="19"/>
                    </a:cubicBezTo>
                    <a:cubicBezTo>
                      <a:pt x="21" y="12"/>
                      <a:pt x="27" y="7"/>
                      <a:pt x="33" y="1"/>
                    </a:cubicBezTo>
                    <a:cubicBezTo>
                      <a:pt x="34" y="1"/>
                      <a:pt x="33" y="0"/>
                      <a:pt x="32" y="0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941" name="Freeform 254">
                <a:extLst>
                  <a:ext uri="{FF2B5EF4-FFF2-40B4-BE49-F238E27FC236}">
                    <a16:creationId xmlns:a16="http://schemas.microsoft.com/office/drawing/2014/main" id="{EAD6236B-5243-44BE-AD67-C021ED5B9BDD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7205" y="3025"/>
                <a:ext cx="12" cy="21"/>
              </a:xfrm>
              <a:custGeom>
                <a:avLst/>
                <a:gdLst>
                  <a:gd name="T0" fmla="*/ 11 w 11"/>
                  <a:gd name="T1" fmla="*/ 18 h 19"/>
                  <a:gd name="T2" fmla="*/ 2 w 11"/>
                  <a:gd name="T3" fmla="*/ 0 h 19"/>
                  <a:gd name="T4" fmla="*/ 1 w 11"/>
                  <a:gd name="T5" fmla="*/ 3 h 19"/>
                  <a:gd name="T6" fmla="*/ 5 w 11"/>
                  <a:gd name="T7" fmla="*/ 9 h 19"/>
                  <a:gd name="T8" fmla="*/ 10 w 11"/>
                  <a:gd name="T9" fmla="*/ 18 h 19"/>
                  <a:gd name="T10" fmla="*/ 11 w 11"/>
                  <a:gd name="T11" fmla="*/ 18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1" h="19">
                    <a:moveTo>
                      <a:pt x="11" y="18"/>
                    </a:moveTo>
                    <a:cubicBezTo>
                      <a:pt x="8" y="12"/>
                      <a:pt x="10" y="2"/>
                      <a:pt x="2" y="0"/>
                    </a:cubicBezTo>
                    <a:cubicBezTo>
                      <a:pt x="0" y="0"/>
                      <a:pt x="0" y="2"/>
                      <a:pt x="1" y="3"/>
                    </a:cubicBezTo>
                    <a:cubicBezTo>
                      <a:pt x="2" y="5"/>
                      <a:pt x="4" y="7"/>
                      <a:pt x="5" y="9"/>
                    </a:cubicBezTo>
                    <a:cubicBezTo>
                      <a:pt x="7" y="12"/>
                      <a:pt x="8" y="15"/>
                      <a:pt x="10" y="18"/>
                    </a:cubicBezTo>
                    <a:cubicBezTo>
                      <a:pt x="10" y="19"/>
                      <a:pt x="11" y="18"/>
                      <a:pt x="11" y="18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942" name="Freeform 255">
                <a:extLst>
                  <a:ext uri="{FF2B5EF4-FFF2-40B4-BE49-F238E27FC236}">
                    <a16:creationId xmlns:a16="http://schemas.microsoft.com/office/drawing/2014/main" id="{A36BC675-692A-49D0-BD45-DECAB22C8FD4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7165" y="2943"/>
                <a:ext cx="42" cy="82"/>
              </a:xfrm>
              <a:custGeom>
                <a:avLst/>
                <a:gdLst>
                  <a:gd name="T0" fmla="*/ 40 w 40"/>
                  <a:gd name="T1" fmla="*/ 78 h 78"/>
                  <a:gd name="T2" fmla="*/ 6 w 40"/>
                  <a:gd name="T3" fmla="*/ 3 h 78"/>
                  <a:gd name="T4" fmla="*/ 1 w 40"/>
                  <a:gd name="T5" fmla="*/ 3 h 78"/>
                  <a:gd name="T6" fmla="*/ 39 w 40"/>
                  <a:gd name="T7" fmla="*/ 78 h 78"/>
                  <a:gd name="T8" fmla="*/ 40 w 40"/>
                  <a:gd name="T9" fmla="*/ 78 h 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0" h="78">
                    <a:moveTo>
                      <a:pt x="40" y="78"/>
                    </a:moveTo>
                    <a:cubicBezTo>
                      <a:pt x="21" y="55"/>
                      <a:pt x="8" y="33"/>
                      <a:pt x="6" y="3"/>
                    </a:cubicBezTo>
                    <a:cubicBezTo>
                      <a:pt x="6" y="0"/>
                      <a:pt x="1" y="0"/>
                      <a:pt x="1" y="3"/>
                    </a:cubicBezTo>
                    <a:cubicBezTo>
                      <a:pt x="0" y="31"/>
                      <a:pt x="18" y="61"/>
                      <a:pt x="39" y="78"/>
                    </a:cubicBezTo>
                    <a:lnTo>
                      <a:pt x="40" y="78"/>
                    </a:ln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943" name="Freeform 256">
                <a:extLst>
                  <a:ext uri="{FF2B5EF4-FFF2-40B4-BE49-F238E27FC236}">
                    <a16:creationId xmlns:a16="http://schemas.microsoft.com/office/drawing/2014/main" id="{890AEA5B-8379-4050-A819-3DB5228E2572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7171" y="2887"/>
                <a:ext cx="0" cy="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>
                    <a:moveTo>
                      <a:pt x="0" y="0"/>
                    </a:move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944" name="Freeform 257">
                <a:extLst>
                  <a:ext uri="{FF2B5EF4-FFF2-40B4-BE49-F238E27FC236}">
                    <a16:creationId xmlns:a16="http://schemas.microsoft.com/office/drawing/2014/main" id="{D5B41C15-2C08-4F82-829C-1025F172FE7E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7075" y="2847"/>
                <a:ext cx="105" cy="62"/>
              </a:xfrm>
              <a:custGeom>
                <a:avLst/>
                <a:gdLst>
                  <a:gd name="T0" fmla="*/ 97 w 99"/>
                  <a:gd name="T1" fmla="*/ 1 h 59"/>
                  <a:gd name="T2" fmla="*/ 46 w 99"/>
                  <a:gd name="T3" fmla="*/ 46 h 59"/>
                  <a:gd name="T4" fmla="*/ 4 w 99"/>
                  <a:gd name="T5" fmla="*/ 51 h 59"/>
                  <a:gd name="T6" fmla="*/ 4 w 99"/>
                  <a:gd name="T7" fmla="*/ 56 h 59"/>
                  <a:gd name="T8" fmla="*/ 52 w 99"/>
                  <a:gd name="T9" fmla="*/ 50 h 59"/>
                  <a:gd name="T10" fmla="*/ 99 w 99"/>
                  <a:gd name="T11" fmla="*/ 2 h 59"/>
                  <a:gd name="T12" fmla="*/ 97 w 99"/>
                  <a:gd name="T13" fmla="*/ 1 h 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99" h="59">
                    <a:moveTo>
                      <a:pt x="97" y="1"/>
                    </a:moveTo>
                    <a:cubicBezTo>
                      <a:pt x="86" y="24"/>
                      <a:pt x="71" y="41"/>
                      <a:pt x="46" y="46"/>
                    </a:cubicBezTo>
                    <a:cubicBezTo>
                      <a:pt x="33" y="49"/>
                      <a:pt x="18" y="52"/>
                      <a:pt x="4" y="51"/>
                    </a:cubicBezTo>
                    <a:cubicBezTo>
                      <a:pt x="1" y="51"/>
                      <a:pt x="0" y="56"/>
                      <a:pt x="4" y="56"/>
                    </a:cubicBezTo>
                    <a:cubicBezTo>
                      <a:pt x="19" y="59"/>
                      <a:pt x="38" y="54"/>
                      <a:pt x="52" y="50"/>
                    </a:cubicBezTo>
                    <a:cubicBezTo>
                      <a:pt x="76" y="44"/>
                      <a:pt x="92" y="25"/>
                      <a:pt x="99" y="2"/>
                    </a:cubicBezTo>
                    <a:cubicBezTo>
                      <a:pt x="99" y="1"/>
                      <a:pt x="98" y="0"/>
                      <a:pt x="97" y="1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945" name="Freeform 258">
                <a:extLst>
                  <a:ext uri="{FF2B5EF4-FFF2-40B4-BE49-F238E27FC236}">
                    <a16:creationId xmlns:a16="http://schemas.microsoft.com/office/drawing/2014/main" id="{094A8C61-F1AF-4751-B83E-EF6500C57945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7138" y="2719"/>
                <a:ext cx="44" cy="135"/>
              </a:xfrm>
              <a:custGeom>
                <a:avLst/>
                <a:gdLst>
                  <a:gd name="T0" fmla="*/ 37 w 41"/>
                  <a:gd name="T1" fmla="*/ 126 h 127"/>
                  <a:gd name="T2" fmla="*/ 28 w 41"/>
                  <a:gd name="T3" fmla="*/ 88 h 127"/>
                  <a:gd name="T4" fmla="*/ 11 w 41"/>
                  <a:gd name="T5" fmla="*/ 44 h 127"/>
                  <a:gd name="T6" fmla="*/ 16 w 41"/>
                  <a:gd name="T7" fmla="*/ 4 h 127"/>
                  <a:gd name="T8" fmla="*/ 10 w 41"/>
                  <a:gd name="T9" fmla="*/ 4 h 127"/>
                  <a:gd name="T10" fmla="*/ 8 w 41"/>
                  <a:gd name="T11" fmla="*/ 65 h 127"/>
                  <a:gd name="T12" fmla="*/ 21 w 41"/>
                  <a:gd name="T13" fmla="*/ 89 h 127"/>
                  <a:gd name="T14" fmla="*/ 32 w 41"/>
                  <a:gd name="T15" fmla="*/ 104 h 127"/>
                  <a:gd name="T16" fmla="*/ 35 w 41"/>
                  <a:gd name="T17" fmla="*/ 126 h 127"/>
                  <a:gd name="T18" fmla="*/ 37 w 41"/>
                  <a:gd name="T19" fmla="*/ 126 h 1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41" h="127">
                    <a:moveTo>
                      <a:pt x="37" y="126"/>
                    </a:moveTo>
                    <a:cubicBezTo>
                      <a:pt x="41" y="110"/>
                      <a:pt x="37" y="101"/>
                      <a:pt x="28" y="88"/>
                    </a:cubicBezTo>
                    <a:cubicBezTo>
                      <a:pt x="20" y="75"/>
                      <a:pt x="11" y="60"/>
                      <a:pt x="11" y="44"/>
                    </a:cubicBezTo>
                    <a:cubicBezTo>
                      <a:pt x="11" y="31"/>
                      <a:pt x="16" y="18"/>
                      <a:pt x="16" y="4"/>
                    </a:cubicBezTo>
                    <a:cubicBezTo>
                      <a:pt x="16" y="0"/>
                      <a:pt x="10" y="0"/>
                      <a:pt x="10" y="4"/>
                    </a:cubicBezTo>
                    <a:cubicBezTo>
                      <a:pt x="10" y="27"/>
                      <a:pt x="0" y="42"/>
                      <a:pt x="8" y="65"/>
                    </a:cubicBezTo>
                    <a:cubicBezTo>
                      <a:pt x="11" y="73"/>
                      <a:pt x="16" y="82"/>
                      <a:pt x="21" y="89"/>
                    </a:cubicBezTo>
                    <a:cubicBezTo>
                      <a:pt x="24" y="93"/>
                      <a:pt x="30" y="98"/>
                      <a:pt x="32" y="104"/>
                    </a:cubicBezTo>
                    <a:cubicBezTo>
                      <a:pt x="36" y="110"/>
                      <a:pt x="35" y="119"/>
                      <a:pt x="35" y="126"/>
                    </a:cubicBezTo>
                    <a:cubicBezTo>
                      <a:pt x="35" y="127"/>
                      <a:pt x="37" y="127"/>
                      <a:pt x="37" y="126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946" name="Freeform 259">
                <a:extLst>
                  <a:ext uri="{FF2B5EF4-FFF2-40B4-BE49-F238E27FC236}">
                    <a16:creationId xmlns:a16="http://schemas.microsoft.com/office/drawing/2014/main" id="{EA10B24F-E9FC-43BB-8551-AB168B549BA5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7099" y="2732"/>
                <a:ext cx="54" cy="44"/>
              </a:xfrm>
              <a:custGeom>
                <a:avLst/>
                <a:gdLst>
                  <a:gd name="T0" fmla="*/ 48 w 51"/>
                  <a:gd name="T1" fmla="*/ 1 h 41"/>
                  <a:gd name="T2" fmla="*/ 30 w 51"/>
                  <a:gd name="T3" fmla="*/ 20 h 41"/>
                  <a:gd name="T4" fmla="*/ 2 w 51"/>
                  <a:gd name="T5" fmla="*/ 36 h 41"/>
                  <a:gd name="T6" fmla="*/ 3 w 51"/>
                  <a:gd name="T7" fmla="*/ 40 h 41"/>
                  <a:gd name="T8" fmla="*/ 34 w 51"/>
                  <a:gd name="T9" fmla="*/ 23 h 41"/>
                  <a:gd name="T10" fmla="*/ 50 w 51"/>
                  <a:gd name="T11" fmla="*/ 2 h 41"/>
                  <a:gd name="T12" fmla="*/ 48 w 51"/>
                  <a:gd name="T13" fmla="*/ 1 h 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51" h="41">
                    <a:moveTo>
                      <a:pt x="48" y="1"/>
                    </a:moveTo>
                    <a:cubicBezTo>
                      <a:pt x="45" y="10"/>
                      <a:pt x="38" y="16"/>
                      <a:pt x="30" y="20"/>
                    </a:cubicBezTo>
                    <a:cubicBezTo>
                      <a:pt x="21" y="26"/>
                      <a:pt x="12" y="32"/>
                      <a:pt x="2" y="36"/>
                    </a:cubicBezTo>
                    <a:cubicBezTo>
                      <a:pt x="0" y="37"/>
                      <a:pt x="1" y="41"/>
                      <a:pt x="3" y="40"/>
                    </a:cubicBezTo>
                    <a:cubicBezTo>
                      <a:pt x="14" y="36"/>
                      <a:pt x="24" y="29"/>
                      <a:pt x="34" y="23"/>
                    </a:cubicBezTo>
                    <a:cubicBezTo>
                      <a:pt x="41" y="18"/>
                      <a:pt x="48" y="10"/>
                      <a:pt x="50" y="2"/>
                    </a:cubicBezTo>
                    <a:cubicBezTo>
                      <a:pt x="51" y="1"/>
                      <a:pt x="49" y="0"/>
                      <a:pt x="48" y="1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947" name="Freeform 260">
                <a:extLst>
                  <a:ext uri="{FF2B5EF4-FFF2-40B4-BE49-F238E27FC236}">
                    <a16:creationId xmlns:a16="http://schemas.microsoft.com/office/drawing/2014/main" id="{C07AFE7E-29E1-478B-98B9-B79748783BD1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7065" y="2801"/>
                <a:ext cx="26" cy="83"/>
              </a:xfrm>
              <a:custGeom>
                <a:avLst/>
                <a:gdLst>
                  <a:gd name="T0" fmla="*/ 6 w 24"/>
                  <a:gd name="T1" fmla="*/ 1 h 78"/>
                  <a:gd name="T2" fmla="*/ 20 w 24"/>
                  <a:gd name="T3" fmla="*/ 76 h 78"/>
                  <a:gd name="T4" fmla="*/ 23 w 24"/>
                  <a:gd name="T5" fmla="*/ 75 h 78"/>
                  <a:gd name="T6" fmla="*/ 9 w 24"/>
                  <a:gd name="T7" fmla="*/ 43 h 78"/>
                  <a:gd name="T8" fmla="*/ 9 w 24"/>
                  <a:gd name="T9" fmla="*/ 2 h 78"/>
                  <a:gd name="T10" fmla="*/ 6 w 24"/>
                  <a:gd name="T11" fmla="*/ 1 h 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4" h="78">
                    <a:moveTo>
                      <a:pt x="6" y="1"/>
                    </a:moveTo>
                    <a:cubicBezTo>
                      <a:pt x="0" y="29"/>
                      <a:pt x="6" y="52"/>
                      <a:pt x="20" y="76"/>
                    </a:cubicBezTo>
                    <a:cubicBezTo>
                      <a:pt x="21" y="78"/>
                      <a:pt x="24" y="77"/>
                      <a:pt x="23" y="75"/>
                    </a:cubicBezTo>
                    <a:cubicBezTo>
                      <a:pt x="19" y="64"/>
                      <a:pt x="12" y="54"/>
                      <a:pt x="9" y="43"/>
                    </a:cubicBezTo>
                    <a:cubicBezTo>
                      <a:pt x="5" y="29"/>
                      <a:pt x="6" y="16"/>
                      <a:pt x="9" y="2"/>
                    </a:cubicBezTo>
                    <a:cubicBezTo>
                      <a:pt x="9" y="0"/>
                      <a:pt x="7" y="0"/>
                      <a:pt x="6" y="1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948" name="Freeform 261">
                <a:extLst>
                  <a:ext uri="{FF2B5EF4-FFF2-40B4-BE49-F238E27FC236}">
                    <a16:creationId xmlns:a16="http://schemas.microsoft.com/office/drawing/2014/main" id="{18E9C5BF-5D6D-4967-AA2A-49F2859A064D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7133" y="2740"/>
                <a:ext cx="5" cy="13"/>
              </a:xfrm>
              <a:custGeom>
                <a:avLst/>
                <a:gdLst>
                  <a:gd name="T0" fmla="*/ 1 w 5"/>
                  <a:gd name="T1" fmla="*/ 3 h 13"/>
                  <a:gd name="T2" fmla="*/ 1 w 5"/>
                  <a:gd name="T3" fmla="*/ 11 h 13"/>
                  <a:gd name="T4" fmla="*/ 4 w 5"/>
                  <a:gd name="T5" fmla="*/ 11 h 13"/>
                  <a:gd name="T6" fmla="*/ 4 w 5"/>
                  <a:gd name="T7" fmla="*/ 2 h 13"/>
                  <a:gd name="T8" fmla="*/ 1 w 5"/>
                  <a:gd name="T9" fmla="*/ 3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" h="13">
                    <a:moveTo>
                      <a:pt x="1" y="3"/>
                    </a:moveTo>
                    <a:cubicBezTo>
                      <a:pt x="1" y="6"/>
                      <a:pt x="0" y="9"/>
                      <a:pt x="1" y="11"/>
                    </a:cubicBezTo>
                    <a:cubicBezTo>
                      <a:pt x="2" y="13"/>
                      <a:pt x="4" y="12"/>
                      <a:pt x="4" y="11"/>
                    </a:cubicBezTo>
                    <a:cubicBezTo>
                      <a:pt x="5" y="8"/>
                      <a:pt x="5" y="5"/>
                      <a:pt x="4" y="2"/>
                    </a:cubicBezTo>
                    <a:cubicBezTo>
                      <a:pt x="4" y="0"/>
                      <a:pt x="0" y="1"/>
                      <a:pt x="1" y="3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949" name="Freeform 262">
                <a:extLst>
                  <a:ext uri="{FF2B5EF4-FFF2-40B4-BE49-F238E27FC236}">
                    <a16:creationId xmlns:a16="http://schemas.microsoft.com/office/drawing/2014/main" id="{74306FD0-7A47-43B6-B843-37A0D72E3FAE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7130" y="2757"/>
                <a:ext cx="7" cy="22"/>
              </a:xfrm>
              <a:custGeom>
                <a:avLst/>
                <a:gdLst>
                  <a:gd name="T0" fmla="*/ 5 w 7"/>
                  <a:gd name="T1" fmla="*/ 0 h 21"/>
                  <a:gd name="T2" fmla="*/ 0 w 7"/>
                  <a:gd name="T3" fmla="*/ 19 h 21"/>
                  <a:gd name="T4" fmla="*/ 2 w 7"/>
                  <a:gd name="T5" fmla="*/ 19 h 21"/>
                  <a:gd name="T6" fmla="*/ 6 w 7"/>
                  <a:gd name="T7" fmla="*/ 1 h 21"/>
                  <a:gd name="T8" fmla="*/ 5 w 7"/>
                  <a:gd name="T9" fmla="*/ 0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21">
                    <a:moveTo>
                      <a:pt x="5" y="0"/>
                    </a:moveTo>
                    <a:cubicBezTo>
                      <a:pt x="2" y="6"/>
                      <a:pt x="1" y="12"/>
                      <a:pt x="0" y="19"/>
                    </a:cubicBezTo>
                    <a:cubicBezTo>
                      <a:pt x="0" y="20"/>
                      <a:pt x="2" y="21"/>
                      <a:pt x="2" y="19"/>
                    </a:cubicBezTo>
                    <a:cubicBezTo>
                      <a:pt x="4" y="13"/>
                      <a:pt x="4" y="7"/>
                      <a:pt x="6" y="1"/>
                    </a:cubicBezTo>
                    <a:cubicBezTo>
                      <a:pt x="7" y="0"/>
                      <a:pt x="6" y="0"/>
                      <a:pt x="5" y="0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950" name="Freeform 263">
                <a:extLst>
                  <a:ext uri="{FF2B5EF4-FFF2-40B4-BE49-F238E27FC236}">
                    <a16:creationId xmlns:a16="http://schemas.microsoft.com/office/drawing/2014/main" id="{2B4D510C-DFEC-41CC-9C96-309DA952DE81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7129" y="2793"/>
                <a:ext cx="6" cy="31"/>
              </a:xfrm>
              <a:custGeom>
                <a:avLst/>
                <a:gdLst>
                  <a:gd name="T0" fmla="*/ 1 w 6"/>
                  <a:gd name="T1" fmla="*/ 1 h 30"/>
                  <a:gd name="T2" fmla="*/ 5 w 6"/>
                  <a:gd name="T3" fmla="*/ 29 h 30"/>
                  <a:gd name="T4" fmla="*/ 6 w 6"/>
                  <a:gd name="T5" fmla="*/ 29 h 30"/>
                  <a:gd name="T6" fmla="*/ 3 w 6"/>
                  <a:gd name="T7" fmla="*/ 16 h 30"/>
                  <a:gd name="T8" fmla="*/ 2 w 6"/>
                  <a:gd name="T9" fmla="*/ 1 h 30"/>
                  <a:gd name="T10" fmla="*/ 1 w 6"/>
                  <a:gd name="T11" fmla="*/ 1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6" h="30">
                    <a:moveTo>
                      <a:pt x="1" y="1"/>
                    </a:moveTo>
                    <a:cubicBezTo>
                      <a:pt x="0" y="11"/>
                      <a:pt x="1" y="20"/>
                      <a:pt x="5" y="29"/>
                    </a:cubicBezTo>
                    <a:cubicBezTo>
                      <a:pt x="5" y="30"/>
                      <a:pt x="6" y="30"/>
                      <a:pt x="6" y="29"/>
                    </a:cubicBezTo>
                    <a:cubicBezTo>
                      <a:pt x="5" y="25"/>
                      <a:pt x="4" y="20"/>
                      <a:pt x="3" y="16"/>
                    </a:cubicBezTo>
                    <a:cubicBezTo>
                      <a:pt x="2" y="11"/>
                      <a:pt x="1" y="6"/>
                      <a:pt x="2" y="1"/>
                    </a:cubicBezTo>
                    <a:cubicBezTo>
                      <a:pt x="2" y="0"/>
                      <a:pt x="1" y="0"/>
                      <a:pt x="1" y="1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951" name="Freeform 264">
                <a:extLst>
                  <a:ext uri="{FF2B5EF4-FFF2-40B4-BE49-F238E27FC236}">
                    <a16:creationId xmlns:a16="http://schemas.microsoft.com/office/drawing/2014/main" id="{02A7CE27-8C32-401B-ADBA-04CFD6EDB497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7141" y="2836"/>
                <a:ext cx="12" cy="16"/>
              </a:xfrm>
              <a:custGeom>
                <a:avLst/>
                <a:gdLst>
                  <a:gd name="T0" fmla="*/ 0 w 12"/>
                  <a:gd name="T1" fmla="*/ 1 h 15"/>
                  <a:gd name="T2" fmla="*/ 9 w 12"/>
                  <a:gd name="T3" fmla="*/ 14 h 15"/>
                  <a:gd name="T4" fmla="*/ 11 w 12"/>
                  <a:gd name="T5" fmla="*/ 13 h 15"/>
                  <a:gd name="T6" fmla="*/ 1 w 12"/>
                  <a:gd name="T7" fmla="*/ 0 h 15"/>
                  <a:gd name="T8" fmla="*/ 0 w 12"/>
                  <a:gd name="T9" fmla="*/ 1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" h="15">
                    <a:moveTo>
                      <a:pt x="0" y="1"/>
                    </a:moveTo>
                    <a:cubicBezTo>
                      <a:pt x="3" y="6"/>
                      <a:pt x="5" y="11"/>
                      <a:pt x="9" y="14"/>
                    </a:cubicBezTo>
                    <a:cubicBezTo>
                      <a:pt x="10" y="15"/>
                      <a:pt x="12" y="14"/>
                      <a:pt x="11" y="13"/>
                    </a:cubicBezTo>
                    <a:cubicBezTo>
                      <a:pt x="7" y="9"/>
                      <a:pt x="4" y="5"/>
                      <a:pt x="1" y="0"/>
                    </a:cubicBezTo>
                    <a:cubicBezTo>
                      <a:pt x="1" y="0"/>
                      <a:pt x="0" y="0"/>
                      <a:pt x="0" y="1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952" name="Freeform 265">
                <a:extLst>
                  <a:ext uri="{FF2B5EF4-FFF2-40B4-BE49-F238E27FC236}">
                    <a16:creationId xmlns:a16="http://schemas.microsoft.com/office/drawing/2014/main" id="{82795503-292B-4420-9936-D7B860C07F94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7155" y="2854"/>
                <a:ext cx="14" cy="22"/>
              </a:xfrm>
              <a:custGeom>
                <a:avLst/>
                <a:gdLst>
                  <a:gd name="T0" fmla="*/ 0 w 13"/>
                  <a:gd name="T1" fmla="*/ 0 h 21"/>
                  <a:gd name="T2" fmla="*/ 2 w 13"/>
                  <a:gd name="T3" fmla="*/ 8 h 21"/>
                  <a:gd name="T4" fmla="*/ 4 w 13"/>
                  <a:gd name="T5" fmla="*/ 13 h 21"/>
                  <a:gd name="T6" fmla="*/ 3 w 13"/>
                  <a:gd name="T7" fmla="*/ 18 h 21"/>
                  <a:gd name="T8" fmla="*/ 8 w 13"/>
                  <a:gd name="T9" fmla="*/ 19 h 21"/>
                  <a:gd name="T10" fmla="*/ 0 w 13"/>
                  <a:gd name="T11" fmla="*/ 0 h 21"/>
                  <a:gd name="T12" fmla="*/ 0 w 13"/>
                  <a:gd name="T13" fmla="*/ 0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3" h="21">
                    <a:moveTo>
                      <a:pt x="0" y="0"/>
                    </a:moveTo>
                    <a:cubicBezTo>
                      <a:pt x="0" y="3"/>
                      <a:pt x="1" y="6"/>
                      <a:pt x="2" y="8"/>
                    </a:cubicBezTo>
                    <a:cubicBezTo>
                      <a:pt x="3" y="9"/>
                      <a:pt x="4" y="11"/>
                      <a:pt x="4" y="13"/>
                    </a:cubicBezTo>
                    <a:cubicBezTo>
                      <a:pt x="4" y="14"/>
                      <a:pt x="3" y="16"/>
                      <a:pt x="3" y="18"/>
                    </a:cubicBezTo>
                    <a:cubicBezTo>
                      <a:pt x="3" y="20"/>
                      <a:pt x="7" y="21"/>
                      <a:pt x="8" y="19"/>
                    </a:cubicBezTo>
                    <a:cubicBezTo>
                      <a:pt x="13" y="12"/>
                      <a:pt x="3" y="6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953" name="Freeform 266">
                <a:extLst>
                  <a:ext uri="{FF2B5EF4-FFF2-40B4-BE49-F238E27FC236}">
                    <a16:creationId xmlns:a16="http://schemas.microsoft.com/office/drawing/2014/main" id="{707573C7-5789-4EC4-AD7A-081EEDEFFDD6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7055" y="2587"/>
                <a:ext cx="44" cy="101"/>
              </a:xfrm>
              <a:custGeom>
                <a:avLst/>
                <a:gdLst>
                  <a:gd name="T0" fmla="*/ 39 w 42"/>
                  <a:gd name="T1" fmla="*/ 1 h 95"/>
                  <a:gd name="T2" fmla="*/ 23 w 42"/>
                  <a:gd name="T3" fmla="*/ 93 h 95"/>
                  <a:gd name="T4" fmla="*/ 28 w 42"/>
                  <a:gd name="T5" fmla="*/ 90 h 95"/>
                  <a:gd name="T6" fmla="*/ 41 w 42"/>
                  <a:gd name="T7" fmla="*/ 3 h 95"/>
                  <a:gd name="T8" fmla="*/ 39 w 42"/>
                  <a:gd name="T9" fmla="*/ 1 h 9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2" h="95">
                    <a:moveTo>
                      <a:pt x="39" y="1"/>
                    </a:moveTo>
                    <a:cubicBezTo>
                      <a:pt x="21" y="24"/>
                      <a:pt x="0" y="67"/>
                      <a:pt x="23" y="93"/>
                    </a:cubicBezTo>
                    <a:cubicBezTo>
                      <a:pt x="25" y="95"/>
                      <a:pt x="29" y="93"/>
                      <a:pt x="28" y="90"/>
                    </a:cubicBezTo>
                    <a:cubicBezTo>
                      <a:pt x="13" y="61"/>
                      <a:pt x="23" y="28"/>
                      <a:pt x="41" y="3"/>
                    </a:cubicBezTo>
                    <a:cubicBezTo>
                      <a:pt x="42" y="2"/>
                      <a:pt x="40" y="0"/>
                      <a:pt x="39" y="1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954" name="Freeform 267">
                <a:extLst>
                  <a:ext uri="{FF2B5EF4-FFF2-40B4-BE49-F238E27FC236}">
                    <a16:creationId xmlns:a16="http://schemas.microsoft.com/office/drawing/2014/main" id="{A1C56DF2-66EA-4F8A-A4D2-46151F03DD59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749" y="2518"/>
                <a:ext cx="113" cy="247"/>
              </a:xfrm>
              <a:custGeom>
                <a:avLst/>
                <a:gdLst>
                  <a:gd name="T0" fmla="*/ 4 w 107"/>
                  <a:gd name="T1" fmla="*/ 2 h 233"/>
                  <a:gd name="T2" fmla="*/ 14 w 107"/>
                  <a:gd name="T3" fmla="*/ 22 h 233"/>
                  <a:gd name="T4" fmla="*/ 82 w 107"/>
                  <a:gd name="T5" fmla="*/ 64 h 233"/>
                  <a:gd name="T6" fmla="*/ 93 w 107"/>
                  <a:gd name="T7" fmla="*/ 230 h 233"/>
                  <a:gd name="T8" fmla="*/ 97 w 107"/>
                  <a:gd name="T9" fmla="*/ 230 h 233"/>
                  <a:gd name="T10" fmla="*/ 100 w 107"/>
                  <a:gd name="T11" fmla="*/ 143 h 233"/>
                  <a:gd name="T12" fmla="*/ 94 w 107"/>
                  <a:gd name="T13" fmla="*/ 78 h 233"/>
                  <a:gd name="T14" fmla="*/ 68 w 107"/>
                  <a:gd name="T15" fmla="*/ 33 h 233"/>
                  <a:gd name="T16" fmla="*/ 7 w 107"/>
                  <a:gd name="T17" fmla="*/ 2 h 233"/>
                  <a:gd name="T18" fmla="*/ 4 w 107"/>
                  <a:gd name="T19" fmla="*/ 2 h 2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07" h="233">
                    <a:moveTo>
                      <a:pt x="4" y="2"/>
                    </a:moveTo>
                    <a:cubicBezTo>
                      <a:pt x="0" y="13"/>
                      <a:pt x="3" y="18"/>
                      <a:pt x="14" y="22"/>
                    </a:cubicBezTo>
                    <a:cubicBezTo>
                      <a:pt x="43" y="33"/>
                      <a:pt x="67" y="30"/>
                      <a:pt x="82" y="64"/>
                    </a:cubicBezTo>
                    <a:cubicBezTo>
                      <a:pt x="107" y="118"/>
                      <a:pt x="89" y="174"/>
                      <a:pt x="93" y="230"/>
                    </a:cubicBezTo>
                    <a:cubicBezTo>
                      <a:pt x="93" y="233"/>
                      <a:pt x="97" y="232"/>
                      <a:pt x="97" y="230"/>
                    </a:cubicBezTo>
                    <a:cubicBezTo>
                      <a:pt x="99" y="201"/>
                      <a:pt x="99" y="172"/>
                      <a:pt x="100" y="143"/>
                    </a:cubicBezTo>
                    <a:cubicBezTo>
                      <a:pt x="101" y="121"/>
                      <a:pt x="101" y="98"/>
                      <a:pt x="94" y="78"/>
                    </a:cubicBezTo>
                    <a:cubicBezTo>
                      <a:pt x="89" y="63"/>
                      <a:pt x="81" y="43"/>
                      <a:pt x="68" y="33"/>
                    </a:cubicBezTo>
                    <a:cubicBezTo>
                      <a:pt x="58" y="25"/>
                      <a:pt x="4" y="19"/>
                      <a:pt x="7" y="2"/>
                    </a:cubicBezTo>
                    <a:cubicBezTo>
                      <a:pt x="7" y="1"/>
                      <a:pt x="5" y="0"/>
                      <a:pt x="4" y="2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955" name="Freeform 268">
                <a:extLst>
                  <a:ext uri="{FF2B5EF4-FFF2-40B4-BE49-F238E27FC236}">
                    <a16:creationId xmlns:a16="http://schemas.microsoft.com/office/drawing/2014/main" id="{0A9DE4C2-745F-4B70-A49E-2A9BC55872D2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864" y="2848"/>
                <a:ext cx="67" cy="174"/>
              </a:xfrm>
              <a:custGeom>
                <a:avLst/>
                <a:gdLst>
                  <a:gd name="T0" fmla="*/ 0 w 63"/>
                  <a:gd name="T1" fmla="*/ 1 h 165"/>
                  <a:gd name="T2" fmla="*/ 61 w 63"/>
                  <a:gd name="T3" fmla="*/ 164 h 165"/>
                  <a:gd name="T4" fmla="*/ 62 w 63"/>
                  <a:gd name="T5" fmla="*/ 164 h 165"/>
                  <a:gd name="T6" fmla="*/ 27 w 63"/>
                  <a:gd name="T7" fmla="*/ 79 h 165"/>
                  <a:gd name="T8" fmla="*/ 1 w 63"/>
                  <a:gd name="T9" fmla="*/ 0 h 165"/>
                  <a:gd name="T10" fmla="*/ 0 w 63"/>
                  <a:gd name="T11" fmla="*/ 1 h 1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63" h="165">
                    <a:moveTo>
                      <a:pt x="0" y="1"/>
                    </a:moveTo>
                    <a:cubicBezTo>
                      <a:pt x="14" y="58"/>
                      <a:pt x="33" y="113"/>
                      <a:pt x="61" y="164"/>
                    </a:cubicBezTo>
                    <a:cubicBezTo>
                      <a:pt x="61" y="165"/>
                      <a:pt x="63" y="165"/>
                      <a:pt x="62" y="164"/>
                    </a:cubicBezTo>
                    <a:cubicBezTo>
                      <a:pt x="51" y="135"/>
                      <a:pt x="37" y="108"/>
                      <a:pt x="27" y="79"/>
                    </a:cubicBezTo>
                    <a:cubicBezTo>
                      <a:pt x="17" y="53"/>
                      <a:pt x="10" y="27"/>
                      <a:pt x="1" y="0"/>
                    </a:cubicBezTo>
                    <a:cubicBezTo>
                      <a:pt x="1" y="0"/>
                      <a:pt x="0" y="0"/>
                      <a:pt x="0" y="1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956" name="Freeform 269">
                <a:extLst>
                  <a:ext uri="{FF2B5EF4-FFF2-40B4-BE49-F238E27FC236}">
                    <a16:creationId xmlns:a16="http://schemas.microsoft.com/office/drawing/2014/main" id="{F867BF2E-654A-408A-88FA-9D763A02F877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769" y="2536"/>
                <a:ext cx="213" cy="600"/>
              </a:xfrm>
              <a:custGeom>
                <a:avLst/>
                <a:gdLst>
                  <a:gd name="T0" fmla="*/ 0 w 201"/>
                  <a:gd name="T1" fmla="*/ 2 h 566"/>
                  <a:gd name="T2" fmla="*/ 28 w 201"/>
                  <a:gd name="T3" fmla="*/ 38 h 566"/>
                  <a:gd name="T4" fmla="*/ 51 w 201"/>
                  <a:gd name="T5" fmla="*/ 145 h 566"/>
                  <a:gd name="T6" fmla="*/ 69 w 201"/>
                  <a:gd name="T7" fmla="*/ 304 h 566"/>
                  <a:gd name="T8" fmla="*/ 114 w 201"/>
                  <a:gd name="T9" fmla="*/ 444 h 566"/>
                  <a:gd name="T10" fmla="*/ 196 w 201"/>
                  <a:gd name="T11" fmla="*/ 564 h 566"/>
                  <a:gd name="T12" fmla="*/ 199 w 201"/>
                  <a:gd name="T13" fmla="*/ 561 h 566"/>
                  <a:gd name="T14" fmla="*/ 150 w 201"/>
                  <a:gd name="T15" fmla="*/ 504 h 566"/>
                  <a:gd name="T16" fmla="*/ 112 w 201"/>
                  <a:gd name="T17" fmla="*/ 422 h 566"/>
                  <a:gd name="T18" fmla="*/ 71 w 201"/>
                  <a:gd name="T19" fmla="*/ 276 h 566"/>
                  <a:gd name="T20" fmla="*/ 57 w 201"/>
                  <a:gd name="T21" fmla="*/ 118 h 566"/>
                  <a:gd name="T22" fmla="*/ 41 w 201"/>
                  <a:gd name="T23" fmla="*/ 52 h 566"/>
                  <a:gd name="T24" fmla="*/ 3 w 201"/>
                  <a:gd name="T25" fmla="*/ 1 h 566"/>
                  <a:gd name="T26" fmla="*/ 0 w 201"/>
                  <a:gd name="T27" fmla="*/ 2 h 5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201" h="566">
                    <a:moveTo>
                      <a:pt x="0" y="2"/>
                    </a:moveTo>
                    <a:cubicBezTo>
                      <a:pt x="4" y="18"/>
                      <a:pt x="18" y="25"/>
                      <a:pt x="28" y="38"/>
                    </a:cubicBezTo>
                    <a:cubicBezTo>
                      <a:pt x="49" y="66"/>
                      <a:pt x="50" y="110"/>
                      <a:pt x="51" y="145"/>
                    </a:cubicBezTo>
                    <a:cubicBezTo>
                      <a:pt x="53" y="199"/>
                      <a:pt x="59" y="251"/>
                      <a:pt x="69" y="304"/>
                    </a:cubicBezTo>
                    <a:cubicBezTo>
                      <a:pt x="78" y="353"/>
                      <a:pt x="95" y="399"/>
                      <a:pt x="114" y="444"/>
                    </a:cubicBezTo>
                    <a:cubicBezTo>
                      <a:pt x="131" y="488"/>
                      <a:pt x="157" y="536"/>
                      <a:pt x="196" y="564"/>
                    </a:cubicBezTo>
                    <a:cubicBezTo>
                      <a:pt x="199" y="566"/>
                      <a:pt x="201" y="563"/>
                      <a:pt x="199" y="561"/>
                    </a:cubicBezTo>
                    <a:cubicBezTo>
                      <a:pt x="181" y="544"/>
                      <a:pt x="165" y="525"/>
                      <a:pt x="150" y="504"/>
                    </a:cubicBezTo>
                    <a:cubicBezTo>
                      <a:pt x="133" y="479"/>
                      <a:pt x="123" y="451"/>
                      <a:pt x="112" y="422"/>
                    </a:cubicBezTo>
                    <a:cubicBezTo>
                      <a:pt x="94" y="374"/>
                      <a:pt x="80" y="326"/>
                      <a:pt x="71" y="276"/>
                    </a:cubicBezTo>
                    <a:cubicBezTo>
                      <a:pt x="62" y="223"/>
                      <a:pt x="61" y="171"/>
                      <a:pt x="57" y="118"/>
                    </a:cubicBezTo>
                    <a:cubicBezTo>
                      <a:pt x="55" y="97"/>
                      <a:pt x="52" y="72"/>
                      <a:pt x="41" y="52"/>
                    </a:cubicBezTo>
                    <a:cubicBezTo>
                      <a:pt x="32" y="34"/>
                      <a:pt x="9" y="21"/>
                      <a:pt x="3" y="1"/>
                    </a:cubicBezTo>
                    <a:cubicBezTo>
                      <a:pt x="3" y="0"/>
                      <a:pt x="0" y="0"/>
                      <a:pt x="0" y="2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957" name="Freeform 270">
                <a:extLst>
                  <a:ext uri="{FF2B5EF4-FFF2-40B4-BE49-F238E27FC236}">
                    <a16:creationId xmlns:a16="http://schemas.microsoft.com/office/drawing/2014/main" id="{064F3855-1B69-461E-BE90-579FFE4D4D5C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978" y="3030"/>
                <a:ext cx="283" cy="144"/>
              </a:xfrm>
              <a:custGeom>
                <a:avLst/>
                <a:gdLst>
                  <a:gd name="T0" fmla="*/ 256 w 267"/>
                  <a:gd name="T1" fmla="*/ 1 h 136"/>
                  <a:gd name="T2" fmla="*/ 254 w 267"/>
                  <a:gd name="T3" fmla="*/ 40 h 136"/>
                  <a:gd name="T4" fmla="*/ 230 w 267"/>
                  <a:gd name="T5" fmla="*/ 69 h 136"/>
                  <a:gd name="T6" fmla="*/ 160 w 267"/>
                  <a:gd name="T7" fmla="*/ 103 h 136"/>
                  <a:gd name="T8" fmla="*/ 6 w 267"/>
                  <a:gd name="T9" fmla="*/ 96 h 136"/>
                  <a:gd name="T10" fmla="*/ 3 w 267"/>
                  <a:gd name="T11" fmla="*/ 101 h 136"/>
                  <a:gd name="T12" fmla="*/ 186 w 267"/>
                  <a:gd name="T13" fmla="*/ 102 h 136"/>
                  <a:gd name="T14" fmla="*/ 251 w 267"/>
                  <a:gd name="T15" fmla="*/ 57 h 136"/>
                  <a:gd name="T16" fmla="*/ 266 w 267"/>
                  <a:gd name="T17" fmla="*/ 26 h 136"/>
                  <a:gd name="T18" fmla="*/ 258 w 267"/>
                  <a:gd name="T19" fmla="*/ 1 h 136"/>
                  <a:gd name="T20" fmla="*/ 256 w 267"/>
                  <a:gd name="T21" fmla="*/ 1 h 1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267" h="136">
                    <a:moveTo>
                      <a:pt x="256" y="1"/>
                    </a:moveTo>
                    <a:cubicBezTo>
                      <a:pt x="256" y="16"/>
                      <a:pt x="262" y="25"/>
                      <a:pt x="254" y="40"/>
                    </a:cubicBezTo>
                    <a:cubicBezTo>
                      <a:pt x="249" y="52"/>
                      <a:pt x="239" y="60"/>
                      <a:pt x="230" y="69"/>
                    </a:cubicBezTo>
                    <a:cubicBezTo>
                      <a:pt x="211" y="88"/>
                      <a:pt x="185" y="96"/>
                      <a:pt x="160" y="103"/>
                    </a:cubicBezTo>
                    <a:cubicBezTo>
                      <a:pt x="110" y="116"/>
                      <a:pt x="53" y="123"/>
                      <a:pt x="6" y="96"/>
                    </a:cubicBezTo>
                    <a:cubicBezTo>
                      <a:pt x="4" y="95"/>
                      <a:pt x="0" y="99"/>
                      <a:pt x="3" y="101"/>
                    </a:cubicBezTo>
                    <a:cubicBezTo>
                      <a:pt x="56" y="136"/>
                      <a:pt x="130" y="122"/>
                      <a:pt x="186" y="102"/>
                    </a:cubicBezTo>
                    <a:cubicBezTo>
                      <a:pt x="213" y="92"/>
                      <a:pt x="232" y="79"/>
                      <a:pt x="251" y="57"/>
                    </a:cubicBezTo>
                    <a:cubicBezTo>
                      <a:pt x="259" y="48"/>
                      <a:pt x="265" y="38"/>
                      <a:pt x="266" y="26"/>
                    </a:cubicBezTo>
                    <a:cubicBezTo>
                      <a:pt x="267" y="15"/>
                      <a:pt x="262" y="11"/>
                      <a:pt x="258" y="1"/>
                    </a:cubicBezTo>
                    <a:cubicBezTo>
                      <a:pt x="258" y="0"/>
                      <a:pt x="256" y="0"/>
                      <a:pt x="256" y="1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958" name="Freeform 271">
                <a:extLst>
                  <a:ext uri="{FF2B5EF4-FFF2-40B4-BE49-F238E27FC236}">
                    <a16:creationId xmlns:a16="http://schemas.microsoft.com/office/drawing/2014/main" id="{B1E31635-D13F-4BFD-B8B5-0A10205BA4D2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960" y="3085"/>
                <a:ext cx="48" cy="37"/>
              </a:xfrm>
              <a:custGeom>
                <a:avLst/>
                <a:gdLst>
                  <a:gd name="T0" fmla="*/ 0 w 45"/>
                  <a:gd name="T1" fmla="*/ 2 h 35"/>
                  <a:gd name="T2" fmla="*/ 43 w 45"/>
                  <a:gd name="T3" fmla="*/ 34 h 35"/>
                  <a:gd name="T4" fmla="*/ 44 w 45"/>
                  <a:gd name="T5" fmla="*/ 32 h 35"/>
                  <a:gd name="T6" fmla="*/ 2 w 45"/>
                  <a:gd name="T7" fmla="*/ 1 h 35"/>
                  <a:gd name="T8" fmla="*/ 0 w 45"/>
                  <a:gd name="T9" fmla="*/ 2 h 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5" h="35">
                    <a:moveTo>
                      <a:pt x="0" y="2"/>
                    </a:moveTo>
                    <a:cubicBezTo>
                      <a:pt x="8" y="18"/>
                      <a:pt x="28" y="28"/>
                      <a:pt x="43" y="34"/>
                    </a:cubicBezTo>
                    <a:cubicBezTo>
                      <a:pt x="44" y="35"/>
                      <a:pt x="45" y="33"/>
                      <a:pt x="44" y="32"/>
                    </a:cubicBezTo>
                    <a:cubicBezTo>
                      <a:pt x="30" y="25"/>
                      <a:pt x="10" y="16"/>
                      <a:pt x="2" y="1"/>
                    </a:cubicBezTo>
                    <a:cubicBezTo>
                      <a:pt x="2" y="0"/>
                      <a:pt x="0" y="1"/>
                      <a:pt x="0" y="2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959" name="Freeform 272">
                <a:extLst>
                  <a:ext uri="{FF2B5EF4-FFF2-40B4-BE49-F238E27FC236}">
                    <a16:creationId xmlns:a16="http://schemas.microsoft.com/office/drawing/2014/main" id="{11F2E744-A5E4-46EF-9B87-FBDCF611059A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7239" y="3075"/>
                <a:ext cx="110" cy="56"/>
              </a:xfrm>
              <a:custGeom>
                <a:avLst/>
                <a:gdLst>
                  <a:gd name="T0" fmla="*/ 7 w 104"/>
                  <a:gd name="T1" fmla="*/ 16 h 53"/>
                  <a:gd name="T2" fmla="*/ 100 w 104"/>
                  <a:gd name="T3" fmla="*/ 52 h 53"/>
                  <a:gd name="T4" fmla="*/ 102 w 104"/>
                  <a:gd name="T5" fmla="*/ 47 h 53"/>
                  <a:gd name="T6" fmla="*/ 5 w 104"/>
                  <a:gd name="T7" fmla="*/ 8 h 53"/>
                  <a:gd name="T8" fmla="*/ 7 w 104"/>
                  <a:gd name="T9" fmla="*/ 16 h 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4" h="53">
                    <a:moveTo>
                      <a:pt x="7" y="16"/>
                    </a:moveTo>
                    <a:cubicBezTo>
                      <a:pt x="50" y="9"/>
                      <a:pt x="66" y="36"/>
                      <a:pt x="100" y="52"/>
                    </a:cubicBezTo>
                    <a:cubicBezTo>
                      <a:pt x="102" y="53"/>
                      <a:pt x="104" y="49"/>
                      <a:pt x="102" y="47"/>
                    </a:cubicBezTo>
                    <a:cubicBezTo>
                      <a:pt x="78" y="26"/>
                      <a:pt x="39" y="0"/>
                      <a:pt x="5" y="8"/>
                    </a:cubicBezTo>
                    <a:cubicBezTo>
                      <a:pt x="0" y="10"/>
                      <a:pt x="2" y="17"/>
                      <a:pt x="7" y="16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960" name="Freeform 273">
                <a:extLst>
                  <a:ext uri="{FF2B5EF4-FFF2-40B4-BE49-F238E27FC236}">
                    <a16:creationId xmlns:a16="http://schemas.microsoft.com/office/drawing/2014/main" id="{35805366-0E0E-41AA-BC7F-83CE34699228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911" y="3147"/>
                <a:ext cx="104" cy="137"/>
              </a:xfrm>
              <a:custGeom>
                <a:avLst/>
                <a:gdLst>
                  <a:gd name="T0" fmla="*/ 95 w 98"/>
                  <a:gd name="T1" fmla="*/ 1 h 129"/>
                  <a:gd name="T2" fmla="*/ 41 w 98"/>
                  <a:gd name="T3" fmla="*/ 56 h 129"/>
                  <a:gd name="T4" fmla="*/ 2 w 98"/>
                  <a:gd name="T5" fmla="*/ 122 h 129"/>
                  <a:gd name="T6" fmla="*/ 8 w 98"/>
                  <a:gd name="T7" fmla="*/ 125 h 129"/>
                  <a:gd name="T8" fmla="*/ 55 w 98"/>
                  <a:gd name="T9" fmla="*/ 53 h 129"/>
                  <a:gd name="T10" fmla="*/ 97 w 98"/>
                  <a:gd name="T11" fmla="*/ 3 h 129"/>
                  <a:gd name="T12" fmla="*/ 95 w 98"/>
                  <a:gd name="T13" fmla="*/ 1 h 1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98" h="129">
                    <a:moveTo>
                      <a:pt x="95" y="1"/>
                    </a:moveTo>
                    <a:cubicBezTo>
                      <a:pt x="73" y="17"/>
                      <a:pt x="57" y="34"/>
                      <a:pt x="41" y="56"/>
                    </a:cubicBezTo>
                    <a:cubicBezTo>
                      <a:pt x="27" y="76"/>
                      <a:pt x="9" y="98"/>
                      <a:pt x="2" y="122"/>
                    </a:cubicBezTo>
                    <a:cubicBezTo>
                      <a:pt x="0" y="126"/>
                      <a:pt x="6" y="129"/>
                      <a:pt x="8" y="125"/>
                    </a:cubicBezTo>
                    <a:cubicBezTo>
                      <a:pt x="22" y="99"/>
                      <a:pt x="38" y="76"/>
                      <a:pt x="55" y="53"/>
                    </a:cubicBezTo>
                    <a:cubicBezTo>
                      <a:pt x="68" y="35"/>
                      <a:pt x="85" y="21"/>
                      <a:pt x="97" y="3"/>
                    </a:cubicBezTo>
                    <a:cubicBezTo>
                      <a:pt x="98" y="2"/>
                      <a:pt x="96" y="0"/>
                      <a:pt x="95" y="1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961" name="Freeform 274">
                <a:extLst>
                  <a:ext uri="{FF2B5EF4-FFF2-40B4-BE49-F238E27FC236}">
                    <a16:creationId xmlns:a16="http://schemas.microsoft.com/office/drawing/2014/main" id="{A972EF9F-4B99-4E54-A56C-D36978A7E79B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949" y="3266"/>
                <a:ext cx="273" cy="40"/>
              </a:xfrm>
              <a:custGeom>
                <a:avLst/>
                <a:gdLst>
                  <a:gd name="T0" fmla="*/ 256 w 258"/>
                  <a:gd name="T1" fmla="*/ 1 h 38"/>
                  <a:gd name="T2" fmla="*/ 206 w 258"/>
                  <a:gd name="T3" fmla="*/ 17 h 38"/>
                  <a:gd name="T4" fmla="*/ 139 w 258"/>
                  <a:gd name="T5" fmla="*/ 25 h 38"/>
                  <a:gd name="T6" fmla="*/ 4 w 258"/>
                  <a:gd name="T7" fmla="*/ 32 h 38"/>
                  <a:gd name="T8" fmla="*/ 4 w 258"/>
                  <a:gd name="T9" fmla="*/ 38 h 38"/>
                  <a:gd name="T10" fmla="*/ 158 w 258"/>
                  <a:gd name="T11" fmla="*/ 30 h 38"/>
                  <a:gd name="T12" fmla="*/ 222 w 258"/>
                  <a:gd name="T13" fmla="*/ 19 h 38"/>
                  <a:gd name="T14" fmla="*/ 257 w 258"/>
                  <a:gd name="T15" fmla="*/ 2 h 38"/>
                  <a:gd name="T16" fmla="*/ 256 w 258"/>
                  <a:gd name="T17" fmla="*/ 1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58" h="38">
                    <a:moveTo>
                      <a:pt x="256" y="1"/>
                    </a:moveTo>
                    <a:cubicBezTo>
                      <a:pt x="243" y="11"/>
                      <a:pt x="222" y="13"/>
                      <a:pt x="206" y="17"/>
                    </a:cubicBezTo>
                    <a:cubicBezTo>
                      <a:pt x="184" y="23"/>
                      <a:pt x="161" y="25"/>
                      <a:pt x="139" y="25"/>
                    </a:cubicBezTo>
                    <a:cubicBezTo>
                      <a:pt x="94" y="27"/>
                      <a:pt x="48" y="26"/>
                      <a:pt x="4" y="32"/>
                    </a:cubicBezTo>
                    <a:cubicBezTo>
                      <a:pt x="0" y="32"/>
                      <a:pt x="1" y="38"/>
                      <a:pt x="4" y="38"/>
                    </a:cubicBezTo>
                    <a:cubicBezTo>
                      <a:pt x="55" y="37"/>
                      <a:pt x="108" y="34"/>
                      <a:pt x="158" y="30"/>
                    </a:cubicBezTo>
                    <a:cubicBezTo>
                      <a:pt x="180" y="29"/>
                      <a:pt x="201" y="24"/>
                      <a:pt x="222" y="19"/>
                    </a:cubicBezTo>
                    <a:cubicBezTo>
                      <a:pt x="236" y="16"/>
                      <a:pt x="249" y="13"/>
                      <a:pt x="257" y="2"/>
                    </a:cubicBezTo>
                    <a:cubicBezTo>
                      <a:pt x="258" y="1"/>
                      <a:pt x="257" y="0"/>
                      <a:pt x="256" y="1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962" name="Freeform 275">
                <a:extLst>
                  <a:ext uri="{FF2B5EF4-FFF2-40B4-BE49-F238E27FC236}">
                    <a16:creationId xmlns:a16="http://schemas.microsoft.com/office/drawing/2014/main" id="{6FE3AC4D-94D3-4E24-A18A-8FF42EA4EA02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7274" y="3122"/>
                <a:ext cx="79" cy="89"/>
              </a:xfrm>
              <a:custGeom>
                <a:avLst/>
                <a:gdLst>
                  <a:gd name="T0" fmla="*/ 62 w 74"/>
                  <a:gd name="T1" fmla="*/ 4 h 84"/>
                  <a:gd name="T2" fmla="*/ 38 w 74"/>
                  <a:gd name="T3" fmla="*/ 45 h 84"/>
                  <a:gd name="T4" fmla="*/ 3 w 74"/>
                  <a:gd name="T5" fmla="*/ 78 h 84"/>
                  <a:gd name="T6" fmla="*/ 7 w 74"/>
                  <a:gd name="T7" fmla="*/ 83 h 84"/>
                  <a:gd name="T8" fmla="*/ 53 w 74"/>
                  <a:gd name="T9" fmla="*/ 36 h 84"/>
                  <a:gd name="T10" fmla="*/ 66 w 74"/>
                  <a:gd name="T11" fmla="*/ 2 h 84"/>
                  <a:gd name="T12" fmla="*/ 62 w 74"/>
                  <a:gd name="T13" fmla="*/ 4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74" h="84">
                    <a:moveTo>
                      <a:pt x="62" y="4"/>
                    </a:moveTo>
                    <a:cubicBezTo>
                      <a:pt x="67" y="14"/>
                      <a:pt x="43" y="40"/>
                      <a:pt x="38" y="45"/>
                    </a:cubicBezTo>
                    <a:cubicBezTo>
                      <a:pt x="28" y="57"/>
                      <a:pt x="16" y="68"/>
                      <a:pt x="3" y="78"/>
                    </a:cubicBezTo>
                    <a:cubicBezTo>
                      <a:pt x="0" y="80"/>
                      <a:pt x="4" y="84"/>
                      <a:pt x="7" y="83"/>
                    </a:cubicBezTo>
                    <a:cubicBezTo>
                      <a:pt x="25" y="70"/>
                      <a:pt x="41" y="54"/>
                      <a:pt x="53" y="36"/>
                    </a:cubicBezTo>
                    <a:cubicBezTo>
                      <a:pt x="59" y="28"/>
                      <a:pt x="74" y="11"/>
                      <a:pt x="66" y="2"/>
                    </a:cubicBezTo>
                    <a:cubicBezTo>
                      <a:pt x="64" y="0"/>
                      <a:pt x="61" y="2"/>
                      <a:pt x="62" y="4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963" name="Freeform 276">
                <a:extLst>
                  <a:ext uri="{FF2B5EF4-FFF2-40B4-BE49-F238E27FC236}">
                    <a16:creationId xmlns:a16="http://schemas.microsoft.com/office/drawing/2014/main" id="{DDA6A29D-E353-4221-8A55-ECEBB90AEB9F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7172" y="3092"/>
                <a:ext cx="110" cy="112"/>
              </a:xfrm>
              <a:custGeom>
                <a:avLst/>
                <a:gdLst>
                  <a:gd name="T0" fmla="*/ 100 w 103"/>
                  <a:gd name="T1" fmla="*/ 2 h 106"/>
                  <a:gd name="T2" fmla="*/ 3 w 103"/>
                  <a:gd name="T3" fmla="*/ 99 h 106"/>
                  <a:gd name="T4" fmla="*/ 7 w 103"/>
                  <a:gd name="T5" fmla="*/ 103 h 106"/>
                  <a:gd name="T6" fmla="*/ 63 w 103"/>
                  <a:gd name="T7" fmla="*/ 49 h 106"/>
                  <a:gd name="T8" fmla="*/ 102 w 103"/>
                  <a:gd name="T9" fmla="*/ 3 h 106"/>
                  <a:gd name="T10" fmla="*/ 100 w 103"/>
                  <a:gd name="T11" fmla="*/ 2 h 1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03" h="106">
                    <a:moveTo>
                      <a:pt x="100" y="2"/>
                    </a:moveTo>
                    <a:cubicBezTo>
                      <a:pt x="71" y="36"/>
                      <a:pt x="36" y="68"/>
                      <a:pt x="3" y="99"/>
                    </a:cubicBezTo>
                    <a:cubicBezTo>
                      <a:pt x="0" y="102"/>
                      <a:pt x="4" y="106"/>
                      <a:pt x="7" y="103"/>
                    </a:cubicBezTo>
                    <a:cubicBezTo>
                      <a:pt x="27" y="87"/>
                      <a:pt x="46" y="68"/>
                      <a:pt x="63" y="49"/>
                    </a:cubicBezTo>
                    <a:cubicBezTo>
                      <a:pt x="76" y="35"/>
                      <a:pt x="92" y="20"/>
                      <a:pt x="102" y="3"/>
                    </a:cubicBezTo>
                    <a:cubicBezTo>
                      <a:pt x="103" y="2"/>
                      <a:pt x="101" y="0"/>
                      <a:pt x="100" y="2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964" name="Freeform 277">
                <a:extLst>
                  <a:ext uri="{FF2B5EF4-FFF2-40B4-BE49-F238E27FC236}">
                    <a16:creationId xmlns:a16="http://schemas.microsoft.com/office/drawing/2014/main" id="{4182040D-1D12-41BF-AC4E-E2CABC27238F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7003" y="3198"/>
                <a:ext cx="174" cy="25"/>
              </a:xfrm>
              <a:custGeom>
                <a:avLst/>
                <a:gdLst>
                  <a:gd name="T0" fmla="*/ 161 w 164"/>
                  <a:gd name="T1" fmla="*/ 1 h 24"/>
                  <a:gd name="T2" fmla="*/ 82 w 164"/>
                  <a:gd name="T3" fmla="*/ 14 h 24"/>
                  <a:gd name="T4" fmla="*/ 3 w 164"/>
                  <a:gd name="T5" fmla="*/ 18 h 24"/>
                  <a:gd name="T6" fmla="*/ 4 w 164"/>
                  <a:gd name="T7" fmla="*/ 24 h 24"/>
                  <a:gd name="T8" fmla="*/ 96 w 164"/>
                  <a:gd name="T9" fmla="*/ 20 h 24"/>
                  <a:gd name="T10" fmla="*/ 163 w 164"/>
                  <a:gd name="T11" fmla="*/ 2 h 24"/>
                  <a:gd name="T12" fmla="*/ 161 w 164"/>
                  <a:gd name="T13" fmla="*/ 1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64" h="24">
                    <a:moveTo>
                      <a:pt x="161" y="1"/>
                    </a:moveTo>
                    <a:cubicBezTo>
                      <a:pt x="142" y="15"/>
                      <a:pt x="105" y="11"/>
                      <a:pt x="82" y="14"/>
                    </a:cubicBezTo>
                    <a:cubicBezTo>
                      <a:pt x="56" y="17"/>
                      <a:pt x="29" y="15"/>
                      <a:pt x="3" y="18"/>
                    </a:cubicBezTo>
                    <a:cubicBezTo>
                      <a:pt x="0" y="19"/>
                      <a:pt x="0" y="24"/>
                      <a:pt x="4" y="24"/>
                    </a:cubicBezTo>
                    <a:cubicBezTo>
                      <a:pt x="35" y="24"/>
                      <a:pt x="65" y="22"/>
                      <a:pt x="96" y="20"/>
                    </a:cubicBezTo>
                    <a:cubicBezTo>
                      <a:pt x="118" y="18"/>
                      <a:pt x="148" y="20"/>
                      <a:pt x="163" y="2"/>
                    </a:cubicBezTo>
                    <a:cubicBezTo>
                      <a:pt x="164" y="1"/>
                      <a:pt x="162" y="0"/>
                      <a:pt x="161" y="1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965" name="Freeform 278">
                <a:extLst>
                  <a:ext uri="{FF2B5EF4-FFF2-40B4-BE49-F238E27FC236}">
                    <a16:creationId xmlns:a16="http://schemas.microsoft.com/office/drawing/2014/main" id="{DA8CC694-52D1-44B2-8D29-9FCE8AC4CBF9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7019" y="3118"/>
                <a:ext cx="204" cy="80"/>
              </a:xfrm>
              <a:custGeom>
                <a:avLst/>
                <a:gdLst>
                  <a:gd name="T0" fmla="*/ 174 w 193"/>
                  <a:gd name="T1" fmla="*/ 1 h 76"/>
                  <a:gd name="T2" fmla="*/ 104 w 193"/>
                  <a:gd name="T3" fmla="*/ 45 h 76"/>
                  <a:gd name="T4" fmla="*/ 7 w 193"/>
                  <a:gd name="T5" fmla="*/ 33 h 76"/>
                  <a:gd name="T6" fmla="*/ 0 w 193"/>
                  <a:gd name="T7" fmla="*/ 33 h 76"/>
                  <a:gd name="T8" fmla="*/ 111 w 193"/>
                  <a:gd name="T9" fmla="*/ 47 h 76"/>
                  <a:gd name="T10" fmla="*/ 177 w 193"/>
                  <a:gd name="T11" fmla="*/ 21 h 76"/>
                  <a:gd name="T12" fmla="*/ 175 w 193"/>
                  <a:gd name="T13" fmla="*/ 0 h 76"/>
                  <a:gd name="T14" fmla="*/ 174 w 193"/>
                  <a:gd name="T15" fmla="*/ 1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93" h="76">
                    <a:moveTo>
                      <a:pt x="174" y="1"/>
                    </a:moveTo>
                    <a:cubicBezTo>
                      <a:pt x="193" y="21"/>
                      <a:pt x="114" y="42"/>
                      <a:pt x="104" y="45"/>
                    </a:cubicBezTo>
                    <a:cubicBezTo>
                      <a:pt x="87" y="50"/>
                      <a:pt x="9" y="67"/>
                      <a:pt x="7" y="33"/>
                    </a:cubicBezTo>
                    <a:cubicBezTo>
                      <a:pt x="7" y="28"/>
                      <a:pt x="0" y="29"/>
                      <a:pt x="0" y="33"/>
                    </a:cubicBezTo>
                    <a:cubicBezTo>
                      <a:pt x="5" y="76"/>
                      <a:pt x="87" y="55"/>
                      <a:pt x="111" y="47"/>
                    </a:cubicBezTo>
                    <a:cubicBezTo>
                      <a:pt x="132" y="41"/>
                      <a:pt x="160" y="36"/>
                      <a:pt x="177" y="21"/>
                    </a:cubicBezTo>
                    <a:cubicBezTo>
                      <a:pt x="185" y="13"/>
                      <a:pt x="185" y="4"/>
                      <a:pt x="175" y="0"/>
                    </a:cubicBezTo>
                    <a:cubicBezTo>
                      <a:pt x="174" y="0"/>
                      <a:pt x="173" y="1"/>
                      <a:pt x="174" y="1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966" name="Freeform 279">
                <a:extLst>
                  <a:ext uri="{FF2B5EF4-FFF2-40B4-BE49-F238E27FC236}">
                    <a16:creationId xmlns:a16="http://schemas.microsoft.com/office/drawing/2014/main" id="{2211EDAE-3DFB-499E-9DCD-4312AEA15B64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7087" y="3165"/>
                <a:ext cx="75" cy="29"/>
              </a:xfrm>
              <a:custGeom>
                <a:avLst/>
                <a:gdLst>
                  <a:gd name="T0" fmla="*/ 68 w 71"/>
                  <a:gd name="T1" fmla="*/ 1 h 27"/>
                  <a:gd name="T2" fmla="*/ 35 w 71"/>
                  <a:gd name="T3" fmla="*/ 15 h 27"/>
                  <a:gd name="T4" fmla="*/ 3 w 71"/>
                  <a:gd name="T5" fmla="*/ 23 h 27"/>
                  <a:gd name="T6" fmla="*/ 4 w 71"/>
                  <a:gd name="T7" fmla="*/ 27 h 27"/>
                  <a:gd name="T8" fmla="*/ 52 w 71"/>
                  <a:gd name="T9" fmla="*/ 17 h 27"/>
                  <a:gd name="T10" fmla="*/ 70 w 71"/>
                  <a:gd name="T11" fmla="*/ 2 h 27"/>
                  <a:gd name="T12" fmla="*/ 68 w 71"/>
                  <a:gd name="T13" fmla="*/ 1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71" h="27">
                    <a:moveTo>
                      <a:pt x="68" y="1"/>
                    </a:moveTo>
                    <a:cubicBezTo>
                      <a:pt x="63" y="11"/>
                      <a:pt x="44" y="13"/>
                      <a:pt x="35" y="15"/>
                    </a:cubicBezTo>
                    <a:cubicBezTo>
                      <a:pt x="24" y="18"/>
                      <a:pt x="13" y="20"/>
                      <a:pt x="3" y="23"/>
                    </a:cubicBezTo>
                    <a:cubicBezTo>
                      <a:pt x="0" y="23"/>
                      <a:pt x="1" y="27"/>
                      <a:pt x="4" y="27"/>
                    </a:cubicBezTo>
                    <a:cubicBezTo>
                      <a:pt x="20" y="26"/>
                      <a:pt x="37" y="24"/>
                      <a:pt x="52" y="17"/>
                    </a:cubicBezTo>
                    <a:cubicBezTo>
                      <a:pt x="60" y="14"/>
                      <a:pt x="68" y="11"/>
                      <a:pt x="70" y="2"/>
                    </a:cubicBezTo>
                    <a:cubicBezTo>
                      <a:pt x="71" y="1"/>
                      <a:pt x="69" y="0"/>
                      <a:pt x="68" y="1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967" name="Freeform 280">
                <a:extLst>
                  <a:ext uri="{FF2B5EF4-FFF2-40B4-BE49-F238E27FC236}">
                    <a16:creationId xmlns:a16="http://schemas.microsoft.com/office/drawing/2014/main" id="{6B174D4A-55AB-4F59-9AE4-DB7F842020BB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798" y="3351"/>
                <a:ext cx="381" cy="18"/>
              </a:xfrm>
              <a:custGeom>
                <a:avLst/>
                <a:gdLst>
                  <a:gd name="T0" fmla="*/ 354 w 359"/>
                  <a:gd name="T1" fmla="*/ 6 h 17"/>
                  <a:gd name="T2" fmla="*/ 282 w 359"/>
                  <a:gd name="T3" fmla="*/ 5 h 17"/>
                  <a:gd name="T4" fmla="*/ 188 w 359"/>
                  <a:gd name="T5" fmla="*/ 4 h 17"/>
                  <a:gd name="T6" fmla="*/ 6 w 359"/>
                  <a:gd name="T7" fmla="*/ 1 h 17"/>
                  <a:gd name="T8" fmla="*/ 5 w 359"/>
                  <a:gd name="T9" fmla="*/ 9 h 17"/>
                  <a:gd name="T10" fmla="*/ 196 w 359"/>
                  <a:gd name="T11" fmla="*/ 9 h 17"/>
                  <a:gd name="T12" fmla="*/ 281 w 359"/>
                  <a:gd name="T13" fmla="*/ 8 h 17"/>
                  <a:gd name="T14" fmla="*/ 355 w 359"/>
                  <a:gd name="T15" fmla="*/ 12 h 17"/>
                  <a:gd name="T16" fmla="*/ 354 w 359"/>
                  <a:gd name="T17" fmla="*/ 6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59" h="17">
                    <a:moveTo>
                      <a:pt x="354" y="6"/>
                    </a:moveTo>
                    <a:cubicBezTo>
                      <a:pt x="331" y="9"/>
                      <a:pt x="305" y="6"/>
                      <a:pt x="282" y="5"/>
                    </a:cubicBezTo>
                    <a:cubicBezTo>
                      <a:pt x="251" y="3"/>
                      <a:pt x="219" y="4"/>
                      <a:pt x="188" y="4"/>
                    </a:cubicBezTo>
                    <a:cubicBezTo>
                      <a:pt x="127" y="4"/>
                      <a:pt x="66" y="1"/>
                      <a:pt x="6" y="1"/>
                    </a:cubicBezTo>
                    <a:cubicBezTo>
                      <a:pt x="0" y="0"/>
                      <a:pt x="0" y="9"/>
                      <a:pt x="5" y="9"/>
                    </a:cubicBezTo>
                    <a:cubicBezTo>
                      <a:pt x="69" y="8"/>
                      <a:pt x="133" y="11"/>
                      <a:pt x="196" y="9"/>
                    </a:cubicBezTo>
                    <a:cubicBezTo>
                      <a:pt x="224" y="8"/>
                      <a:pt x="253" y="6"/>
                      <a:pt x="281" y="8"/>
                    </a:cubicBezTo>
                    <a:cubicBezTo>
                      <a:pt x="305" y="9"/>
                      <a:pt x="331" y="17"/>
                      <a:pt x="355" y="12"/>
                    </a:cubicBezTo>
                    <a:cubicBezTo>
                      <a:pt x="359" y="12"/>
                      <a:pt x="359" y="5"/>
                      <a:pt x="354" y="6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968" name="Freeform 281">
                <a:extLst>
                  <a:ext uri="{FF2B5EF4-FFF2-40B4-BE49-F238E27FC236}">
                    <a16:creationId xmlns:a16="http://schemas.microsoft.com/office/drawing/2014/main" id="{D7FACBFF-9FDC-4A50-980D-EF49803D3125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729" y="3351"/>
                <a:ext cx="77" cy="255"/>
              </a:xfrm>
              <a:custGeom>
                <a:avLst/>
                <a:gdLst>
                  <a:gd name="T0" fmla="*/ 67 w 72"/>
                  <a:gd name="T1" fmla="*/ 2 h 240"/>
                  <a:gd name="T2" fmla="*/ 15 w 72"/>
                  <a:gd name="T3" fmla="*/ 53 h 240"/>
                  <a:gd name="T4" fmla="*/ 1 w 72"/>
                  <a:gd name="T5" fmla="*/ 115 h 240"/>
                  <a:gd name="T6" fmla="*/ 50 w 72"/>
                  <a:gd name="T7" fmla="*/ 237 h 240"/>
                  <a:gd name="T8" fmla="*/ 56 w 72"/>
                  <a:gd name="T9" fmla="*/ 231 h 240"/>
                  <a:gd name="T10" fmla="*/ 9 w 72"/>
                  <a:gd name="T11" fmla="*/ 118 h 240"/>
                  <a:gd name="T12" fmla="*/ 20 w 72"/>
                  <a:gd name="T13" fmla="*/ 60 h 240"/>
                  <a:gd name="T14" fmla="*/ 70 w 72"/>
                  <a:gd name="T15" fmla="*/ 5 h 240"/>
                  <a:gd name="T16" fmla="*/ 67 w 72"/>
                  <a:gd name="T17" fmla="*/ 2 h 2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72" h="240">
                    <a:moveTo>
                      <a:pt x="67" y="2"/>
                    </a:moveTo>
                    <a:cubicBezTo>
                      <a:pt x="49" y="17"/>
                      <a:pt x="28" y="33"/>
                      <a:pt x="15" y="53"/>
                    </a:cubicBezTo>
                    <a:cubicBezTo>
                      <a:pt x="3" y="72"/>
                      <a:pt x="0" y="93"/>
                      <a:pt x="1" y="115"/>
                    </a:cubicBezTo>
                    <a:cubicBezTo>
                      <a:pt x="1" y="160"/>
                      <a:pt x="17" y="206"/>
                      <a:pt x="50" y="237"/>
                    </a:cubicBezTo>
                    <a:cubicBezTo>
                      <a:pt x="54" y="240"/>
                      <a:pt x="60" y="235"/>
                      <a:pt x="56" y="231"/>
                    </a:cubicBezTo>
                    <a:cubicBezTo>
                      <a:pt x="27" y="199"/>
                      <a:pt x="11" y="162"/>
                      <a:pt x="9" y="118"/>
                    </a:cubicBezTo>
                    <a:cubicBezTo>
                      <a:pt x="8" y="98"/>
                      <a:pt x="10" y="78"/>
                      <a:pt x="20" y="60"/>
                    </a:cubicBezTo>
                    <a:cubicBezTo>
                      <a:pt x="33" y="38"/>
                      <a:pt x="55" y="24"/>
                      <a:pt x="70" y="5"/>
                    </a:cubicBezTo>
                    <a:cubicBezTo>
                      <a:pt x="72" y="3"/>
                      <a:pt x="69" y="0"/>
                      <a:pt x="67" y="2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969" name="Freeform 282">
                <a:extLst>
                  <a:ext uri="{FF2B5EF4-FFF2-40B4-BE49-F238E27FC236}">
                    <a16:creationId xmlns:a16="http://schemas.microsoft.com/office/drawing/2014/main" id="{88C5F27A-0C27-4F38-A236-C2AC94AE0756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7159" y="3359"/>
                <a:ext cx="57" cy="247"/>
              </a:xfrm>
              <a:custGeom>
                <a:avLst/>
                <a:gdLst>
                  <a:gd name="T0" fmla="*/ 15 w 54"/>
                  <a:gd name="T1" fmla="*/ 5 h 233"/>
                  <a:gd name="T2" fmla="*/ 5 w 54"/>
                  <a:gd name="T3" fmla="*/ 64 h 233"/>
                  <a:gd name="T4" fmla="*/ 3 w 54"/>
                  <a:gd name="T5" fmla="*/ 124 h 233"/>
                  <a:gd name="T6" fmla="*/ 44 w 54"/>
                  <a:gd name="T7" fmla="*/ 229 h 233"/>
                  <a:gd name="T8" fmla="*/ 50 w 54"/>
                  <a:gd name="T9" fmla="*/ 224 h 233"/>
                  <a:gd name="T10" fmla="*/ 11 w 54"/>
                  <a:gd name="T11" fmla="*/ 82 h 233"/>
                  <a:gd name="T12" fmla="*/ 24 w 54"/>
                  <a:gd name="T13" fmla="*/ 23 h 233"/>
                  <a:gd name="T14" fmla="*/ 18 w 54"/>
                  <a:gd name="T15" fmla="*/ 2 h 233"/>
                  <a:gd name="T16" fmla="*/ 15 w 54"/>
                  <a:gd name="T17" fmla="*/ 5 h 2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4" h="233">
                    <a:moveTo>
                      <a:pt x="15" y="5"/>
                    </a:moveTo>
                    <a:cubicBezTo>
                      <a:pt x="27" y="16"/>
                      <a:pt x="8" y="50"/>
                      <a:pt x="5" y="64"/>
                    </a:cubicBezTo>
                    <a:cubicBezTo>
                      <a:pt x="1" y="83"/>
                      <a:pt x="0" y="105"/>
                      <a:pt x="3" y="124"/>
                    </a:cubicBezTo>
                    <a:cubicBezTo>
                      <a:pt x="8" y="162"/>
                      <a:pt x="14" y="203"/>
                      <a:pt x="44" y="229"/>
                    </a:cubicBezTo>
                    <a:cubicBezTo>
                      <a:pt x="48" y="233"/>
                      <a:pt x="54" y="228"/>
                      <a:pt x="50" y="224"/>
                    </a:cubicBezTo>
                    <a:cubicBezTo>
                      <a:pt x="15" y="187"/>
                      <a:pt x="8" y="132"/>
                      <a:pt x="11" y="82"/>
                    </a:cubicBezTo>
                    <a:cubicBezTo>
                      <a:pt x="12" y="61"/>
                      <a:pt x="21" y="44"/>
                      <a:pt x="24" y="23"/>
                    </a:cubicBezTo>
                    <a:cubicBezTo>
                      <a:pt x="26" y="14"/>
                      <a:pt x="25" y="7"/>
                      <a:pt x="18" y="2"/>
                    </a:cubicBezTo>
                    <a:cubicBezTo>
                      <a:pt x="15" y="0"/>
                      <a:pt x="13" y="3"/>
                      <a:pt x="15" y="5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970" name="Freeform 283">
                <a:extLst>
                  <a:ext uri="{FF2B5EF4-FFF2-40B4-BE49-F238E27FC236}">
                    <a16:creationId xmlns:a16="http://schemas.microsoft.com/office/drawing/2014/main" id="{1FABCB91-872D-4B45-9845-6D4E658B8947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789" y="3592"/>
                <a:ext cx="440" cy="41"/>
              </a:xfrm>
              <a:custGeom>
                <a:avLst/>
                <a:gdLst>
                  <a:gd name="T0" fmla="*/ 395 w 415"/>
                  <a:gd name="T1" fmla="*/ 3 h 39"/>
                  <a:gd name="T2" fmla="*/ 297 w 415"/>
                  <a:gd name="T3" fmla="*/ 26 h 39"/>
                  <a:gd name="T4" fmla="*/ 197 w 415"/>
                  <a:gd name="T5" fmla="*/ 28 h 39"/>
                  <a:gd name="T6" fmla="*/ 91 w 415"/>
                  <a:gd name="T7" fmla="*/ 31 h 39"/>
                  <a:gd name="T8" fmla="*/ 6 w 415"/>
                  <a:gd name="T9" fmla="*/ 8 h 39"/>
                  <a:gd name="T10" fmla="*/ 2 w 415"/>
                  <a:gd name="T11" fmla="*/ 11 h 39"/>
                  <a:gd name="T12" fmla="*/ 75 w 415"/>
                  <a:gd name="T13" fmla="*/ 38 h 39"/>
                  <a:gd name="T14" fmla="*/ 220 w 415"/>
                  <a:gd name="T15" fmla="*/ 35 h 39"/>
                  <a:gd name="T16" fmla="*/ 290 w 415"/>
                  <a:gd name="T17" fmla="*/ 33 h 39"/>
                  <a:gd name="T18" fmla="*/ 359 w 415"/>
                  <a:gd name="T19" fmla="*/ 32 h 39"/>
                  <a:gd name="T20" fmla="*/ 398 w 415"/>
                  <a:gd name="T21" fmla="*/ 1 h 39"/>
                  <a:gd name="T22" fmla="*/ 395 w 415"/>
                  <a:gd name="T23" fmla="*/ 3 h 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15" h="39">
                    <a:moveTo>
                      <a:pt x="395" y="3"/>
                    </a:moveTo>
                    <a:cubicBezTo>
                      <a:pt x="411" y="31"/>
                      <a:pt x="308" y="27"/>
                      <a:pt x="297" y="26"/>
                    </a:cubicBezTo>
                    <a:cubicBezTo>
                      <a:pt x="263" y="25"/>
                      <a:pt x="230" y="27"/>
                      <a:pt x="197" y="28"/>
                    </a:cubicBezTo>
                    <a:cubicBezTo>
                      <a:pt x="161" y="29"/>
                      <a:pt x="126" y="31"/>
                      <a:pt x="91" y="31"/>
                    </a:cubicBezTo>
                    <a:cubicBezTo>
                      <a:pt x="59" y="30"/>
                      <a:pt x="31" y="32"/>
                      <a:pt x="6" y="8"/>
                    </a:cubicBezTo>
                    <a:cubicBezTo>
                      <a:pt x="4" y="6"/>
                      <a:pt x="0" y="8"/>
                      <a:pt x="2" y="11"/>
                    </a:cubicBezTo>
                    <a:cubicBezTo>
                      <a:pt x="15" y="38"/>
                      <a:pt x="50" y="38"/>
                      <a:pt x="75" y="38"/>
                    </a:cubicBezTo>
                    <a:cubicBezTo>
                      <a:pt x="123" y="39"/>
                      <a:pt x="171" y="36"/>
                      <a:pt x="220" y="35"/>
                    </a:cubicBezTo>
                    <a:cubicBezTo>
                      <a:pt x="243" y="35"/>
                      <a:pt x="266" y="32"/>
                      <a:pt x="290" y="33"/>
                    </a:cubicBezTo>
                    <a:cubicBezTo>
                      <a:pt x="313" y="33"/>
                      <a:pt x="336" y="35"/>
                      <a:pt x="359" y="32"/>
                    </a:cubicBezTo>
                    <a:cubicBezTo>
                      <a:pt x="375" y="31"/>
                      <a:pt x="415" y="24"/>
                      <a:pt x="398" y="1"/>
                    </a:cubicBezTo>
                    <a:cubicBezTo>
                      <a:pt x="397" y="0"/>
                      <a:pt x="395" y="1"/>
                      <a:pt x="395" y="3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971" name="Freeform 284">
                <a:extLst>
                  <a:ext uri="{FF2B5EF4-FFF2-40B4-BE49-F238E27FC236}">
                    <a16:creationId xmlns:a16="http://schemas.microsoft.com/office/drawing/2014/main" id="{BAB0CB23-3D53-4B0D-90F3-67C550A2CB90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7122" y="3384"/>
                <a:ext cx="42" cy="218"/>
              </a:xfrm>
              <a:custGeom>
                <a:avLst/>
                <a:gdLst>
                  <a:gd name="T0" fmla="*/ 26 w 40"/>
                  <a:gd name="T1" fmla="*/ 2 h 206"/>
                  <a:gd name="T2" fmla="*/ 8 w 40"/>
                  <a:gd name="T3" fmla="*/ 98 h 206"/>
                  <a:gd name="T4" fmla="*/ 36 w 40"/>
                  <a:gd name="T5" fmla="*/ 204 h 206"/>
                  <a:gd name="T6" fmla="*/ 39 w 40"/>
                  <a:gd name="T7" fmla="*/ 202 h 206"/>
                  <a:gd name="T8" fmla="*/ 28 w 40"/>
                  <a:gd name="T9" fmla="*/ 3 h 206"/>
                  <a:gd name="T10" fmla="*/ 26 w 40"/>
                  <a:gd name="T11" fmla="*/ 2 h 2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0" h="206">
                    <a:moveTo>
                      <a:pt x="26" y="2"/>
                    </a:moveTo>
                    <a:cubicBezTo>
                      <a:pt x="10" y="31"/>
                      <a:pt x="6" y="65"/>
                      <a:pt x="8" y="98"/>
                    </a:cubicBezTo>
                    <a:cubicBezTo>
                      <a:pt x="9" y="133"/>
                      <a:pt x="17" y="174"/>
                      <a:pt x="36" y="204"/>
                    </a:cubicBezTo>
                    <a:cubicBezTo>
                      <a:pt x="37" y="206"/>
                      <a:pt x="40" y="204"/>
                      <a:pt x="39" y="202"/>
                    </a:cubicBezTo>
                    <a:cubicBezTo>
                      <a:pt x="8" y="142"/>
                      <a:pt x="0" y="66"/>
                      <a:pt x="28" y="3"/>
                    </a:cubicBezTo>
                    <a:cubicBezTo>
                      <a:pt x="29" y="1"/>
                      <a:pt x="27" y="0"/>
                      <a:pt x="26" y="2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972" name="Freeform 285">
                <a:extLst>
                  <a:ext uri="{FF2B5EF4-FFF2-40B4-BE49-F238E27FC236}">
                    <a16:creationId xmlns:a16="http://schemas.microsoft.com/office/drawing/2014/main" id="{1FAA7B76-0ADB-4A2E-B63E-C6C523A7B5E7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7144" y="3536"/>
                <a:ext cx="26" cy="22"/>
              </a:xfrm>
              <a:custGeom>
                <a:avLst/>
                <a:gdLst>
                  <a:gd name="T0" fmla="*/ 23 w 25"/>
                  <a:gd name="T1" fmla="*/ 2 h 21"/>
                  <a:gd name="T2" fmla="*/ 2 w 25"/>
                  <a:gd name="T3" fmla="*/ 17 h 21"/>
                  <a:gd name="T4" fmla="*/ 3 w 25"/>
                  <a:gd name="T5" fmla="*/ 20 h 21"/>
                  <a:gd name="T6" fmla="*/ 25 w 25"/>
                  <a:gd name="T7" fmla="*/ 3 h 21"/>
                  <a:gd name="T8" fmla="*/ 23 w 25"/>
                  <a:gd name="T9" fmla="*/ 2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5" h="21">
                    <a:moveTo>
                      <a:pt x="23" y="2"/>
                    </a:moveTo>
                    <a:cubicBezTo>
                      <a:pt x="17" y="9"/>
                      <a:pt x="11" y="13"/>
                      <a:pt x="2" y="17"/>
                    </a:cubicBezTo>
                    <a:cubicBezTo>
                      <a:pt x="0" y="18"/>
                      <a:pt x="1" y="21"/>
                      <a:pt x="3" y="20"/>
                    </a:cubicBezTo>
                    <a:cubicBezTo>
                      <a:pt x="13" y="18"/>
                      <a:pt x="19" y="10"/>
                      <a:pt x="25" y="3"/>
                    </a:cubicBezTo>
                    <a:cubicBezTo>
                      <a:pt x="25" y="2"/>
                      <a:pt x="24" y="0"/>
                      <a:pt x="23" y="2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973" name="Freeform 286">
                <a:extLst>
                  <a:ext uri="{FF2B5EF4-FFF2-40B4-BE49-F238E27FC236}">
                    <a16:creationId xmlns:a16="http://schemas.microsoft.com/office/drawing/2014/main" id="{06D881AD-2D11-44CB-AF90-41641478784E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770" y="3554"/>
                <a:ext cx="373" cy="20"/>
              </a:xfrm>
              <a:custGeom>
                <a:avLst/>
                <a:gdLst>
                  <a:gd name="T0" fmla="*/ 351 w 352"/>
                  <a:gd name="T1" fmla="*/ 0 h 19"/>
                  <a:gd name="T2" fmla="*/ 178 w 352"/>
                  <a:gd name="T3" fmla="*/ 6 h 19"/>
                  <a:gd name="T4" fmla="*/ 4 w 352"/>
                  <a:gd name="T5" fmla="*/ 8 h 19"/>
                  <a:gd name="T6" fmla="*/ 4 w 352"/>
                  <a:gd name="T7" fmla="*/ 15 h 19"/>
                  <a:gd name="T8" fmla="*/ 185 w 352"/>
                  <a:gd name="T9" fmla="*/ 11 h 19"/>
                  <a:gd name="T10" fmla="*/ 267 w 352"/>
                  <a:gd name="T11" fmla="*/ 6 h 19"/>
                  <a:gd name="T12" fmla="*/ 351 w 352"/>
                  <a:gd name="T13" fmla="*/ 2 h 19"/>
                  <a:gd name="T14" fmla="*/ 351 w 352"/>
                  <a:gd name="T15" fmla="*/ 0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52" h="19">
                    <a:moveTo>
                      <a:pt x="351" y="0"/>
                    </a:moveTo>
                    <a:cubicBezTo>
                      <a:pt x="293" y="1"/>
                      <a:pt x="235" y="5"/>
                      <a:pt x="178" y="6"/>
                    </a:cubicBezTo>
                    <a:cubicBezTo>
                      <a:pt x="120" y="8"/>
                      <a:pt x="62" y="8"/>
                      <a:pt x="4" y="8"/>
                    </a:cubicBezTo>
                    <a:cubicBezTo>
                      <a:pt x="0" y="8"/>
                      <a:pt x="0" y="15"/>
                      <a:pt x="4" y="15"/>
                    </a:cubicBezTo>
                    <a:cubicBezTo>
                      <a:pt x="64" y="19"/>
                      <a:pt x="124" y="14"/>
                      <a:pt x="185" y="11"/>
                    </a:cubicBezTo>
                    <a:cubicBezTo>
                      <a:pt x="212" y="10"/>
                      <a:pt x="240" y="9"/>
                      <a:pt x="267" y="6"/>
                    </a:cubicBezTo>
                    <a:cubicBezTo>
                      <a:pt x="295" y="4"/>
                      <a:pt x="324" y="5"/>
                      <a:pt x="351" y="2"/>
                    </a:cubicBezTo>
                    <a:cubicBezTo>
                      <a:pt x="352" y="2"/>
                      <a:pt x="352" y="0"/>
                      <a:pt x="351" y="0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974" name="Freeform 287">
                <a:extLst>
                  <a:ext uri="{FF2B5EF4-FFF2-40B4-BE49-F238E27FC236}">
                    <a16:creationId xmlns:a16="http://schemas.microsoft.com/office/drawing/2014/main" id="{736A88C6-04EC-43B9-BC48-7339D9E9671B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654" y="3284"/>
                <a:ext cx="169" cy="322"/>
              </a:xfrm>
              <a:custGeom>
                <a:avLst/>
                <a:gdLst>
                  <a:gd name="T0" fmla="*/ 157 w 159"/>
                  <a:gd name="T1" fmla="*/ 4 h 304"/>
                  <a:gd name="T2" fmla="*/ 122 w 159"/>
                  <a:gd name="T3" fmla="*/ 5 h 304"/>
                  <a:gd name="T4" fmla="*/ 100 w 159"/>
                  <a:gd name="T5" fmla="*/ 25 h 304"/>
                  <a:gd name="T6" fmla="*/ 28 w 159"/>
                  <a:gd name="T7" fmla="*/ 114 h 304"/>
                  <a:gd name="T8" fmla="*/ 6 w 159"/>
                  <a:gd name="T9" fmla="*/ 215 h 304"/>
                  <a:gd name="T10" fmla="*/ 47 w 159"/>
                  <a:gd name="T11" fmla="*/ 301 h 304"/>
                  <a:gd name="T12" fmla="*/ 52 w 159"/>
                  <a:gd name="T13" fmla="*/ 295 h 304"/>
                  <a:gd name="T14" fmla="*/ 12 w 159"/>
                  <a:gd name="T15" fmla="*/ 207 h 304"/>
                  <a:gd name="T16" fmla="*/ 36 w 159"/>
                  <a:gd name="T17" fmla="*/ 114 h 304"/>
                  <a:gd name="T18" fmla="*/ 90 w 159"/>
                  <a:gd name="T19" fmla="*/ 46 h 304"/>
                  <a:gd name="T20" fmla="*/ 110 w 159"/>
                  <a:gd name="T21" fmla="*/ 21 h 304"/>
                  <a:gd name="T22" fmla="*/ 157 w 159"/>
                  <a:gd name="T23" fmla="*/ 7 h 304"/>
                  <a:gd name="T24" fmla="*/ 157 w 159"/>
                  <a:gd name="T25" fmla="*/ 4 h 3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59" h="304">
                    <a:moveTo>
                      <a:pt x="157" y="4"/>
                    </a:moveTo>
                    <a:cubicBezTo>
                      <a:pt x="145" y="3"/>
                      <a:pt x="133" y="0"/>
                      <a:pt x="122" y="5"/>
                    </a:cubicBezTo>
                    <a:cubicBezTo>
                      <a:pt x="112" y="9"/>
                      <a:pt x="106" y="18"/>
                      <a:pt x="100" y="25"/>
                    </a:cubicBezTo>
                    <a:cubicBezTo>
                      <a:pt x="75" y="53"/>
                      <a:pt x="44" y="79"/>
                      <a:pt x="28" y="114"/>
                    </a:cubicBezTo>
                    <a:cubicBezTo>
                      <a:pt x="13" y="146"/>
                      <a:pt x="0" y="178"/>
                      <a:pt x="6" y="215"/>
                    </a:cubicBezTo>
                    <a:cubicBezTo>
                      <a:pt x="11" y="248"/>
                      <a:pt x="21" y="278"/>
                      <a:pt x="47" y="301"/>
                    </a:cubicBezTo>
                    <a:cubicBezTo>
                      <a:pt x="51" y="304"/>
                      <a:pt x="55" y="298"/>
                      <a:pt x="52" y="295"/>
                    </a:cubicBezTo>
                    <a:cubicBezTo>
                      <a:pt x="27" y="272"/>
                      <a:pt x="16" y="241"/>
                      <a:pt x="12" y="207"/>
                    </a:cubicBezTo>
                    <a:cubicBezTo>
                      <a:pt x="9" y="174"/>
                      <a:pt x="22" y="143"/>
                      <a:pt x="36" y="114"/>
                    </a:cubicBezTo>
                    <a:cubicBezTo>
                      <a:pt x="49" y="87"/>
                      <a:pt x="72" y="68"/>
                      <a:pt x="90" y="46"/>
                    </a:cubicBezTo>
                    <a:cubicBezTo>
                      <a:pt x="97" y="38"/>
                      <a:pt x="103" y="30"/>
                      <a:pt x="110" y="21"/>
                    </a:cubicBezTo>
                    <a:cubicBezTo>
                      <a:pt x="122" y="5"/>
                      <a:pt x="138" y="7"/>
                      <a:pt x="157" y="7"/>
                    </a:cubicBezTo>
                    <a:cubicBezTo>
                      <a:pt x="159" y="7"/>
                      <a:pt x="159" y="5"/>
                      <a:pt x="157" y="4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975" name="Freeform 288">
                <a:extLst>
                  <a:ext uri="{FF2B5EF4-FFF2-40B4-BE49-F238E27FC236}">
                    <a16:creationId xmlns:a16="http://schemas.microsoft.com/office/drawing/2014/main" id="{8B0ADDE5-8EE6-40E6-B2CD-8C8FE57DDED0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700" y="3596"/>
                <a:ext cx="98" cy="14"/>
              </a:xfrm>
              <a:custGeom>
                <a:avLst/>
                <a:gdLst>
                  <a:gd name="T0" fmla="*/ 90 w 93"/>
                  <a:gd name="T1" fmla="*/ 7 h 13"/>
                  <a:gd name="T2" fmla="*/ 4 w 93"/>
                  <a:gd name="T3" fmla="*/ 1 h 13"/>
                  <a:gd name="T4" fmla="*/ 3 w 93"/>
                  <a:gd name="T5" fmla="*/ 7 h 13"/>
                  <a:gd name="T6" fmla="*/ 52 w 93"/>
                  <a:gd name="T7" fmla="*/ 11 h 13"/>
                  <a:gd name="T8" fmla="*/ 91 w 93"/>
                  <a:gd name="T9" fmla="*/ 10 h 13"/>
                  <a:gd name="T10" fmla="*/ 90 w 93"/>
                  <a:gd name="T11" fmla="*/ 7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93" h="13">
                    <a:moveTo>
                      <a:pt x="90" y="7"/>
                    </a:moveTo>
                    <a:cubicBezTo>
                      <a:pt x="62" y="7"/>
                      <a:pt x="32" y="3"/>
                      <a:pt x="4" y="1"/>
                    </a:cubicBezTo>
                    <a:cubicBezTo>
                      <a:pt x="0" y="0"/>
                      <a:pt x="0" y="6"/>
                      <a:pt x="3" y="7"/>
                    </a:cubicBezTo>
                    <a:cubicBezTo>
                      <a:pt x="19" y="10"/>
                      <a:pt x="36" y="10"/>
                      <a:pt x="52" y="11"/>
                    </a:cubicBezTo>
                    <a:cubicBezTo>
                      <a:pt x="64" y="12"/>
                      <a:pt x="79" y="13"/>
                      <a:pt x="91" y="10"/>
                    </a:cubicBezTo>
                    <a:cubicBezTo>
                      <a:pt x="93" y="10"/>
                      <a:pt x="93" y="7"/>
                      <a:pt x="90" y="7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976" name="Freeform 289">
                <a:extLst>
                  <a:ext uri="{FF2B5EF4-FFF2-40B4-BE49-F238E27FC236}">
                    <a16:creationId xmlns:a16="http://schemas.microsoft.com/office/drawing/2014/main" id="{CCB84E3D-A196-4D1C-AD4B-C000E7816A9D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680" y="3553"/>
                <a:ext cx="69" cy="7"/>
              </a:xfrm>
              <a:custGeom>
                <a:avLst/>
                <a:gdLst>
                  <a:gd name="T0" fmla="*/ 65 w 65"/>
                  <a:gd name="T1" fmla="*/ 1 h 7"/>
                  <a:gd name="T2" fmla="*/ 3 w 65"/>
                  <a:gd name="T3" fmla="*/ 1 h 7"/>
                  <a:gd name="T4" fmla="*/ 3 w 65"/>
                  <a:gd name="T5" fmla="*/ 5 h 7"/>
                  <a:gd name="T6" fmla="*/ 65 w 65"/>
                  <a:gd name="T7" fmla="*/ 2 h 7"/>
                  <a:gd name="T8" fmla="*/ 65 w 65"/>
                  <a:gd name="T9" fmla="*/ 1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5" h="7">
                    <a:moveTo>
                      <a:pt x="65" y="1"/>
                    </a:moveTo>
                    <a:cubicBezTo>
                      <a:pt x="44" y="3"/>
                      <a:pt x="23" y="0"/>
                      <a:pt x="3" y="1"/>
                    </a:cubicBezTo>
                    <a:cubicBezTo>
                      <a:pt x="1" y="1"/>
                      <a:pt x="0" y="5"/>
                      <a:pt x="3" y="5"/>
                    </a:cubicBezTo>
                    <a:cubicBezTo>
                      <a:pt x="23" y="7"/>
                      <a:pt x="45" y="6"/>
                      <a:pt x="65" y="2"/>
                    </a:cubicBezTo>
                    <a:cubicBezTo>
                      <a:pt x="65" y="2"/>
                      <a:pt x="65" y="1"/>
                      <a:pt x="65" y="1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977" name="Freeform 290">
                <a:extLst>
                  <a:ext uri="{FF2B5EF4-FFF2-40B4-BE49-F238E27FC236}">
                    <a16:creationId xmlns:a16="http://schemas.microsoft.com/office/drawing/2014/main" id="{AE9C8255-94E9-4C9A-9115-7CADC047F72C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814" y="3147"/>
                <a:ext cx="144" cy="147"/>
              </a:xfrm>
              <a:custGeom>
                <a:avLst/>
                <a:gdLst>
                  <a:gd name="T0" fmla="*/ 103 w 136"/>
                  <a:gd name="T1" fmla="*/ 5 h 139"/>
                  <a:gd name="T2" fmla="*/ 122 w 136"/>
                  <a:gd name="T3" fmla="*/ 8 h 139"/>
                  <a:gd name="T4" fmla="*/ 123 w 136"/>
                  <a:gd name="T5" fmla="*/ 14 h 139"/>
                  <a:gd name="T6" fmla="*/ 86 w 136"/>
                  <a:gd name="T7" fmla="*/ 58 h 139"/>
                  <a:gd name="T8" fmla="*/ 53 w 136"/>
                  <a:gd name="T9" fmla="*/ 103 h 139"/>
                  <a:gd name="T10" fmla="*/ 33 w 136"/>
                  <a:gd name="T11" fmla="*/ 124 h 139"/>
                  <a:gd name="T12" fmla="*/ 2 w 136"/>
                  <a:gd name="T13" fmla="*/ 133 h 139"/>
                  <a:gd name="T14" fmla="*/ 3 w 136"/>
                  <a:gd name="T15" fmla="*/ 138 h 139"/>
                  <a:gd name="T16" fmla="*/ 38 w 136"/>
                  <a:gd name="T17" fmla="*/ 130 h 139"/>
                  <a:gd name="T18" fmla="*/ 69 w 136"/>
                  <a:gd name="T19" fmla="*/ 93 h 139"/>
                  <a:gd name="T20" fmla="*/ 105 w 136"/>
                  <a:gd name="T21" fmla="*/ 45 h 139"/>
                  <a:gd name="T22" fmla="*/ 135 w 136"/>
                  <a:gd name="T23" fmla="*/ 8 h 139"/>
                  <a:gd name="T24" fmla="*/ 134 w 136"/>
                  <a:gd name="T25" fmla="*/ 4 h 139"/>
                  <a:gd name="T26" fmla="*/ 104 w 136"/>
                  <a:gd name="T27" fmla="*/ 4 h 139"/>
                  <a:gd name="T28" fmla="*/ 103 w 136"/>
                  <a:gd name="T29" fmla="*/ 5 h 1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136" h="139">
                    <a:moveTo>
                      <a:pt x="103" y="5"/>
                    </a:moveTo>
                    <a:cubicBezTo>
                      <a:pt x="109" y="8"/>
                      <a:pt x="116" y="6"/>
                      <a:pt x="122" y="8"/>
                    </a:cubicBezTo>
                    <a:cubicBezTo>
                      <a:pt x="129" y="10"/>
                      <a:pt x="129" y="7"/>
                      <a:pt x="123" y="14"/>
                    </a:cubicBezTo>
                    <a:cubicBezTo>
                      <a:pt x="111" y="29"/>
                      <a:pt x="98" y="43"/>
                      <a:pt x="86" y="58"/>
                    </a:cubicBezTo>
                    <a:cubicBezTo>
                      <a:pt x="75" y="73"/>
                      <a:pt x="64" y="88"/>
                      <a:pt x="53" y="103"/>
                    </a:cubicBezTo>
                    <a:cubicBezTo>
                      <a:pt x="47" y="110"/>
                      <a:pt x="41" y="119"/>
                      <a:pt x="33" y="124"/>
                    </a:cubicBezTo>
                    <a:cubicBezTo>
                      <a:pt x="23" y="132"/>
                      <a:pt x="13" y="129"/>
                      <a:pt x="2" y="133"/>
                    </a:cubicBezTo>
                    <a:cubicBezTo>
                      <a:pt x="0" y="134"/>
                      <a:pt x="0" y="138"/>
                      <a:pt x="3" y="138"/>
                    </a:cubicBezTo>
                    <a:cubicBezTo>
                      <a:pt x="16" y="139"/>
                      <a:pt x="27" y="138"/>
                      <a:pt x="38" y="130"/>
                    </a:cubicBezTo>
                    <a:cubicBezTo>
                      <a:pt x="51" y="120"/>
                      <a:pt x="60" y="105"/>
                      <a:pt x="69" y="93"/>
                    </a:cubicBezTo>
                    <a:cubicBezTo>
                      <a:pt x="81" y="77"/>
                      <a:pt x="93" y="61"/>
                      <a:pt x="105" y="45"/>
                    </a:cubicBezTo>
                    <a:cubicBezTo>
                      <a:pt x="115" y="33"/>
                      <a:pt x="129" y="22"/>
                      <a:pt x="135" y="8"/>
                    </a:cubicBezTo>
                    <a:cubicBezTo>
                      <a:pt x="136" y="6"/>
                      <a:pt x="135" y="5"/>
                      <a:pt x="134" y="4"/>
                    </a:cubicBezTo>
                    <a:cubicBezTo>
                      <a:pt x="126" y="0"/>
                      <a:pt x="113" y="6"/>
                      <a:pt x="104" y="4"/>
                    </a:cubicBezTo>
                    <a:cubicBezTo>
                      <a:pt x="103" y="4"/>
                      <a:pt x="102" y="5"/>
                      <a:pt x="103" y="5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978" name="Freeform 291">
                <a:extLst>
                  <a:ext uri="{FF2B5EF4-FFF2-40B4-BE49-F238E27FC236}">
                    <a16:creationId xmlns:a16="http://schemas.microsoft.com/office/drawing/2014/main" id="{B3DA1D2E-79AE-40FF-B353-0F0C0A3183D5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707" y="3375"/>
                <a:ext cx="54" cy="14"/>
              </a:xfrm>
              <a:custGeom>
                <a:avLst/>
                <a:gdLst>
                  <a:gd name="T0" fmla="*/ 48 w 51"/>
                  <a:gd name="T1" fmla="*/ 5 h 13"/>
                  <a:gd name="T2" fmla="*/ 2 w 51"/>
                  <a:gd name="T3" fmla="*/ 6 h 13"/>
                  <a:gd name="T4" fmla="*/ 3 w 51"/>
                  <a:gd name="T5" fmla="*/ 10 h 13"/>
                  <a:gd name="T6" fmla="*/ 49 w 51"/>
                  <a:gd name="T7" fmla="*/ 10 h 13"/>
                  <a:gd name="T8" fmla="*/ 48 w 51"/>
                  <a:gd name="T9" fmla="*/ 5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1" h="13">
                    <a:moveTo>
                      <a:pt x="48" y="5"/>
                    </a:moveTo>
                    <a:cubicBezTo>
                      <a:pt x="33" y="7"/>
                      <a:pt x="17" y="0"/>
                      <a:pt x="2" y="6"/>
                    </a:cubicBezTo>
                    <a:cubicBezTo>
                      <a:pt x="0" y="7"/>
                      <a:pt x="1" y="10"/>
                      <a:pt x="3" y="10"/>
                    </a:cubicBezTo>
                    <a:cubicBezTo>
                      <a:pt x="18" y="9"/>
                      <a:pt x="34" y="13"/>
                      <a:pt x="49" y="10"/>
                    </a:cubicBezTo>
                    <a:cubicBezTo>
                      <a:pt x="51" y="9"/>
                      <a:pt x="50" y="5"/>
                      <a:pt x="48" y="5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979" name="Freeform 292">
                <a:extLst>
                  <a:ext uri="{FF2B5EF4-FFF2-40B4-BE49-F238E27FC236}">
                    <a16:creationId xmlns:a16="http://schemas.microsoft.com/office/drawing/2014/main" id="{5777D000-097B-4B77-9D1F-9AD7262B9625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924" y="3110"/>
                <a:ext cx="36" cy="45"/>
              </a:xfrm>
              <a:custGeom>
                <a:avLst/>
                <a:gdLst>
                  <a:gd name="T0" fmla="*/ 28 w 34"/>
                  <a:gd name="T1" fmla="*/ 2 h 42"/>
                  <a:gd name="T2" fmla="*/ 14 w 34"/>
                  <a:gd name="T3" fmla="*/ 18 h 42"/>
                  <a:gd name="T4" fmla="*/ 1 w 34"/>
                  <a:gd name="T5" fmla="*/ 36 h 42"/>
                  <a:gd name="T6" fmla="*/ 6 w 34"/>
                  <a:gd name="T7" fmla="*/ 39 h 42"/>
                  <a:gd name="T8" fmla="*/ 32 w 34"/>
                  <a:gd name="T9" fmla="*/ 6 h 42"/>
                  <a:gd name="T10" fmla="*/ 28 w 34"/>
                  <a:gd name="T11" fmla="*/ 2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4" h="42">
                    <a:moveTo>
                      <a:pt x="28" y="2"/>
                    </a:moveTo>
                    <a:cubicBezTo>
                      <a:pt x="22" y="7"/>
                      <a:pt x="18" y="12"/>
                      <a:pt x="14" y="18"/>
                    </a:cubicBezTo>
                    <a:cubicBezTo>
                      <a:pt x="10" y="24"/>
                      <a:pt x="4" y="29"/>
                      <a:pt x="1" y="36"/>
                    </a:cubicBezTo>
                    <a:cubicBezTo>
                      <a:pt x="0" y="39"/>
                      <a:pt x="4" y="42"/>
                      <a:pt x="6" y="39"/>
                    </a:cubicBezTo>
                    <a:cubicBezTo>
                      <a:pt x="14" y="29"/>
                      <a:pt x="22" y="16"/>
                      <a:pt x="32" y="6"/>
                    </a:cubicBezTo>
                    <a:cubicBezTo>
                      <a:pt x="34" y="4"/>
                      <a:pt x="30" y="0"/>
                      <a:pt x="28" y="2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980" name="Freeform 293">
                <a:extLst>
                  <a:ext uri="{FF2B5EF4-FFF2-40B4-BE49-F238E27FC236}">
                    <a16:creationId xmlns:a16="http://schemas.microsoft.com/office/drawing/2014/main" id="{61F6F8D6-3C65-4885-9481-8A416F538802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919" y="3149"/>
                <a:ext cx="11" cy="19"/>
              </a:xfrm>
              <a:custGeom>
                <a:avLst/>
                <a:gdLst>
                  <a:gd name="T0" fmla="*/ 7 w 10"/>
                  <a:gd name="T1" fmla="*/ 1 h 18"/>
                  <a:gd name="T2" fmla="*/ 0 w 10"/>
                  <a:gd name="T3" fmla="*/ 14 h 18"/>
                  <a:gd name="T4" fmla="*/ 6 w 10"/>
                  <a:gd name="T5" fmla="*/ 14 h 18"/>
                  <a:gd name="T6" fmla="*/ 9 w 10"/>
                  <a:gd name="T7" fmla="*/ 3 h 18"/>
                  <a:gd name="T8" fmla="*/ 7 w 10"/>
                  <a:gd name="T9" fmla="*/ 1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" h="18">
                    <a:moveTo>
                      <a:pt x="7" y="1"/>
                    </a:moveTo>
                    <a:cubicBezTo>
                      <a:pt x="2" y="3"/>
                      <a:pt x="0" y="9"/>
                      <a:pt x="0" y="14"/>
                    </a:cubicBezTo>
                    <a:cubicBezTo>
                      <a:pt x="0" y="18"/>
                      <a:pt x="5" y="18"/>
                      <a:pt x="6" y="14"/>
                    </a:cubicBezTo>
                    <a:cubicBezTo>
                      <a:pt x="6" y="10"/>
                      <a:pt x="5" y="6"/>
                      <a:pt x="9" y="3"/>
                    </a:cubicBezTo>
                    <a:cubicBezTo>
                      <a:pt x="10" y="2"/>
                      <a:pt x="8" y="0"/>
                      <a:pt x="7" y="1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981" name="Freeform 294">
                <a:extLst>
                  <a:ext uri="{FF2B5EF4-FFF2-40B4-BE49-F238E27FC236}">
                    <a16:creationId xmlns:a16="http://schemas.microsoft.com/office/drawing/2014/main" id="{760DB219-0B07-42F3-A00B-4E7E5DDC60F7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828" y="3151"/>
                <a:ext cx="123" cy="144"/>
              </a:xfrm>
              <a:custGeom>
                <a:avLst/>
                <a:gdLst>
                  <a:gd name="T0" fmla="*/ 113 w 116"/>
                  <a:gd name="T1" fmla="*/ 10 h 136"/>
                  <a:gd name="T2" fmla="*/ 52 w 116"/>
                  <a:gd name="T3" fmla="*/ 45 h 136"/>
                  <a:gd name="T4" fmla="*/ 0 w 116"/>
                  <a:gd name="T5" fmla="*/ 130 h 136"/>
                  <a:gd name="T6" fmla="*/ 7 w 116"/>
                  <a:gd name="T7" fmla="*/ 132 h 136"/>
                  <a:gd name="T8" fmla="*/ 57 w 116"/>
                  <a:gd name="T9" fmla="*/ 50 h 136"/>
                  <a:gd name="T10" fmla="*/ 112 w 116"/>
                  <a:gd name="T11" fmla="*/ 15 h 136"/>
                  <a:gd name="T12" fmla="*/ 113 w 116"/>
                  <a:gd name="T13" fmla="*/ 10 h 1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16" h="136">
                    <a:moveTo>
                      <a:pt x="113" y="10"/>
                    </a:moveTo>
                    <a:cubicBezTo>
                      <a:pt x="88" y="0"/>
                      <a:pt x="68" y="29"/>
                      <a:pt x="52" y="45"/>
                    </a:cubicBezTo>
                    <a:cubicBezTo>
                      <a:pt x="30" y="67"/>
                      <a:pt x="6" y="99"/>
                      <a:pt x="0" y="130"/>
                    </a:cubicBezTo>
                    <a:cubicBezTo>
                      <a:pt x="0" y="135"/>
                      <a:pt x="6" y="136"/>
                      <a:pt x="7" y="132"/>
                    </a:cubicBezTo>
                    <a:cubicBezTo>
                      <a:pt x="15" y="101"/>
                      <a:pt x="35" y="72"/>
                      <a:pt x="57" y="50"/>
                    </a:cubicBezTo>
                    <a:cubicBezTo>
                      <a:pt x="72" y="35"/>
                      <a:pt x="89" y="12"/>
                      <a:pt x="112" y="15"/>
                    </a:cubicBezTo>
                    <a:cubicBezTo>
                      <a:pt x="115" y="15"/>
                      <a:pt x="116" y="11"/>
                      <a:pt x="113" y="10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982" name="Freeform 295">
                <a:extLst>
                  <a:ext uri="{FF2B5EF4-FFF2-40B4-BE49-F238E27FC236}">
                    <a16:creationId xmlns:a16="http://schemas.microsoft.com/office/drawing/2014/main" id="{F4F8CA2B-6833-49A9-A42C-A0E26A53A838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7248" y="2986"/>
                <a:ext cx="278" cy="31"/>
              </a:xfrm>
              <a:custGeom>
                <a:avLst/>
                <a:gdLst>
                  <a:gd name="T0" fmla="*/ 261 w 263"/>
                  <a:gd name="T1" fmla="*/ 25 h 29"/>
                  <a:gd name="T2" fmla="*/ 227 w 263"/>
                  <a:gd name="T3" fmla="*/ 1 h 29"/>
                  <a:gd name="T4" fmla="*/ 148 w 263"/>
                  <a:gd name="T5" fmla="*/ 3 h 29"/>
                  <a:gd name="T6" fmla="*/ 1 w 263"/>
                  <a:gd name="T7" fmla="*/ 20 h 29"/>
                  <a:gd name="T8" fmla="*/ 1 w 263"/>
                  <a:gd name="T9" fmla="*/ 22 h 29"/>
                  <a:gd name="T10" fmla="*/ 77 w 263"/>
                  <a:gd name="T11" fmla="*/ 14 h 29"/>
                  <a:gd name="T12" fmla="*/ 148 w 263"/>
                  <a:gd name="T13" fmla="*/ 10 h 29"/>
                  <a:gd name="T14" fmla="*/ 214 w 263"/>
                  <a:gd name="T15" fmla="*/ 8 h 29"/>
                  <a:gd name="T16" fmla="*/ 250 w 263"/>
                  <a:gd name="T17" fmla="*/ 21 h 29"/>
                  <a:gd name="T18" fmla="*/ 259 w 263"/>
                  <a:gd name="T19" fmla="*/ 28 h 29"/>
                  <a:gd name="T20" fmla="*/ 261 w 263"/>
                  <a:gd name="T21" fmla="*/ 25 h 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263" h="29">
                    <a:moveTo>
                      <a:pt x="261" y="25"/>
                    </a:moveTo>
                    <a:cubicBezTo>
                      <a:pt x="248" y="15"/>
                      <a:pt x="245" y="2"/>
                      <a:pt x="227" y="1"/>
                    </a:cubicBezTo>
                    <a:cubicBezTo>
                      <a:pt x="201" y="0"/>
                      <a:pt x="174" y="3"/>
                      <a:pt x="148" y="3"/>
                    </a:cubicBezTo>
                    <a:cubicBezTo>
                      <a:pt x="99" y="2"/>
                      <a:pt x="48" y="8"/>
                      <a:pt x="1" y="20"/>
                    </a:cubicBezTo>
                    <a:cubicBezTo>
                      <a:pt x="0" y="21"/>
                      <a:pt x="0" y="22"/>
                      <a:pt x="1" y="22"/>
                    </a:cubicBezTo>
                    <a:cubicBezTo>
                      <a:pt x="26" y="17"/>
                      <a:pt x="52" y="17"/>
                      <a:pt x="77" y="14"/>
                    </a:cubicBezTo>
                    <a:cubicBezTo>
                      <a:pt x="101" y="11"/>
                      <a:pt x="124" y="10"/>
                      <a:pt x="148" y="10"/>
                    </a:cubicBezTo>
                    <a:cubicBezTo>
                      <a:pt x="170" y="10"/>
                      <a:pt x="192" y="9"/>
                      <a:pt x="214" y="8"/>
                    </a:cubicBezTo>
                    <a:cubicBezTo>
                      <a:pt x="229" y="8"/>
                      <a:pt x="239" y="11"/>
                      <a:pt x="250" y="21"/>
                    </a:cubicBezTo>
                    <a:cubicBezTo>
                      <a:pt x="253" y="25"/>
                      <a:pt x="255" y="27"/>
                      <a:pt x="259" y="28"/>
                    </a:cubicBezTo>
                    <a:cubicBezTo>
                      <a:pt x="262" y="29"/>
                      <a:pt x="263" y="26"/>
                      <a:pt x="261" y="25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983" name="Freeform 296">
                <a:extLst>
                  <a:ext uri="{FF2B5EF4-FFF2-40B4-BE49-F238E27FC236}">
                    <a16:creationId xmlns:a16="http://schemas.microsoft.com/office/drawing/2014/main" id="{C4CA86F4-9B47-4789-ADD3-90C57586B050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7303" y="3007"/>
                <a:ext cx="63" cy="35"/>
              </a:xfrm>
              <a:custGeom>
                <a:avLst/>
                <a:gdLst>
                  <a:gd name="T0" fmla="*/ 57 w 60"/>
                  <a:gd name="T1" fmla="*/ 1 h 33"/>
                  <a:gd name="T2" fmla="*/ 31 w 60"/>
                  <a:gd name="T3" fmla="*/ 14 h 33"/>
                  <a:gd name="T4" fmla="*/ 19 w 60"/>
                  <a:gd name="T5" fmla="*/ 21 h 33"/>
                  <a:gd name="T6" fmla="*/ 2 w 60"/>
                  <a:gd name="T7" fmla="*/ 29 h 33"/>
                  <a:gd name="T8" fmla="*/ 3 w 60"/>
                  <a:gd name="T9" fmla="*/ 33 h 33"/>
                  <a:gd name="T10" fmla="*/ 18 w 60"/>
                  <a:gd name="T11" fmla="*/ 31 h 33"/>
                  <a:gd name="T12" fmla="*/ 31 w 60"/>
                  <a:gd name="T13" fmla="*/ 21 h 33"/>
                  <a:gd name="T14" fmla="*/ 59 w 60"/>
                  <a:gd name="T15" fmla="*/ 3 h 33"/>
                  <a:gd name="T16" fmla="*/ 57 w 60"/>
                  <a:gd name="T17" fmla="*/ 1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60" h="33">
                    <a:moveTo>
                      <a:pt x="57" y="1"/>
                    </a:moveTo>
                    <a:cubicBezTo>
                      <a:pt x="50" y="8"/>
                      <a:pt x="40" y="10"/>
                      <a:pt x="31" y="14"/>
                    </a:cubicBezTo>
                    <a:cubicBezTo>
                      <a:pt x="27" y="16"/>
                      <a:pt x="23" y="19"/>
                      <a:pt x="19" y="21"/>
                    </a:cubicBezTo>
                    <a:cubicBezTo>
                      <a:pt x="14" y="25"/>
                      <a:pt x="8" y="27"/>
                      <a:pt x="2" y="29"/>
                    </a:cubicBezTo>
                    <a:cubicBezTo>
                      <a:pt x="0" y="30"/>
                      <a:pt x="0" y="33"/>
                      <a:pt x="3" y="33"/>
                    </a:cubicBezTo>
                    <a:cubicBezTo>
                      <a:pt x="7" y="33"/>
                      <a:pt x="13" y="33"/>
                      <a:pt x="18" y="31"/>
                    </a:cubicBezTo>
                    <a:cubicBezTo>
                      <a:pt x="22" y="29"/>
                      <a:pt x="26" y="24"/>
                      <a:pt x="31" y="21"/>
                    </a:cubicBezTo>
                    <a:cubicBezTo>
                      <a:pt x="41" y="15"/>
                      <a:pt x="52" y="14"/>
                      <a:pt x="59" y="3"/>
                    </a:cubicBezTo>
                    <a:cubicBezTo>
                      <a:pt x="60" y="1"/>
                      <a:pt x="58" y="0"/>
                      <a:pt x="57" y="1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984" name="Freeform 297">
                <a:extLst>
                  <a:ext uri="{FF2B5EF4-FFF2-40B4-BE49-F238E27FC236}">
                    <a16:creationId xmlns:a16="http://schemas.microsoft.com/office/drawing/2014/main" id="{6A8AAD1C-518B-4C86-8CF9-7975190606BB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7257" y="3038"/>
                <a:ext cx="18" cy="3"/>
              </a:xfrm>
              <a:custGeom>
                <a:avLst/>
                <a:gdLst>
                  <a:gd name="T0" fmla="*/ 16 w 17"/>
                  <a:gd name="T1" fmla="*/ 1 h 3"/>
                  <a:gd name="T2" fmla="*/ 1 w 17"/>
                  <a:gd name="T3" fmla="*/ 2 h 3"/>
                  <a:gd name="T4" fmla="*/ 1 w 17"/>
                  <a:gd name="T5" fmla="*/ 3 h 3"/>
                  <a:gd name="T6" fmla="*/ 16 w 17"/>
                  <a:gd name="T7" fmla="*/ 2 h 3"/>
                  <a:gd name="T8" fmla="*/ 16 w 17"/>
                  <a:gd name="T9" fmla="*/ 1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7" h="3">
                    <a:moveTo>
                      <a:pt x="16" y="1"/>
                    </a:moveTo>
                    <a:cubicBezTo>
                      <a:pt x="11" y="2"/>
                      <a:pt x="6" y="0"/>
                      <a:pt x="1" y="2"/>
                    </a:cubicBezTo>
                    <a:cubicBezTo>
                      <a:pt x="0" y="2"/>
                      <a:pt x="0" y="3"/>
                      <a:pt x="1" y="3"/>
                    </a:cubicBezTo>
                    <a:cubicBezTo>
                      <a:pt x="6" y="3"/>
                      <a:pt x="11" y="3"/>
                      <a:pt x="16" y="2"/>
                    </a:cubicBezTo>
                    <a:cubicBezTo>
                      <a:pt x="17" y="2"/>
                      <a:pt x="17" y="1"/>
                      <a:pt x="16" y="1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985" name="Freeform 298">
                <a:extLst>
                  <a:ext uri="{FF2B5EF4-FFF2-40B4-BE49-F238E27FC236}">
                    <a16:creationId xmlns:a16="http://schemas.microsoft.com/office/drawing/2014/main" id="{42DD64B5-219D-450F-9600-6485ECF108A9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7309" y="3039"/>
                <a:ext cx="40" cy="15"/>
              </a:xfrm>
              <a:custGeom>
                <a:avLst/>
                <a:gdLst>
                  <a:gd name="T0" fmla="*/ 1 w 38"/>
                  <a:gd name="T1" fmla="*/ 2 h 14"/>
                  <a:gd name="T2" fmla="*/ 16 w 38"/>
                  <a:gd name="T3" fmla="*/ 7 h 14"/>
                  <a:gd name="T4" fmla="*/ 32 w 38"/>
                  <a:gd name="T5" fmla="*/ 13 h 14"/>
                  <a:gd name="T6" fmla="*/ 35 w 38"/>
                  <a:gd name="T7" fmla="*/ 8 h 14"/>
                  <a:gd name="T8" fmla="*/ 18 w 38"/>
                  <a:gd name="T9" fmla="*/ 2 h 14"/>
                  <a:gd name="T10" fmla="*/ 2 w 38"/>
                  <a:gd name="T11" fmla="*/ 0 h 14"/>
                  <a:gd name="T12" fmla="*/ 1 w 38"/>
                  <a:gd name="T13" fmla="*/ 2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8" h="14">
                    <a:moveTo>
                      <a:pt x="1" y="2"/>
                    </a:moveTo>
                    <a:cubicBezTo>
                      <a:pt x="6" y="4"/>
                      <a:pt x="11" y="5"/>
                      <a:pt x="16" y="7"/>
                    </a:cubicBezTo>
                    <a:cubicBezTo>
                      <a:pt x="22" y="9"/>
                      <a:pt x="27" y="12"/>
                      <a:pt x="32" y="13"/>
                    </a:cubicBezTo>
                    <a:cubicBezTo>
                      <a:pt x="35" y="14"/>
                      <a:pt x="38" y="10"/>
                      <a:pt x="35" y="8"/>
                    </a:cubicBezTo>
                    <a:cubicBezTo>
                      <a:pt x="30" y="6"/>
                      <a:pt x="24" y="3"/>
                      <a:pt x="18" y="2"/>
                    </a:cubicBezTo>
                    <a:cubicBezTo>
                      <a:pt x="13" y="1"/>
                      <a:pt x="7" y="1"/>
                      <a:pt x="2" y="0"/>
                    </a:cubicBezTo>
                    <a:cubicBezTo>
                      <a:pt x="1" y="0"/>
                      <a:pt x="0" y="2"/>
                      <a:pt x="1" y="2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986" name="Freeform 299">
                <a:extLst>
                  <a:ext uri="{FF2B5EF4-FFF2-40B4-BE49-F238E27FC236}">
                    <a16:creationId xmlns:a16="http://schemas.microsoft.com/office/drawing/2014/main" id="{070D47E2-1E90-4B18-A79B-C0DA444239F3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7256" y="3013"/>
                <a:ext cx="282" cy="51"/>
              </a:xfrm>
              <a:custGeom>
                <a:avLst/>
                <a:gdLst>
                  <a:gd name="T0" fmla="*/ 3 w 266"/>
                  <a:gd name="T1" fmla="*/ 46 h 48"/>
                  <a:gd name="T2" fmla="*/ 56 w 266"/>
                  <a:gd name="T3" fmla="*/ 42 h 48"/>
                  <a:gd name="T4" fmla="*/ 119 w 266"/>
                  <a:gd name="T5" fmla="*/ 31 h 48"/>
                  <a:gd name="T6" fmla="*/ 262 w 266"/>
                  <a:gd name="T7" fmla="*/ 7 h 48"/>
                  <a:gd name="T8" fmla="*/ 261 w 266"/>
                  <a:gd name="T9" fmla="*/ 0 h 48"/>
                  <a:gd name="T10" fmla="*/ 200 w 266"/>
                  <a:gd name="T11" fmla="*/ 9 h 48"/>
                  <a:gd name="T12" fmla="*/ 134 w 266"/>
                  <a:gd name="T13" fmla="*/ 21 h 48"/>
                  <a:gd name="T14" fmla="*/ 3 w 266"/>
                  <a:gd name="T15" fmla="*/ 41 h 48"/>
                  <a:gd name="T16" fmla="*/ 3 w 266"/>
                  <a:gd name="T17" fmla="*/ 46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66" h="48">
                    <a:moveTo>
                      <a:pt x="3" y="46"/>
                    </a:moveTo>
                    <a:cubicBezTo>
                      <a:pt x="20" y="48"/>
                      <a:pt x="39" y="44"/>
                      <a:pt x="56" y="42"/>
                    </a:cubicBezTo>
                    <a:cubicBezTo>
                      <a:pt x="77" y="40"/>
                      <a:pt x="98" y="35"/>
                      <a:pt x="119" y="31"/>
                    </a:cubicBezTo>
                    <a:cubicBezTo>
                      <a:pt x="166" y="22"/>
                      <a:pt x="214" y="12"/>
                      <a:pt x="262" y="7"/>
                    </a:cubicBezTo>
                    <a:cubicBezTo>
                      <a:pt x="266" y="6"/>
                      <a:pt x="266" y="0"/>
                      <a:pt x="261" y="0"/>
                    </a:cubicBezTo>
                    <a:cubicBezTo>
                      <a:pt x="241" y="0"/>
                      <a:pt x="220" y="6"/>
                      <a:pt x="200" y="9"/>
                    </a:cubicBezTo>
                    <a:cubicBezTo>
                      <a:pt x="178" y="12"/>
                      <a:pt x="156" y="16"/>
                      <a:pt x="134" y="21"/>
                    </a:cubicBezTo>
                    <a:cubicBezTo>
                      <a:pt x="90" y="31"/>
                      <a:pt x="48" y="41"/>
                      <a:pt x="3" y="41"/>
                    </a:cubicBezTo>
                    <a:cubicBezTo>
                      <a:pt x="0" y="41"/>
                      <a:pt x="0" y="45"/>
                      <a:pt x="3" y="46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987" name="Freeform 300">
                <a:extLst>
                  <a:ext uri="{FF2B5EF4-FFF2-40B4-BE49-F238E27FC236}">
                    <a16:creationId xmlns:a16="http://schemas.microsoft.com/office/drawing/2014/main" id="{DC34627D-8EE7-441E-B844-E0CBC40BBC4D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7169" y="3523"/>
                <a:ext cx="156" cy="21"/>
              </a:xfrm>
              <a:custGeom>
                <a:avLst/>
                <a:gdLst>
                  <a:gd name="T0" fmla="*/ 1 w 147"/>
                  <a:gd name="T1" fmla="*/ 10 h 20"/>
                  <a:gd name="T2" fmla="*/ 48 w 147"/>
                  <a:gd name="T3" fmla="*/ 14 h 20"/>
                  <a:gd name="T4" fmla="*/ 144 w 147"/>
                  <a:gd name="T5" fmla="*/ 6 h 20"/>
                  <a:gd name="T6" fmla="*/ 143 w 147"/>
                  <a:gd name="T7" fmla="*/ 1 h 20"/>
                  <a:gd name="T8" fmla="*/ 67 w 147"/>
                  <a:gd name="T9" fmla="*/ 8 h 20"/>
                  <a:gd name="T10" fmla="*/ 34 w 147"/>
                  <a:gd name="T11" fmla="*/ 8 h 20"/>
                  <a:gd name="T12" fmla="*/ 4 w 147"/>
                  <a:gd name="T13" fmla="*/ 7 h 20"/>
                  <a:gd name="T14" fmla="*/ 1 w 147"/>
                  <a:gd name="T15" fmla="*/ 1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47" h="20">
                    <a:moveTo>
                      <a:pt x="1" y="10"/>
                    </a:moveTo>
                    <a:cubicBezTo>
                      <a:pt x="10" y="20"/>
                      <a:pt x="38" y="14"/>
                      <a:pt x="48" y="14"/>
                    </a:cubicBezTo>
                    <a:cubicBezTo>
                      <a:pt x="79" y="13"/>
                      <a:pt x="114" y="15"/>
                      <a:pt x="144" y="6"/>
                    </a:cubicBezTo>
                    <a:cubicBezTo>
                      <a:pt x="147" y="5"/>
                      <a:pt x="146" y="0"/>
                      <a:pt x="143" y="1"/>
                    </a:cubicBezTo>
                    <a:cubicBezTo>
                      <a:pt x="117" y="5"/>
                      <a:pt x="93" y="7"/>
                      <a:pt x="67" y="8"/>
                    </a:cubicBezTo>
                    <a:cubicBezTo>
                      <a:pt x="56" y="8"/>
                      <a:pt x="45" y="8"/>
                      <a:pt x="34" y="8"/>
                    </a:cubicBezTo>
                    <a:cubicBezTo>
                      <a:pt x="24" y="8"/>
                      <a:pt x="13" y="11"/>
                      <a:pt x="4" y="7"/>
                    </a:cubicBezTo>
                    <a:cubicBezTo>
                      <a:pt x="1" y="6"/>
                      <a:pt x="0" y="9"/>
                      <a:pt x="1" y="10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988" name="Freeform 301">
                <a:extLst>
                  <a:ext uri="{FF2B5EF4-FFF2-40B4-BE49-F238E27FC236}">
                    <a16:creationId xmlns:a16="http://schemas.microsoft.com/office/drawing/2014/main" id="{E99FB8E0-3898-4ADD-9F82-119C55F0CE3E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7526" y="3010"/>
                <a:ext cx="140" cy="86"/>
              </a:xfrm>
              <a:custGeom>
                <a:avLst/>
                <a:gdLst>
                  <a:gd name="T0" fmla="*/ 132 w 132"/>
                  <a:gd name="T1" fmla="*/ 79 h 82"/>
                  <a:gd name="T2" fmla="*/ 94 w 132"/>
                  <a:gd name="T3" fmla="*/ 23 h 82"/>
                  <a:gd name="T4" fmla="*/ 39 w 132"/>
                  <a:gd name="T5" fmla="*/ 8 h 82"/>
                  <a:gd name="T6" fmla="*/ 3 w 132"/>
                  <a:gd name="T7" fmla="*/ 3 h 82"/>
                  <a:gd name="T8" fmla="*/ 4 w 132"/>
                  <a:gd name="T9" fmla="*/ 8 h 82"/>
                  <a:gd name="T10" fmla="*/ 69 w 132"/>
                  <a:gd name="T11" fmla="*/ 21 h 82"/>
                  <a:gd name="T12" fmla="*/ 111 w 132"/>
                  <a:gd name="T13" fmla="*/ 38 h 82"/>
                  <a:gd name="T14" fmla="*/ 129 w 132"/>
                  <a:gd name="T15" fmla="*/ 80 h 82"/>
                  <a:gd name="T16" fmla="*/ 132 w 132"/>
                  <a:gd name="T17" fmla="*/ 79 h 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32" h="82">
                    <a:moveTo>
                      <a:pt x="132" y="79"/>
                    </a:moveTo>
                    <a:cubicBezTo>
                      <a:pt x="128" y="54"/>
                      <a:pt x="120" y="32"/>
                      <a:pt x="94" y="23"/>
                    </a:cubicBezTo>
                    <a:cubicBezTo>
                      <a:pt x="76" y="17"/>
                      <a:pt x="57" y="12"/>
                      <a:pt x="39" y="8"/>
                    </a:cubicBezTo>
                    <a:cubicBezTo>
                      <a:pt x="28" y="5"/>
                      <a:pt x="15" y="0"/>
                      <a:pt x="3" y="3"/>
                    </a:cubicBezTo>
                    <a:cubicBezTo>
                      <a:pt x="0" y="4"/>
                      <a:pt x="1" y="8"/>
                      <a:pt x="4" y="8"/>
                    </a:cubicBezTo>
                    <a:cubicBezTo>
                      <a:pt x="26" y="9"/>
                      <a:pt x="47" y="16"/>
                      <a:pt x="69" y="21"/>
                    </a:cubicBezTo>
                    <a:cubicBezTo>
                      <a:pt x="83" y="25"/>
                      <a:pt x="100" y="27"/>
                      <a:pt x="111" y="38"/>
                    </a:cubicBezTo>
                    <a:cubicBezTo>
                      <a:pt x="122" y="49"/>
                      <a:pt x="124" y="66"/>
                      <a:pt x="129" y="80"/>
                    </a:cubicBezTo>
                    <a:cubicBezTo>
                      <a:pt x="130" y="82"/>
                      <a:pt x="132" y="81"/>
                      <a:pt x="132" y="79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989" name="Freeform 302">
                <a:extLst>
                  <a:ext uri="{FF2B5EF4-FFF2-40B4-BE49-F238E27FC236}">
                    <a16:creationId xmlns:a16="http://schemas.microsoft.com/office/drawing/2014/main" id="{57CCDD5A-BA35-4CA8-AEAD-E16F6C791318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7409" y="3072"/>
                <a:ext cx="272" cy="476"/>
              </a:xfrm>
              <a:custGeom>
                <a:avLst/>
                <a:gdLst>
                  <a:gd name="T0" fmla="*/ 233 w 257"/>
                  <a:gd name="T1" fmla="*/ 1 h 450"/>
                  <a:gd name="T2" fmla="*/ 245 w 257"/>
                  <a:gd name="T3" fmla="*/ 60 h 450"/>
                  <a:gd name="T4" fmla="*/ 229 w 257"/>
                  <a:gd name="T5" fmla="*/ 134 h 450"/>
                  <a:gd name="T6" fmla="*/ 154 w 257"/>
                  <a:gd name="T7" fmla="*/ 240 h 450"/>
                  <a:gd name="T8" fmla="*/ 2 w 257"/>
                  <a:gd name="T9" fmla="*/ 445 h 450"/>
                  <a:gd name="T10" fmla="*/ 5 w 257"/>
                  <a:gd name="T11" fmla="*/ 448 h 450"/>
                  <a:gd name="T12" fmla="*/ 46 w 257"/>
                  <a:gd name="T13" fmla="*/ 401 h 450"/>
                  <a:gd name="T14" fmla="*/ 83 w 257"/>
                  <a:gd name="T15" fmla="*/ 349 h 450"/>
                  <a:gd name="T16" fmla="*/ 167 w 257"/>
                  <a:gd name="T17" fmla="*/ 235 h 450"/>
                  <a:gd name="T18" fmla="*/ 240 w 257"/>
                  <a:gd name="T19" fmla="*/ 125 h 450"/>
                  <a:gd name="T20" fmla="*/ 234 w 257"/>
                  <a:gd name="T21" fmla="*/ 1 h 450"/>
                  <a:gd name="T22" fmla="*/ 233 w 257"/>
                  <a:gd name="T23" fmla="*/ 1 h 4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257" h="450">
                    <a:moveTo>
                      <a:pt x="233" y="1"/>
                    </a:moveTo>
                    <a:cubicBezTo>
                      <a:pt x="236" y="21"/>
                      <a:pt x="244" y="40"/>
                      <a:pt x="245" y="60"/>
                    </a:cubicBezTo>
                    <a:cubicBezTo>
                      <a:pt x="247" y="85"/>
                      <a:pt x="241" y="112"/>
                      <a:pt x="229" y="134"/>
                    </a:cubicBezTo>
                    <a:cubicBezTo>
                      <a:pt x="208" y="171"/>
                      <a:pt x="181" y="207"/>
                      <a:pt x="154" y="240"/>
                    </a:cubicBezTo>
                    <a:cubicBezTo>
                      <a:pt x="101" y="306"/>
                      <a:pt x="58" y="381"/>
                      <a:pt x="2" y="445"/>
                    </a:cubicBezTo>
                    <a:cubicBezTo>
                      <a:pt x="0" y="447"/>
                      <a:pt x="3" y="450"/>
                      <a:pt x="5" y="448"/>
                    </a:cubicBezTo>
                    <a:cubicBezTo>
                      <a:pt x="21" y="435"/>
                      <a:pt x="34" y="418"/>
                      <a:pt x="46" y="401"/>
                    </a:cubicBezTo>
                    <a:cubicBezTo>
                      <a:pt x="58" y="383"/>
                      <a:pt x="71" y="367"/>
                      <a:pt x="83" y="349"/>
                    </a:cubicBezTo>
                    <a:cubicBezTo>
                      <a:pt x="111" y="310"/>
                      <a:pt x="137" y="272"/>
                      <a:pt x="167" y="235"/>
                    </a:cubicBezTo>
                    <a:cubicBezTo>
                      <a:pt x="193" y="202"/>
                      <a:pt x="223" y="164"/>
                      <a:pt x="240" y="125"/>
                    </a:cubicBezTo>
                    <a:cubicBezTo>
                      <a:pt x="257" y="83"/>
                      <a:pt x="250" y="41"/>
                      <a:pt x="234" y="1"/>
                    </a:cubicBezTo>
                    <a:cubicBezTo>
                      <a:pt x="234" y="0"/>
                      <a:pt x="233" y="0"/>
                      <a:pt x="233" y="1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990" name="Freeform 303">
                <a:extLst>
                  <a:ext uri="{FF2B5EF4-FFF2-40B4-BE49-F238E27FC236}">
                    <a16:creationId xmlns:a16="http://schemas.microsoft.com/office/drawing/2014/main" id="{A0F808F0-83AC-427D-9789-DC03C97E601A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7328" y="3537"/>
                <a:ext cx="89" cy="39"/>
              </a:xfrm>
              <a:custGeom>
                <a:avLst/>
                <a:gdLst>
                  <a:gd name="T0" fmla="*/ 80 w 84"/>
                  <a:gd name="T1" fmla="*/ 1 h 37"/>
                  <a:gd name="T2" fmla="*/ 46 w 84"/>
                  <a:gd name="T3" fmla="*/ 29 h 37"/>
                  <a:gd name="T4" fmla="*/ 1 w 84"/>
                  <a:gd name="T5" fmla="*/ 2 h 37"/>
                  <a:gd name="T6" fmla="*/ 0 w 84"/>
                  <a:gd name="T7" fmla="*/ 3 h 37"/>
                  <a:gd name="T8" fmla="*/ 33 w 84"/>
                  <a:gd name="T9" fmla="*/ 35 h 37"/>
                  <a:gd name="T10" fmla="*/ 60 w 84"/>
                  <a:gd name="T11" fmla="*/ 28 h 37"/>
                  <a:gd name="T12" fmla="*/ 83 w 84"/>
                  <a:gd name="T13" fmla="*/ 4 h 37"/>
                  <a:gd name="T14" fmla="*/ 80 w 84"/>
                  <a:gd name="T15" fmla="*/ 1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84" h="37">
                    <a:moveTo>
                      <a:pt x="80" y="1"/>
                    </a:moveTo>
                    <a:cubicBezTo>
                      <a:pt x="69" y="12"/>
                      <a:pt x="62" y="25"/>
                      <a:pt x="46" y="29"/>
                    </a:cubicBezTo>
                    <a:cubicBezTo>
                      <a:pt x="26" y="33"/>
                      <a:pt x="9" y="19"/>
                      <a:pt x="1" y="2"/>
                    </a:cubicBezTo>
                    <a:cubicBezTo>
                      <a:pt x="1" y="2"/>
                      <a:pt x="0" y="2"/>
                      <a:pt x="0" y="3"/>
                    </a:cubicBezTo>
                    <a:cubicBezTo>
                      <a:pt x="3" y="20"/>
                      <a:pt x="17" y="31"/>
                      <a:pt x="33" y="35"/>
                    </a:cubicBezTo>
                    <a:cubicBezTo>
                      <a:pt x="43" y="37"/>
                      <a:pt x="52" y="34"/>
                      <a:pt x="60" y="28"/>
                    </a:cubicBezTo>
                    <a:cubicBezTo>
                      <a:pt x="71" y="21"/>
                      <a:pt x="76" y="14"/>
                      <a:pt x="83" y="4"/>
                    </a:cubicBezTo>
                    <a:cubicBezTo>
                      <a:pt x="84" y="2"/>
                      <a:pt x="81" y="0"/>
                      <a:pt x="80" y="1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991" name="Freeform 304">
                <a:extLst>
                  <a:ext uri="{FF2B5EF4-FFF2-40B4-BE49-F238E27FC236}">
                    <a16:creationId xmlns:a16="http://schemas.microsoft.com/office/drawing/2014/main" id="{9CCDBD06-C1AA-4E19-A7EB-EB6B13947811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7311" y="3453"/>
                <a:ext cx="9" cy="47"/>
              </a:xfrm>
              <a:custGeom>
                <a:avLst/>
                <a:gdLst>
                  <a:gd name="T0" fmla="*/ 8 w 8"/>
                  <a:gd name="T1" fmla="*/ 43 h 44"/>
                  <a:gd name="T2" fmla="*/ 2 w 8"/>
                  <a:gd name="T3" fmla="*/ 1 h 44"/>
                  <a:gd name="T4" fmla="*/ 0 w 8"/>
                  <a:gd name="T5" fmla="*/ 1 h 44"/>
                  <a:gd name="T6" fmla="*/ 6 w 8"/>
                  <a:gd name="T7" fmla="*/ 44 h 44"/>
                  <a:gd name="T8" fmla="*/ 8 w 8"/>
                  <a:gd name="T9" fmla="*/ 43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4">
                    <a:moveTo>
                      <a:pt x="8" y="43"/>
                    </a:moveTo>
                    <a:cubicBezTo>
                      <a:pt x="5" y="29"/>
                      <a:pt x="3" y="15"/>
                      <a:pt x="2" y="1"/>
                    </a:cubicBezTo>
                    <a:cubicBezTo>
                      <a:pt x="2" y="0"/>
                      <a:pt x="0" y="1"/>
                      <a:pt x="0" y="1"/>
                    </a:cubicBezTo>
                    <a:cubicBezTo>
                      <a:pt x="0" y="16"/>
                      <a:pt x="2" y="30"/>
                      <a:pt x="6" y="44"/>
                    </a:cubicBezTo>
                    <a:cubicBezTo>
                      <a:pt x="7" y="44"/>
                      <a:pt x="8" y="44"/>
                      <a:pt x="8" y="43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992" name="Freeform 305">
                <a:extLst>
                  <a:ext uri="{FF2B5EF4-FFF2-40B4-BE49-F238E27FC236}">
                    <a16:creationId xmlns:a16="http://schemas.microsoft.com/office/drawing/2014/main" id="{9B256B6D-DEE7-4FEF-949C-0AD338B0F1BF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7204" y="3571"/>
                <a:ext cx="171" cy="28"/>
              </a:xfrm>
              <a:custGeom>
                <a:avLst/>
                <a:gdLst>
                  <a:gd name="T0" fmla="*/ 159 w 161"/>
                  <a:gd name="T1" fmla="*/ 1 h 27"/>
                  <a:gd name="T2" fmla="*/ 118 w 161"/>
                  <a:gd name="T3" fmla="*/ 4 h 27"/>
                  <a:gd name="T4" fmla="*/ 85 w 161"/>
                  <a:gd name="T5" fmla="*/ 6 h 27"/>
                  <a:gd name="T6" fmla="*/ 5 w 161"/>
                  <a:gd name="T7" fmla="*/ 20 h 27"/>
                  <a:gd name="T8" fmla="*/ 5 w 161"/>
                  <a:gd name="T9" fmla="*/ 27 h 27"/>
                  <a:gd name="T10" fmla="*/ 86 w 161"/>
                  <a:gd name="T11" fmla="*/ 12 h 27"/>
                  <a:gd name="T12" fmla="*/ 138 w 161"/>
                  <a:gd name="T13" fmla="*/ 10 h 27"/>
                  <a:gd name="T14" fmla="*/ 160 w 161"/>
                  <a:gd name="T15" fmla="*/ 3 h 27"/>
                  <a:gd name="T16" fmla="*/ 159 w 161"/>
                  <a:gd name="T17" fmla="*/ 1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61" h="27">
                    <a:moveTo>
                      <a:pt x="159" y="1"/>
                    </a:moveTo>
                    <a:cubicBezTo>
                      <a:pt x="147" y="7"/>
                      <a:pt x="131" y="4"/>
                      <a:pt x="118" y="4"/>
                    </a:cubicBezTo>
                    <a:cubicBezTo>
                      <a:pt x="107" y="4"/>
                      <a:pt x="96" y="4"/>
                      <a:pt x="85" y="6"/>
                    </a:cubicBezTo>
                    <a:cubicBezTo>
                      <a:pt x="59" y="10"/>
                      <a:pt x="31" y="20"/>
                      <a:pt x="5" y="20"/>
                    </a:cubicBezTo>
                    <a:cubicBezTo>
                      <a:pt x="0" y="20"/>
                      <a:pt x="1" y="27"/>
                      <a:pt x="5" y="27"/>
                    </a:cubicBezTo>
                    <a:cubicBezTo>
                      <a:pt x="32" y="27"/>
                      <a:pt x="60" y="16"/>
                      <a:pt x="86" y="12"/>
                    </a:cubicBezTo>
                    <a:cubicBezTo>
                      <a:pt x="104" y="9"/>
                      <a:pt x="121" y="11"/>
                      <a:pt x="138" y="10"/>
                    </a:cubicBezTo>
                    <a:cubicBezTo>
                      <a:pt x="147" y="9"/>
                      <a:pt x="154" y="8"/>
                      <a:pt x="160" y="3"/>
                    </a:cubicBezTo>
                    <a:cubicBezTo>
                      <a:pt x="161" y="2"/>
                      <a:pt x="160" y="0"/>
                      <a:pt x="159" y="1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993" name="Freeform 306">
                <a:extLst>
                  <a:ext uri="{FF2B5EF4-FFF2-40B4-BE49-F238E27FC236}">
                    <a16:creationId xmlns:a16="http://schemas.microsoft.com/office/drawing/2014/main" id="{3232E11D-0C3B-4B99-8338-FBE653946A48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7478" y="3028"/>
                <a:ext cx="160" cy="173"/>
              </a:xfrm>
              <a:custGeom>
                <a:avLst/>
                <a:gdLst>
                  <a:gd name="T0" fmla="*/ 150 w 151"/>
                  <a:gd name="T1" fmla="*/ 17 h 164"/>
                  <a:gd name="T2" fmla="*/ 82 w 151"/>
                  <a:gd name="T3" fmla="*/ 52 h 164"/>
                  <a:gd name="T4" fmla="*/ 44 w 151"/>
                  <a:gd name="T5" fmla="*/ 103 h 164"/>
                  <a:gd name="T6" fmla="*/ 2 w 151"/>
                  <a:gd name="T7" fmla="*/ 159 h 164"/>
                  <a:gd name="T8" fmla="*/ 5 w 151"/>
                  <a:gd name="T9" fmla="*/ 162 h 164"/>
                  <a:gd name="T10" fmla="*/ 63 w 151"/>
                  <a:gd name="T11" fmla="*/ 87 h 164"/>
                  <a:gd name="T12" fmla="*/ 148 w 151"/>
                  <a:gd name="T13" fmla="*/ 20 h 164"/>
                  <a:gd name="T14" fmla="*/ 150 w 151"/>
                  <a:gd name="T15" fmla="*/ 17 h 1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51" h="164">
                    <a:moveTo>
                      <a:pt x="150" y="17"/>
                    </a:moveTo>
                    <a:cubicBezTo>
                      <a:pt x="124" y="0"/>
                      <a:pt x="97" y="34"/>
                      <a:pt x="82" y="52"/>
                    </a:cubicBezTo>
                    <a:cubicBezTo>
                      <a:pt x="69" y="68"/>
                      <a:pt x="56" y="86"/>
                      <a:pt x="44" y="103"/>
                    </a:cubicBezTo>
                    <a:cubicBezTo>
                      <a:pt x="30" y="121"/>
                      <a:pt x="14" y="139"/>
                      <a:pt x="2" y="159"/>
                    </a:cubicBezTo>
                    <a:cubicBezTo>
                      <a:pt x="0" y="161"/>
                      <a:pt x="4" y="164"/>
                      <a:pt x="5" y="162"/>
                    </a:cubicBezTo>
                    <a:cubicBezTo>
                      <a:pt x="26" y="138"/>
                      <a:pt x="44" y="112"/>
                      <a:pt x="63" y="87"/>
                    </a:cubicBezTo>
                    <a:cubicBezTo>
                      <a:pt x="78" y="65"/>
                      <a:pt x="115" y="5"/>
                      <a:pt x="148" y="20"/>
                    </a:cubicBezTo>
                    <a:cubicBezTo>
                      <a:pt x="150" y="21"/>
                      <a:pt x="151" y="18"/>
                      <a:pt x="150" y="17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994" name="Freeform 307">
                <a:extLst>
                  <a:ext uri="{FF2B5EF4-FFF2-40B4-BE49-F238E27FC236}">
                    <a16:creationId xmlns:a16="http://schemas.microsoft.com/office/drawing/2014/main" id="{E294174B-2157-4B32-A40A-9248D14290A5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7326" y="3227"/>
                <a:ext cx="128" cy="171"/>
              </a:xfrm>
              <a:custGeom>
                <a:avLst/>
                <a:gdLst>
                  <a:gd name="T0" fmla="*/ 117 w 121"/>
                  <a:gd name="T1" fmla="*/ 1 h 162"/>
                  <a:gd name="T2" fmla="*/ 50 w 121"/>
                  <a:gd name="T3" fmla="*/ 80 h 162"/>
                  <a:gd name="T4" fmla="*/ 1 w 121"/>
                  <a:gd name="T5" fmla="*/ 158 h 162"/>
                  <a:gd name="T6" fmla="*/ 4 w 121"/>
                  <a:gd name="T7" fmla="*/ 160 h 162"/>
                  <a:gd name="T8" fmla="*/ 55 w 121"/>
                  <a:gd name="T9" fmla="*/ 80 h 162"/>
                  <a:gd name="T10" fmla="*/ 120 w 121"/>
                  <a:gd name="T11" fmla="*/ 4 h 162"/>
                  <a:gd name="T12" fmla="*/ 117 w 121"/>
                  <a:gd name="T13" fmla="*/ 1 h 1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21" h="162">
                    <a:moveTo>
                      <a:pt x="117" y="1"/>
                    </a:moveTo>
                    <a:cubicBezTo>
                      <a:pt x="95" y="28"/>
                      <a:pt x="70" y="52"/>
                      <a:pt x="50" y="80"/>
                    </a:cubicBezTo>
                    <a:cubicBezTo>
                      <a:pt x="33" y="105"/>
                      <a:pt x="12" y="129"/>
                      <a:pt x="1" y="158"/>
                    </a:cubicBezTo>
                    <a:cubicBezTo>
                      <a:pt x="0" y="160"/>
                      <a:pt x="3" y="162"/>
                      <a:pt x="4" y="160"/>
                    </a:cubicBezTo>
                    <a:cubicBezTo>
                      <a:pt x="19" y="131"/>
                      <a:pt x="37" y="106"/>
                      <a:pt x="55" y="80"/>
                    </a:cubicBezTo>
                    <a:cubicBezTo>
                      <a:pt x="74" y="52"/>
                      <a:pt x="99" y="29"/>
                      <a:pt x="120" y="4"/>
                    </a:cubicBezTo>
                    <a:cubicBezTo>
                      <a:pt x="121" y="2"/>
                      <a:pt x="119" y="0"/>
                      <a:pt x="117" y="1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995" name="Freeform 308">
                <a:extLst>
                  <a:ext uri="{FF2B5EF4-FFF2-40B4-BE49-F238E27FC236}">
                    <a16:creationId xmlns:a16="http://schemas.microsoft.com/office/drawing/2014/main" id="{0B88A318-A1F1-4327-8424-515070C67EC8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7237" y="3396"/>
                <a:ext cx="75" cy="12"/>
              </a:xfrm>
              <a:custGeom>
                <a:avLst/>
                <a:gdLst>
                  <a:gd name="T0" fmla="*/ 68 w 71"/>
                  <a:gd name="T1" fmla="*/ 0 h 11"/>
                  <a:gd name="T2" fmla="*/ 3 w 71"/>
                  <a:gd name="T3" fmla="*/ 6 h 11"/>
                  <a:gd name="T4" fmla="*/ 4 w 71"/>
                  <a:gd name="T5" fmla="*/ 11 h 11"/>
                  <a:gd name="T6" fmla="*/ 69 w 71"/>
                  <a:gd name="T7" fmla="*/ 3 h 11"/>
                  <a:gd name="T8" fmla="*/ 68 w 71"/>
                  <a:gd name="T9" fmla="*/ 0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1" h="11">
                    <a:moveTo>
                      <a:pt x="68" y="0"/>
                    </a:moveTo>
                    <a:cubicBezTo>
                      <a:pt x="47" y="4"/>
                      <a:pt x="25" y="3"/>
                      <a:pt x="3" y="6"/>
                    </a:cubicBezTo>
                    <a:cubicBezTo>
                      <a:pt x="0" y="7"/>
                      <a:pt x="1" y="11"/>
                      <a:pt x="4" y="11"/>
                    </a:cubicBezTo>
                    <a:cubicBezTo>
                      <a:pt x="26" y="10"/>
                      <a:pt x="48" y="10"/>
                      <a:pt x="69" y="3"/>
                    </a:cubicBezTo>
                    <a:cubicBezTo>
                      <a:pt x="71" y="3"/>
                      <a:pt x="70" y="0"/>
                      <a:pt x="68" y="0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996" name="Freeform 309">
                <a:extLst>
                  <a:ext uri="{FF2B5EF4-FFF2-40B4-BE49-F238E27FC236}">
                    <a16:creationId xmlns:a16="http://schemas.microsoft.com/office/drawing/2014/main" id="{EB4ADA52-C866-4BD9-BD29-1DAA86D4BB39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7534" y="3092"/>
                <a:ext cx="130" cy="173"/>
              </a:xfrm>
              <a:custGeom>
                <a:avLst/>
                <a:gdLst>
                  <a:gd name="T0" fmla="*/ 119 w 123"/>
                  <a:gd name="T1" fmla="*/ 2 h 163"/>
                  <a:gd name="T2" fmla="*/ 60 w 123"/>
                  <a:gd name="T3" fmla="*/ 81 h 163"/>
                  <a:gd name="T4" fmla="*/ 1 w 123"/>
                  <a:gd name="T5" fmla="*/ 160 h 163"/>
                  <a:gd name="T6" fmla="*/ 3 w 123"/>
                  <a:gd name="T7" fmla="*/ 162 h 163"/>
                  <a:gd name="T8" fmla="*/ 65 w 123"/>
                  <a:gd name="T9" fmla="*/ 80 h 163"/>
                  <a:gd name="T10" fmla="*/ 122 w 123"/>
                  <a:gd name="T11" fmla="*/ 3 h 163"/>
                  <a:gd name="T12" fmla="*/ 119 w 123"/>
                  <a:gd name="T13" fmla="*/ 2 h 1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23" h="163">
                    <a:moveTo>
                      <a:pt x="119" y="2"/>
                    </a:moveTo>
                    <a:cubicBezTo>
                      <a:pt x="107" y="31"/>
                      <a:pt x="79" y="55"/>
                      <a:pt x="60" y="81"/>
                    </a:cubicBezTo>
                    <a:cubicBezTo>
                      <a:pt x="40" y="107"/>
                      <a:pt x="21" y="134"/>
                      <a:pt x="1" y="160"/>
                    </a:cubicBezTo>
                    <a:cubicBezTo>
                      <a:pt x="0" y="161"/>
                      <a:pt x="2" y="163"/>
                      <a:pt x="3" y="162"/>
                    </a:cubicBezTo>
                    <a:cubicBezTo>
                      <a:pt x="26" y="137"/>
                      <a:pt x="44" y="108"/>
                      <a:pt x="65" y="80"/>
                    </a:cubicBezTo>
                    <a:cubicBezTo>
                      <a:pt x="84" y="55"/>
                      <a:pt x="111" y="33"/>
                      <a:pt x="122" y="3"/>
                    </a:cubicBezTo>
                    <a:cubicBezTo>
                      <a:pt x="123" y="1"/>
                      <a:pt x="120" y="0"/>
                      <a:pt x="119" y="2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997" name="Freeform 310">
                <a:extLst>
                  <a:ext uri="{FF2B5EF4-FFF2-40B4-BE49-F238E27FC236}">
                    <a16:creationId xmlns:a16="http://schemas.microsoft.com/office/drawing/2014/main" id="{4DE60CFD-D246-42DB-BDCF-68B90E2D7733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7327" y="3320"/>
                <a:ext cx="160" cy="201"/>
              </a:xfrm>
              <a:custGeom>
                <a:avLst/>
                <a:gdLst>
                  <a:gd name="T0" fmla="*/ 150 w 151"/>
                  <a:gd name="T1" fmla="*/ 0 h 190"/>
                  <a:gd name="T2" fmla="*/ 1 w 151"/>
                  <a:gd name="T3" fmla="*/ 186 h 190"/>
                  <a:gd name="T4" fmla="*/ 4 w 151"/>
                  <a:gd name="T5" fmla="*/ 188 h 190"/>
                  <a:gd name="T6" fmla="*/ 71 w 151"/>
                  <a:gd name="T7" fmla="*/ 103 h 190"/>
                  <a:gd name="T8" fmla="*/ 151 w 151"/>
                  <a:gd name="T9" fmla="*/ 2 h 190"/>
                  <a:gd name="T10" fmla="*/ 150 w 151"/>
                  <a:gd name="T11" fmla="*/ 0 h 1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51" h="190">
                    <a:moveTo>
                      <a:pt x="150" y="0"/>
                    </a:moveTo>
                    <a:cubicBezTo>
                      <a:pt x="98" y="61"/>
                      <a:pt x="51" y="125"/>
                      <a:pt x="1" y="186"/>
                    </a:cubicBezTo>
                    <a:cubicBezTo>
                      <a:pt x="0" y="188"/>
                      <a:pt x="2" y="190"/>
                      <a:pt x="4" y="188"/>
                    </a:cubicBezTo>
                    <a:cubicBezTo>
                      <a:pt x="29" y="163"/>
                      <a:pt x="50" y="131"/>
                      <a:pt x="71" y="103"/>
                    </a:cubicBezTo>
                    <a:cubicBezTo>
                      <a:pt x="97" y="69"/>
                      <a:pt x="124" y="35"/>
                      <a:pt x="151" y="2"/>
                    </a:cubicBezTo>
                    <a:cubicBezTo>
                      <a:pt x="151" y="1"/>
                      <a:pt x="150" y="0"/>
                      <a:pt x="150" y="0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998" name="Freeform 311">
                <a:extLst>
                  <a:ext uri="{FF2B5EF4-FFF2-40B4-BE49-F238E27FC236}">
                    <a16:creationId xmlns:a16="http://schemas.microsoft.com/office/drawing/2014/main" id="{93CCF757-9B64-4321-A556-C65581292714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7187" y="3555"/>
                <a:ext cx="247" cy="130"/>
              </a:xfrm>
              <a:custGeom>
                <a:avLst/>
                <a:gdLst>
                  <a:gd name="T0" fmla="*/ 199 w 233"/>
                  <a:gd name="T1" fmla="*/ 2 h 123"/>
                  <a:gd name="T2" fmla="*/ 215 w 233"/>
                  <a:gd name="T3" fmla="*/ 46 h 123"/>
                  <a:gd name="T4" fmla="*/ 196 w 233"/>
                  <a:gd name="T5" fmla="*/ 66 h 123"/>
                  <a:gd name="T6" fmla="*/ 141 w 233"/>
                  <a:gd name="T7" fmla="*/ 92 h 123"/>
                  <a:gd name="T8" fmla="*/ 9 w 233"/>
                  <a:gd name="T9" fmla="*/ 64 h 123"/>
                  <a:gd name="T10" fmla="*/ 2 w 233"/>
                  <a:gd name="T11" fmla="*/ 64 h 123"/>
                  <a:gd name="T12" fmla="*/ 141 w 233"/>
                  <a:gd name="T13" fmla="*/ 100 h 123"/>
                  <a:gd name="T14" fmla="*/ 220 w 233"/>
                  <a:gd name="T15" fmla="*/ 49 h 123"/>
                  <a:gd name="T16" fmla="*/ 200 w 233"/>
                  <a:gd name="T17" fmla="*/ 1 h 123"/>
                  <a:gd name="T18" fmla="*/ 199 w 233"/>
                  <a:gd name="T19" fmla="*/ 2 h 1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33" h="123">
                    <a:moveTo>
                      <a:pt x="199" y="2"/>
                    </a:moveTo>
                    <a:cubicBezTo>
                      <a:pt x="211" y="16"/>
                      <a:pt x="228" y="22"/>
                      <a:pt x="215" y="46"/>
                    </a:cubicBezTo>
                    <a:cubicBezTo>
                      <a:pt x="211" y="54"/>
                      <a:pt x="203" y="61"/>
                      <a:pt x="196" y="66"/>
                    </a:cubicBezTo>
                    <a:cubicBezTo>
                      <a:pt x="180" y="78"/>
                      <a:pt x="160" y="86"/>
                      <a:pt x="141" y="92"/>
                    </a:cubicBezTo>
                    <a:cubicBezTo>
                      <a:pt x="113" y="100"/>
                      <a:pt x="8" y="115"/>
                      <a:pt x="9" y="64"/>
                    </a:cubicBezTo>
                    <a:cubicBezTo>
                      <a:pt x="9" y="60"/>
                      <a:pt x="3" y="60"/>
                      <a:pt x="2" y="64"/>
                    </a:cubicBezTo>
                    <a:cubicBezTo>
                      <a:pt x="0" y="123"/>
                      <a:pt x="109" y="109"/>
                      <a:pt x="141" y="100"/>
                    </a:cubicBezTo>
                    <a:cubicBezTo>
                      <a:pt x="169" y="92"/>
                      <a:pt x="205" y="77"/>
                      <a:pt x="220" y="49"/>
                    </a:cubicBezTo>
                    <a:cubicBezTo>
                      <a:pt x="233" y="27"/>
                      <a:pt x="220" y="11"/>
                      <a:pt x="200" y="1"/>
                    </a:cubicBezTo>
                    <a:cubicBezTo>
                      <a:pt x="199" y="0"/>
                      <a:pt x="198" y="1"/>
                      <a:pt x="199" y="2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999" name="Freeform 312">
                <a:extLst>
                  <a:ext uri="{FF2B5EF4-FFF2-40B4-BE49-F238E27FC236}">
                    <a16:creationId xmlns:a16="http://schemas.microsoft.com/office/drawing/2014/main" id="{32900B65-C672-4EB0-8D9B-A4772A4B779E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754" y="3607"/>
                <a:ext cx="217" cy="82"/>
              </a:xfrm>
              <a:custGeom>
                <a:avLst/>
                <a:gdLst>
                  <a:gd name="T0" fmla="*/ 201 w 205"/>
                  <a:gd name="T1" fmla="*/ 21 h 78"/>
                  <a:gd name="T2" fmla="*/ 166 w 205"/>
                  <a:gd name="T3" fmla="*/ 49 h 78"/>
                  <a:gd name="T4" fmla="*/ 113 w 205"/>
                  <a:gd name="T5" fmla="*/ 64 h 78"/>
                  <a:gd name="T6" fmla="*/ 56 w 205"/>
                  <a:gd name="T7" fmla="*/ 69 h 78"/>
                  <a:gd name="T8" fmla="*/ 19 w 205"/>
                  <a:gd name="T9" fmla="*/ 48 h 78"/>
                  <a:gd name="T10" fmla="*/ 24 w 205"/>
                  <a:gd name="T11" fmla="*/ 22 h 78"/>
                  <a:gd name="T12" fmla="*/ 45 w 205"/>
                  <a:gd name="T13" fmla="*/ 6 h 78"/>
                  <a:gd name="T14" fmla="*/ 43 w 205"/>
                  <a:gd name="T15" fmla="*/ 1 h 78"/>
                  <a:gd name="T16" fmla="*/ 9 w 205"/>
                  <a:gd name="T17" fmla="*/ 50 h 78"/>
                  <a:gd name="T18" fmla="*/ 79 w 205"/>
                  <a:gd name="T19" fmla="*/ 75 h 78"/>
                  <a:gd name="T20" fmla="*/ 172 w 205"/>
                  <a:gd name="T21" fmla="*/ 53 h 78"/>
                  <a:gd name="T22" fmla="*/ 203 w 205"/>
                  <a:gd name="T23" fmla="*/ 22 h 78"/>
                  <a:gd name="T24" fmla="*/ 201 w 205"/>
                  <a:gd name="T25" fmla="*/ 21 h 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05" h="78">
                    <a:moveTo>
                      <a:pt x="201" y="21"/>
                    </a:moveTo>
                    <a:cubicBezTo>
                      <a:pt x="199" y="39"/>
                      <a:pt x="180" y="44"/>
                      <a:pt x="166" y="49"/>
                    </a:cubicBezTo>
                    <a:cubicBezTo>
                      <a:pt x="149" y="55"/>
                      <a:pt x="131" y="61"/>
                      <a:pt x="113" y="64"/>
                    </a:cubicBezTo>
                    <a:cubicBezTo>
                      <a:pt x="95" y="68"/>
                      <a:pt x="75" y="70"/>
                      <a:pt x="56" y="69"/>
                    </a:cubicBezTo>
                    <a:cubicBezTo>
                      <a:pt x="39" y="68"/>
                      <a:pt x="26" y="64"/>
                      <a:pt x="19" y="48"/>
                    </a:cubicBezTo>
                    <a:cubicBezTo>
                      <a:pt x="13" y="36"/>
                      <a:pt x="15" y="32"/>
                      <a:pt x="24" y="22"/>
                    </a:cubicBezTo>
                    <a:cubicBezTo>
                      <a:pt x="30" y="15"/>
                      <a:pt x="37" y="10"/>
                      <a:pt x="45" y="6"/>
                    </a:cubicBezTo>
                    <a:cubicBezTo>
                      <a:pt x="48" y="5"/>
                      <a:pt x="46" y="0"/>
                      <a:pt x="43" y="1"/>
                    </a:cubicBezTo>
                    <a:cubicBezTo>
                      <a:pt x="25" y="6"/>
                      <a:pt x="0" y="29"/>
                      <a:pt x="9" y="50"/>
                    </a:cubicBezTo>
                    <a:cubicBezTo>
                      <a:pt x="20" y="78"/>
                      <a:pt x="56" y="76"/>
                      <a:pt x="79" y="75"/>
                    </a:cubicBezTo>
                    <a:cubicBezTo>
                      <a:pt x="111" y="74"/>
                      <a:pt x="142" y="64"/>
                      <a:pt x="172" y="53"/>
                    </a:cubicBezTo>
                    <a:cubicBezTo>
                      <a:pt x="187" y="48"/>
                      <a:pt x="205" y="40"/>
                      <a:pt x="203" y="22"/>
                    </a:cubicBezTo>
                    <a:cubicBezTo>
                      <a:pt x="202" y="21"/>
                      <a:pt x="202" y="21"/>
                      <a:pt x="201" y="21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000" name="Freeform 313">
                <a:extLst>
                  <a:ext uri="{FF2B5EF4-FFF2-40B4-BE49-F238E27FC236}">
                    <a16:creationId xmlns:a16="http://schemas.microsoft.com/office/drawing/2014/main" id="{3F09AC36-BE05-40FC-B64B-5572586FE4AB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7560" y="3252"/>
                <a:ext cx="95" cy="101"/>
              </a:xfrm>
              <a:custGeom>
                <a:avLst/>
                <a:gdLst>
                  <a:gd name="T0" fmla="*/ 64 w 89"/>
                  <a:gd name="T1" fmla="*/ 2 h 95"/>
                  <a:gd name="T2" fmla="*/ 80 w 89"/>
                  <a:gd name="T3" fmla="*/ 21 h 95"/>
                  <a:gd name="T4" fmla="*/ 62 w 89"/>
                  <a:gd name="T5" fmla="*/ 58 h 95"/>
                  <a:gd name="T6" fmla="*/ 1 w 89"/>
                  <a:gd name="T7" fmla="*/ 89 h 95"/>
                  <a:gd name="T8" fmla="*/ 1 w 89"/>
                  <a:gd name="T9" fmla="*/ 92 h 95"/>
                  <a:gd name="T10" fmla="*/ 39 w 89"/>
                  <a:gd name="T11" fmla="*/ 82 h 95"/>
                  <a:gd name="T12" fmla="*/ 78 w 89"/>
                  <a:gd name="T13" fmla="*/ 52 h 95"/>
                  <a:gd name="T14" fmla="*/ 89 w 89"/>
                  <a:gd name="T15" fmla="*/ 26 h 95"/>
                  <a:gd name="T16" fmla="*/ 66 w 89"/>
                  <a:gd name="T17" fmla="*/ 1 h 95"/>
                  <a:gd name="T18" fmla="*/ 64 w 89"/>
                  <a:gd name="T19" fmla="*/ 2 h 9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89" h="95">
                    <a:moveTo>
                      <a:pt x="64" y="2"/>
                    </a:moveTo>
                    <a:cubicBezTo>
                      <a:pt x="69" y="11"/>
                      <a:pt x="76" y="12"/>
                      <a:pt x="80" y="21"/>
                    </a:cubicBezTo>
                    <a:cubicBezTo>
                      <a:pt x="87" y="37"/>
                      <a:pt x="74" y="49"/>
                      <a:pt x="62" y="58"/>
                    </a:cubicBezTo>
                    <a:cubicBezTo>
                      <a:pt x="44" y="74"/>
                      <a:pt x="23" y="81"/>
                      <a:pt x="1" y="89"/>
                    </a:cubicBezTo>
                    <a:cubicBezTo>
                      <a:pt x="0" y="90"/>
                      <a:pt x="0" y="92"/>
                      <a:pt x="1" y="92"/>
                    </a:cubicBezTo>
                    <a:cubicBezTo>
                      <a:pt x="14" y="95"/>
                      <a:pt x="28" y="87"/>
                      <a:pt x="39" y="82"/>
                    </a:cubicBezTo>
                    <a:cubicBezTo>
                      <a:pt x="53" y="75"/>
                      <a:pt x="67" y="64"/>
                      <a:pt x="78" y="52"/>
                    </a:cubicBezTo>
                    <a:cubicBezTo>
                      <a:pt x="84" y="45"/>
                      <a:pt x="89" y="36"/>
                      <a:pt x="89" y="26"/>
                    </a:cubicBezTo>
                    <a:cubicBezTo>
                      <a:pt x="88" y="11"/>
                      <a:pt x="75" y="10"/>
                      <a:pt x="66" y="1"/>
                    </a:cubicBezTo>
                    <a:cubicBezTo>
                      <a:pt x="65" y="0"/>
                      <a:pt x="63" y="1"/>
                      <a:pt x="64" y="2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001" name="Freeform 314">
                <a:extLst>
                  <a:ext uri="{FF2B5EF4-FFF2-40B4-BE49-F238E27FC236}">
                    <a16:creationId xmlns:a16="http://schemas.microsoft.com/office/drawing/2014/main" id="{66DD8FFB-7E69-41D3-A536-09CCD449D78A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7254" y="3061"/>
                <a:ext cx="193" cy="226"/>
              </a:xfrm>
              <a:custGeom>
                <a:avLst/>
                <a:gdLst>
                  <a:gd name="T0" fmla="*/ 181 w 182"/>
                  <a:gd name="T1" fmla="*/ 1 h 213"/>
                  <a:gd name="T2" fmla="*/ 135 w 182"/>
                  <a:gd name="T3" fmla="*/ 54 h 213"/>
                  <a:gd name="T4" fmla="*/ 94 w 182"/>
                  <a:gd name="T5" fmla="*/ 100 h 213"/>
                  <a:gd name="T6" fmla="*/ 1 w 182"/>
                  <a:gd name="T7" fmla="*/ 210 h 213"/>
                  <a:gd name="T8" fmla="*/ 4 w 182"/>
                  <a:gd name="T9" fmla="*/ 212 h 213"/>
                  <a:gd name="T10" fmla="*/ 100 w 182"/>
                  <a:gd name="T11" fmla="*/ 100 h 213"/>
                  <a:gd name="T12" fmla="*/ 145 w 182"/>
                  <a:gd name="T13" fmla="*/ 49 h 213"/>
                  <a:gd name="T14" fmla="*/ 182 w 182"/>
                  <a:gd name="T15" fmla="*/ 2 h 213"/>
                  <a:gd name="T16" fmla="*/ 181 w 182"/>
                  <a:gd name="T17" fmla="*/ 1 h 2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82" h="213">
                    <a:moveTo>
                      <a:pt x="181" y="1"/>
                    </a:moveTo>
                    <a:cubicBezTo>
                      <a:pt x="172" y="21"/>
                      <a:pt x="151" y="38"/>
                      <a:pt x="135" y="54"/>
                    </a:cubicBezTo>
                    <a:cubicBezTo>
                      <a:pt x="121" y="69"/>
                      <a:pt x="107" y="84"/>
                      <a:pt x="94" y="100"/>
                    </a:cubicBezTo>
                    <a:cubicBezTo>
                      <a:pt x="63" y="137"/>
                      <a:pt x="32" y="173"/>
                      <a:pt x="1" y="210"/>
                    </a:cubicBezTo>
                    <a:cubicBezTo>
                      <a:pt x="0" y="211"/>
                      <a:pt x="2" y="213"/>
                      <a:pt x="4" y="212"/>
                    </a:cubicBezTo>
                    <a:cubicBezTo>
                      <a:pt x="39" y="177"/>
                      <a:pt x="69" y="138"/>
                      <a:pt x="100" y="100"/>
                    </a:cubicBezTo>
                    <a:cubicBezTo>
                      <a:pt x="114" y="82"/>
                      <a:pt x="130" y="66"/>
                      <a:pt x="145" y="49"/>
                    </a:cubicBezTo>
                    <a:cubicBezTo>
                      <a:pt x="158" y="34"/>
                      <a:pt x="174" y="20"/>
                      <a:pt x="182" y="2"/>
                    </a:cubicBezTo>
                    <a:cubicBezTo>
                      <a:pt x="182" y="1"/>
                      <a:pt x="181" y="0"/>
                      <a:pt x="181" y="1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002" name="Freeform 315">
                <a:extLst>
                  <a:ext uri="{FF2B5EF4-FFF2-40B4-BE49-F238E27FC236}">
                    <a16:creationId xmlns:a16="http://schemas.microsoft.com/office/drawing/2014/main" id="{6CF3646C-C572-4D74-ABED-A6C5C82208F2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17" y="633"/>
                <a:ext cx="102" cy="1479"/>
              </a:xfrm>
              <a:custGeom>
                <a:avLst/>
                <a:gdLst>
                  <a:gd name="T0" fmla="*/ 4 w 96"/>
                  <a:gd name="T1" fmla="*/ 3 h 1397"/>
                  <a:gd name="T2" fmla="*/ 9 w 96"/>
                  <a:gd name="T3" fmla="*/ 42 h 1397"/>
                  <a:gd name="T4" fmla="*/ 19 w 96"/>
                  <a:gd name="T5" fmla="*/ 116 h 1397"/>
                  <a:gd name="T6" fmla="*/ 28 w 96"/>
                  <a:gd name="T7" fmla="*/ 252 h 1397"/>
                  <a:gd name="T8" fmla="*/ 47 w 96"/>
                  <a:gd name="T9" fmla="*/ 546 h 1397"/>
                  <a:gd name="T10" fmla="*/ 58 w 96"/>
                  <a:gd name="T11" fmla="*/ 820 h 1397"/>
                  <a:gd name="T12" fmla="*/ 57 w 96"/>
                  <a:gd name="T13" fmla="*/ 963 h 1397"/>
                  <a:gd name="T14" fmla="*/ 58 w 96"/>
                  <a:gd name="T15" fmla="*/ 1030 h 1397"/>
                  <a:gd name="T16" fmla="*/ 64 w 96"/>
                  <a:gd name="T17" fmla="*/ 1102 h 1397"/>
                  <a:gd name="T18" fmla="*/ 61 w 96"/>
                  <a:gd name="T19" fmla="*/ 1175 h 1397"/>
                  <a:gd name="T20" fmla="*/ 67 w 96"/>
                  <a:gd name="T21" fmla="*/ 1247 h 1397"/>
                  <a:gd name="T22" fmla="*/ 74 w 96"/>
                  <a:gd name="T23" fmla="*/ 1328 h 1397"/>
                  <a:gd name="T24" fmla="*/ 76 w 96"/>
                  <a:gd name="T25" fmla="*/ 1359 h 1397"/>
                  <a:gd name="T26" fmla="*/ 80 w 96"/>
                  <a:gd name="T27" fmla="*/ 1386 h 1397"/>
                  <a:gd name="T28" fmla="*/ 96 w 96"/>
                  <a:gd name="T29" fmla="*/ 1387 h 1397"/>
                  <a:gd name="T30" fmla="*/ 91 w 96"/>
                  <a:gd name="T31" fmla="*/ 1344 h 1397"/>
                  <a:gd name="T32" fmla="*/ 84 w 96"/>
                  <a:gd name="T33" fmla="*/ 1265 h 1397"/>
                  <a:gd name="T34" fmla="*/ 77 w 96"/>
                  <a:gd name="T35" fmla="*/ 1194 h 1397"/>
                  <a:gd name="T36" fmla="*/ 79 w 96"/>
                  <a:gd name="T37" fmla="*/ 1125 h 1397"/>
                  <a:gd name="T38" fmla="*/ 72 w 96"/>
                  <a:gd name="T39" fmla="*/ 986 h 1397"/>
                  <a:gd name="T40" fmla="*/ 73 w 96"/>
                  <a:gd name="T41" fmla="*/ 852 h 1397"/>
                  <a:gd name="T42" fmla="*/ 72 w 96"/>
                  <a:gd name="T43" fmla="*/ 715 h 1397"/>
                  <a:gd name="T44" fmla="*/ 64 w 96"/>
                  <a:gd name="T45" fmla="*/ 588 h 1397"/>
                  <a:gd name="T46" fmla="*/ 45 w 96"/>
                  <a:gd name="T47" fmla="*/ 302 h 1397"/>
                  <a:gd name="T48" fmla="*/ 33 w 96"/>
                  <a:gd name="T49" fmla="*/ 144 h 1397"/>
                  <a:gd name="T50" fmla="*/ 22 w 96"/>
                  <a:gd name="T51" fmla="*/ 71 h 1397"/>
                  <a:gd name="T52" fmla="*/ 15 w 96"/>
                  <a:gd name="T53" fmla="*/ 33 h 1397"/>
                  <a:gd name="T54" fmla="*/ 9 w 96"/>
                  <a:gd name="T55" fmla="*/ 4 h 1397"/>
                  <a:gd name="T56" fmla="*/ 4 w 96"/>
                  <a:gd name="T57" fmla="*/ 3 h 13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96" h="1397">
                    <a:moveTo>
                      <a:pt x="4" y="3"/>
                    </a:moveTo>
                    <a:cubicBezTo>
                      <a:pt x="0" y="16"/>
                      <a:pt x="7" y="29"/>
                      <a:pt x="9" y="42"/>
                    </a:cubicBezTo>
                    <a:cubicBezTo>
                      <a:pt x="12" y="66"/>
                      <a:pt x="16" y="91"/>
                      <a:pt x="19" y="116"/>
                    </a:cubicBezTo>
                    <a:cubicBezTo>
                      <a:pt x="24" y="161"/>
                      <a:pt x="25" y="207"/>
                      <a:pt x="28" y="252"/>
                    </a:cubicBezTo>
                    <a:cubicBezTo>
                      <a:pt x="36" y="350"/>
                      <a:pt x="40" y="448"/>
                      <a:pt x="47" y="546"/>
                    </a:cubicBezTo>
                    <a:cubicBezTo>
                      <a:pt x="53" y="637"/>
                      <a:pt x="58" y="729"/>
                      <a:pt x="58" y="820"/>
                    </a:cubicBezTo>
                    <a:cubicBezTo>
                      <a:pt x="58" y="868"/>
                      <a:pt x="58" y="915"/>
                      <a:pt x="57" y="963"/>
                    </a:cubicBezTo>
                    <a:cubicBezTo>
                      <a:pt x="57" y="985"/>
                      <a:pt x="56" y="1007"/>
                      <a:pt x="58" y="1030"/>
                    </a:cubicBezTo>
                    <a:cubicBezTo>
                      <a:pt x="59" y="1054"/>
                      <a:pt x="64" y="1078"/>
                      <a:pt x="64" y="1102"/>
                    </a:cubicBezTo>
                    <a:cubicBezTo>
                      <a:pt x="64" y="1126"/>
                      <a:pt x="62" y="1151"/>
                      <a:pt x="61" y="1175"/>
                    </a:cubicBezTo>
                    <a:cubicBezTo>
                      <a:pt x="61" y="1200"/>
                      <a:pt x="64" y="1223"/>
                      <a:pt x="67" y="1247"/>
                    </a:cubicBezTo>
                    <a:cubicBezTo>
                      <a:pt x="70" y="1274"/>
                      <a:pt x="70" y="1301"/>
                      <a:pt x="74" y="1328"/>
                    </a:cubicBezTo>
                    <a:cubicBezTo>
                      <a:pt x="76" y="1338"/>
                      <a:pt x="75" y="1348"/>
                      <a:pt x="76" y="1359"/>
                    </a:cubicBezTo>
                    <a:cubicBezTo>
                      <a:pt x="77" y="1368"/>
                      <a:pt x="80" y="1376"/>
                      <a:pt x="80" y="1386"/>
                    </a:cubicBezTo>
                    <a:cubicBezTo>
                      <a:pt x="80" y="1396"/>
                      <a:pt x="96" y="1397"/>
                      <a:pt x="96" y="1387"/>
                    </a:cubicBezTo>
                    <a:cubicBezTo>
                      <a:pt x="96" y="1372"/>
                      <a:pt x="92" y="1359"/>
                      <a:pt x="91" y="1344"/>
                    </a:cubicBezTo>
                    <a:cubicBezTo>
                      <a:pt x="91" y="1318"/>
                      <a:pt x="86" y="1291"/>
                      <a:pt x="84" y="1265"/>
                    </a:cubicBezTo>
                    <a:cubicBezTo>
                      <a:pt x="82" y="1241"/>
                      <a:pt x="77" y="1218"/>
                      <a:pt x="77" y="1194"/>
                    </a:cubicBezTo>
                    <a:cubicBezTo>
                      <a:pt x="76" y="1171"/>
                      <a:pt x="78" y="1148"/>
                      <a:pt x="79" y="1125"/>
                    </a:cubicBezTo>
                    <a:cubicBezTo>
                      <a:pt x="80" y="1078"/>
                      <a:pt x="72" y="1033"/>
                      <a:pt x="72" y="986"/>
                    </a:cubicBezTo>
                    <a:cubicBezTo>
                      <a:pt x="72" y="941"/>
                      <a:pt x="73" y="897"/>
                      <a:pt x="73" y="852"/>
                    </a:cubicBezTo>
                    <a:cubicBezTo>
                      <a:pt x="73" y="806"/>
                      <a:pt x="75" y="761"/>
                      <a:pt x="72" y="715"/>
                    </a:cubicBezTo>
                    <a:cubicBezTo>
                      <a:pt x="70" y="673"/>
                      <a:pt x="66" y="630"/>
                      <a:pt x="64" y="588"/>
                    </a:cubicBezTo>
                    <a:cubicBezTo>
                      <a:pt x="59" y="493"/>
                      <a:pt x="52" y="398"/>
                      <a:pt x="45" y="302"/>
                    </a:cubicBezTo>
                    <a:cubicBezTo>
                      <a:pt x="41" y="250"/>
                      <a:pt x="38" y="197"/>
                      <a:pt x="33" y="144"/>
                    </a:cubicBezTo>
                    <a:cubicBezTo>
                      <a:pt x="31" y="119"/>
                      <a:pt x="27" y="95"/>
                      <a:pt x="22" y="71"/>
                    </a:cubicBezTo>
                    <a:cubicBezTo>
                      <a:pt x="20" y="58"/>
                      <a:pt x="18" y="45"/>
                      <a:pt x="15" y="33"/>
                    </a:cubicBezTo>
                    <a:cubicBezTo>
                      <a:pt x="13" y="23"/>
                      <a:pt x="7" y="14"/>
                      <a:pt x="9" y="4"/>
                    </a:cubicBezTo>
                    <a:cubicBezTo>
                      <a:pt x="10" y="2"/>
                      <a:pt x="5" y="0"/>
                      <a:pt x="4" y="3"/>
                    </a:cubicBezTo>
                    <a:close/>
                  </a:path>
                </a:pathLst>
              </a:custGeom>
              <a:solidFill>
                <a:srgbClr val="04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003" name="Freeform 316">
                <a:extLst>
                  <a:ext uri="{FF2B5EF4-FFF2-40B4-BE49-F238E27FC236}">
                    <a16:creationId xmlns:a16="http://schemas.microsoft.com/office/drawing/2014/main" id="{2433FDDA-A6F5-49E0-B140-F2B26B0674B2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51" y="2994"/>
                <a:ext cx="214" cy="238"/>
              </a:xfrm>
              <a:custGeom>
                <a:avLst/>
                <a:gdLst>
                  <a:gd name="T0" fmla="*/ 61 w 202"/>
                  <a:gd name="T1" fmla="*/ 137 h 225"/>
                  <a:gd name="T2" fmla="*/ 61 w 202"/>
                  <a:gd name="T3" fmla="*/ 138 h 225"/>
                  <a:gd name="T4" fmla="*/ 54 w 202"/>
                  <a:gd name="T5" fmla="*/ 135 h 225"/>
                  <a:gd name="T6" fmla="*/ 26 w 202"/>
                  <a:gd name="T7" fmla="*/ 125 h 225"/>
                  <a:gd name="T8" fmla="*/ 6 w 202"/>
                  <a:gd name="T9" fmla="*/ 121 h 225"/>
                  <a:gd name="T10" fmla="*/ 1 w 202"/>
                  <a:gd name="T11" fmla="*/ 96 h 225"/>
                  <a:gd name="T12" fmla="*/ 25 w 202"/>
                  <a:gd name="T13" fmla="*/ 59 h 225"/>
                  <a:gd name="T14" fmla="*/ 68 w 202"/>
                  <a:gd name="T15" fmla="*/ 66 h 225"/>
                  <a:gd name="T16" fmla="*/ 68 w 202"/>
                  <a:gd name="T17" fmla="*/ 65 h 225"/>
                  <a:gd name="T18" fmla="*/ 77 w 202"/>
                  <a:gd name="T19" fmla="*/ 62 h 225"/>
                  <a:gd name="T20" fmla="*/ 82 w 202"/>
                  <a:gd name="T21" fmla="*/ 35 h 225"/>
                  <a:gd name="T22" fmla="*/ 85 w 202"/>
                  <a:gd name="T23" fmla="*/ 24 h 225"/>
                  <a:gd name="T24" fmla="*/ 89 w 202"/>
                  <a:gd name="T25" fmla="*/ 11 h 225"/>
                  <a:gd name="T26" fmla="*/ 118 w 202"/>
                  <a:gd name="T27" fmla="*/ 11 h 225"/>
                  <a:gd name="T28" fmla="*/ 145 w 202"/>
                  <a:gd name="T29" fmla="*/ 23 h 225"/>
                  <a:gd name="T30" fmla="*/ 154 w 202"/>
                  <a:gd name="T31" fmla="*/ 40 h 225"/>
                  <a:gd name="T32" fmla="*/ 142 w 202"/>
                  <a:gd name="T33" fmla="*/ 93 h 225"/>
                  <a:gd name="T34" fmla="*/ 147 w 202"/>
                  <a:gd name="T35" fmla="*/ 96 h 225"/>
                  <a:gd name="T36" fmla="*/ 178 w 202"/>
                  <a:gd name="T37" fmla="*/ 101 h 225"/>
                  <a:gd name="T38" fmla="*/ 202 w 202"/>
                  <a:gd name="T39" fmla="*/ 115 h 225"/>
                  <a:gd name="T40" fmla="*/ 201 w 202"/>
                  <a:gd name="T41" fmla="*/ 140 h 225"/>
                  <a:gd name="T42" fmla="*/ 197 w 202"/>
                  <a:gd name="T43" fmla="*/ 157 h 225"/>
                  <a:gd name="T44" fmla="*/ 191 w 202"/>
                  <a:gd name="T45" fmla="*/ 173 h 225"/>
                  <a:gd name="T46" fmla="*/ 175 w 202"/>
                  <a:gd name="T47" fmla="*/ 176 h 225"/>
                  <a:gd name="T48" fmla="*/ 131 w 202"/>
                  <a:gd name="T49" fmla="*/ 165 h 225"/>
                  <a:gd name="T50" fmla="*/ 130 w 202"/>
                  <a:gd name="T51" fmla="*/ 164 h 225"/>
                  <a:gd name="T52" fmla="*/ 122 w 202"/>
                  <a:gd name="T53" fmla="*/ 189 h 225"/>
                  <a:gd name="T54" fmla="*/ 107 w 202"/>
                  <a:gd name="T55" fmla="*/ 221 h 225"/>
                  <a:gd name="T56" fmla="*/ 76 w 202"/>
                  <a:gd name="T57" fmla="*/ 216 h 225"/>
                  <a:gd name="T58" fmla="*/ 53 w 202"/>
                  <a:gd name="T59" fmla="*/ 200 h 225"/>
                  <a:gd name="T60" fmla="*/ 55 w 202"/>
                  <a:gd name="T61" fmla="*/ 173 h 225"/>
                  <a:gd name="T62" fmla="*/ 60 w 202"/>
                  <a:gd name="T63" fmla="*/ 149 h 225"/>
                  <a:gd name="T64" fmla="*/ 61 w 202"/>
                  <a:gd name="T65" fmla="*/ 137 h 2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202" h="225">
                    <a:moveTo>
                      <a:pt x="61" y="137"/>
                    </a:moveTo>
                    <a:cubicBezTo>
                      <a:pt x="61" y="138"/>
                      <a:pt x="61" y="138"/>
                      <a:pt x="61" y="138"/>
                    </a:cubicBezTo>
                    <a:cubicBezTo>
                      <a:pt x="60" y="135"/>
                      <a:pt x="58" y="135"/>
                      <a:pt x="54" y="135"/>
                    </a:cubicBezTo>
                    <a:cubicBezTo>
                      <a:pt x="46" y="129"/>
                      <a:pt x="35" y="128"/>
                      <a:pt x="26" y="125"/>
                    </a:cubicBezTo>
                    <a:cubicBezTo>
                      <a:pt x="19" y="124"/>
                      <a:pt x="12" y="126"/>
                      <a:pt x="6" y="121"/>
                    </a:cubicBezTo>
                    <a:cubicBezTo>
                      <a:pt x="0" y="113"/>
                      <a:pt x="1" y="105"/>
                      <a:pt x="1" y="96"/>
                    </a:cubicBezTo>
                    <a:cubicBezTo>
                      <a:pt x="3" y="80"/>
                      <a:pt x="3" y="57"/>
                      <a:pt x="25" y="59"/>
                    </a:cubicBezTo>
                    <a:cubicBezTo>
                      <a:pt x="39" y="61"/>
                      <a:pt x="52" y="66"/>
                      <a:pt x="68" y="66"/>
                    </a:cubicBezTo>
                    <a:cubicBezTo>
                      <a:pt x="68" y="65"/>
                      <a:pt x="68" y="65"/>
                      <a:pt x="68" y="65"/>
                    </a:cubicBezTo>
                    <a:cubicBezTo>
                      <a:pt x="70" y="68"/>
                      <a:pt x="77" y="62"/>
                      <a:pt x="77" y="62"/>
                    </a:cubicBezTo>
                    <a:cubicBezTo>
                      <a:pt x="83" y="53"/>
                      <a:pt x="79" y="42"/>
                      <a:pt x="82" y="35"/>
                    </a:cubicBezTo>
                    <a:cubicBezTo>
                      <a:pt x="82" y="31"/>
                      <a:pt x="85" y="26"/>
                      <a:pt x="85" y="24"/>
                    </a:cubicBezTo>
                    <a:cubicBezTo>
                      <a:pt x="88" y="20"/>
                      <a:pt x="89" y="15"/>
                      <a:pt x="89" y="11"/>
                    </a:cubicBezTo>
                    <a:cubicBezTo>
                      <a:pt x="95" y="0"/>
                      <a:pt x="112" y="8"/>
                      <a:pt x="118" y="11"/>
                    </a:cubicBezTo>
                    <a:cubicBezTo>
                      <a:pt x="127" y="14"/>
                      <a:pt x="136" y="18"/>
                      <a:pt x="145" y="23"/>
                    </a:cubicBezTo>
                    <a:cubicBezTo>
                      <a:pt x="153" y="26"/>
                      <a:pt x="155" y="31"/>
                      <a:pt x="154" y="40"/>
                    </a:cubicBezTo>
                    <a:cubicBezTo>
                      <a:pt x="148" y="57"/>
                      <a:pt x="151" y="76"/>
                      <a:pt x="142" y="93"/>
                    </a:cubicBezTo>
                    <a:cubicBezTo>
                      <a:pt x="147" y="96"/>
                      <a:pt x="147" y="96"/>
                      <a:pt x="147" y="96"/>
                    </a:cubicBezTo>
                    <a:cubicBezTo>
                      <a:pt x="158" y="99"/>
                      <a:pt x="169" y="100"/>
                      <a:pt x="178" y="101"/>
                    </a:cubicBezTo>
                    <a:cubicBezTo>
                      <a:pt x="187" y="102"/>
                      <a:pt x="198" y="103"/>
                      <a:pt x="202" y="115"/>
                    </a:cubicBezTo>
                    <a:cubicBezTo>
                      <a:pt x="201" y="121"/>
                      <a:pt x="200" y="130"/>
                      <a:pt x="201" y="140"/>
                    </a:cubicBezTo>
                    <a:cubicBezTo>
                      <a:pt x="201" y="146"/>
                      <a:pt x="200" y="151"/>
                      <a:pt x="197" y="157"/>
                    </a:cubicBezTo>
                    <a:cubicBezTo>
                      <a:pt x="197" y="162"/>
                      <a:pt x="194" y="171"/>
                      <a:pt x="191" y="173"/>
                    </a:cubicBezTo>
                    <a:cubicBezTo>
                      <a:pt x="187" y="177"/>
                      <a:pt x="180" y="176"/>
                      <a:pt x="175" y="176"/>
                    </a:cubicBezTo>
                    <a:cubicBezTo>
                      <a:pt x="162" y="172"/>
                      <a:pt x="145" y="161"/>
                      <a:pt x="131" y="165"/>
                    </a:cubicBezTo>
                    <a:cubicBezTo>
                      <a:pt x="130" y="164"/>
                      <a:pt x="130" y="164"/>
                      <a:pt x="130" y="164"/>
                    </a:cubicBezTo>
                    <a:cubicBezTo>
                      <a:pt x="128" y="173"/>
                      <a:pt x="125" y="181"/>
                      <a:pt x="122" y="189"/>
                    </a:cubicBezTo>
                    <a:cubicBezTo>
                      <a:pt x="121" y="198"/>
                      <a:pt x="117" y="218"/>
                      <a:pt x="107" y="221"/>
                    </a:cubicBezTo>
                    <a:cubicBezTo>
                      <a:pt x="98" y="225"/>
                      <a:pt x="85" y="217"/>
                      <a:pt x="76" y="216"/>
                    </a:cubicBezTo>
                    <a:cubicBezTo>
                      <a:pt x="70" y="213"/>
                      <a:pt x="56" y="210"/>
                      <a:pt x="53" y="200"/>
                    </a:cubicBezTo>
                    <a:cubicBezTo>
                      <a:pt x="51" y="191"/>
                      <a:pt x="55" y="180"/>
                      <a:pt x="55" y="173"/>
                    </a:cubicBezTo>
                    <a:cubicBezTo>
                      <a:pt x="58" y="165"/>
                      <a:pt x="59" y="155"/>
                      <a:pt x="60" y="149"/>
                    </a:cubicBezTo>
                    <a:cubicBezTo>
                      <a:pt x="63" y="143"/>
                      <a:pt x="63" y="142"/>
                      <a:pt x="61" y="137"/>
                    </a:cubicBezTo>
                    <a:close/>
                  </a:path>
                </a:pathLst>
              </a:custGeom>
              <a:solidFill>
                <a:srgbClr val="21AAD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004" name="Freeform 317">
                <a:extLst>
                  <a:ext uri="{FF2B5EF4-FFF2-40B4-BE49-F238E27FC236}">
                    <a16:creationId xmlns:a16="http://schemas.microsoft.com/office/drawing/2014/main" id="{838A5C14-7F35-44A4-B904-99EE3220C889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336" y="2468"/>
                <a:ext cx="90" cy="93"/>
              </a:xfrm>
              <a:custGeom>
                <a:avLst/>
                <a:gdLst>
                  <a:gd name="T0" fmla="*/ 5 w 85"/>
                  <a:gd name="T1" fmla="*/ 37 h 88"/>
                  <a:gd name="T2" fmla="*/ 14 w 85"/>
                  <a:gd name="T3" fmla="*/ 20 h 88"/>
                  <a:gd name="T4" fmla="*/ 43 w 85"/>
                  <a:gd name="T5" fmla="*/ 0 h 88"/>
                  <a:gd name="T6" fmla="*/ 75 w 85"/>
                  <a:gd name="T7" fmla="*/ 17 h 88"/>
                  <a:gd name="T8" fmla="*/ 75 w 85"/>
                  <a:gd name="T9" fmla="*/ 65 h 88"/>
                  <a:gd name="T10" fmla="*/ 14 w 85"/>
                  <a:gd name="T11" fmla="*/ 68 h 88"/>
                  <a:gd name="T12" fmla="*/ 3 w 85"/>
                  <a:gd name="T13" fmla="*/ 40 h 88"/>
                  <a:gd name="T14" fmla="*/ 5 w 85"/>
                  <a:gd name="T15" fmla="*/ 37 h 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85" h="88">
                    <a:moveTo>
                      <a:pt x="5" y="37"/>
                    </a:moveTo>
                    <a:cubicBezTo>
                      <a:pt x="14" y="20"/>
                      <a:pt x="14" y="20"/>
                      <a:pt x="14" y="20"/>
                    </a:cubicBezTo>
                    <a:cubicBezTo>
                      <a:pt x="19" y="9"/>
                      <a:pt x="27" y="1"/>
                      <a:pt x="43" y="0"/>
                    </a:cubicBezTo>
                    <a:cubicBezTo>
                      <a:pt x="54" y="1"/>
                      <a:pt x="67" y="5"/>
                      <a:pt x="75" y="17"/>
                    </a:cubicBezTo>
                    <a:cubicBezTo>
                      <a:pt x="85" y="32"/>
                      <a:pt x="84" y="50"/>
                      <a:pt x="75" y="65"/>
                    </a:cubicBezTo>
                    <a:cubicBezTo>
                      <a:pt x="59" y="88"/>
                      <a:pt x="30" y="88"/>
                      <a:pt x="14" y="68"/>
                    </a:cubicBezTo>
                    <a:cubicBezTo>
                      <a:pt x="8" y="60"/>
                      <a:pt x="0" y="48"/>
                      <a:pt x="3" y="40"/>
                    </a:cubicBezTo>
                    <a:cubicBezTo>
                      <a:pt x="4" y="38"/>
                      <a:pt x="4" y="38"/>
                      <a:pt x="5" y="37"/>
                    </a:cubicBezTo>
                    <a:close/>
                  </a:path>
                </a:pathLst>
              </a:custGeom>
              <a:solidFill>
                <a:srgbClr val="21AAD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005" name="Freeform 318">
                <a:extLst>
                  <a:ext uri="{FF2B5EF4-FFF2-40B4-BE49-F238E27FC236}">
                    <a16:creationId xmlns:a16="http://schemas.microsoft.com/office/drawing/2014/main" id="{83C8DCFF-A851-4AA9-928C-AA773DC11C48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385" y="2220"/>
                <a:ext cx="96" cy="100"/>
              </a:xfrm>
              <a:custGeom>
                <a:avLst/>
                <a:gdLst>
                  <a:gd name="T0" fmla="*/ 44 w 91"/>
                  <a:gd name="T1" fmla="*/ 0 h 95"/>
                  <a:gd name="T2" fmla="*/ 75 w 91"/>
                  <a:gd name="T3" fmla="*/ 8 h 95"/>
                  <a:gd name="T4" fmla="*/ 89 w 91"/>
                  <a:gd name="T5" fmla="*/ 30 h 95"/>
                  <a:gd name="T6" fmla="*/ 84 w 91"/>
                  <a:gd name="T7" fmla="*/ 59 h 95"/>
                  <a:gd name="T8" fmla="*/ 63 w 91"/>
                  <a:gd name="T9" fmla="*/ 91 h 95"/>
                  <a:gd name="T10" fmla="*/ 29 w 91"/>
                  <a:gd name="T11" fmla="*/ 90 h 95"/>
                  <a:gd name="T12" fmla="*/ 0 w 91"/>
                  <a:gd name="T13" fmla="*/ 39 h 95"/>
                  <a:gd name="T14" fmla="*/ 0 w 91"/>
                  <a:gd name="T15" fmla="*/ 33 h 95"/>
                  <a:gd name="T16" fmla="*/ 44 w 91"/>
                  <a:gd name="T17" fmla="*/ 0 h 9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91" h="95">
                    <a:moveTo>
                      <a:pt x="44" y="0"/>
                    </a:moveTo>
                    <a:cubicBezTo>
                      <a:pt x="56" y="2"/>
                      <a:pt x="67" y="0"/>
                      <a:pt x="75" y="8"/>
                    </a:cubicBezTo>
                    <a:cubicBezTo>
                      <a:pt x="82" y="13"/>
                      <a:pt x="88" y="21"/>
                      <a:pt x="89" y="30"/>
                    </a:cubicBezTo>
                    <a:cubicBezTo>
                      <a:pt x="91" y="39"/>
                      <a:pt x="87" y="50"/>
                      <a:pt x="84" y="59"/>
                    </a:cubicBezTo>
                    <a:cubicBezTo>
                      <a:pt x="83" y="72"/>
                      <a:pt x="77" y="85"/>
                      <a:pt x="63" y="91"/>
                    </a:cubicBezTo>
                    <a:cubicBezTo>
                      <a:pt x="51" y="94"/>
                      <a:pt x="37" y="95"/>
                      <a:pt x="29" y="90"/>
                    </a:cubicBezTo>
                    <a:cubicBezTo>
                      <a:pt x="10" y="79"/>
                      <a:pt x="0" y="60"/>
                      <a:pt x="0" y="39"/>
                    </a:cubicBezTo>
                    <a:cubicBezTo>
                      <a:pt x="0" y="33"/>
                      <a:pt x="0" y="33"/>
                      <a:pt x="0" y="33"/>
                    </a:cubicBezTo>
                    <a:cubicBezTo>
                      <a:pt x="11" y="15"/>
                      <a:pt x="24" y="3"/>
                      <a:pt x="44" y="0"/>
                    </a:cubicBezTo>
                    <a:close/>
                  </a:path>
                </a:pathLst>
              </a:custGeom>
              <a:solidFill>
                <a:srgbClr val="21AAD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006" name="Freeform 319">
                <a:extLst>
                  <a:ext uri="{FF2B5EF4-FFF2-40B4-BE49-F238E27FC236}">
                    <a16:creationId xmlns:a16="http://schemas.microsoft.com/office/drawing/2014/main" id="{772F01FC-7BF1-4603-A90D-3A004297218D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47" y="2364"/>
                <a:ext cx="99" cy="106"/>
              </a:xfrm>
              <a:custGeom>
                <a:avLst/>
                <a:gdLst>
                  <a:gd name="T0" fmla="*/ 7 w 93"/>
                  <a:gd name="T1" fmla="*/ 41 h 100"/>
                  <a:gd name="T2" fmla="*/ 23 w 93"/>
                  <a:gd name="T3" fmla="*/ 11 h 100"/>
                  <a:gd name="T4" fmla="*/ 58 w 93"/>
                  <a:gd name="T5" fmla="*/ 3 h 100"/>
                  <a:gd name="T6" fmla="*/ 89 w 93"/>
                  <a:gd name="T7" fmla="*/ 33 h 100"/>
                  <a:gd name="T8" fmla="*/ 91 w 93"/>
                  <a:gd name="T9" fmla="*/ 61 h 100"/>
                  <a:gd name="T10" fmla="*/ 73 w 93"/>
                  <a:gd name="T11" fmla="*/ 91 h 100"/>
                  <a:gd name="T12" fmla="*/ 36 w 93"/>
                  <a:gd name="T13" fmla="*/ 96 h 100"/>
                  <a:gd name="T14" fmla="*/ 4 w 93"/>
                  <a:gd name="T15" fmla="*/ 73 h 100"/>
                  <a:gd name="T16" fmla="*/ 7 w 93"/>
                  <a:gd name="T17" fmla="*/ 41 h 1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93" h="100">
                    <a:moveTo>
                      <a:pt x="7" y="41"/>
                    </a:moveTo>
                    <a:cubicBezTo>
                      <a:pt x="9" y="29"/>
                      <a:pt x="13" y="18"/>
                      <a:pt x="23" y="11"/>
                    </a:cubicBezTo>
                    <a:cubicBezTo>
                      <a:pt x="33" y="5"/>
                      <a:pt x="47" y="0"/>
                      <a:pt x="58" y="3"/>
                    </a:cubicBezTo>
                    <a:cubicBezTo>
                      <a:pt x="72" y="7"/>
                      <a:pt x="84" y="19"/>
                      <a:pt x="89" y="33"/>
                    </a:cubicBezTo>
                    <a:cubicBezTo>
                      <a:pt x="93" y="43"/>
                      <a:pt x="92" y="52"/>
                      <a:pt x="91" y="61"/>
                    </a:cubicBezTo>
                    <a:cubicBezTo>
                      <a:pt x="90" y="74"/>
                      <a:pt x="85" y="83"/>
                      <a:pt x="73" y="91"/>
                    </a:cubicBezTo>
                    <a:cubicBezTo>
                      <a:pt x="63" y="97"/>
                      <a:pt x="49" y="100"/>
                      <a:pt x="36" y="96"/>
                    </a:cubicBezTo>
                    <a:cubicBezTo>
                      <a:pt x="24" y="95"/>
                      <a:pt x="10" y="85"/>
                      <a:pt x="4" y="73"/>
                    </a:cubicBezTo>
                    <a:cubicBezTo>
                      <a:pt x="0" y="63"/>
                      <a:pt x="4" y="50"/>
                      <a:pt x="7" y="41"/>
                    </a:cubicBezTo>
                    <a:close/>
                  </a:path>
                </a:pathLst>
              </a:custGeom>
              <a:solidFill>
                <a:srgbClr val="21AAD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007" name="Freeform 320">
                <a:extLst>
                  <a:ext uri="{FF2B5EF4-FFF2-40B4-BE49-F238E27FC236}">
                    <a16:creationId xmlns:a16="http://schemas.microsoft.com/office/drawing/2014/main" id="{9CC75C25-DBC7-483D-8D8D-99439869CC97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71" y="2308"/>
                <a:ext cx="101" cy="101"/>
              </a:xfrm>
              <a:custGeom>
                <a:avLst/>
                <a:gdLst>
                  <a:gd name="T0" fmla="*/ 7 w 95"/>
                  <a:gd name="T1" fmla="*/ 30 h 96"/>
                  <a:gd name="T2" fmla="*/ 18 w 95"/>
                  <a:gd name="T3" fmla="*/ 7 h 96"/>
                  <a:gd name="T4" fmla="*/ 52 w 95"/>
                  <a:gd name="T5" fmla="*/ 1 h 96"/>
                  <a:gd name="T6" fmla="*/ 90 w 95"/>
                  <a:gd name="T7" fmla="*/ 57 h 96"/>
                  <a:gd name="T8" fmla="*/ 27 w 95"/>
                  <a:gd name="T9" fmla="*/ 83 h 96"/>
                  <a:gd name="T10" fmla="*/ 2 w 95"/>
                  <a:gd name="T11" fmla="*/ 55 h 96"/>
                  <a:gd name="T12" fmla="*/ 4 w 95"/>
                  <a:gd name="T13" fmla="*/ 35 h 96"/>
                  <a:gd name="T14" fmla="*/ 7 w 95"/>
                  <a:gd name="T15" fmla="*/ 30 h 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95" h="96">
                    <a:moveTo>
                      <a:pt x="7" y="30"/>
                    </a:moveTo>
                    <a:cubicBezTo>
                      <a:pt x="8" y="22"/>
                      <a:pt x="10" y="12"/>
                      <a:pt x="18" y="7"/>
                    </a:cubicBezTo>
                    <a:cubicBezTo>
                      <a:pt x="25" y="1"/>
                      <a:pt x="41" y="0"/>
                      <a:pt x="52" y="1"/>
                    </a:cubicBezTo>
                    <a:cubicBezTo>
                      <a:pt x="77" y="6"/>
                      <a:pt x="95" y="30"/>
                      <a:pt x="90" y="57"/>
                    </a:cubicBezTo>
                    <a:cubicBezTo>
                      <a:pt x="83" y="83"/>
                      <a:pt x="50" y="96"/>
                      <a:pt x="27" y="83"/>
                    </a:cubicBezTo>
                    <a:cubicBezTo>
                      <a:pt x="16" y="77"/>
                      <a:pt x="8" y="67"/>
                      <a:pt x="2" y="55"/>
                    </a:cubicBezTo>
                    <a:cubicBezTo>
                      <a:pt x="0" y="48"/>
                      <a:pt x="1" y="44"/>
                      <a:pt x="4" y="35"/>
                    </a:cubicBezTo>
                    <a:lnTo>
                      <a:pt x="7" y="30"/>
                    </a:lnTo>
                    <a:close/>
                  </a:path>
                </a:pathLst>
              </a:custGeom>
              <a:solidFill>
                <a:srgbClr val="21AAD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008" name="Freeform 321">
                <a:extLst>
                  <a:ext uri="{FF2B5EF4-FFF2-40B4-BE49-F238E27FC236}">
                    <a16:creationId xmlns:a16="http://schemas.microsoft.com/office/drawing/2014/main" id="{2D406AD9-C996-4428-B6C0-BC115A08F2BD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38" y="2073"/>
                <a:ext cx="493" cy="1320"/>
              </a:xfrm>
              <a:custGeom>
                <a:avLst/>
                <a:gdLst>
                  <a:gd name="T0" fmla="*/ 250 w 465"/>
                  <a:gd name="T1" fmla="*/ 1158 h 1247"/>
                  <a:gd name="T2" fmla="*/ 146 w 465"/>
                  <a:gd name="T3" fmla="*/ 1232 h 1247"/>
                  <a:gd name="T4" fmla="*/ 40 w 465"/>
                  <a:gd name="T5" fmla="*/ 1236 h 1247"/>
                  <a:gd name="T6" fmla="*/ 50 w 465"/>
                  <a:gd name="T7" fmla="*/ 1237 h 1247"/>
                  <a:gd name="T8" fmla="*/ 134 w 465"/>
                  <a:gd name="T9" fmla="*/ 1215 h 1247"/>
                  <a:gd name="T10" fmla="*/ 204 w 465"/>
                  <a:gd name="T11" fmla="*/ 1172 h 1247"/>
                  <a:gd name="T12" fmla="*/ 247 w 465"/>
                  <a:gd name="T13" fmla="*/ 1101 h 1247"/>
                  <a:gd name="T14" fmla="*/ 270 w 465"/>
                  <a:gd name="T15" fmla="*/ 956 h 1247"/>
                  <a:gd name="T16" fmla="*/ 245 w 465"/>
                  <a:gd name="T17" fmla="*/ 838 h 1247"/>
                  <a:gd name="T18" fmla="*/ 243 w 465"/>
                  <a:gd name="T19" fmla="*/ 837 h 1247"/>
                  <a:gd name="T20" fmla="*/ 273 w 465"/>
                  <a:gd name="T21" fmla="*/ 704 h 1247"/>
                  <a:gd name="T22" fmla="*/ 306 w 465"/>
                  <a:gd name="T23" fmla="*/ 583 h 1247"/>
                  <a:gd name="T24" fmla="*/ 323 w 465"/>
                  <a:gd name="T25" fmla="*/ 514 h 1247"/>
                  <a:gd name="T26" fmla="*/ 370 w 465"/>
                  <a:gd name="T27" fmla="*/ 453 h 1247"/>
                  <a:gd name="T28" fmla="*/ 408 w 465"/>
                  <a:gd name="T29" fmla="*/ 393 h 1247"/>
                  <a:gd name="T30" fmla="*/ 416 w 465"/>
                  <a:gd name="T31" fmla="*/ 334 h 1247"/>
                  <a:gd name="T32" fmla="*/ 413 w 465"/>
                  <a:gd name="T33" fmla="*/ 270 h 1247"/>
                  <a:gd name="T34" fmla="*/ 400 w 465"/>
                  <a:gd name="T35" fmla="*/ 215 h 1247"/>
                  <a:gd name="T36" fmla="*/ 370 w 465"/>
                  <a:gd name="T37" fmla="*/ 144 h 1247"/>
                  <a:gd name="T38" fmla="*/ 321 w 465"/>
                  <a:gd name="T39" fmla="*/ 91 h 1247"/>
                  <a:gd name="T40" fmla="*/ 304 w 465"/>
                  <a:gd name="T41" fmla="*/ 74 h 1247"/>
                  <a:gd name="T42" fmla="*/ 292 w 465"/>
                  <a:gd name="T43" fmla="*/ 80 h 1247"/>
                  <a:gd name="T44" fmla="*/ 284 w 465"/>
                  <a:gd name="T45" fmla="*/ 72 h 1247"/>
                  <a:gd name="T46" fmla="*/ 268 w 465"/>
                  <a:gd name="T47" fmla="*/ 55 h 1247"/>
                  <a:gd name="T48" fmla="*/ 260 w 465"/>
                  <a:gd name="T49" fmla="*/ 61 h 1247"/>
                  <a:gd name="T50" fmla="*/ 249 w 465"/>
                  <a:gd name="T51" fmla="*/ 81 h 1247"/>
                  <a:gd name="T52" fmla="*/ 190 w 465"/>
                  <a:gd name="T53" fmla="*/ 58 h 1247"/>
                  <a:gd name="T54" fmla="*/ 160 w 465"/>
                  <a:gd name="T55" fmla="*/ 54 h 1247"/>
                  <a:gd name="T56" fmla="*/ 168 w 465"/>
                  <a:gd name="T57" fmla="*/ 31 h 1247"/>
                  <a:gd name="T58" fmla="*/ 69 w 465"/>
                  <a:gd name="T59" fmla="*/ 42 h 1247"/>
                  <a:gd name="T60" fmla="*/ 1 w 465"/>
                  <a:gd name="T61" fmla="*/ 77 h 1247"/>
                  <a:gd name="T62" fmla="*/ 0 w 465"/>
                  <a:gd name="T63" fmla="*/ 76 h 1247"/>
                  <a:gd name="T64" fmla="*/ 66 w 465"/>
                  <a:gd name="T65" fmla="*/ 31 h 1247"/>
                  <a:gd name="T66" fmla="*/ 188 w 465"/>
                  <a:gd name="T67" fmla="*/ 4 h 1247"/>
                  <a:gd name="T68" fmla="*/ 291 w 465"/>
                  <a:gd name="T69" fmla="*/ 25 h 1247"/>
                  <a:gd name="T70" fmla="*/ 403 w 465"/>
                  <a:gd name="T71" fmla="*/ 111 h 1247"/>
                  <a:gd name="T72" fmla="*/ 458 w 465"/>
                  <a:gd name="T73" fmla="*/ 245 h 1247"/>
                  <a:gd name="T74" fmla="*/ 457 w 465"/>
                  <a:gd name="T75" fmla="*/ 356 h 1247"/>
                  <a:gd name="T76" fmla="*/ 397 w 465"/>
                  <a:gd name="T77" fmla="*/ 476 h 1247"/>
                  <a:gd name="T78" fmla="*/ 364 w 465"/>
                  <a:gd name="T79" fmla="*/ 522 h 1247"/>
                  <a:gd name="T80" fmla="*/ 347 w 465"/>
                  <a:gd name="T81" fmla="*/ 577 h 1247"/>
                  <a:gd name="T82" fmla="*/ 287 w 465"/>
                  <a:gd name="T83" fmla="*/ 850 h 1247"/>
                  <a:gd name="T84" fmla="*/ 291 w 465"/>
                  <a:gd name="T85" fmla="*/ 851 h 1247"/>
                  <a:gd name="T86" fmla="*/ 297 w 465"/>
                  <a:gd name="T87" fmla="*/ 881 h 1247"/>
                  <a:gd name="T88" fmla="*/ 310 w 465"/>
                  <a:gd name="T89" fmla="*/ 942 h 1247"/>
                  <a:gd name="T90" fmla="*/ 312 w 465"/>
                  <a:gd name="T91" fmla="*/ 994 h 1247"/>
                  <a:gd name="T92" fmla="*/ 303 w 465"/>
                  <a:gd name="T93" fmla="*/ 1059 h 1247"/>
                  <a:gd name="T94" fmla="*/ 286 w 465"/>
                  <a:gd name="T95" fmla="*/ 1100 h 1247"/>
                  <a:gd name="T96" fmla="*/ 250 w 465"/>
                  <a:gd name="T97" fmla="*/ 1158 h 12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465" h="1247">
                    <a:moveTo>
                      <a:pt x="250" y="1158"/>
                    </a:moveTo>
                    <a:cubicBezTo>
                      <a:pt x="225" y="1192"/>
                      <a:pt x="186" y="1218"/>
                      <a:pt x="146" y="1232"/>
                    </a:cubicBezTo>
                    <a:cubicBezTo>
                      <a:pt x="110" y="1247"/>
                      <a:pt x="75" y="1244"/>
                      <a:pt x="40" y="1236"/>
                    </a:cubicBezTo>
                    <a:cubicBezTo>
                      <a:pt x="43" y="1236"/>
                      <a:pt x="47" y="1237"/>
                      <a:pt x="50" y="1237"/>
                    </a:cubicBezTo>
                    <a:cubicBezTo>
                      <a:pt x="79" y="1237"/>
                      <a:pt x="108" y="1226"/>
                      <a:pt x="134" y="1215"/>
                    </a:cubicBezTo>
                    <a:cubicBezTo>
                      <a:pt x="158" y="1204"/>
                      <a:pt x="184" y="1191"/>
                      <a:pt x="204" y="1172"/>
                    </a:cubicBezTo>
                    <a:cubicBezTo>
                      <a:pt x="226" y="1154"/>
                      <a:pt x="238" y="1128"/>
                      <a:pt x="247" y="1101"/>
                    </a:cubicBezTo>
                    <a:cubicBezTo>
                      <a:pt x="263" y="1055"/>
                      <a:pt x="279" y="1004"/>
                      <a:pt x="270" y="956"/>
                    </a:cubicBezTo>
                    <a:cubicBezTo>
                      <a:pt x="264" y="917"/>
                      <a:pt x="248" y="879"/>
                      <a:pt x="245" y="838"/>
                    </a:cubicBezTo>
                    <a:cubicBezTo>
                      <a:pt x="243" y="837"/>
                      <a:pt x="243" y="837"/>
                      <a:pt x="243" y="837"/>
                    </a:cubicBezTo>
                    <a:cubicBezTo>
                      <a:pt x="254" y="793"/>
                      <a:pt x="260" y="749"/>
                      <a:pt x="273" y="704"/>
                    </a:cubicBezTo>
                    <a:cubicBezTo>
                      <a:pt x="284" y="664"/>
                      <a:pt x="295" y="622"/>
                      <a:pt x="306" y="583"/>
                    </a:cubicBezTo>
                    <a:cubicBezTo>
                      <a:pt x="310" y="560"/>
                      <a:pt x="312" y="536"/>
                      <a:pt x="323" y="514"/>
                    </a:cubicBezTo>
                    <a:cubicBezTo>
                      <a:pt x="335" y="490"/>
                      <a:pt x="355" y="472"/>
                      <a:pt x="370" y="453"/>
                    </a:cubicBezTo>
                    <a:cubicBezTo>
                      <a:pt x="385" y="436"/>
                      <a:pt x="399" y="414"/>
                      <a:pt x="408" y="393"/>
                    </a:cubicBezTo>
                    <a:cubicBezTo>
                      <a:pt x="414" y="375"/>
                      <a:pt x="414" y="352"/>
                      <a:pt x="416" y="334"/>
                    </a:cubicBezTo>
                    <a:cubicBezTo>
                      <a:pt x="415" y="314"/>
                      <a:pt x="415" y="291"/>
                      <a:pt x="413" y="270"/>
                    </a:cubicBezTo>
                    <a:cubicBezTo>
                      <a:pt x="412" y="252"/>
                      <a:pt x="405" y="233"/>
                      <a:pt x="400" y="215"/>
                    </a:cubicBezTo>
                    <a:cubicBezTo>
                      <a:pt x="393" y="191"/>
                      <a:pt x="384" y="166"/>
                      <a:pt x="370" y="144"/>
                    </a:cubicBezTo>
                    <a:cubicBezTo>
                      <a:pt x="356" y="124"/>
                      <a:pt x="340" y="107"/>
                      <a:pt x="321" y="91"/>
                    </a:cubicBezTo>
                    <a:cubicBezTo>
                      <a:pt x="304" y="74"/>
                      <a:pt x="304" y="74"/>
                      <a:pt x="304" y="74"/>
                    </a:cubicBezTo>
                    <a:cubicBezTo>
                      <a:pt x="300" y="76"/>
                      <a:pt x="295" y="78"/>
                      <a:pt x="292" y="80"/>
                    </a:cubicBezTo>
                    <a:cubicBezTo>
                      <a:pt x="284" y="72"/>
                      <a:pt x="284" y="72"/>
                      <a:pt x="284" y="72"/>
                    </a:cubicBezTo>
                    <a:cubicBezTo>
                      <a:pt x="268" y="55"/>
                      <a:pt x="268" y="55"/>
                      <a:pt x="268" y="55"/>
                    </a:cubicBezTo>
                    <a:cubicBezTo>
                      <a:pt x="265" y="57"/>
                      <a:pt x="263" y="59"/>
                      <a:pt x="260" y="61"/>
                    </a:cubicBezTo>
                    <a:cubicBezTo>
                      <a:pt x="249" y="81"/>
                      <a:pt x="249" y="81"/>
                      <a:pt x="249" y="81"/>
                    </a:cubicBezTo>
                    <a:cubicBezTo>
                      <a:pt x="230" y="71"/>
                      <a:pt x="210" y="62"/>
                      <a:pt x="190" y="58"/>
                    </a:cubicBezTo>
                    <a:cubicBezTo>
                      <a:pt x="180" y="56"/>
                      <a:pt x="170" y="54"/>
                      <a:pt x="160" y="54"/>
                    </a:cubicBezTo>
                    <a:cubicBezTo>
                      <a:pt x="168" y="31"/>
                      <a:pt x="168" y="31"/>
                      <a:pt x="168" y="31"/>
                    </a:cubicBezTo>
                    <a:cubicBezTo>
                      <a:pt x="134" y="29"/>
                      <a:pt x="102" y="31"/>
                      <a:pt x="69" y="42"/>
                    </a:cubicBezTo>
                    <a:cubicBezTo>
                      <a:pt x="46" y="51"/>
                      <a:pt x="21" y="62"/>
                      <a:pt x="1" y="77"/>
                    </a:cubicBezTo>
                    <a:cubicBezTo>
                      <a:pt x="0" y="76"/>
                      <a:pt x="0" y="76"/>
                      <a:pt x="0" y="76"/>
                    </a:cubicBezTo>
                    <a:cubicBezTo>
                      <a:pt x="21" y="60"/>
                      <a:pt x="43" y="44"/>
                      <a:pt x="66" y="31"/>
                    </a:cubicBezTo>
                    <a:cubicBezTo>
                      <a:pt x="104" y="9"/>
                      <a:pt x="143" y="0"/>
                      <a:pt x="188" y="4"/>
                    </a:cubicBezTo>
                    <a:cubicBezTo>
                      <a:pt x="222" y="5"/>
                      <a:pt x="258" y="13"/>
                      <a:pt x="291" y="25"/>
                    </a:cubicBezTo>
                    <a:cubicBezTo>
                      <a:pt x="335" y="41"/>
                      <a:pt x="375" y="74"/>
                      <a:pt x="403" y="111"/>
                    </a:cubicBezTo>
                    <a:cubicBezTo>
                      <a:pt x="433" y="152"/>
                      <a:pt x="454" y="197"/>
                      <a:pt x="458" y="245"/>
                    </a:cubicBezTo>
                    <a:cubicBezTo>
                      <a:pt x="461" y="282"/>
                      <a:pt x="465" y="321"/>
                      <a:pt x="457" y="356"/>
                    </a:cubicBezTo>
                    <a:cubicBezTo>
                      <a:pt x="450" y="401"/>
                      <a:pt x="426" y="440"/>
                      <a:pt x="397" y="476"/>
                    </a:cubicBezTo>
                    <a:cubicBezTo>
                      <a:pt x="385" y="490"/>
                      <a:pt x="374" y="505"/>
                      <a:pt x="364" y="522"/>
                    </a:cubicBezTo>
                    <a:cubicBezTo>
                      <a:pt x="355" y="540"/>
                      <a:pt x="351" y="560"/>
                      <a:pt x="347" y="577"/>
                    </a:cubicBezTo>
                    <a:cubicBezTo>
                      <a:pt x="327" y="668"/>
                      <a:pt x="305" y="759"/>
                      <a:pt x="287" y="850"/>
                    </a:cubicBezTo>
                    <a:cubicBezTo>
                      <a:pt x="291" y="851"/>
                      <a:pt x="291" y="851"/>
                      <a:pt x="291" y="851"/>
                    </a:cubicBezTo>
                    <a:cubicBezTo>
                      <a:pt x="295" y="861"/>
                      <a:pt x="296" y="872"/>
                      <a:pt x="297" y="881"/>
                    </a:cubicBezTo>
                    <a:cubicBezTo>
                      <a:pt x="302" y="902"/>
                      <a:pt x="307" y="923"/>
                      <a:pt x="310" y="942"/>
                    </a:cubicBezTo>
                    <a:cubicBezTo>
                      <a:pt x="313" y="960"/>
                      <a:pt x="311" y="976"/>
                      <a:pt x="312" y="994"/>
                    </a:cubicBezTo>
                    <a:cubicBezTo>
                      <a:pt x="310" y="1014"/>
                      <a:pt x="308" y="1037"/>
                      <a:pt x="303" y="1059"/>
                    </a:cubicBezTo>
                    <a:cubicBezTo>
                      <a:pt x="300" y="1072"/>
                      <a:pt x="294" y="1088"/>
                      <a:pt x="286" y="1100"/>
                    </a:cubicBezTo>
                    <a:cubicBezTo>
                      <a:pt x="277" y="1120"/>
                      <a:pt x="266" y="1139"/>
                      <a:pt x="250" y="1158"/>
                    </a:cubicBezTo>
                    <a:close/>
                  </a:path>
                </a:pathLst>
              </a:custGeom>
              <a:solidFill>
                <a:srgbClr val="F6B84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009" name="Freeform 322">
                <a:extLst>
                  <a:ext uri="{FF2B5EF4-FFF2-40B4-BE49-F238E27FC236}">
                    <a16:creationId xmlns:a16="http://schemas.microsoft.com/office/drawing/2014/main" id="{0FC3951B-CD59-403E-BB24-FD2AB21C0513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16" y="2103"/>
                <a:ext cx="663" cy="1279"/>
              </a:xfrm>
              <a:custGeom>
                <a:avLst/>
                <a:gdLst>
                  <a:gd name="T0" fmla="*/ 307 w 626"/>
                  <a:gd name="T1" fmla="*/ 381 h 1208"/>
                  <a:gd name="T2" fmla="*/ 316 w 626"/>
                  <a:gd name="T3" fmla="*/ 412 h 1208"/>
                  <a:gd name="T4" fmla="*/ 377 w 626"/>
                  <a:gd name="T5" fmla="*/ 361 h 1208"/>
                  <a:gd name="T6" fmla="*/ 316 w 626"/>
                  <a:gd name="T7" fmla="*/ 364 h 1208"/>
                  <a:gd name="T8" fmla="*/ 369 w 626"/>
                  <a:gd name="T9" fmla="*/ 637 h 1208"/>
                  <a:gd name="T10" fmla="*/ 326 w 626"/>
                  <a:gd name="T11" fmla="*/ 560 h 1208"/>
                  <a:gd name="T12" fmla="*/ 344 w 626"/>
                  <a:gd name="T13" fmla="*/ 641 h 1208"/>
                  <a:gd name="T14" fmla="*/ 374 w 626"/>
                  <a:gd name="T15" fmla="*/ 640 h 1208"/>
                  <a:gd name="T16" fmla="*/ 245 w 626"/>
                  <a:gd name="T17" fmla="*/ 532 h 1208"/>
                  <a:gd name="T18" fmla="*/ 225 w 626"/>
                  <a:gd name="T19" fmla="*/ 526 h 1208"/>
                  <a:gd name="T20" fmla="*/ 197 w 626"/>
                  <a:gd name="T21" fmla="*/ 732 h 1208"/>
                  <a:gd name="T22" fmla="*/ 196 w 626"/>
                  <a:gd name="T23" fmla="*/ 734 h 1208"/>
                  <a:gd name="T24" fmla="*/ 204 w 626"/>
                  <a:gd name="T25" fmla="*/ 1057 h 1208"/>
                  <a:gd name="T26" fmla="*/ 250 w 626"/>
                  <a:gd name="T27" fmla="*/ 1030 h 1208"/>
                  <a:gd name="T28" fmla="*/ 259 w 626"/>
                  <a:gd name="T29" fmla="*/ 1006 h 1208"/>
                  <a:gd name="T30" fmla="*/ 319 w 626"/>
                  <a:gd name="T31" fmla="*/ 1014 h 1208"/>
                  <a:gd name="T32" fmla="*/ 329 w 626"/>
                  <a:gd name="T33" fmla="*/ 981 h 1208"/>
                  <a:gd name="T34" fmla="*/ 306 w 626"/>
                  <a:gd name="T35" fmla="*/ 942 h 1208"/>
                  <a:gd name="T36" fmla="*/ 270 w 626"/>
                  <a:gd name="T37" fmla="*/ 934 h 1208"/>
                  <a:gd name="T38" fmla="*/ 273 w 626"/>
                  <a:gd name="T39" fmla="*/ 864 h 1208"/>
                  <a:gd name="T40" fmla="*/ 217 w 626"/>
                  <a:gd name="T41" fmla="*/ 852 h 1208"/>
                  <a:gd name="T42" fmla="*/ 210 w 626"/>
                  <a:gd name="T43" fmla="*/ 876 h 1208"/>
                  <a:gd name="T44" fmla="*/ 196 w 626"/>
                  <a:gd name="T45" fmla="*/ 906 h 1208"/>
                  <a:gd name="T46" fmla="*/ 153 w 626"/>
                  <a:gd name="T47" fmla="*/ 900 h 1208"/>
                  <a:gd name="T48" fmla="*/ 134 w 626"/>
                  <a:gd name="T49" fmla="*/ 962 h 1208"/>
                  <a:gd name="T50" fmla="*/ 182 w 626"/>
                  <a:gd name="T51" fmla="*/ 976 h 1208"/>
                  <a:gd name="T52" fmla="*/ 189 w 626"/>
                  <a:gd name="T53" fmla="*/ 978 h 1208"/>
                  <a:gd name="T54" fmla="*/ 183 w 626"/>
                  <a:gd name="T55" fmla="*/ 1014 h 1208"/>
                  <a:gd name="T56" fmla="*/ 204 w 626"/>
                  <a:gd name="T57" fmla="*/ 1057 h 1208"/>
                  <a:gd name="T58" fmla="*/ 174 w 626"/>
                  <a:gd name="T59" fmla="*/ 1184 h 1208"/>
                  <a:gd name="T60" fmla="*/ 4 w 626"/>
                  <a:gd name="T61" fmla="*/ 1000 h 1208"/>
                  <a:gd name="T62" fmla="*/ 5 w 626"/>
                  <a:gd name="T63" fmla="*/ 904 h 1208"/>
                  <a:gd name="T64" fmla="*/ 94 w 626"/>
                  <a:gd name="T65" fmla="*/ 456 h 1208"/>
                  <a:gd name="T66" fmla="*/ 182 w 626"/>
                  <a:gd name="T67" fmla="*/ 77 h 1208"/>
                  <a:gd name="T68" fmla="*/ 279 w 626"/>
                  <a:gd name="T69" fmla="*/ 13 h 1208"/>
                  <a:gd name="T70" fmla="*/ 370 w 626"/>
                  <a:gd name="T71" fmla="*/ 25 h 1208"/>
                  <a:gd name="T72" fmla="*/ 459 w 626"/>
                  <a:gd name="T73" fmla="*/ 52 h 1208"/>
                  <a:gd name="T74" fmla="*/ 478 w 626"/>
                  <a:gd name="T75" fmla="*/ 26 h 1208"/>
                  <a:gd name="T76" fmla="*/ 502 w 626"/>
                  <a:gd name="T77" fmla="*/ 51 h 1208"/>
                  <a:gd name="T78" fmla="*/ 531 w 626"/>
                  <a:gd name="T79" fmla="*/ 62 h 1208"/>
                  <a:gd name="T80" fmla="*/ 610 w 626"/>
                  <a:gd name="T81" fmla="*/ 186 h 1208"/>
                  <a:gd name="T82" fmla="*/ 626 w 626"/>
                  <a:gd name="T83" fmla="*/ 305 h 1208"/>
                  <a:gd name="T84" fmla="*/ 580 w 626"/>
                  <a:gd name="T85" fmla="*/ 424 h 1208"/>
                  <a:gd name="T86" fmla="*/ 516 w 626"/>
                  <a:gd name="T87" fmla="*/ 554 h 1208"/>
                  <a:gd name="T88" fmla="*/ 453 w 626"/>
                  <a:gd name="T89" fmla="*/ 808 h 1208"/>
                  <a:gd name="T90" fmla="*/ 480 w 626"/>
                  <a:gd name="T91" fmla="*/ 927 h 1208"/>
                  <a:gd name="T92" fmla="*/ 414 w 626"/>
                  <a:gd name="T93" fmla="*/ 1143 h 1208"/>
                  <a:gd name="T94" fmla="*/ 260 w 626"/>
                  <a:gd name="T95" fmla="*/ 1208 h 1208"/>
                  <a:gd name="T96" fmla="*/ 423 w 626"/>
                  <a:gd name="T97" fmla="*/ 118 h 1208"/>
                  <a:gd name="T98" fmla="*/ 348 w 626"/>
                  <a:gd name="T99" fmla="*/ 143 h 1208"/>
                  <a:gd name="T100" fmla="*/ 377 w 626"/>
                  <a:gd name="T101" fmla="*/ 200 h 1208"/>
                  <a:gd name="T102" fmla="*/ 432 w 626"/>
                  <a:gd name="T103" fmla="*/ 169 h 1208"/>
                  <a:gd name="T104" fmla="*/ 423 w 626"/>
                  <a:gd name="T105" fmla="*/ 118 h 1208"/>
                  <a:gd name="T106" fmla="*/ 465 w 626"/>
                  <a:gd name="T107" fmla="*/ 249 h 1208"/>
                  <a:gd name="T108" fmla="*/ 414 w 626"/>
                  <a:gd name="T109" fmla="*/ 287 h 1208"/>
                  <a:gd name="T110" fmla="*/ 411 w 626"/>
                  <a:gd name="T111" fmla="*/ 319 h 1208"/>
                  <a:gd name="T112" fmla="*/ 480 w 626"/>
                  <a:gd name="T113" fmla="*/ 337 h 1208"/>
                  <a:gd name="T114" fmla="*/ 496 w 626"/>
                  <a:gd name="T115" fmla="*/ 279 h 1208"/>
                  <a:gd name="T116" fmla="*/ 293 w 626"/>
                  <a:gd name="T117" fmla="*/ 194 h 1208"/>
                  <a:gd name="T118" fmla="*/ 248 w 626"/>
                  <a:gd name="T119" fmla="*/ 223 h 1208"/>
                  <a:gd name="T120" fmla="*/ 243 w 626"/>
                  <a:gd name="T121" fmla="*/ 248 h 1208"/>
                  <a:gd name="T122" fmla="*/ 331 w 626"/>
                  <a:gd name="T123" fmla="*/ 250 h 12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626" h="1208">
                    <a:moveTo>
                      <a:pt x="316" y="364"/>
                    </a:moveTo>
                    <a:cubicBezTo>
                      <a:pt x="307" y="381"/>
                      <a:pt x="307" y="381"/>
                      <a:pt x="307" y="381"/>
                    </a:cubicBezTo>
                    <a:cubicBezTo>
                      <a:pt x="306" y="382"/>
                      <a:pt x="306" y="382"/>
                      <a:pt x="305" y="384"/>
                    </a:cubicBezTo>
                    <a:cubicBezTo>
                      <a:pt x="302" y="392"/>
                      <a:pt x="310" y="404"/>
                      <a:pt x="316" y="412"/>
                    </a:cubicBezTo>
                    <a:cubicBezTo>
                      <a:pt x="332" y="432"/>
                      <a:pt x="361" y="432"/>
                      <a:pt x="377" y="409"/>
                    </a:cubicBezTo>
                    <a:cubicBezTo>
                      <a:pt x="386" y="394"/>
                      <a:pt x="387" y="376"/>
                      <a:pt x="377" y="361"/>
                    </a:cubicBezTo>
                    <a:cubicBezTo>
                      <a:pt x="369" y="349"/>
                      <a:pt x="356" y="345"/>
                      <a:pt x="345" y="344"/>
                    </a:cubicBezTo>
                    <a:cubicBezTo>
                      <a:pt x="329" y="345"/>
                      <a:pt x="321" y="353"/>
                      <a:pt x="316" y="364"/>
                    </a:cubicBezTo>
                    <a:close/>
                    <a:moveTo>
                      <a:pt x="374" y="640"/>
                    </a:moveTo>
                    <a:cubicBezTo>
                      <a:pt x="369" y="637"/>
                      <a:pt x="369" y="637"/>
                      <a:pt x="369" y="637"/>
                    </a:cubicBezTo>
                    <a:cubicBezTo>
                      <a:pt x="366" y="619"/>
                      <a:pt x="357" y="600"/>
                      <a:pt x="347" y="583"/>
                    </a:cubicBezTo>
                    <a:cubicBezTo>
                      <a:pt x="343" y="576"/>
                      <a:pt x="336" y="559"/>
                      <a:pt x="326" y="560"/>
                    </a:cubicBezTo>
                    <a:cubicBezTo>
                      <a:pt x="318" y="560"/>
                      <a:pt x="318" y="576"/>
                      <a:pt x="318" y="580"/>
                    </a:cubicBezTo>
                    <a:cubicBezTo>
                      <a:pt x="323" y="601"/>
                      <a:pt x="332" y="624"/>
                      <a:pt x="344" y="641"/>
                    </a:cubicBezTo>
                    <a:cubicBezTo>
                      <a:pt x="350" y="651"/>
                      <a:pt x="362" y="664"/>
                      <a:pt x="370" y="649"/>
                    </a:cubicBezTo>
                    <a:cubicBezTo>
                      <a:pt x="372" y="646"/>
                      <a:pt x="373" y="643"/>
                      <a:pt x="374" y="640"/>
                    </a:cubicBezTo>
                    <a:close/>
                    <a:moveTo>
                      <a:pt x="239" y="544"/>
                    </a:moveTo>
                    <a:cubicBezTo>
                      <a:pt x="243" y="541"/>
                      <a:pt x="245" y="538"/>
                      <a:pt x="245" y="532"/>
                    </a:cubicBezTo>
                    <a:cubicBezTo>
                      <a:pt x="243" y="530"/>
                      <a:pt x="244" y="525"/>
                      <a:pt x="239" y="523"/>
                    </a:cubicBezTo>
                    <a:cubicBezTo>
                      <a:pt x="235" y="520"/>
                      <a:pt x="228" y="521"/>
                      <a:pt x="225" y="526"/>
                    </a:cubicBezTo>
                    <a:cubicBezTo>
                      <a:pt x="219" y="535"/>
                      <a:pt x="231" y="545"/>
                      <a:pt x="239" y="544"/>
                    </a:cubicBezTo>
                    <a:close/>
                    <a:moveTo>
                      <a:pt x="197" y="732"/>
                    </a:moveTo>
                    <a:cubicBezTo>
                      <a:pt x="208" y="731"/>
                      <a:pt x="216" y="716"/>
                      <a:pt x="203" y="710"/>
                    </a:cubicBezTo>
                    <a:cubicBezTo>
                      <a:pt x="189" y="704"/>
                      <a:pt x="185" y="731"/>
                      <a:pt x="196" y="734"/>
                    </a:cubicBezTo>
                    <a:lnTo>
                      <a:pt x="197" y="732"/>
                    </a:lnTo>
                    <a:close/>
                    <a:moveTo>
                      <a:pt x="204" y="1057"/>
                    </a:moveTo>
                    <a:cubicBezTo>
                      <a:pt x="213" y="1058"/>
                      <a:pt x="226" y="1066"/>
                      <a:pt x="235" y="1062"/>
                    </a:cubicBezTo>
                    <a:cubicBezTo>
                      <a:pt x="245" y="1059"/>
                      <a:pt x="249" y="1039"/>
                      <a:pt x="250" y="1030"/>
                    </a:cubicBezTo>
                    <a:cubicBezTo>
                      <a:pt x="253" y="1022"/>
                      <a:pt x="256" y="1014"/>
                      <a:pt x="258" y="1005"/>
                    </a:cubicBezTo>
                    <a:cubicBezTo>
                      <a:pt x="259" y="1006"/>
                      <a:pt x="259" y="1006"/>
                      <a:pt x="259" y="1006"/>
                    </a:cubicBezTo>
                    <a:cubicBezTo>
                      <a:pt x="273" y="1002"/>
                      <a:pt x="290" y="1013"/>
                      <a:pt x="303" y="1017"/>
                    </a:cubicBezTo>
                    <a:cubicBezTo>
                      <a:pt x="308" y="1017"/>
                      <a:pt x="315" y="1018"/>
                      <a:pt x="319" y="1014"/>
                    </a:cubicBezTo>
                    <a:cubicBezTo>
                      <a:pt x="322" y="1012"/>
                      <a:pt x="325" y="1003"/>
                      <a:pt x="325" y="998"/>
                    </a:cubicBezTo>
                    <a:cubicBezTo>
                      <a:pt x="328" y="992"/>
                      <a:pt x="329" y="987"/>
                      <a:pt x="329" y="981"/>
                    </a:cubicBezTo>
                    <a:cubicBezTo>
                      <a:pt x="328" y="971"/>
                      <a:pt x="329" y="962"/>
                      <a:pt x="330" y="956"/>
                    </a:cubicBezTo>
                    <a:cubicBezTo>
                      <a:pt x="326" y="944"/>
                      <a:pt x="315" y="943"/>
                      <a:pt x="306" y="942"/>
                    </a:cubicBezTo>
                    <a:cubicBezTo>
                      <a:pt x="297" y="941"/>
                      <a:pt x="286" y="940"/>
                      <a:pt x="275" y="937"/>
                    </a:cubicBezTo>
                    <a:cubicBezTo>
                      <a:pt x="270" y="934"/>
                      <a:pt x="270" y="934"/>
                      <a:pt x="270" y="934"/>
                    </a:cubicBezTo>
                    <a:cubicBezTo>
                      <a:pt x="279" y="917"/>
                      <a:pt x="276" y="898"/>
                      <a:pt x="282" y="881"/>
                    </a:cubicBezTo>
                    <a:cubicBezTo>
                      <a:pt x="283" y="872"/>
                      <a:pt x="281" y="867"/>
                      <a:pt x="273" y="864"/>
                    </a:cubicBezTo>
                    <a:cubicBezTo>
                      <a:pt x="264" y="859"/>
                      <a:pt x="255" y="855"/>
                      <a:pt x="246" y="852"/>
                    </a:cubicBezTo>
                    <a:cubicBezTo>
                      <a:pt x="240" y="849"/>
                      <a:pt x="223" y="841"/>
                      <a:pt x="217" y="852"/>
                    </a:cubicBezTo>
                    <a:cubicBezTo>
                      <a:pt x="217" y="856"/>
                      <a:pt x="216" y="861"/>
                      <a:pt x="213" y="865"/>
                    </a:cubicBezTo>
                    <a:cubicBezTo>
                      <a:pt x="213" y="867"/>
                      <a:pt x="210" y="872"/>
                      <a:pt x="210" y="876"/>
                    </a:cubicBezTo>
                    <a:cubicBezTo>
                      <a:pt x="207" y="883"/>
                      <a:pt x="211" y="894"/>
                      <a:pt x="205" y="903"/>
                    </a:cubicBezTo>
                    <a:cubicBezTo>
                      <a:pt x="205" y="903"/>
                      <a:pt x="198" y="909"/>
                      <a:pt x="196" y="906"/>
                    </a:cubicBezTo>
                    <a:cubicBezTo>
                      <a:pt x="196" y="907"/>
                      <a:pt x="196" y="907"/>
                      <a:pt x="196" y="907"/>
                    </a:cubicBezTo>
                    <a:cubicBezTo>
                      <a:pt x="180" y="907"/>
                      <a:pt x="167" y="902"/>
                      <a:pt x="153" y="900"/>
                    </a:cubicBezTo>
                    <a:cubicBezTo>
                      <a:pt x="131" y="898"/>
                      <a:pt x="131" y="921"/>
                      <a:pt x="129" y="937"/>
                    </a:cubicBezTo>
                    <a:cubicBezTo>
                      <a:pt x="129" y="946"/>
                      <a:pt x="128" y="954"/>
                      <a:pt x="134" y="962"/>
                    </a:cubicBezTo>
                    <a:cubicBezTo>
                      <a:pt x="140" y="967"/>
                      <a:pt x="147" y="965"/>
                      <a:pt x="154" y="966"/>
                    </a:cubicBezTo>
                    <a:cubicBezTo>
                      <a:pt x="163" y="969"/>
                      <a:pt x="174" y="970"/>
                      <a:pt x="182" y="976"/>
                    </a:cubicBezTo>
                    <a:cubicBezTo>
                      <a:pt x="186" y="976"/>
                      <a:pt x="188" y="976"/>
                      <a:pt x="189" y="979"/>
                    </a:cubicBezTo>
                    <a:cubicBezTo>
                      <a:pt x="189" y="978"/>
                      <a:pt x="189" y="978"/>
                      <a:pt x="189" y="978"/>
                    </a:cubicBezTo>
                    <a:cubicBezTo>
                      <a:pt x="191" y="983"/>
                      <a:pt x="191" y="984"/>
                      <a:pt x="188" y="990"/>
                    </a:cubicBezTo>
                    <a:cubicBezTo>
                      <a:pt x="187" y="996"/>
                      <a:pt x="186" y="1006"/>
                      <a:pt x="183" y="1014"/>
                    </a:cubicBezTo>
                    <a:cubicBezTo>
                      <a:pt x="183" y="1021"/>
                      <a:pt x="179" y="1032"/>
                      <a:pt x="181" y="1041"/>
                    </a:cubicBezTo>
                    <a:cubicBezTo>
                      <a:pt x="184" y="1051"/>
                      <a:pt x="198" y="1054"/>
                      <a:pt x="204" y="1057"/>
                    </a:cubicBezTo>
                    <a:close/>
                    <a:moveTo>
                      <a:pt x="250" y="1207"/>
                    </a:moveTo>
                    <a:cubicBezTo>
                      <a:pt x="224" y="1204"/>
                      <a:pt x="197" y="1194"/>
                      <a:pt x="174" y="1184"/>
                    </a:cubicBezTo>
                    <a:cubicBezTo>
                      <a:pt x="141" y="1169"/>
                      <a:pt x="108" y="1155"/>
                      <a:pt x="81" y="1129"/>
                    </a:cubicBezTo>
                    <a:cubicBezTo>
                      <a:pt x="44" y="1094"/>
                      <a:pt x="24" y="1045"/>
                      <a:pt x="4" y="1000"/>
                    </a:cubicBezTo>
                    <a:cubicBezTo>
                      <a:pt x="5" y="1000"/>
                      <a:pt x="5" y="1000"/>
                      <a:pt x="5" y="1000"/>
                    </a:cubicBezTo>
                    <a:cubicBezTo>
                      <a:pt x="2" y="967"/>
                      <a:pt x="0" y="935"/>
                      <a:pt x="5" y="904"/>
                    </a:cubicBezTo>
                    <a:cubicBezTo>
                      <a:pt x="12" y="859"/>
                      <a:pt x="19" y="812"/>
                      <a:pt x="27" y="768"/>
                    </a:cubicBezTo>
                    <a:cubicBezTo>
                      <a:pt x="47" y="663"/>
                      <a:pt x="74" y="561"/>
                      <a:pt x="94" y="456"/>
                    </a:cubicBezTo>
                    <a:cubicBezTo>
                      <a:pt x="114" y="361"/>
                      <a:pt x="126" y="262"/>
                      <a:pt x="149" y="167"/>
                    </a:cubicBezTo>
                    <a:cubicBezTo>
                      <a:pt x="156" y="136"/>
                      <a:pt x="164" y="102"/>
                      <a:pt x="182" y="77"/>
                    </a:cubicBezTo>
                    <a:cubicBezTo>
                      <a:pt x="190" y="66"/>
                      <a:pt x="200" y="56"/>
                      <a:pt x="211" y="48"/>
                    </a:cubicBezTo>
                    <a:cubicBezTo>
                      <a:pt x="231" y="33"/>
                      <a:pt x="256" y="22"/>
                      <a:pt x="279" y="13"/>
                    </a:cubicBezTo>
                    <a:cubicBezTo>
                      <a:pt x="312" y="2"/>
                      <a:pt x="344" y="0"/>
                      <a:pt x="378" y="2"/>
                    </a:cubicBezTo>
                    <a:cubicBezTo>
                      <a:pt x="370" y="25"/>
                      <a:pt x="370" y="25"/>
                      <a:pt x="370" y="25"/>
                    </a:cubicBezTo>
                    <a:cubicBezTo>
                      <a:pt x="380" y="25"/>
                      <a:pt x="390" y="27"/>
                      <a:pt x="400" y="29"/>
                    </a:cubicBezTo>
                    <a:cubicBezTo>
                      <a:pt x="420" y="33"/>
                      <a:pt x="440" y="42"/>
                      <a:pt x="459" y="52"/>
                    </a:cubicBezTo>
                    <a:cubicBezTo>
                      <a:pt x="470" y="32"/>
                      <a:pt x="470" y="32"/>
                      <a:pt x="470" y="32"/>
                    </a:cubicBezTo>
                    <a:cubicBezTo>
                      <a:pt x="473" y="30"/>
                      <a:pt x="475" y="28"/>
                      <a:pt x="478" y="26"/>
                    </a:cubicBezTo>
                    <a:cubicBezTo>
                      <a:pt x="494" y="43"/>
                      <a:pt x="494" y="43"/>
                      <a:pt x="494" y="43"/>
                    </a:cubicBezTo>
                    <a:cubicBezTo>
                      <a:pt x="502" y="51"/>
                      <a:pt x="502" y="51"/>
                      <a:pt x="502" y="51"/>
                    </a:cubicBezTo>
                    <a:cubicBezTo>
                      <a:pt x="505" y="49"/>
                      <a:pt x="510" y="47"/>
                      <a:pt x="514" y="45"/>
                    </a:cubicBezTo>
                    <a:cubicBezTo>
                      <a:pt x="531" y="62"/>
                      <a:pt x="531" y="62"/>
                      <a:pt x="531" y="62"/>
                    </a:cubicBezTo>
                    <a:cubicBezTo>
                      <a:pt x="550" y="78"/>
                      <a:pt x="566" y="95"/>
                      <a:pt x="580" y="115"/>
                    </a:cubicBezTo>
                    <a:cubicBezTo>
                      <a:pt x="594" y="137"/>
                      <a:pt x="603" y="162"/>
                      <a:pt x="610" y="186"/>
                    </a:cubicBezTo>
                    <a:cubicBezTo>
                      <a:pt x="615" y="204"/>
                      <a:pt x="622" y="223"/>
                      <a:pt x="623" y="241"/>
                    </a:cubicBezTo>
                    <a:cubicBezTo>
                      <a:pt x="625" y="262"/>
                      <a:pt x="625" y="285"/>
                      <a:pt x="626" y="305"/>
                    </a:cubicBezTo>
                    <a:cubicBezTo>
                      <a:pt x="624" y="323"/>
                      <a:pt x="624" y="346"/>
                      <a:pt x="618" y="364"/>
                    </a:cubicBezTo>
                    <a:cubicBezTo>
                      <a:pt x="609" y="385"/>
                      <a:pt x="595" y="407"/>
                      <a:pt x="580" y="424"/>
                    </a:cubicBezTo>
                    <a:cubicBezTo>
                      <a:pt x="565" y="443"/>
                      <a:pt x="545" y="461"/>
                      <a:pt x="533" y="485"/>
                    </a:cubicBezTo>
                    <a:cubicBezTo>
                      <a:pt x="522" y="507"/>
                      <a:pt x="520" y="531"/>
                      <a:pt x="516" y="554"/>
                    </a:cubicBezTo>
                    <a:cubicBezTo>
                      <a:pt x="505" y="593"/>
                      <a:pt x="494" y="635"/>
                      <a:pt x="483" y="675"/>
                    </a:cubicBezTo>
                    <a:cubicBezTo>
                      <a:pt x="470" y="720"/>
                      <a:pt x="464" y="764"/>
                      <a:pt x="453" y="808"/>
                    </a:cubicBezTo>
                    <a:cubicBezTo>
                      <a:pt x="455" y="809"/>
                      <a:pt x="455" y="809"/>
                      <a:pt x="455" y="809"/>
                    </a:cubicBezTo>
                    <a:cubicBezTo>
                      <a:pt x="458" y="850"/>
                      <a:pt x="474" y="888"/>
                      <a:pt x="480" y="927"/>
                    </a:cubicBezTo>
                    <a:cubicBezTo>
                      <a:pt x="489" y="975"/>
                      <a:pt x="473" y="1026"/>
                      <a:pt x="457" y="1072"/>
                    </a:cubicBezTo>
                    <a:cubicBezTo>
                      <a:pt x="448" y="1099"/>
                      <a:pt x="436" y="1125"/>
                      <a:pt x="414" y="1143"/>
                    </a:cubicBezTo>
                    <a:cubicBezTo>
                      <a:pt x="394" y="1162"/>
                      <a:pt x="368" y="1175"/>
                      <a:pt x="344" y="1186"/>
                    </a:cubicBezTo>
                    <a:cubicBezTo>
                      <a:pt x="318" y="1197"/>
                      <a:pt x="289" y="1208"/>
                      <a:pt x="260" y="1208"/>
                    </a:cubicBezTo>
                    <a:cubicBezTo>
                      <a:pt x="257" y="1208"/>
                      <a:pt x="253" y="1207"/>
                      <a:pt x="250" y="1207"/>
                    </a:cubicBezTo>
                    <a:close/>
                    <a:moveTo>
                      <a:pt x="423" y="118"/>
                    </a:moveTo>
                    <a:cubicBezTo>
                      <a:pt x="415" y="110"/>
                      <a:pt x="404" y="112"/>
                      <a:pt x="392" y="110"/>
                    </a:cubicBezTo>
                    <a:cubicBezTo>
                      <a:pt x="372" y="113"/>
                      <a:pt x="359" y="125"/>
                      <a:pt x="348" y="143"/>
                    </a:cubicBezTo>
                    <a:cubicBezTo>
                      <a:pt x="348" y="149"/>
                      <a:pt x="348" y="149"/>
                      <a:pt x="348" y="149"/>
                    </a:cubicBezTo>
                    <a:cubicBezTo>
                      <a:pt x="348" y="170"/>
                      <a:pt x="358" y="189"/>
                      <a:pt x="377" y="200"/>
                    </a:cubicBezTo>
                    <a:cubicBezTo>
                      <a:pt x="385" y="205"/>
                      <a:pt x="399" y="204"/>
                      <a:pt x="411" y="201"/>
                    </a:cubicBezTo>
                    <a:cubicBezTo>
                      <a:pt x="425" y="195"/>
                      <a:pt x="431" y="182"/>
                      <a:pt x="432" y="169"/>
                    </a:cubicBezTo>
                    <a:cubicBezTo>
                      <a:pt x="435" y="160"/>
                      <a:pt x="439" y="149"/>
                      <a:pt x="437" y="140"/>
                    </a:cubicBezTo>
                    <a:cubicBezTo>
                      <a:pt x="436" y="131"/>
                      <a:pt x="430" y="123"/>
                      <a:pt x="423" y="118"/>
                    </a:cubicBezTo>
                    <a:close/>
                    <a:moveTo>
                      <a:pt x="496" y="279"/>
                    </a:moveTo>
                    <a:cubicBezTo>
                      <a:pt x="491" y="265"/>
                      <a:pt x="479" y="253"/>
                      <a:pt x="465" y="249"/>
                    </a:cubicBezTo>
                    <a:cubicBezTo>
                      <a:pt x="454" y="246"/>
                      <a:pt x="440" y="251"/>
                      <a:pt x="430" y="257"/>
                    </a:cubicBezTo>
                    <a:cubicBezTo>
                      <a:pt x="420" y="264"/>
                      <a:pt x="416" y="275"/>
                      <a:pt x="414" y="287"/>
                    </a:cubicBezTo>
                    <a:cubicBezTo>
                      <a:pt x="414" y="287"/>
                      <a:pt x="414" y="287"/>
                      <a:pt x="414" y="287"/>
                    </a:cubicBezTo>
                    <a:cubicBezTo>
                      <a:pt x="411" y="296"/>
                      <a:pt x="407" y="309"/>
                      <a:pt x="411" y="319"/>
                    </a:cubicBezTo>
                    <a:cubicBezTo>
                      <a:pt x="417" y="331"/>
                      <a:pt x="431" y="341"/>
                      <a:pt x="443" y="342"/>
                    </a:cubicBezTo>
                    <a:cubicBezTo>
                      <a:pt x="456" y="346"/>
                      <a:pt x="470" y="343"/>
                      <a:pt x="480" y="337"/>
                    </a:cubicBezTo>
                    <a:cubicBezTo>
                      <a:pt x="492" y="329"/>
                      <a:pt x="497" y="320"/>
                      <a:pt x="498" y="307"/>
                    </a:cubicBezTo>
                    <a:cubicBezTo>
                      <a:pt x="499" y="298"/>
                      <a:pt x="500" y="289"/>
                      <a:pt x="496" y="279"/>
                    </a:cubicBezTo>
                    <a:close/>
                    <a:moveTo>
                      <a:pt x="331" y="250"/>
                    </a:moveTo>
                    <a:cubicBezTo>
                      <a:pt x="336" y="223"/>
                      <a:pt x="318" y="199"/>
                      <a:pt x="293" y="194"/>
                    </a:cubicBezTo>
                    <a:cubicBezTo>
                      <a:pt x="282" y="193"/>
                      <a:pt x="266" y="194"/>
                      <a:pt x="259" y="200"/>
                    </a:cubicBezTo>
                    <a:cubicBezTo>
                      <a:pt x="251" y="205"/>
                      <a:pt x="249" y="215"/>
                      <a:pt x="248" y="223"/>
                    </a:cubicBezTo>
                    <a:cubicBezTo>
                      <a:pt x="245" y="228"/>
                      <a:pt x="245" y="228"/>
                      <a:pt x="245" y="228"/>
                    </a:cubicBezTo>
                    <a:cubicBezTo>
                      <a:pt x="242" y="237"/>
                      <a:pt x="241" y="241"/>
                      <a:pt x="243" y="248"/>
                    </a:cubicBezTo>
                    <a:cubicBezTo>
                      <a:pt x="249" y="260"/>
                      <a:pt x="257" y="270"/>
                      <a:pt x="268" y="276"/>
                    </a:cubicBezTo>
                    <a:cubicBezTo>
                      <a:pt x="291" y="289"/>
                      <a:pt x="324" y="276"/>
                      <a:pt x="331" y="250"/>
                    </a:cubicBezTo>
                    <a:close/>
                  </a:path>
                </a:pathLst>
              </a:custGeom>
              <a:solidFill>
                <a:srgbClr val="F6B84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010" name="Freeform 323">
                <a:extLst>
                  <a:ext uri="{FF2B5EF4-FFF2-40B4-BE49-F238E27FC236}">
                    <a16:creationId xmlns:a16="http://schemas.microsoft.com/office/drawing/2014/main" id="{AB3C0EE1-C545-46F0-AB5A-AFD07C7CD868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323" y="2825"/>
                <a:ext cx="52" cy="104"/>
              </a:xfrm>
              <a:custGeom>
                <a:avLst/>
                <a:gdLst>
                  <a:gd name="T0" fmla="*/ 44 w 49"/>
                  <a:gd name="T1" fmla="*/ 89 h 98"/>
                  <a:gd name="T2" fmla="*/ 28 w 49"/>
                  <a:gd name="T3" fmla="*/ 50 h 98"/>
                  <a:gd name="T4" fmla="*/ 16 w 49"/>
                  <a:gd name="T5" fmla="*/ 18 h 98"/>
                  <a:gd name="T6" fmla="*/ 10 w 49"/>
                  <a:gd name="T7" fmla="*/ 20 h 98"/>
                  <a:gd name="T8" fmla="*/ 22 w 49"/>
                  <a:gd name="T9" fmla="*/ 51 h 98"/>
                  <a:gd name="T10" fmla="*/ 35 w 49"/>
                  <a:gd name="T11" fmla="*/ 86 h 98"/>
                  <a:gd name="T12" fmla="*/ 46 w 49"/>
                  <a:gd name="T13" fmla="*/ 83 h 98"/>
                  <a:gd name="T14" fmla="*/ 20 w 49"/>
                  <a:gd name="T15" fmla="*/ 8 h 98"/>
                  <a:gd name="T16" fmla="*/ 8 w 49"/>
                  <a:gd name="T17" fmla="*/ 14 h 98"/>
                  <a:gd name="T18" fmla="*/ 36 w 49"/>
                  <a:gd name="T19" fmla="*/ 87 h 98"/>
                  <a:gd name="T20" fmla="*/ 46 w 49"/>
                  <a:gd name="T21" fmla="*/ 83 h 98"/>
                  <a:gd name="T22" fmla="*/ 27 w 49"/>
                  <a:gd name="T23" fmla="*/ 29 h 98"/>
                  <a:gd name="T24" fmla="*/ 13 w 49"/>
                  <a:gd name="T25" fmla="*/ 10 h 98"/>
                  <a:gd name="T26" fmla="*/ 7 w 49"/>
                  <a:gd name="T27" fmla="*/ 12 h 98"/>
                  <a:gd name="T28" fmla="*/ 18 w 49"/>
                  <a:gd name="T29" fmla="*/ 55 h 98"/>
                  <a:gd name="T30" fmla="*/ 40 w 49"/>
                  <a:gd name="T31" fmla="*/ 96 h 98"/>
                  <a:gd name="T32" fmla="*/ 44 w 49"/>
                  <a:gd name="T33" fmla="*/ 89 h 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49" h="98">
                    <a:moveTo>
                      <a:pt x="44" y="89"/>
                    </a:moveTo>
                    <a:cubicBezTo>
                      <a:pt x="34" y="80"/>
                      <a:pt x="32" y="63"/>
                      <a:pt x="28" y="50"/>
                    </a:cubicBezTo>
                    <a:cubicBezTo>
                      <a:pt x="26" y="45"/>
                      <a:pt x="13" y="22"/>
                      <a:pt x="16" y="18"/>
                    </a:cubicBezTo>
                    <a:cubicBezTo>
                      <a:pt x="14" y="18"/>
                      <a:pt x="12" y="19"/>
                      <a:pt x="10" y="20"/>
                    </a:cubicBezTo>
                    <a:cubicBezTo>
                      <a:pt x="17" y="23"/>
                      <a:pt x="20" y="45"/>
                      <a:pt x="22" y="51"/>
                    </a:cubicBezTo>
                    <a:cubicBezTo>
                      <a:pt x="26" y="63"/>
                      <a:pt x="31" y="75"/>
                      <a:pt x="35" y="86"/>
                    </a:cubicBezTo>
                    <a:cubicBezTo>
                      <a:pt x="39" y="85"/>
                      <a:pt x="43" y="84"/>
                      <a:pt x="46" y="83"/>
                    </a:cubicBezTo>
                    <a:cubicBezTo>
                      <a:pt x="35" y="58"/>
                      <a:pt x="32" y="31"/>
                      <a:pt x="20" y="8"/>
                    </a:cubicBezTo>
                    <a:cubicBezTo>
                      <a:pt x="16" y="0"/>
                      <a:pt x="4" y="6"/>
                      <a:pt x="8" y="14"/>
                    </a:cubicBezTo>
                    <a:cubicBezTo>
                      <a:pt x="21" y="37"/>
                      <a:pt x="25" y="64"/>
                      <a:pt x="36" y="87"/>
                    </a:cubicBezTo>
                    <a:cubicBezTo>
                      <a:pt x="39" y="93"/>
                      <a:pt x="49" y="89"/>
                      <a:pt x="46" y="83"/>
                    </a:cubicBezTo>
                    <a:cubicBezTo>
                      <a:pt x="39" y="65"/>
                      <a:pt x="32" y="47"/>
                      <a:pt x="27" y="29"/>
                    </a:cubicBezTo>
                    <a:cubicBezTo>
                      <a:pt x="24" y="21"/>
                      <a:pt x="22" y="13"/>
                      <a:pt x="13" y="10"/>
                    </a:cubicBezTo>
                    <a:cubicBezTo>
                      <a:pt x="11" y="9"/>
                      <a:pt x="8" y="10"/>
                      <a:pt x="7" y="12"/>
                    </a:cubicBezTo>
                    <a:cubicBezTo>
                      <a:pt x="0" y="23"/>
                      <a:pt x="15" y="45"/>
                      <a:pt x="18" y="55"/>
                    </a:cubicBezTo>
                    <a:cubicBezTo>
                      <a:pt x="23" y="69"/>
                      <a:pt x="26" y="88"/>
                      <a:pt x="40" y="96"/>
                    </a:cubicBezTo>
                    <a:cubicBezTo>
                      <a:pt x="44" y="98"/>
                      <a:pt x="47" y="92"/>
                      <a:pt x="44" y="89"/>
                    </a:cubicBezTo>
                    <a:close/>
                  </a:path>
                </a:pathLst>
              </a:custGeom>
              <a:solidFill>
                <a:srgbClr val="E840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011" name="Freeform 324">
                <a:extLst>
                  <a:ext uri="{FF2B5EF4-FFF2-40B4-BE49-F238E27FC236}">
                    <a16:creationId xmlns:a16="http://schemas.microsoft.com/office/drawing/2014/main" id="{7057ED82-813A-4DDA-880A-32BCAE44E373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36" y="2757"/>
                <a:ext cx="21" cy="16"/>
              </a:xfrm>
              <a:custGeom>
                <a:avLst/>
                <a:gdLst>
                  <a:gd name="T0" fmla="*/ 9 w 20"/>
                  <a:gd name="T1" fmla="*/ 5 h 16"/>
                  <a:gd name="T2" fmla="*/ 8 w 20"/>
                  <a:gd name="T3" fmla="*/ 5 h 16"/>
                  <a:gd name="T4" fmla="*/ 11 w 20"/>
                  <a:gd name="T5" fmla="*/ 6 h 16"/>
                  <a:gd name="T6" fmla="*/ 11 w 20"/>
                  <a:gd name="T7" fmla="*/ 5 h 16"/>
                  <a:gd name="T8" fmla="*/ 3 w 20"/>
                  <a:gd name="T9" fmla="*/ 3 h 16"/>
                  <a:gd name="T10" fmla="*/ 3 w 20"/>
                  <a:gd name="T11" fmla="*/ 11 h 16"/>
                  <a:gd name="T12" fmla="*/ 14 w 20"/>
                  <a:gd name="T13" fmla="*/ 13 h 16"/>
                  <a:gd name="T14" fmla="*/ 8 w 20"/>
                  <a:gd name="T15" fmla="*/ 4 h 16"/>
                  <a:gd name="T16" fmla="*/ 11 w 20"/>
                  <a:gd name="T17" fmla="*/ 3 h 16"/>
                  <a:gd name="T18" fmla="*/ 12 w 20"/>
                  <a:gd name="T19" fmla="*/ 3 h 16"/>
                  <a:gd name="T20" fmla="*/ 11 w 20"/>
                  <a:gd name="T21" fmla="*/ 3 h 16"/>
                  <a:gd name="T22" fmla="*/ 4 w 20"/>
                  <a:gd name="T23" fmla="*/ 5 h 16"/>
                  <a:gd name="T24" fmla="*/ 5 w 20"/>
                  <a:gd name="T25" fmla="*/ 13 h 16"/>
                  <a:gd name="T26" fmla="*/ 5 w 20"/>
                  <a:gd name="T27" fmla="*/ 13 h 16"/>
                  <a:gd name="T28" fmla="*/ 6 w 20"/>
                  <a:gd name="T29" fmla="*/ 14 h 16"/>
                  <a:gd name="T30" fmla="*/ 8 w 20"/>
                  <a:gd name="T31" fmla="*/ 15 h 16"/>
                  <a:gd name="T32" fmla="*/ 15 w 20"/>
                  <a:gd name="T33" fmla="*/ 12 h 16"/>
                  <a:gd name="T34" fmla="*/ 14 w 20"/>
                  <a:gd name="T35" fmla="*/ 5 h 16"/>
                  <a:gd name="T36" fmla="*/ 10 w 20"/>
                  <a:gd name="T37" fmla="*/ 2 h 16"/>
                  <a:gd name="T38" fmla="*/ 6 w 20"/>
                  <a:gd name="T39" fmla="*/ 14 h 16"/>
                  <a:gd name="T40" fmla="*/ 17 w 20"/>
                  <a:gd name="T41" fmla="*/ 10 h 16"/>
                  <a:gd name="T42" fmla="*/ 10 w 20"/>
                  <a:gd name="T43" fmla="*/ 2 h 16"/>
                  <a:gd name="T44" fmla="*/ 9 w 20"/>
                  <a:gd name="T45" fmla="*/ 2 h 16"/>
                  <a:gd name="T46" fmla="*/ 9 w 20"/>
                  <a:gd name="T47" fmla="*/ 2 h 16"/>
                  <a:gd name="T48" fmla="*/ 7 w 20"/>
                  <a:gd name="T49" fmla="*/ 2 h 16"/>
                  <a:gd name="T50" fmla="*/ 3 w 20"/>
                  <a:gd name="T51" fmla="*/ 11 h 16"/>
                  <a:gd name="T52" fmla="*/ 9 w 20"/>
                  <a:gd name="T53" fmla="*/ 10 h 16"/>
                  <a:gd name="T54" fmla="*/ 7 w 20"/>
                  <a:gd name="T55" fmla="*/ 11 h 16"/>
                  <a:gd name="T56" fmla="*/ 12 w 20"/>
                  <a:gd name="T57" fmla="*/ 7 h 16"/>
                  <a:gd name="T58" fmla="*/ 9 w 20"/>
                  <a:gd name="T59" fmla="*/ 5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0" h="16">
                    <a:moveTo>
                      <a:pt x="9" y="5"/>
                    </a:moveTo>
                    <a:cubicBezTo>
                      <a:pt x="8" y="5"/>
                      <a:pt x="8" y="5"/>
                      <a:pt x="8" y="5"/>
                    </a:cubicBezTo>
                    <a:cubicBezTo>
                      <a:pt x="9" y="5"/>
                      <a:pt x="10" y="6"/>
                      <a:pt x="11" y="6"/>
                    </a:cubicBezTo>
                    <a:cubicBezTo>
                      <a:pt x="11" y="6"/>
                      <a:pt x="11" y="5"/>
                      <a:pt x="11" y="5"/>
                    </a:cubicBezTo>
                    <a:cubicBezTo>
                      <a:pt x="9" y="2"/>
                      <a:pt x="5" y="1"/>
                      <a:pt x="3" y="3"/>
                    </a:cubicBezTo>
                    <a:cubicBezTo>
                      <a:pt x="0" y="5"/>
                      <a:pt x="0" y="9"/>
                      <a:pt x="3" y="11"/>
                    </a:cubicBezTo>
                    <a:cubicBezTo>
                      <a:pt x="6" y="13"/>
                      <a:pt x="10" y="14"/>
                      <a:pt x="14" y="13"/>
                    </a:cubicBezTo>
                    <a:cubicBezTo>
                      <a:pt x="12" y="10"/>
                      <a:pt x="10" y="7"/>
                      <a:pt x="8" y="4"/>
                    </a:cubicBezTo>
                    <a:cubicBezTo>
                      <a:pt x="9" y="3"/>
                      <a:pt x="10" y="3"/>
                      <a:pt x="11" y="3"/>
                    </a:cubicBezTo>
                    <a:cubicBezTo>
                      <a:pt x="12" y="3"/>
                      <a:pt x="12" y="3"/>
                      <a:pt x="12" y="3"/>
                    </a:cubicBezTo>
                    <a:cubicBezTo>
                      <a:pt x="11" y="3"/>
                      <a:pt x="11" y="3"/>
                      <a:pt x="11" y="3"/>
                    </a:cubicBezTo>
                    <a:cubicBezTo>
                      <a:pt x="9" y="1"/>
                      <a:pt x="5" y="3"/>
                      <a:pt x="4" y="5"/>
                    </a:cubicBezTo>
                    <a:cubicBezTo>
                      <a:pt x="2" y="8"/>
                      <a:pt x="3" y="11"/>
                      <a:pt x="5" y="13"/>
                    </a:cubicBezTo>
                    <a:cubicBezTo>
                      <a:pt x="4" y="12"/>
                      <a:pt x="4" y="12"/>
                      <a:pt x="5" y="13"/>
                    </a:cubicBezTo>
                    <a:cubicBezTo>
                      <a:pt x="6" y="14"/>
                      <a:pt x="6" y="14"/>
                      <a:pt x="6" y="14"/>
                    </a:cubicBezTo>
                    <a:cubicBezTo>
                      <a:pt x="7" y="14"/>
                      <a:pt x="7" y="14"/>
                      <a:pt x="8" y="15"/>
                    </a:cubicBezTo>
                    <a:cubicBezTo>
                      <a:pt x="11" y="16"/>
                      <a:pt x="14" y="15"/>
                      <a:pt x="15" y="12"/>
                    </a:cubicBezTo>
                    <a:cubicBezTo>
                      <a:pt x="17" y="10"/>
                      <a:pt x="17" y="6"/>
                      <a:pt x="14" y="5"/>
                    </a:cubicBezTo>
                    <a:cubicBezTo>
                      <a:pt x="13" y="3"/>
                      <a:pt x="12" y="3"/>
                      <a:pt x="10" y="2"/>
                    </a:cubicBezTo>
                    <a:cubicBezTo>
                      <a:pt x="9" y="6"/>
                      <a:pt x="8" y="10"/>
                      <a:pt x="6" y="14"/>
                    </a:cubicBezTo>
                    <a:cubicBezTo>
                      <a:pt x="11" y="16"/>
                      <a:pt x="15" y="14"/>
                      <a:pt x="17" y="10"/>
                    </a:cubicBezTo>
                    <a:cubicBezTo>
                      <a:pt x="20" y="6"/>
                      <a:pt x="15" y="0"/>
                      <a:pt x="10" y="2"/>
                    </a:cubicBezTo>
                    <a:cubicBezTo>
                      <a:pt x="10" y="2"/>
                      <a:pt x="9" y="2"/>
                      <a:pt x="9" y="2"/>
                    </a:cubicBezTo>
                    <a:cubicBezTo>
                      <a:pt x="8" y="2"/>
                      <a:pt x="10" y="2"/>
                      <a:pt x="9" y="2"/>
                    </a:cubicBezTo>
                    <a:cubicBezTo>
                      <a:pt x="8" y="2"/>
                      <a:pt x="7" y="2"/>
                      <a:pt x="7" y="2"/>
                    </a:cubicBezTo>
                    <a:cubicBezTo>
                      <a:pt x="6" y="5"/>
                      <a:pt x="4" y="8"/>
                      <a:pt x="3" y="11"/>
                    </a:cubicBezTo>
                    <a:cubicBezTo>
                      <a:pt x="5" y="12"/>
                      <a:pt x="7" y="12"/>
                      <a:pt x="9" y="10"/>
                    </a:cubicBezTo>
                    <a:cubicBezTo>
                      <a:pt x="8" y="10"/>
                      <a:pt x="8" y="11"/>
                      <a:pt x="7" y="11"/>
                    </a:cubicBezTo>
                    <a:cubicBezTo>
                      <a:pt x="10" y="11"/>
                      <a:pt x="12" y="9"/>
                      <a:pt x="12" y="7"/>
                    </a:cubicBezTo>
                    <a:cubicBezTo>
                      <a:pt x="13" y="5"/>
                      <a:pt x="10" y="3"/>
                      <a:pt x="9" y="5"/>
                    </a:cubicBezTo>
                    <a:close/>
                  </a:path>
                </a:pathLst>
              </a:custGeom>
              <a:solidFill>
                <a:srgbClr val="E840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012" name="Freeform 325">
                <a:extLst>
                  <a:ext uri="{FF2B5EF4-FFF2-40B4-BE49-F238E27FC236}">
                    <a16:creationId xmlns:a16="http://schemas.microsoft.com/office/drawing/2014/main" id="{7166F440-64B5-4BC7-B9A0-41BF5BB89374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51" y="2651"/>
                <a:ext cx="22" cy="28"/>
              </a:xfrm>
              <a:custGeom>
                <a:avLst/>
                <a:gdLst>
                  <a:gd name="T0" fmla="*/ 2 w 21"/>
                  <a:gd name="T1" fmla="*/ 12 h 27"/>
                  <a:gd name="T2" fmla="*/ 10 w 21"/>
                  <a:gd name="T3" fmla="*/ 18 h 27"/>
                  <a:gd name="T4" fmla="*/ 14 w 21"/>
                  <a:gd name="T5" fmla="*/ 18 h 27"/>
                  <a:gd name="T6" fmla="*/ 10 w 21"/>
                  <a:gd name="T7" fmla="*/ 0 h 27"/>
                  <a:gd name="T8" fmla="*/ 3 w 21"/>
                  <a:gd name="T9" fmla="*/ 8 h 27"/>
                  <a:gd name="T10" fmla="*/ 9 w 21"/>
                  <a:gd name="T11" fmla="*/ 20 h 27"/>
                  <a:gd name="T12" fmla="*/ 16 w 21"/>
                  <a:gd name="T13" fmla="*/ 10 h 27"/>
                  <a:gd name="T14" fmla="*/ 6 w 21"/>
                  <a:gd name="T15" fmla="*/ 11 h 27"/>
                  <a:gd name="T16" fmla="*/ 4 w 21"/>
                  <a:gd name="T17" fmla="*/ 24 h 27"/>
                  <a:gd name="T18" fmla="*/ 8 w 21"/>
                  <a:gd name="T19" fmla="*/ 26 h 27"/>
                  <a:gd name="T20" fmla="*/ 15 w 21"/>
                  <a:gd name="T21" fmla="*/ 25 h 27"/>
                  <a:gd name="T22" fmla="*/ 18 w 21"/>
                  <a:gd name="T23" fmla="*/ 19 h 27"/>
                  <a:gd name="T24" fmla="*/ 13 w 21"/>
                  <a:gd name="T25" fmla="*/ 13 h 27"/>
                  <a:gd name="T26" fmla="*/ 11 w 21"/>
                  <a:gd name="T27" fmla="*/ 12 h 27"/>
                  <a:gd name="T28" fmla="*/ 10 w 21"/>
                  <a:gd name="T29" fmla="*/ 24 h 27"/>
                  <a:gd name="T30" fmla="*/ 13 w 21"/>
                  <a:gd name="T31" fmla="*/ 22 h 27"/>
                  <a:gd name="T32" fmla="*/ 20 w 21"/>
                  <a:gd name="T33" fmla="*/ 17 h 27"/>
                  <a:gd name="T34" fmla="*/ 16 w 21"/>
                  <a:gd name="T35" fmla="*/ 10 h 27"/>
                  <a:gd name="T36" fmla="*/ 13 w 21"/>
                  <a:gd name="T37" fmla="*/ 8 h 27"/>
                  <a:gd name="T38" fmla="*/ 13 w 21"/>
                  <a:gd name="T39" fmla="*/ 8 h 27"/>
                  <a:gd name="T40" fmla="*/ 13 w 21"/>
                  <a:gd name="T41" fmla="*/ 9 h 27"/>
                  <a:gd name="T42" fmla="*/ 10 w 21"/>
                  <a:gd name="T43" fmla="*/ 10 h 27"/>
                  <a:gd name="T44" fmla="*/ 9 w 21"/>
                  <a:gd name="T45" fmla="*/ 9 h 27"/>
                  <a:gd name="T46" fmla="*/ 10 w 21"/>
                  <a:gd name="T47" fmla="*/ 10 h 27"/>
                  <a:gd name="T48" fmla="*/ 10 w 21"/>
                  <a:gd name="T49" fmla="*/ 10 h 27"/>
                  <a:gd name="T50" fmla="*/ 9 w 21"/>
                  <a:gd name="T51" fmla="*/ 13 h 27"/>
                  <a:gd name="T52" fmla="*/ 13 w 21"/>
                  <a:gd name="T53" fmla="*/ 12 h 27"/>
                  <a:gd name="T54" fmla="*/ 5 w 21"/>
                  <a:gd name="T55" fmla="*/ 9 h 27"/>
                  <a:gd name="T56" fmla="*/ 2 w 21"/>
                  <a:gd name="T57" fmla="*/ 12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21" h="27">
                    <a:moveTo>
                      <a:pt x="2" y="12"/>
                    </a:moveTo>
                    <a:cubicBezTo>
                      <a:pt x="5" y="14"/>
                      <a:pt x="7" y="16"/>
                      <a:pt x="10" y="18"/>
                    </a:cubicBezTo>
                    <a:cubicBezTo>
                      <a:pt x="11" y="19"/>
                      <a:pt x="13" y="19"/>
                      <a:pt x="14" y="18"/>
                    </a:cubicBezTo>
                    <a:cubicBezTo>
                      <a:pt x="21" y="14"/>
                      <a:pt x="19" y="0"/>
                      <a:pt x="10" y="0"/>
                    </a:cubicBezTo>
                    <a:cubicBezTo>
                      <a:pt x="6" y="1"/>
                      <a:pt x="3" y="4"/>
                      <a:pt x="3" y="8"/>
                    </a:cubicBezTo>
                    <a:cubicBezTo>
                      <a:pt x="3" y="13"/>
                      <a:pt x="6" y="16"/>
                      <a:pt x="9" y="20"/>
                    </a:cubicBezTo>
                    <a:cubicBezTo>
                      <a:pt x="11" y="17"/>
                      <a:pt x="14" y="13"/>
                      <a:pt x="16" y="10"/>
                    </a:cubicBezTo>
                    <a:cubicBezTo>
                      <a:pt x="12" y="9"/>
                      <a:pt x="9" y="10"/>
                      <a:pt x="6" y="11"/>
                    </a:cubicBezTo>
                    <a:cubicBezTo>
                      <a:pt x="0" y="13"/>
                      <a:pt x="0" y="21"/>
                      <a:pt x="4" y="24"/>
                    </a:cubicBezTo>
                    <a:cubicBezTo>
                      <a:pt x="6" y="25"/>
                      <a:pt x="7" y="25"/>
                      <a:pt x="8" y="26"/>
                    </a:cubicBezTo>
                    <a:cubicBezTo>
                      <a:pt x="10" y="27"/>
                      <a:pt x="13" y="27"/>
                      <a:pt x="15" y="25"/>
                    </a:cubicBezTo>
                    <a:cubicBezTo>
                      <a:pt x="17" y="24"/>
                      <a:pt x="18" y="22"/>
                      <a:pt x="18" y="19"/>
                    </a:cubicBezTo>
                    <a:cubicBezTo>
                      <a:pt x="18" y="18"/>
                      <a:pt x="14" y="13"/>
                      <a:pt x="13" y="13"/>
                    </a:cubicBezTo>
                    <a:cubicBezTo>
                      <a:pt x="12" y="12"/>
                      <a:pt x="12" y="12"/>
                      <a:pt x="11" y="12"/>
                    </a:cubicBezTo>
                    <a:cubicBezTo>
                      <a:pt x="11" y="16"/>
                      <a:pt x="10" y="20"/>
                      <a:pt x="10" y="24"/>
                    </a:cubicBezTo>
                    <a:cubicBezTo>
                      <a:pt x="8" y="25"/>
                      <a:pt x="15" y="22"/>
                      <a:pt x="13" y="22"/>
                    </a:cubicBezTo>
                    <a:cubicBezTo>
                      <a:pt x="16" y="23"/>
                      <a:pt x="19" y="20"/>
                      <a:pt x="20" y="17"/>
                    </a:cubicBezTo>
                    <a:cubicBezTo>
                      <a:pt x="20" y="15"/>
                      <a:pt x="19" y="11"/>
                      <a:pt x="16" y="10"/>
                    </a:cubicBezTo>
                    <a:cubicBezTo>
                      <a:pt x="14" y="9"/>
                      <a:pt x="14" y="9"/>
                      <a:pt x="13" y="8"/>
                    </a:cubicBezTo>
                    <a:cubicBezTo>
                      <a:pt x="13" y="7"/>
                      <a:pt x="13" y="7"/>
                      <a:pt x="13" y="8"/>
                    </a:cubicBezTo>
                    <a:cubicBezTo>
                      <a:pt x="13" y="8"/>
                      <a:pt x="13" y="8"/>
                      <a:pt x="13" y="9"/>
                    </a:cubicBezTo>
                    <a:cubicBezTo>
                      <a:pt x="12" y="10"/>
                      <a:pt x="11" y="10"/>
                      <a:pt x="10" y="10"/>
                    </a:cubicBezTo>
                    <a:cubicBezTo>
                      <a:pt x="9" y="9"/>
                      <a:pt x="9" y="9"/>
                      <a:pt x="9" y="9"/>
                    </a:cubicBezTo>
                    <a:cubicBezTo>
                      <a:pt x="9" y="9"/>
                      <a:pt x="9" y="9"/>
                      <a:pt x="10" y="10"/>
                    </a:cubicBezTo>
                    <a:cubicBezTo>
                      <a:pt x="9" y="9"/>
                      <a:pt x="10" y="11"/>
                      <a:pt x="10" y="10"/>
                    </a:cubicBezTo>
                    <a:cubicBezTo>
                      <a:pt x="10" y="11"/>
                      <a:pt x="9" y="12"/>
                      <a:pt x="9" y="13"/>
                    </a:cubicBezTo>
                    <a:cubicBezTo>
                      <a:pt x="10" y="12"/>
                      <a:pt x="12" y="12"/>
                      <a:pt x="13" y="12"/>
                    </a:cubicBezTo>
                    <a:cubicBezTo>
                      <a:pt x="10" y="11"/>
                      <a:pt x="8" y="10"/>
                      <a:pt x="5" y="9"/>
                    </a:cubicBezTo>
                    <a:cubicBezTo>
                      <a:pt x="3" y="8"/>
                      <a:pt x="0" y="11"/>
                      <a:pt x="2" y="12"/>
                    </a:cubicBezTo>
                    <a:close/>
                  </a:path>
                </a:pathLst>
              </a:custGeom>
              <a:solidFill>
                <a:srgbClr val="E840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013" name="Freeform 326">
                <a:extLst>
                  <a:ext uri="{FF2B5EF4-FFF2-40B4-BE49-F238E27FC236}">
                    <a16:creationId xmlns:a16="http://schemas.microsoft.com/office/drawing/2014/main" id="{34EDA95B-EBD0-4971-ADDC-0F6B6E0E23D4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347" y="2686"/>
                <a:ext cx="64" cy="132"/>
              </a:xfrm>
              <a:custGeom>
                <a:avLst/>
                <a:gdLst>
                  <a:gd name="T0" fmla="*/ 52 w 60"/>
                  <a:gd name="T1" fmla="*/ 88 h 125"/>
                  <a:gd name="T2" fmla="*/ 20 w 60"/>
                  <a:gd name="T3" fmla="*/ 26 h 125"/>
                  <a:gd name="T4" fmla="*/ 13 w 60"/>
                  <a:gd name="T5" fmla="*/ 31 h 125"/>
                  <a:gd name="T6" fmla="*/ 25 w 60"/>
                  <a:gd name="T7" fmla="*/ 51 h 125"/>
                  <a:gd name="T8" fmla="*/ 43 w 60"/>
                  <a:gd name="T9" fmla="*/ 85 h 125"/>
                  <a:gd name="T10" fmla="*/ 56 w 60"/>
                  <a:gd name="T11" fmla="*/ 80 h 125"/>
                  <a:gd name="T12" fmla="*/ 33 w 60"/>
                  <a:gd name="T13" fmla="*/ 42 h 125"/>
                  <a:gd name="T14" fmla="*/ 20 w 60"/>
                  <a:gd name="T15" fmla="*/ 49 h 125"/>
                  <a:gd name="T16" fmla="*/ 34 w 60"/>
                  <a:gd name="T17" fmla="*/ 81 h 125"/>
                  <a:gd name="T18" fmla="*/ 47 w 60"/>
                  <a:gd name="T19" fmla="*/ 75 h 125"/>
                  <a:gd name="T20" fmla="*/ 26 w 60"/>
                  <a:gd name="T21" fmla="*/ 10 h 125"/>
                  <a:gd name="T22" fmla="*/ 11 w 60"/>
                  <a:gd name="T23" fmla="*/ 13 h 125"/>
                  <a:gd name="T24" fmla="*/ 32 w 60"/>
                  <a:gd name="T25" fmla="*/ 78 h 125"/>
                  <a:gd name="T26" fmla="*/ 45 w 60"/>
                  <a:gd name="T27" fmla="*/ 72 h 125"/>
                  <a:gd name="T28" fmla="*/ 34 w 60"/>
                  <a:gd name="T29" fmla="*/ 44 h 125"/>
                  <a:gd name="T30" fmla="*/ 21 w 60"/>
                  <a:gd name="T31" fmla="*/ 51 h 125"/>
                  <a:gd name="T32" fmla="*/ 43 w 60"/>
                  <a:gd name="T33" fmla="*/ 84 h 125"/>
                  <a:gd name="T34" fmla="*/ 55 w 60"/>
                  <a:gd name="T35" fmla="*/ 78 h 125"/>
                  <a:gd name="T36" fmla="*/ 33 w 60"/>
                  <a:gd name="T37" fmla="*/ 38 h 125"/>
                  <a:gd name="T38" fmla="*/ 14 w 60"/>
                  <a:gd name="T39" fmla="*/ 17 h 125"/>
                  <a:gd name="T40" fmla="*/ 7 w 60"/>
                  <a:gd name="T41" fmla="*/ 22 h 125"/>
                  <a:gd name="T42" fmla="*/ 58 w 60"/>
                  <a:gd name="T43" fmla="*/ 94 h 125"/>
                  <a:gd name="T44" fmla="*/ 52 w 60"/>
                  <a:gd name="T45" fmla="*/ 88 h 1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60" h="125">
                    <a:moveTo>
                      <a:pt x="52" y="88"/>
                    </a:moveTo>
                    <a:cubicBezTo>
                      <a:pt x="39" y="98"/>
                      <a:pt x="17" y="35"/>
                      <a:pt x="20" y="26"/>
                    </a:cubicBezTo>
                    <a:cubicBezTo>
                      <a:pt x="18" y="28"/>
                      <a:pt x="16" y="29"/>
                      <a:pt x="13" y="31"/>
                    </a:cubicBezTo>
                    <a:cubicBezTo>
                      <a:pt x="18" y="31"/>
                      <a:pt x="23" y="48"/>
                      <a:pt x="25" y="51"/>
                    </a:cubicBezTo>
                    <a:cubicBezTo>
                      <a:pt x="30" y="63"/>
                      <a:pt x="35" y="75"/>
                      <a:pt x="43" y="85"/>
                    </a:cubicBezTo>
                    <a:cubicBezTo>
                      <a:pt x="48" y="92"/>
                      <a:pt x="58" y="88"/>
                      <a:pt x="56" y="80"/>
                    </a:cubicBezTo>
                    <a:cubicBezTo>
                      <a:pt x="52" y="66"/>
                      <a:pt x="41" y="54"/>
                      <a:pt x="33" y="42"/>
                    </a:cubicBezTo>
                    <a:cubicBezTo>
                      <a:pt x="28" y="35"/>
                      <a:pt x="18" y="42"/>
                      <a:pt x="20" y="49"/>
                    </a:cubicBezTo>
                    <a:cubicBezTo>
                      <a:pt x="24" y="61"/>
                      <a:pt x="27" y="71"/>
                      <a:pt x="34" y="81"/>
                    </a:cubicBezTo>
                    <a:cubicBezTo>
                      <a:pt x="38" y="88"/>
                      <a:pt x="48" y="82"/>
                      <a:pt x="47" y="75"/>
                    </a:cubicBezTo>
                    <a:cubicBezTo>
                      <a:pt x="42" y="53"/>
                      <a:pt x="32" y="32"/>
                      <a:pt x="26" y="10"/>
                    </a:cubicBezTo>
                    <a:cubicBezTo>
                      <a:pt x="23" y="0"/>
                      <a:pt x="8" y="3"/>
                      <a:pt x="11" y="13"/>
                    </a:cubicBezTo>
                    <a:cubicBezTo>
                      <a:pt x="17" y="34"/>
                      <a:pt x="27" y="56"/>
                      <a:pt x="32" y="78"/>
                    </a:cubicBezTo>
                    <a:cubicBezTo>
                      <a:pt x="36" y="76"/>
                      <a:pt x="41" y="74"/>
                      <a:pt x="45" y="72"/>
                    </a:cubicBezTo>
                    <a:cubicBezTo>
                      <a:pt x="40" y="63"/>
                      <a:pt x="37" y="54"/>
                      <a:pt x="34" y="44"/>
                    </a:cubicBezTo>
                    <a:cubicBezTo>
                      <a:pt x="30" y="46"/>
                      <a:pt x="25" y="49"/>
                      <a:pt x="21" y="51"/>
                    </a:cubicBezTo>
                    <a:cubicBezTo>
                      <a:pt x="29" y="61"/>
                      <a:pt x="40" y="72"/>
                      <a:pt x="43" y="84"/>
                    </a:cubicBezTo>
                    <a:cubicBezTo>
                      <a:pt x="47" y="82"/>
                      <a:pt x="51" y="80"/>
                      <a:pt x="55" y="78"/>
                    </a:cubicBezTo>
                    <a:cubicBezTo>
                      <a:pt x="46" y="66"/>
                      <a:pt x="40" y="52"/>
                      <a:pt x="33" y="38"/>
                    </a:cubicBezTo>
                    <a:cubicBezTo>
                      <a:pt x="29" y="29"/>
                      <a:pt x="25" y="19"/>
                      <a:pt x="14" y="17"/>
                    </a:cubicBezTo>
                    <a:cubicBezTo>
                      <a:pt x="11" y="17"/>
                      <a:pt x="8" y="20"/>
                      <a:pt x="7" y="22"/>
                    </a:cubicBezTo>
                    <a:cubicBezTo>
                      <a:pt x="0" y="42"/>
                      <a:pt x="39" y="125"/>
                      <a:pt x="58" y="94"/>
                    </a:cubicBezTo>
                    <a:cubicBezTo>
                      <a:pt x="60" y="90"/>
                      <a:pt x="55" y="85"/>
                      <a:pt x="52" y="88"/>
                    </a:cubicBezTo>
                    <a:close/>
                  </a:path>
                </a:pathLst>
              </a:custGeom>
              <a:solidFill>
                <a:srgbClr val="E840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014" name="Freeform 327">
                <a:extLst>
                  <a:ext uri="{FF2B5EF4-FFF2-40B4-BE49-F238E27FC236}">
                    <a16:creationId xmlns:a16="http://schemas.microsoft.com/office/drawing/2014/main" id="{312012B7-AA74-4E04-B2CE-A8E3E6509CA7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16" y="2852"/>
                <a:ext cx="21" cy="27"/>
              </a:xfrm>
              <a:custGeom>
                <a:avLst/>
                <a:gdLst>
                  <a:gd name="T0" fmla="*/ 11 w 20"/>
                  <a:gd name="T1" fmla="*/ 20 h 26"/>
                  <a:gd name="T2" fmla="*/ 9 w 20"/>
                  <a:gd name="T3" fmla="*/ 12 h 26"/>
                  <a:gd name="T4" fmla="*/ 10 w 20"/>
                  <a:gd name="T5" fmla="*/ 10 h 26"/>
                  <a:gd name="T6" fmla="*/ 10 w 20"/>
                  <a:gd name="T7" fmla="*/ 10 h 26"/>
                  <a:gd name="T8" fmla="*/ 7 w 20"/>
                  <a:gd name="T9" fmla="*/ 11 h 26"/>
                  <a:gd name="T10" fmla="*/ 5 w 20"/>
                  <a:gd name="T11" fmla="*/ 10 h 26"/>
                  <a:gd name="T12" fmla="*/ 5 w 20"/>
                  <a:gd name="T13" fmla="*/ 10 h 26"/>
                  <a:gd name="T14" fmla="*/ 6 w 20"/>
                  <a:gd name="T15" fmla="*/ 11 h 26"/>
                  <a:gd name="T16" fmla="*/ 6 w 20"/>
                  <a:gd name="T17" fmla="*/ 12 h 26"/>
                  <a:gd name="T18" fmla="*/ 6 w 20"/>
                  <a:gd name="T19" fmla="*/ 12 h 26"/>
                  <a:gd name="T20" fmla="*/ 6 w 20"/>
                  <a:gd name="T21" fmla="*/ 13 h 26"/>
                  <a:gd name="T22" fmla="*/ 6 w 20"/>
                  <a:gd name="T23" fmla="*/ 13 h 26"/>
                  <a:gd name="T24" fmla="*/ 6 w 20"/>
                  <a:gd name="T25" fmla="*/ 13 h 26"/>
                  <a:gd name="T26" fmla="*/ 16 w 20"/>
                  <a:gd name="T27" fmla="*/ 10 h 26"/>
                  <a:gd name="T28" fmla="*/ 14 w 20"/>
                  <a:gd name="T29" fmla="*/ 9 h 26"/>
                  <a:gd name="T30" fmla="*/ 15 w 20"/>
                  <a:gd name="T31" fmla="*/ 12 h 26"/>
                  <a:gd name="T32" fmla="*/ 15 w 20"/>
                  <a:gd name="T33" fmla="*/ 13 h 26"/>
                  <a:gd name="T34" fmla="*/ 5 w 20"/>
                  <a:gd name="T35" fmla="*/ 16 h 26"/>
                  <a:gd name="T36" fmla="*/ 6 w 20"/>
                  <a:gd name="T37" fmla="*/ 16 h 26"/>
                  <a:gd name="T38" fmla="*/ 6 w 20"/>
                  <a:gd name="T39" fmla="*/ 16 h 26"/>
                  <a:gd name="T40" fmla="*/ 6 w 20"/>
                  <a:gd name="T41" fmla="*/ 17 h 26"/>
                  <a:gd name="T42" fmla="*/ 6 w 20"/>
                  <a:gd name="T43" fmla="*/ 18 h 26"/>
                  <a:gd name="T44" fmla="*/ 16 w 20"/>
                  <a:gd name="T45" fmla="*/ 12 h 26"/>
                  <a:gd name="T46" fmla="*/ 13 w 20"/>
                  <a:gd name="T47" fmla="*/ 11 h 26"/>
                  <a:gd name="T48" fmla="*/ 6 w 20"/>
                  <a:gd name="T49" fmla="*/ 15 h 26"/>
                  <a:gd name="T50" fmla="*/ 8 w 20"/>
                  <a:gd name="T51" fmla="*/ 23 h 26"/>
                  <a:gd name="T52" fmla="*/ 9 w 20"/>
                  <a:gd name="T53" fmla="*/ 24 h 26"/>
                  <a:gd name="T54" fmla="*/ 19 w 20"/>
                  <a:gd name="T55" fmla="*/ 18 h 26"/>
                  <a:gd name="T56" fmla="*/ 17 w 20"/>
                  <a:gd name="T57" fmla="*/ 9 h 26"/>
                  <a:gd name="T58" fmla="*/ 11 w 20"/>
                  <a:gd name="T59" fmla="*/ 5 h 26"/>
                  <a:gd name="T60" fmla="*/ 3 w 20"/>
                  <a:gd name="T61" fmla="*/ 9 h 26"/>
                  <a:gd name="T62" fmla="*/ 9 w 20"/>
                  <a:gd name="T63" fmla="*/ 21 h 26"/>
                  <a:gd name="T64" fmla="*/ 18 w 20"/>
                  <a:gd name="T65" fmla="*/ 17 h 26"/>
                  <a:gd name="T66" fmla="*/ 8 w 20"/>
                  <a:gd name="T67" fmla="*/ 0 h 26"/>
                  <a:gd name="T68" fmla="*/ 0 w 20"/>
                  <a:gd name="T69" fmla="*/ 9 h 26"/>
                  <a:gd name="T70" fmla="*/ 7 w 20"/>
                  <a:gd name="T71" fmla="*/ 22 h 26"/>
                  <a:gd name="T72" fmla="*/ 11 w 20"/>
                  <a:gd name="T73" fmla="*/ 20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20" h="26">
                    <a:moveTo>
                      <a:pt x="11" y="20"/>
                    </a:moveTo>
                    <a:cubicBezTo>
                      <a:pt x="9" y="18"/>
                      <a:pt x="9" y="15"/>
                      <a:pt x="9" y="12"/>
                    </a:cubicBezTo>
                    <a:cubicBezTo>
                      <a:pt x="9" y="11"/>
                      <a:pt x="10" y="11"/>
                      <a:pt x="10" y="10"/>
                    </a:cubicBezTo>
                    <a:cubicBezTo>
                      <a:pt x="10" y="10"/>
                      <a:pt x="10" y="10"/>
                      <a:pt x="10" y="10"/>
                    </a:cubicBezTo>
                    <a:cubicBezTo>
                      <a:pt x="9" y="10"/>
                      <a:pt x="8" y="11"/>
                      <a:pt x="7" y="11"/>
                    </a:cubicBezTo>
                    <a:cubicBezTo>
                      <a:pt x="6" y="11"/>
                      <a:pt x="6" y="11"/>
                      <a:pt x="5" y="10"/>
                    </a:cubicBezTo>
                    <a:cubicBezTo>
                      <a:pt x="5" y="10"/>
                      <a:pt x="5" y="11"/>
                      <a:pt x="5" y="10"/>
                    </a:cubicBezTo>
                    <a:cubicBezTo>
                      <a:pt x="5" y="10"/>
                      <a:pt x="5" y="11"/>
                      <a:pt x="6" y="11"/>
                    </a:cubicBezTo>
                    <a:cubicBezTo>
                      <a:pt x="5" y="10"/>
                      <a:pt x="6" y="12"/>
                      <a:pt x="6" y="12"/>
                    </a:cubicBezTo>
                    <a:cubicBezTo>
                      <a:pt x="6" y="13"/>
                      <a:pt x="6" y="11"/>
                      <a:pt x="6" y="12"/>
                    </a:cubicBezTo>
                    <a:cubicBezTo>
                      <a:pt x="6" y="13"/>
                      <a:pt x="6" y="13"/>
                      <a:pt x="6" y="13"/>
                    </a:cubicBezTo>
                    <a:cubicBezTo>
                      <a:pt x="6" y="13"/>
                      <a:pt x="6" y="12"/>
                      <a:pt x="6" y="13"/>
                    </a:cubicBezTo>
                    <a:cubicBezTo>
                      <a:pt x="6" y="14"/>
                      <a:pt x="7" y="11"/>
                      <a:pt x="6" y="13"/>
                    </a:cubicBezTo>
                    <a:cubicBezTo>
                      <a:pt x="9" y="12"/>
                      <a:pt x="12" y="11"/>
                      <a:pt x="16" y="10"/>
                    </a:cubicBezTo>
                    <a:cubicBezTo>
                      <a:pt x="15" y="10"/>
                      <a:pt x="14" y="9"/>
                      <a:pt x="14" y="9"/>
                    </a:cubicBezTo>
                    <a:cubicBezTo>
                      <a:pt x="14" y="10"/>
                      <a:pt x="15" y="11"/>
                      <a:pt x="15" y="12"/>
                    </a:cubicBezTo>
                    <a:cubicBezTo>
                      <a:pt x="15" y="12"/>
                      <a:pt x="15" y="13"/>
                      <a:pt x="15" y="13"/>
                    </a:cubicBezTo>
                    <a:cubicBezTo>
                      <a:pt x="12" y="14"/>
                      <a:pt x="8" y="15"/>
                      <a:pt x="5" y="16"/>
                    </a:cubicBezTo>
                    <a:cubicBezTo>
                      <a:pt x="6" y="16"/>
                      <a:pt x="6" y="16"/>
                      <a:pt x="6" y="16"/>
                    </a:cubicBezTo>
                    <a:cubicBezTo>
                      <a:pt x="7" y="17"/>
                      <a:pt x="5" y="17"/>
                      <a:pt x="6" y="16"/>
                    </a:cubicBezTo>
                    <a:cubicBezTo>
                      <a:pt x="6" y="17"/>
                      <a:pt x="6" y="17"/>
                      <a:pt x="6" y="17"/>
                    </a:cubicBezTo>
                    <a:cubicBezTo>
                      <a:pt x="6" y="16"/>
                      <a:pt x="6" y="18"/>
                      <a:pt x="6" y="18"/>
                    </a:cubicBezTo>
                    <a:cubicBezTo>
                      <a:pt x="9" y="16"/>
                      <a:pt x="13" y="14"/>
                      <a:pt x="16" y="12"/>
                    </a:cubicBezTo>
                    <a:cubicBezTo>
                      <a:pt x="15" y="12"/>
                      <a:pt x="14" y="11"/>
                      <a:pt x="13" y="11"/>
                    </a:cubicBezTo>
                    <a:cubicBezTo>
                      <a:pt x="10" y="10"/>
                      <a:pt x="7" y="12"/>
                      <a:pt x="6" y="15"/>
                    </a:cubicBezTo>
                    <a:cubicBezTo>
                      <a:pt x="4" y="18"/>
                      <a:pt x="5" y="21"/>
                      <a:pt x="8" y="23"/>
                    </a:cubicBezTo>
                    <a:cubicBezTo>
                      <a:pt x="5" y="20"/>
                      <a:pt x="8" y="23"/>
                      <a:pt x="9" y="24"/>
                    </a:cubicBezTo>
                    <a:cubicBezTo>
                      <a:pt x="14" y="26"/>
                      <a:pt x="19" y="23"/>
                      <a:pt x="19" y="18"/>
                    </a:cubicBezTo>
                    <a:cubicBezTo>
                      <a:pt x="20" y="15"/>
                      <a:pt x="19" y="11"/>
                      <a:pt x="17" y="9"/>
                    </a:cubicBezTo>
                    <a:cubicBezTo>
                      <a:pt x="15" y="7"/>
                      <a:pt x="13" y="6"/>
                      <a:pt x="11" y="5"/>
                    </a:cubicBezTo>
                    <a:cubicBezTo>
                      <a:pt x="8" y="3"/>
                      <a:pt x="4" y="6"/>
                      <a:pt x="3" y="9"/>
                    </a:cubicBezTo>
                    <a:cubicBezTo>
                      <a:pt x="1" y="14"/>
                      <a:pt x="5" y="18"/>
                      <a:pt x="9" y="21"/>
                    </a:cubicBezTo>
                    <a:cubicBezTo>
                      <a:pt x="12" y="22"/>
                      <a:pt x="16" y="20"/>
                      <a:pt x="18" y="17"/>
                    </a:cubicBezTo>
                    <a:cubicBezTo>
                      <a:pt x="20" y="11"/>
                      <a:pt x="15" y="0"/>
                      <a:pt x="8" y="0"/>
                    </a:cubicBezTo>
                    <a:cubicBezTo>
                      <a:pt x="3" y="0"/>
                      <a:pt x="0" y="5"/>
                      <a:pt x="0" y="9"/>
                    </a:cubicBezTo>
                    <a:cubicBezTo>
                      <a:pt x="1" y="15"/>
                      <a:pt x="3" y="19"/>
                      <a:pt x="7" y="22"/>
                    </a:cubicBezTo>
                    <a:cubicBezTo>
                      <a:pt x="9" y="24"/>
                      <a:pt x="11" y="22"/>
                      <a:pt x="11" y="20"/>
                    </a:cubicBezTo>
                    <a:close/>
                  </a:path>
                </a:pathLst>
              </a:custGeom>
              <a:solidFill>
                <a:srgbClr val="E840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015" name="Freeform 328">
                <a:extLst>
                  <a:ext uri="{FF2B5EF4-FFF2-40B4-BE49-F238E27FC236}">
                    <a16:creationId xmlns:a16="http://schemas.microsoft.com/office/drawing/2014/main" id="{0BEB2ACB-BD67-49FB-82D7-414F9137F5FF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76" y="2171"/>
                <a:ext cx="202" cy="806"/>
              </a:xfrm>
              <a:custGeom>
                <a:avLst/>
                <a:gdLst>
                  <a:gd name="T0" fmla="*/ 83 w 191"/>
                  <a:gd name="T1" fmla="*/ 3 h 761"/>
                  <a:gd name="T2" fmla="*/ 145 w 191"/>
                  <a:gd name="T3" fmla="*/ 81 h 761"/>
                  <a:gd name="T4" fmla="*/ 172 w 191"/>
                  <a:gd name="T5" fmla="*/ 189 h 761"/>
                  <a:gd name="T6" fmla="*/ 170 w 191"/>
                  <a:gd name="T7" fmla="*/ 289 h 761"/>
                  <a:gd name="T8" fmla="*/ 111 w 191"/>
                  <a:gd name="T9" fmla="*/ 381 h 761"/>
                  <a:gd name="T10" fmla="*/ 72 w 191"/>
                  <a:gd name="T11" fmla="*/ 451 h 761"/>
                  <a:gd name="T12" fmla="*/ 50 w 191"/>
                  <a:gd name="T13" fmla="*/ 545 h 761"/>
                  <a:gd name="T14" fmla="*/ 1 w 191"/>
                  <a:gd name="T15" fmla="*/ 751 h 761"/>
                  <a:gd name="T16" fmla="*/ 11 w 191"/>
                  <a:gd name="T17" fmla="*/ 754 h 761"/>
                  <a:gd name="T18" fmla="*/ 35 w 191"/>
                  <a:gd name="T19" fmla="*/ 646 h 761"/>
                  <a:gd name="T20" fmla="*/ 63 w 191"/>
                  <a:gd name="T21" fmla="*/ 538 h 761"/>
                  <a:gd name="T22" fmla="*/ 77 w 191"/>
                  <a:gd name="T23" fmla="*/ 482 h 761"/>
                  <a:gd name="T24" fmla="*/ 87 w 191"/>
                  <a:gd name="T25" fmla="*/ 438 h 761"/>
                  <a:gd name="T26" fmla="*/ 154 w 191"/>
                  <a:gd name="T27" fmla="*/ 347 h 761"/>
                  <a:gd name="T28" fmla="*/ 179 w 191"/>
                  <a:gd name="T29" fmla="*/ 167 h 761"/>
                  <a:gd name="T30" fmla="*/ 145 w 191"/>
                  <a:gd name="T31" fmla="*/ 69 h 761"/>
                  <a:gd name="T32" fmla="*/ 85 w 191"/>
                  <a:gd name="T33" fmla="*/ 1 h 761"/>
                  <a:gd name="T34" fmla="*/ 83 w 191"/>
                  <a:gd name="T35" fmla="*/ 3 h 7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91" h="761">
                    <a:moveTo>
                      <a:pt x="83" y="3"/>
                    </a:moveTo>
                    <a:cubicBezTo>
                      <a:pt x="109" y="25"/>
                      <a:pt x="131" y="50"/>
                      <a:pt x="145" y="81"/>
                    </a:cubicBezTo>
                    <a:cubicBezTo>
                      <a:pt x="159" y="114"/>
                      <a:pt x="170" y="153"/>
                      <a:pt x="172" y="189"/>
                    </a:cubicBezTo>
                    <a:cubicBezTo>
                      <a:pt x="174" y="222"/>
                      <a:pt x="177" y="257"/>
                      <a:pt x="170" y="289"/>
                    </a:cubicBezTo>
                    <a:cubicBezTo>
                      <a:pt x="162" y="326"/>
                      <a:pt x="135" y="354"/>
                      <a:pt x="111" y="381"/>
                    </a:cubicBezTo>
                    <a:cubicBezTo>
                      <a:pt x="93" y="402"/>
                      <a:pt x="79" y="424"/>
                      <a:pt x="72" y="451"/>
                    </a:cubicBezTo>
                    <a:cubicBezTo>
                      <a:pt x="64" y="482"/>
                      <a:pt x="58" y="514"/>
                      <a:pt x="50" y="545"/>
                    </a:cubicBezTo>
                    <a:cubicBezTo>
                      <a:pt x="32" y="614"/>
                      <a:pt x="15" y="682"/>
                      <a:pt x="1" y="751"/>
                    </a:cubicBezTo>
                    <a:cubicBezTo>
                      <a:pt x="0" y="758"/>
                      <a:pt x="9" y="761"/>
                      <a:pt x="11" y="754"/>
                    </a:cubicBezTo>
                    <a:cubicBezTo>
                      <a:pt x="20" y="718"/>
                      <a:pt x="26" y="682"/>
                      <a:pt x="35" y="646"/>
                    </a:cubicBezTo>
                    <a:cubicBezTo>
                      <a:pt x="44" y="609"/>
                      <a:pt x="54" y="574"/>
                      <a:pt x="63" y="538"/>
                    </a:cubicBezTo>
                    <a:cubicBezTo>
                      <a:pt x="68" y="519"/>
                      <a:pt x="73" y="501"/>
                      <a:pt x="77" y="482"/>
                    </a:cubicBezTo>
                    <a:cubicBezTo>
                      <a:pt x="80" y="467"/>
                      <a:pt x="82" y="452"/>
                      <a:pt x="87" y="438"/>
                    </a:cubicBezTo>
                    <a:cubicBezTo>
                      <a:pt x="101" y="402"/>
                      <a:pt x="133" y="378"/>
                      <a:pt x="154" y="347"/>
                    </a:cubicBezTo>
                    <a:cubicBezTo>
                      <a:pt x="190" y="295"/>
                      <a:pt x="191" y="227"/>
                      <a:pt x="179" y="167"/>
                    </a:cubicBezTo>
                    <a:cubicBezTo>
                      <a:pt x="173" y="134"/>
                      <a:pt x="161" y="98"/>
                      <a:pt x="145" y="69"/>
                    </a:cubicBezTo>
                    <a:cubicBezTo>
                      <a:pt x="131" y="42"/>
                      <a:pt x="109" y="20"/>
                      <a:pt x="85" y="1"/>
                    </a:cubicBezTo>
                    <a:cubicBezTo>
                      <a:pt x="84" y="0"/>
                      <a:pt x="82" y="2"/>
                      <a:pt x="83" y="3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016" name="Freeform 329">
                <a:extLst>
                  <a:ext uri="{FF2B5EF4-FFF2-40B4-BE49-F238E27FC236}">
                    <a16:creationId xmlns:a16="http://schemas.microsoft.com/office/drawing/2014/main" id="{052BEE7E-D723-4C18-B35A-03D69B5661B9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0" y="2961"/>
                <a:ext cx="519" cy="436"/>
              </a:xfrm>
              <a:custGeom>
                <a:avLst/>
                <a:gdLst>
                  <a:gd name="T0" fmla="*/ 455 w 490"/>
                  <a:gd name="T1" fmla="*/ 3 h 412"/>
                  <a:gd name="T2" fmla="*/ 474 w 490"/>
                  <a:gd name="T3" fmla="*/ 94 h 412"/>
                  <a:gd name="T4" fmla="*/ 472 w 490"/>
                  <a:gd name="T5" fmla="*/ 215 h 412"/>
                  <a:gd name="T6" fmla="*/ 435 w 490"/>
                  <a:gd name="T7" fmla="*/ 311 h 412"/>
                  <a:gd name="T8" fmla="*/ 350 w 490"/>
                  <a:gd name="T9" fmla="*/ 375 h 412"/>
                  <a:gd name="T10" fmla="*/ 230 w 490"/>
                  <a:gd name="T11" fmla="*/ 393 h 412"/>
                  <a:gd name="T12" fmla="*/ 136 w 490"/>
                  <a:gd name="T13" fmla="*/ 353 h 412"/>
                  <a:gd name="T14" fmla="*/ 56 w 490"/>
                  <a:gd name="T15" fmla="*/ 281 h 412"/>
                  <a:gd name="T16" fmla="*/ 9 w 490"/>
                  <a:gd name="T17" fmla="*/ 191 h 412"/>
                  <a:gd name="T18" fmla="*/ 2 w 490"/>
                  <a:gd name="T19" fmla="*/ 195 h 412"/>
                  <a:gd name="T20" fmla="*/ 89 w 490"/>
                  <a:gd name="T21" fmla="*/ 333 h 412"/>
                  <a:gd name="T22" fmla="*/ 162 w 490"/>
                  <a:gd name="T23" fmla="*/ 376 h 412"/>
                  <a:gd name="T24" fmla="*/ 242 w 490"/>
                  <a:gd name="T25" fmla="*/ 403 h 412"/>
                  <a:gd name="T26" fmla="*/ 401 w 490"/>
                  <a:gd name="T27" fmla="*/ 353 h 412"/>
                  <a:gd name="T28" fmla="*/ 480 w 490"/>
                  <a:gd name="T29" fmla="*/ 209 h 412"/>
                  <a:gd name="T30" fmla="*/ 484 w 490"/>
                  <a:gd name="T31" fmla="*/ 107 h 412"/>
                  <a:gd name="T32" fmla="*/ 460 w 490"/>
                  <a:gd name="T33" fmla="*/ 2 h 412"/>
                  <a:gd name="T34" fmla="*/ 455 w 490"/>
                  <a:gd name="T35" fmla="*/ 3 h 4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490" h="412">
                    <a:moveTo>
                      <a:pt x="455" y="3"/>
                    </a:moveTo>
                    <a:cubicBezTo>
                      <a:pt x="456" y="34"/>
                      <a:pt x="467" y="64"/>
                      <a:pt x="474" y="94"/>
                    </a:cubicBezTo>
                    <a:cubicBezTo>
                      <a:pt x="484" y="136"/>
                      <a:pt x="483" y="174"/>
                      <a:pt x="472" y="215"/>
                    </a:cubicBezTo>
                    <a:cubicBezTo>
                      <a:pt x="463" y="248"/>
                      <a:pt x="454" y="283"/>
                      <a:pt x="435" y="311"/>
                    </a:cubicBezTo>
                    <a:cubicBezTo>
                      <a:pt x="415" y="341"/>
                      <a:pt x="382" y="360"/>
                      <a:pt x="350" y="375"/>
                    </a:cubicBezTo>
                    <a:cubicBezTo>
                      <a:pt x="312" y="392"/>
                      <a:pt x="272" y="403"/>
                      <a:pt x="230" y="393"/>
                    </a:cubicBezTo>
                    <a:cubicBezTo>
                      <a:pt x="197" y="384"/>
                      <a:pt x="166" y="369"/>
                      <a:pt x="136" y="353"/>
                    </a:cubicBezTo>
                    <a:cubicBezTo>
                      <a:pt x="103" y="336"/>
                      <a:pt x="76" y="313"/>
                      <a:pt x="56" y="281"/>
                    </a:cubicBezTo>
                    <a:cubicBezTo>
                      <a:pt x="37" y="253"/>
                      <a:pt x="26" y="221"/>
                      <a:pt x="9" y="191"/>
                    </a:cubicBezTo>
                    <a:cubicBezTo>
                      <a:pt x="7" y="187"/>
                      <a:pt x="0" y="190"/>
                      <a:pt x="2" y="195"/>
                    </a:cubicBezTo>
                    <a:cubicBezTo>
                      <a:pt x="20" y="244"/>
                      <a:pt x="48" y="299"/>
                      <a:pt x="89" y="333"/>
                    </a:cubicBezTo>
                    <a:cubicBezTo>
                      <a:pt x="111" y="352"/>
                      <a:pt x="136" y="364"/>
                      <a:pt x="162" y="376"/>
                    </a:cubicBezTo>
                    <a:cubicBezTo>
                      <a:pt x="188" y="387"/>
                      <a:pt x="214" y="399"/>
                      <a:pt x="242" y="403"/>
                    </a:cubicBezTo>
                    <a:cubicBezTo>
                      <a:pt x="297" y="412"/>
                      <a:pt x="357" y="384"/>
                      <a:pt x="401" y="353"/>
                    </a:cubicBezTo>
                    <a:cubicBezTo>
                      <a:pt x="449" y="320"/>
                      <a:pt x="467" y="264"/>
                      <a:pt x="480" y="209"/>
                    </a:cubicBezTo>
                    <a:cubicBezTo>
                      <a:pt x="489" y="175"/>
                      <a:pt x="490" y="142"/>
                      <a:pt x="484" y="107"/>
                    </a:cubicBezTo>
                    <a:cubicBezTo>
                      <a:pt x="477" y="72"/>
                      <a:pt x="466" y="38"/>
                      <a:pt x="460" y="2"/>
                    </a:cubicBezTo>
                    <a:cubicBezTo>
                      <a:pt x="459" y="0"/>
                      <a:pt x="455" y="0"/>
                      <a:pt x="455" y="3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017" name="Freeform 330">
                <a:extLst>
                  <a:ext uri="{FF2B5EF4-FFF2-40B4-BE49-F238E27FC236}">
                    <a16:creationId xmlns:a16="http://schemas.microsoft.com/office/drawing/2014/main" id="{2A5C9866-B132-4136-A73A-8142B274401A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31" y="2151"/>
                <a:ext cx="21" cy="14"/>
              </a:xfrm>
              <a:custGeom>
                <a:avLst/>
                <a:gdLst>
                  <a:gd name="T0" fmla="*/ 6 w 20"/>
                  <a:gd name="T1" fmla="*/ 11 h 13"/>
                  <a:gd name="T2" fmla="*/ 17 w 20"/>
                  <a:gd name="T3" fmla="*/ 6 h 13"/>
                  <a:gd name="T4" fmla="*/ 15 w 20"/>
                  <a:gd name="T5" fmla="*/ 1 h 13"/>
                  <a:gd name="T6" fmla="*/ 3 w 20"/>
                  <a:gd name="T7" fmla="*/ 7 h 13"/>
                  <a:gd name="T8" fmla="*/ 6 w 20"/>
                  <a:gd name="T9" fmla="*/ 11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0" h="13">
                    <a:moveTo>
                      <a:pt x="6" y="11"/>
                    </a:moveTo>
                    <a:cubicBezTo>
                      <a:pt x="9" y="9"/>
                      <a:pt x="13" y="7"/>
                      <a:pt x="17" y="6"/>
                    </a:cubicBezTo>
                    <a:cubicBezTo>
                      <a:pt x="20" y="5"/>
                      <a:pt x="18" y="0"/>
                      <a:pt x="15" y="1"/>
                    </a:cubicBezTo>
                    <a:cubicBezTo>
                      <a:pt x="11" y="3"/>
                      <a:pt x="6" y="5"/>
                      <a:pt x="3" y="7"/>
                    </a:cubicBezTo>
                    <a:cubicBezTo>
                      <a:pt x="0" y="9"/>
                      <a:pt x="3" y="13"/>
                      <a:pt x="6" y="11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018" name="Freeform 331">
                <a:extLst>
                  <a:ext uri="{FF2B5EF4-FFF2-40B4-BE49-F238E27FC236}">
                    <a16:creationId xmlns:a16="http://schemas.microsoft.com/office/drawing/2014/main" id="{CF24B897-B5B7-41CF-84D0-FDB0522C5D5B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21" y="2141"/>
                <a:ext cx="17" cy="16"/>
              </a:xfrm>
              <a:custGeom>
                <a:avLst/>
                <a:gdLst>
                  <a:gd name="T0" fmla="*/ 7 w 16"/>
                  <a:gd name="T1" fmla="*/ 12 h 15"/>
                  <a:gd name="T2" fmla="*/ 11 w 16"/>
                  <a:gd name="T3" fmla="*/ 9 h 15"/>
                  <a:gd name="T4" fmla="*/ 14 w 16"/>
                  <a:gd name="T5" fmla="*/ 7 h 15"/>
                  <a:gd name="T6" fmla="*/ 11 w 16"/>
                  <a:gd name="T7" fmla="*/ 2 h 15"/>
                  <a:gd name="T8" fmla="*/ 2 w 16"/>
                  <a:gd name="T9" fmla="*/ 9 h 15"/>
                  <a:gd name="T10" fmla="*/ 7 w 16"/>
                  <a:gd name="T11" fmla="*/ 12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6" h="15">
                    <a:moveTo>
                      <a:pt x="7" y="12"/>
                    </a:moveTo>
                    <a:cubicBezTo>
                      <a:pt x="8" y="11"/>
                      <a:pt x="9" y="10"/>
                      <a:pt x="11" y="9"/>
                    </a:cubicBezTo>
                    <a:cubicBezTo>
                      <a:pt x="12" y="8"/>
                      <a:pt x="13" y="8"/>
                      <a:pt x="14" y="7"/>
                    </a:cubicBezTo>
                    <a:cubicBezTo>
                      <a:pt x="16" y="4"/>
                      <a:pt x="14" y="0"/>
                      <a:pt x="11" y="2"/>
                    </a:cubicBezTo>
                    <a:cubicBezTo>
                      <a:pt x="7" y="4"/>
                      <a:pt x="4" y="6"/>
                      <a:pt x="2" y="9"/>
                    </a:cubicBezTo>
                    <a:cubicBezTo>
                      <a:pt x="0" y="12"/>
                      <a:pt x="5" y="15"/>
                      <a:pt x="7" y="12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019" name="Freeform 332">
                <a:extLst>
                  <a:ext uri="{FF2B5EF4-FFF2-40B4-BE49-F238E27FC236}">
                    <a16:creationId xmlns:a16="http://schemas.microsoft.com/office/drawing/2014/main" id="{A6E7B4FD-53E6-4390-8CBD-4A5E7A8A6710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98" y="2132"/>
                <a:ext cx="13" cy="12"/>
              </a:xfrm>
              <a:custGeom>
                <a:avLst/>
                <a:gdLst>
                  <a:gd name="T0" fmla="*/ 4 w 12"/>
                  <a:gd name="T1" fmla="*/ 10 h 11"/>
                  <a:gd name="T2" fmla="*/ 11 w 12"/>
                  <a:gd name="T3" fmla="*/ 3 h 11"/>
                  <a:gd name="T4" fmla="*/ 10 w 12"/>
                  <a:gd name="T5" fmla="*/ 1 h 11"/>
                  <a:gd name="T6" fmla="*/ 2 w 12"/>
                  <a:gd name="T7" fmla="*/ 7 h 11"/>
                  <a:gd name="T8" fmla="*/ 4 w 12"/>
                  <a:gd name="T9" fmla="*/ 10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" h="11">
                    <a:moveTo>
                      <a:pt x="4" y="10"/>
                    </a:moveTo>
                    <a:cubicBezTo>
                      <a:pt x="6" y="7"/>
                      <a:pt x="9" y="5"/>
                      <a:pt x="11" y="3"/>
                    </a:cubicBezTo>
                    <a:cubicBezTo>
                      <a:pt x="12" y="2"/>
                      <a:pt x="11" y="0"/>
                      <a:pt x="10" y="1"/>
                    </a:cubicBezTo>
                    <a:cubicBezTo>
                      <a:pt x="7" y="3"/>
                      <a:pt x="4" y="5"/>
                      <a:pt x="2" y="7"/>
                    </a:cubicBezTo>
                    <a:cubicBezTo>
                      <a:pt x="0" y="8"/>
                      <a:pt x="2" y="11"/>
                      <a:pt x="4" y="10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020" name="Freeform 333">
                <a:extLst>
                  <a:ext uri="{FF2B5EF4-FFF2-40B4-BE49-F238E27FC236}">
                    <a16:creationId xmlns:a16="http://schemas.microsoft.com/office/drawing/2014/main" id="{6281041E-8B10-4D3B-8EF5-42D33E448FB9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-2" y="2098"/>
                <a:ext cx="486" cy="1074"/>
              </a:xfrm>
              <a:custGeom>
                <a:avLst/>
                <a:gdLst>
                  <a:gd name="T0" fmla="*/ 458 w 459"/>
                  <a:gd name="T1" fmla="*/ 27 h 1014"/>
                  <a:gd name="T2" fmla="*/ 357 w 459"/>
                  <a:gd name="T3" fmla="*/ 7 h 1014"/>
                  <a:gd name="T4" fmla="*/ 248 w 459"/>
                  <a:gd name="T5" fmla="*/ 33 h 1014"/>
                  <a:gd name="T6" fmla="*/ 177 w 459"/>
                  <a:gd name="T7" fmla="*/ 94 h 1014"/>
                  <a:gd name="T8" fmla="*/ 144 w 459"/>
                  <a:gd name="T9" fmla="*/ 200 h 1014"/>
                  <a:gd name="T10" fmla="*/ 96 w 459"/>
                  <a:gd name="T11" fmla="*/ 457 h 1014"/>
                  <a:gd name="T12" fmla="*/ 38 w 459"/>
                  <a:gd name="T13" fmla="*/ 722 h 1014"/>
                  <a:gd name="T14" fmla="*/ 12 w 459"/>
                  <a:gd name="T15" fmla="*/ 867 h 1014"/>
                  <a:gd name="T16" fmla="*/ 6 w 459"/>
                  <a:gd name="T17" fmla="*/ 1008 h 1014"/>
                  <a:gd name="T18" fmla="*/ 15 w 459"/>
                  <a:gd name="T19" fmla="*/ 1008 h 1014"/>
                  <a:gd name="T20" fmla="*/ 40 w 459"/>
                  <a:gd name="T21" fmla="*/ 758 h 1014"/>
                  <a:gd name="T22" fmla="*/ 94 w 459"/>
                  <a:gd name="T23" fmla="*/ 512 h 1014"/>
                  <a:gd name="T24" fmla="*/ 137 w 459"/>
                  <a:gd name="T25" fmla="*/ 273 h 1014"/>
                  <a:gd name="T26" fmla="*/ 162 w 459"/>
                  <a:gd name="T27" fmla="*/ 158 h 1014"/>
                  <a:gd name="T28" fmla="*/ 218 w 459"/>
                  <a:gd name="T29" fmla="*/ 60 h 1014"/>
                  <a:gd name="T30" fmla="*/ 458 w 459"/>
                  <a:gd name="T31" fmla="*/ 28 h 1014"/>
                  <a:gd name="T32" fmla="*/ 458 w 459"/>
                  <a:gd name="T33" fmla="*/ 27 h 10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459" h="1014">
                    <a:moveTo>
                      <a:pt x="458" y="27"/>
                    </a:moveTo>
                    <a:cubicBezTo>
                      <a:pt x="429" y="9"/>
                      <a:pt x="390" y="7"/>
                      <a:pt x="357" y="7"/>
                    </a:cubicBezTo>
                    <a:cubicBezTo>
                      <a:pt x="319" y="6"/>
                      <a:pt x="283" y="16"/>
                      <a:pt x="248" y="33"/>
                    </a:cubicBezTo>
                    <a:cubicBezTo>
                      <a:pt x="220" y="46"/>
                      <a:pt x="193" y="66"/>
                      <a:pt x="177" y="94"/>
                    </a:cubicBezTo>
                    <a:cubicBezTo>
                      <a:pt x="158" y="126"/>
                      <a:pt x="151" y="164"/>
                      <a:pt x="144" y="200"/>
                    </a:cubicBezTo>
                    <a:cubicBezTo>
                      <a:pt x="125" y="285"/>
                      <a:pt x="113" y="371"/>
                      <a:pt x="96" y="457"/>
                    </a:cubicBezTo>
                    <a:cubicBezTo>
                      <a:pt x="78" y="545"/>
                      <a:pt x="57" y="633"/>
                      <a:pt x="38" y="722"/>
                    </a:cubicBezTo>
                    <a:cubicBezTo>
                      <a:pt x="28" y="770"/>
                      <a:pt x="20" y="818"/>
                      <a:pt x="12" y="867"/>
                    </a:cubicBezTo>
                    <a:cubicBezTo>
                      <a:pt x="5" y="915"/>
                      <a:pt x="0" y="960"/>
                      <a:pt x="6" y="1008"/>
                    </a:cubicBezTo>
                    <a:cubicBezTo>
                      <a:pt x="6" y="1014"/>
                      <a:pt x="15" y="1014"/>
                      <a:pt x="15" y="1008"/>
                    </a:cubicBezTo>
                    <a:cubicBezTo>
                      <a:pt x="5" y="925"/>
                      <a:pt x="24" y="840"/>
                      <a:pt x="40" y="758"/>
                    </a:cubicBezTo>
                    <a:cubicBezTo>
                      <a:pt x="56" y="676"/>
                      <a:pt x="77" y="594"/>
                      <a:pt x="94" y="512"/>
                    </a:cubicBezTo>
                    <a:cubicBezTo>
                      <a:pt x="110" y="433"/>
                      <a:pt x="123" y="353"/>
                      <a:pt x="137" y="273"/>
                    </a:cubicBezTo>
                    <a:cubicBezTo>
                      <a:pt x="144" y="234"/>
                      <a:pt x="152" y="196"/>
                      <a:pt x="162" y="158"/>
                    </a:cubicBezTo>
                    <a:cubicBezTo>
                      <a:pt x="172" y="119"/>
                      <a:pt x="185" y="85"/>
                      <a:pt x="218" y="60"/>
                    </a:cubicBezTo>
                    <a:cubicBezTo>
                      <a:pt x="284" y="10"/>
                      <a:pt x="381" y="0"/>
                      <a:pt x="458" y="28"/>
                    </a:cubicBezTo>
                    <a:cubicBezTo>
                      <a:pt x="459" y="29"/>
                      <a:pt x="459" y="27"/>
                      <a:pt x="458" y="27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021" name="Freeform 334">
                <a:extLst>
                  <a:ext uri="{FF2B5EF4-FFF2-40B4-BE49-F238E27FC236}">
                    <a16:creationId xmlns:a16="http://schemas.microsoft.com/office/drawing/2014/main" id="{B27C610E-7C5B-4C40-9366-F48253B7BB8C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12" y="2072"/>
                <a:ext cx="517" cy="911"/>
              </a:xfrm>
              <a:custGeom>
                <a:avLst/>
                <a:gdLst>
                  <a:gd name="T0" fmla="*/ 1 w 488"/>
                  <a:gd name="T1" fmla="*/ 90 h 861"/>
                  <a:gd name="T2" fmla="*/ 104 w 488"/>
                  <a:gd name="T3" fmla="*/ 27 h 861"/>
                  <a:gd name="T4" fmla="*/ 218 w 488"/>
                  <a:gd name="T5" fmla="*/ 14 h 861"/>
                  <a:gd name="T6" fmla="*/ 424 w 488"/>
                  <a:gd name="T7" fmla="*/ 134 h 861"/>
                  <a:gd name="T8" fmla="*/ 464 w 488"/>
                  <a:gd name="T9" fmla="*/ 371 h 861"/>
                  <a:gd name="T10" fmla="*/ 403 w 488"/>
                  <a:gd name="T11" fmla="*/ 483 h 861"/>
                  <a:gd name="T12" fmla="*/ 359 w 488"/>
                  <a:gd name="T13" fmla="*/ 569 h 861"/>
                  <a:gd name="T14" fmla="*/ 296 w 488"/>
                  <a:gd name="T15" fmla="*/ 855 h 861"/>
                  <a:gd name="T16" fmla="*/ 303 w 488"/>
                  <a:gd name="T17" fmla="*/ 856 h 861"/>
                  <a:gd name="T18" fmla="*/ 365 w 488"/>
                  <a:gd name="T19" fmla="*/ 577 h 861"/>
                  <a:gd name="T20" fmla="*/ 388 w 488"/>
                  <a:gd name="T21" fmla="*/ 515 h 861"/>
                  <a:gd name="T22" fmla="*/ 426 w 488"/>
                  <a:gd name="T23" fmla="*/ 466 h 861"/>
                  <a:gd name="T24" fmla="*/ 472 w 488"/>
                  <a:gd name="T25" fmla="*/ 365 h 861"/>
                  <a:gd name="T26" fmla="*/ 431 w 488"/>
                  <a:gd name="T27" fmla="*/ 131 h 861"/>
                  <a:gd name="T28" fmla="*/ 247 w 488"/>
                  <a:gd name="T29" fmla="*/ 10 h 861"/>
                  <a:gd name="T30" fmla="*/ 121 w 488"/>
                  <a:gd name="T31" fmla="*/ 13 h 861"/>
                  <a:gd name="T32" fmla="*/ 0 w 488"/>
                  <a:gd name="T33" fmla="*/ 89 h 861"/>
                  <a:gd name="T34" fmla="*/ 1 w 488"/>
                  <a:gd name="T35" fmla="*/ 90 h 8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488" h="861">
                    <a:moveTo>
                      <a:pt x="1" y="90"/>
                    </a:moveTo>
                    <a:cubicBezTo>
                      <a:pt x="37" y="72"/>
                      <a:pt x="66" y="43"/>
                      <a:pt x="104" y="27"/>
                    </a:cubicBezTo>
                    <a:cubicBezTo>
                      <a:pt x="141" y="12"/>
                      <a:pt x="179" y="10"/>
                      <a:pt x="218" y="14"/>
                    </a:cubicBezTo>
                    <a:cubicBezTo>
                      <a:pt x="302" y="22"/>
                      <a:pt x="378" y="63"/>
                      <a:pt x="424" y="134"/>
                    </a:cubicBezTo>
                    <a:cubicBezTo>
                      <a:pt x="468" y="204"/>
                      <a:pt x="480" y="290"/>
                      <a:pt x="464" y="371"/>
                    </a:cubicBezTo>
                    <a:cubicBezTo>
                      <a:pt x="455" y="413"/>
                      <a:pt x="430" y="450"/>
                      <a:pt x="403" y="483"/>
                    </a:cubicBezTo>
                    <a:cubicBezTo>
                      <a:pt x="381" y="510"/>
                      <a:pt x="367" y="535"/>
                      <a:pt x="359" y="569"/>
                    </a:cubicBezTo>
                    <a:cubicBezTo>
                      <a:pt x="337" y="664"/>
                      <a:pt x="315" y="759"/>
                      <a:pt x="296" y="855"/>
                    </a:cubicBezTo>
                    <a:cubicBezTo>
                      <a:pt x="295" y="860"/>
                      <a:pt x="302" y="861"/>
                      <a:pt x="303" y="856"/>
                    </a:cubicBezTo>
                    <a:cubicBezTo>
                      <a:pt x="322" y="762"/>
                      <a:pt x="344" y="670"/>
                      <a:pt x="365" y="577"/>
                    </a:cubicBezTo>
                    <a:cubicBezTo>
                      <a:pt x="370" y="554"/>
                      <a:pt x="375" y="534"/>
                      <a:pt x="388" y="515"/>
                    </a:cubicBezTo>
                    <a:cubicBezTo>
                      <a:pt x="400" y="498"/>
                      <a:pt x="413" y="483"/>
                      <a:pt x="426" y="466"/>
                    </a:cubicBezTo>
                    <a:cubicBezTo>
                      <a:pt x="448" y="435"/>
                      <a:pt x="465" y="402"/>
                      <a:pt x="472" y="365"/>
                    </a:cubicBezTo>
                    <a:cubicBezTo>
                      <a:pt x="488" y="285"/>
                      <a:pt x="476" y="199"/>
                      <a:pt x="431" y="131"/>
                    </a:cubicBezTo>
                    <a:cubicBezTo>
                      <a:pt x="389" y="65"/>
                      <a:pt x="324" y="24"/>
                      <a:pt x="247" y="10"/>
                    </a:cubicBezTo>
                    <a:cubicBezTo>
                      <a:pt x="206" y="2"/>
                      <a:pt x="161" y="0"/>
                      <a:pt x="121" y="13"/>
                    </a:cubicBezTo>
                    <a:cubicBezTo>
                      <a:pt x="78" y="26"/>
                      <a:pt x="31" y="56"/>
                      <a:pt x="0" y="89"/>
                    </a:cubicBezTo>
                    <a:cubicBezTo>
                      <a:pt x="0" y="89"/>
                      <a:pt x="0" y="90"/>
                      <a:pt x="1" y="90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022" name="Freeform 335">
                <a:extLst>
                  <a:ext uri="{FF2B5EF4-FFF2-40B4-BE49-F238E27FC236}">
                    <a16:creationId xmlns:a16="http://schemas.microsoft.com/office/drawing/2014/main" id="{10959F2A-4D38-4BCC-A404-931B048C6758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33" y="2973"/>
                <a:ext cx="330" cy="429"/>
              </a:xfrm>
              <a:custGeom>
                <a:avLst/>
                <a:gdLst>
                  <a:gd name="T0" fmla="*/ 281 w 311"/>
                  <a:gd name="T1" fmla="*/ 6 h 406"/>
                  <a:gd name="T2" fmla="*/ 299 w 311"/>
                  <a:gd name="T3" fmla="*/ 147 h 406"/>
                  <a:gd name="T4" fmla="*/ 288 w 311"/>
                  <a:gd name="T5" fmla="*/ 222 h 406"/>
                  <a:gd name="T6" fmla="*/ 259 w 311"/>
                  <a:gd name="T7" fmla="*/ 281 h 406"/>
                  <a:gd name="T8" fmla="*/ 155 w 311"/>
                  <a:gd name="T9" fmla="*/ 374 h 406"/>
                  <a:gd name="T10" fmla="*/ 82 w 311"/>
                  <a:gd name="T11" fmla="*/ 392 h 406"/>
                  <a:gd name="T12" fmla="*/ 6 w 311"/>
                  <a:gd name="T13" fmla="*/ 379 h 406"/>
                  <a:gd name="T14" fmla="*/ 4 w 311"/>
                  <a:gd name="T15" fmla="*/ 385 h 406"/>
                  <a:gd name="T16" fmla="*/ 155 w 311"/>
                  <a:gd name="T17" fmla="*/ 384 h 406"/>
                  <a:gd name="T18" fmla="*/ 263 w 311"/>
                  <a:gd name="T19" fmla="*/ 292 h 406"/>
                  <a:gd name="T20" fmla="*/ 295 w 311"/>
                  <a:gd name="T21" fmla="*/ 229 h 406"/>
                  <a:gd name="T22" fmla="*/ 308 w 311"/>
                  <a:gd name="T23" fmla="*/ 155 h 406"/>
                  <a:gd name="T24" fmla="*/ 304 w 311"/>
                  <a:gd name="T25" fmla="*/ 76 h 406"/>
                  <a:gd name="T26" fmla="*/ 287 w 311"/>
                  <a:gd name="T27" fmla="*/ 4 h 406"/>
                  <a:gd name="T28" fmla="*/ 281 w 311"/>
                  <a:gd name="T29" fmla="*/ 6 h 4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311" h="406">
                    <a:moveTo>
                      <a:pt x="281" y="6"/>
                    </a:moveTo>
                    <a:cubicBezTo>
                      <a:pt x="288" y="53"/>
                      <a:pt x="301" y="98"/>
                      <a:pt x="299" y="147"/>
                    </a:cubicBezTo>
                    <a:cubicBezTo>
                      <a:pt x="298" y="172"/>
                      <a:pt x="296" y="199"/>
                      <a:pt x="288" y="222"/>
                    </a:cubicBezTo>
                    <a:cubicBezTo>
                      <a:pt x="281" y="243"/>
                      <a:pt x="270" y="263"/>
                      <a:pt x="259" y="281"/>
                    </a:cubicBezTo>
                    <a:cubicBezTo>
                      <a:pt x="235" y="322"/>
                      <a:pt x="198" y="355"/>
                      <a:pt x="155" y="374"/>
                    </a:cubicBezTo>
                    <a:cubicBezTo>
                      <a:pt x="132" y="385"/>
                      <a:pt x="108" y="392"/>
                      <a:pt x="82" y="392"/>
                    </a:cubicBezTo>
                    <a:cubicBezTo>
                      <a:pt x="55" y="392"/>
                      <a:pt x="31" y="384"/>
                      <a:pt x="6" y="379"/>
                    </a:cubicBezTo>
                    <a:cubicBezTo>
                      <a:pt x="2" y="378"/>
                      <a:pt x="0" y="384"/>
                      <a:pt x="4" y="385"/>
                    </a:cubicBezTo>
                    <a:cubicBezTo>
                      <a:pt x="53" y="405"/>
                      <a:pt x="106" y="406"/>
                      <a:pt x="155" y="384"/>
                    </a:cubicBezTo>
                    <a:cubicBezTo>
                      <a:pt x="200" y="365"/>
                      <a:pt x="237" y="333"/>
                      <a:pt x="263" y="292"/>
                    </a:cubicBezTo>
                    <a:cubicBezTo>
                      <a:pt x="276" y="273"/>
                      <a:pt x="288" y="251"/>
                      <a:pt x="295" y="229"/>
                    </a:cubicBezTo>
                    <a:cubicBezTo>
                      <a:pt x="304" y="206"/>
                      <a:pt x="306" y="180"/>
                      <a:pt x="308" y="155"/>
                    </a:cubicBezTo>
                    <a:cubicBezTo>
                      <a:pt x="311" y="129"/>
                      <a:pt x="309" y="102"/>
                      <a:pt x="304" y="76"/>
                    </a:cubicBezTo>
                    <a:cubicBezTo>
                      <a:pt x="299" y="53"/>
                      <a:pt x="297" y="24"/>
                      <a:pt x="287" y="4"/>
                    </a:cubicBezTo>
                    <a:cubicBezTo>
                      <a:pt x="285" y="0"/>
                      <a:pt x="281" y="2"/>
                      <a:pt x="281" y="6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023" name="Freeform 336">
                <a:extLst>
                  <a:ext uri="{FF2B5EF4-FFF2-40B4-BE49-F238E27FC236}">
                    <a16:creationId xmlns:a16="http://schemas.microsoft.com/office/drawing/2014/main" id="{1DFE3D39-2609-49D6-A9CC-27CC47F073D3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31" y="3049"/>
                <a:ext cx="85" cy="100"/>
              </a:xfrm>
              <a:custGeom>
                <a:avLst/>
                <a:gdLst>
                  <a:gd name="T0" fmla="*/ 70 w 80"/>
                  <a:gd name="T1" fmla="*/ 92 h 95"/>
                  <a:gd name="T2" fmla="*/ 53 w 80"/>
                  <a:gd name="T3" fmla="*/ 79 h 95"/>
                  <a:gd name="T4" fmla="*/ 33 w 80"/>
                  <a:gd name="T5" fmla="*/ 73 h 95"/>
                  <a:gd name="T6" fmla="*/ 12 w 80"/>
                  <a:gd name="T7" fmla="*/ 54 h 95"/>
                  <a:gd name="T8" fmla="*/ 22 w 80"/>
                  <a:gd name="T9" fmla="*/ 18 h 95"/>
                  <a:gd name="T10" fmla="*/ 75 w 80"/>
                  <a:gd name="T11" fmla="*/ 22 h 95"/>
                  <a:gd name="T12" fmla="*/ 75 w 80"/>
                  <a:gd name="T13" fmla="*/ 13 h 95"/>
                  <a:gd name="T14" fmla="*/ 16 w 80"/>
                  <a:gd name="T15" fmla="*/ 10 h 95"/>
                  <a:gd name="T16" fmla="*/ 5 w 80"/>
                  <a:gd name="T17" fmla="*/ 39 h 95"/>
                  <a:gd name="T18" fmla="*/ 14 w 80"/>
                  <a:gd name="T19" fmla="*/ 78 h 95"/>
                  <a:gd name="T20" fmla="*/ 36 w 80"/>
                  <a:gd name="T21" fmla="*/ 82 h 95"/>
                  <a:gd name="T22" fmla="*/ 65 w 80"/>
                  <a:gd name="T23" fmla="*/ 92 h 95"/>
                  <a:gd name="T24" fmla="*/ 70 w 80"/>
                  <a:gd name="T25" fmla="*/ 92 h 9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80" h="95">
                    <a:moveTo>
                      <a:pt x="70" y="92"/>
                    </a:moveTo>
                    <a:cubicBezTo>
                      <a:pt x="70" y="83"/>
                      <a:pt x="61" y="81"/>
                      <a:pt x="53" y="79"/>
                    </a:cubicBezTo>
                    <a:cubicBezTo>
                      <a:pt x="47" y="76"/>
                      <a:pt x="39" y="74"/>
                      <a:pt x="33" y="73"/>
                    </a:cubicBezTo>
                    <a:cubicBezTo>
                      <a:pt x="20" y="71"/>
                      <a:pt x="12" y="71"/>
                      <a:pt x="12" y="54"/>
                    </a:cubicBezTo>
                    <a:cubicBezTo>
                      <a:pt x="12" y="43"/>
                      <a:pt x="12" y="24"/>
                      <a:pt x="22" y="18"/>
                    </a:cubicBezTo>
                    <a:cubicBezTo>
                      <a:pt x="35" y="9"/>
                      <a:pt x="59" y="22"/>
                      <a:pt x="75" y="22"/>
                    </a:cubicBezTo>
                    <a:cubicBezTo>
                      <a:pt x="80" y="21"/>
                      <a:pt x="80" y="13"/>
                      <a:pt x="75" y="13"/>
                    </a:cubicBezTo>
                    <a:cubicBezTo>
                      <a:pt x="59" y="12"/>
                      <a:pt x="31" y="0"/>
                      <a:pt x="16" y="10"/>
                    </a:cubicBezTo>
                    <a:cubicBezTo>
                      <a:pt x="7" y="16"/>
                      <a:pt x="6" y="29"/>
                      <a:pt x="5" y="39"/>
                    </a:cubicBezTo>
                    <a:cubicBezTo>
                      <a:pt x="3" y="52"/>
                      <a:pt x="0" y="71"/>
                      <a:pt x="14" y="78"/>
                    </a:cubicBezTo>
                    <a:cubicBezTo>
                      <a:pt x="21" y="82"/>
                      <a:pt x="29" y="80"/>
                      <a:pt x="36" y="82"/>
                    </a:cubicBezTo>
                    <a:cubicBezTo>
                      <a:pt x="40" y="83"/>
                      <a:pt x="64" y="87"/>
                      <a:pt x="65" y="92"/>
                    </a:cubicBezTo>
                    <a:cubicBezTo>
                      <a:pt x="66" y="95"/>
                      <a:pt x="70" y="95"/>
                      <a:pt x="70" y="92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024" name="Freeform 337">
                <a:extLst>
                  <a:ext uri="{FF2B5EF4-FFF2-40B4-BE49-F238E27FC236}">
                    <a16:creationId xmlns:a16="http://schemas.microsoft.com/office/drawing/2014/main" id="{B9B9D46B-8938-4378-8F17-88701084BD6E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08" y="2997"/>
                <a:ext cx="100" cy="106"/>
              </a:xfrm>
              <a:custGeom>
                <a:avLst/>
                <a:gdLst>
                  <a:gd name="T0" fmla="*/ 0 w 95"/>
                  <a:gd name="T1" fmla="*/ 64 h 100"/>
                  <a:gd name="T2" fmla="*/ 0 w 95"/>
                  <a:gd name="T3" fmla="*/ 67 h 100"/>
                  <a:gd name="T4" fmla="*/ 2 w 95"/>
                  <a:gd name="T5" fmla="*/ 69 h 100"/>
                  <a:gd name="T6" fmla="*/ 15 w 95"/>
                  <a:gd name="T7" fmla="*/ 64 h 100"/>
                  <a:gd name="T8" fmla="*/ 19 w 95"/>
                  <a:gd name="T9" fmla="*/ 48 h 100"/>
                  <a:gd name="T10" fmla="*/ 26 w 95"/>
                  <a:gd name="T11" fmla="*/ 21 h 100"/>
                  <a:gd name="T12" fmla="*/ 48 w 95"/>
                  <a:gd name="T13" fmla="*/ 14 h 100"/>
                  <a:gd name="T14" fmla="*/ 72 w 95"/>
                  <a:gd name="T15" fmla="*/ 24 h 100"/>
                  <a:gd name="T16" fmla="*/ 81 w 95"/>
                  <a:gd name="T17" fmla="*/ 55 h 100"/>
                  <a:gd name="T18" fmla="*/ 73 w 95"/>
                  <a:gd name="T19" fmla="*/ 93 h 100"/>
                  <a:gd name="T20" fmla="*/ 81 w 95"/>
                  <a:gd name="T21" fmla="*/ 95 h 100"/>
                  <a:gd name="T22" fmla="*/ 90 w 95"/>
                  <a:gd name="T23" fmla="*/ 53 h 100"/>
                  <a:gd name="T24" fmla="*/ 91 w 95"/>
                  <a:gd name="T25" fmla="*/ 28 h 100"/>
                  <a:gd name="T26" fmla="*/ 49 w 95"/>
                  <a:gd name="T27" fmla="*/ 6 h 100"/>
                  <a:gd name="T28" fmla="*/ 20 w 95"/>
                  <a:gd name="T29" fmla="*/ 10 h 100"/>
                  <a:gd name="T30" fmla="*/ 13 w 95"/>
                  <a:gd name="T31" fmla="*/ 35 h 100"/>
                  <a:gd name="T32" fmla="*/ 12 w 95"/>
                  <a:gd name="T33" fmla="*/ 44 h 100"/>
                  <a:gd name="T34" fmla="*/ 9 w 95"/>
                  <a:gd name="T35" fmla="*/ 60 h 100"/>
                  <a:gd name="T36" fmla="*/ 5 w 95"/>
                  <a:gd name="T37" fmla="*/ 63 h 100"/>
                  <a:gd name="T38" fmla="*/ 0 w 95"/>
                  <a:gd name="T39" fmla="*/ 64 h 1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95" h="100">
                    <a:moveTo>
                      <a:pt x="0" y="64"/>
                    </a:moveTo>
                    <a:cubicBezTo>
                      <a:pt x="0" y="65"/>
                      <a:pt x="0" y="66"/>
                      <a:pt x="0" y="67"/>
                    </a:cubicBezTo>
                    <a:cubicBezTo>
                      <a:pt x="0" y="68"/>
                      <a:pt x="1" y="69"/>
                      <a:pt x="2" y="69"/>
                    </a:cubicBezTo>
                    <a:cubicBezTo>
                      <a:pt x="7" y="71"/>
                      <a:pt x="12" y="68"/>
                      <a:pt x="15" y="64"/>
                    </a:cubicBezTo>
                    <a:cubicBezTo>
                      <a:pt x="18" y="60"/>
                      <a:pt x="18" y="53"/>
                      <a:pt x="19" y="48"/>
                    </a:cubicBezTo>
                    <a:cubicBezTo>
                      <a:pt x="20" y="39"/>
                      <a:pt x="21" y="30"/>
                      <a:pt x="26" y="21"/>
                    </a:cubicBezTo>
                    <a:cubicBezTo>
                      <a:pt x="31" y="10"/>
                      <a:pt x="36" y="9"/>
                      <a:pt x="48" y="14"/>
                    </a:cubicBezTo>
                    <a:cubicBezTo>
                      <a:pt x="56" y="17"/>
                      <a:pt x="65" y="19"/>
                      <a:pt x="72" y="24"/>
                    </a:cubicBezTo>
                    <a:cubicBezTo>
                      <a:pt x="83" y="31"/>
                      <a:pt x="84" y="43"/>
                      <a:pt x="81" y="55"/>
                    </a:cubicBezTo>
                    <a:cubicBezTo>
                      <a:pt x="79" y="68"/>
                      <a:pt x="78" y="80"/>
                      <a:pt x="73" y="93"/>
                    </a:cubicBezTo>
                    <a:cubicBezTo>
                      <a:pt x="71" y="98"/>
                      <a:pt x="79" y="100"/>
                      <a:pt x="81" y="95"/>
                    </a:cubicBezTo>
                    <a:cubicBezTo>
                      <a:pt x="87" y="81"/>
                      <a:pt x="87" y="67"/>
                      <a:pt x="90" y="53"/>
                    </a:cubicBezTo>
                    <a:cubicBezTo>
                      <a:pt x="91" y="45"/>
                      <a:pt x="95" y="36"/>
                      <a:pt x="91" y="28"/>
                    </a:cubicBezTo>
                    <a:cubicBezTo>
                      <a:pt x="85" y="16"/>
                      <a:pt x="61" y="11"/>
                      <a:pt x="49" y="6"/>
                    </a:cubicBezTo>
                    <a:cubicBezTo>
                      <a:pt x="39" y="2"/>
                      <a:pt x="27" y="0"/>
                      <a:pt x="20" y="10"/>
                    </a:cubicBezTo>
                    <a:cubicBezTo>
                      <a:pt x="17" y="15"/>
                      <a:pt x="15" y="29"/>
                      <a:pt x="13" y="35"/>
                    </a:cubicBezTo>
                    <a:cubicBezTo>
                      <a:pt x="13" y="38"/>
                      <a:pt x="12" y="41"/>
                      <a:pt x="12" y="44"/>
                    </a:cubicBezTo>
                    <a:cubicBezTo>
                      <a:pt x="12" y="50"/>
                      <a:pt x="12" y="55"/>
                      <a:pt x="9" y="60"/>
                    </a:cubicBezTo>
                    <a:cubicBezTo>
                      <a:pt x="8" y="61"/>
                      <a:pt x="7" y="62"/>
                      <a:pt x="5" y="63"/>
                    </a:cubicBezTo>
                    <a:cubicBezTo>
                      <a:pt x="4" y="60"/>
                      <a:pt x="0" y="62"/>
                      <a:pt x="0" y="64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025" name="Freeform 338">
                <a:extLst>
                  <a:ext uri="{FF2B5EF4-FFF2-40B4-BE49-F238E27FC236}">
                    <a16:creationId xmlns:a16="http://schemas.microsoft.com/office/drawing/2014/main" id="{77508B50-F736-4F7C-9450-FA241241762F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79" y="3139"/>
                <a:ext cx="103" cy="103"/>
              </a:xfrm>
              <a:custGeom>
                <a:avLst/>
                <a:gdLst>
                  <a:gd name="T0" fmla="*/ 21 w 97"/>
                  <a:gd name="T1" fmla="*/ 2 h 98"/>
                  <a:gd name="T2" fmla="*/ 10 w 97"/>
                  <a:gd name="T3" fmla="*/ 62 h 98"/>
                  <a:gd name="T4" fmla="*/ 37 w 97"/>
                  <a:gd name="T5" fmla="*/ 86 h 98"/>
                  <a:gd name="T6" fmla="*/ 77 w 97"/>
                  <a:gd name="T7" fmla="*/ 86 h 98"/>
                  <a:gd name="T8" fmla="*/ 87 w 97"/>
                  <a:gd name="T9" fmla="*/ 63 h 98"/>
                  <a:gd name="T10" fmla="*/ 97 w 97"/>
                  <a:gd name="T11" fmla="*/ 30 h 98"/>
                  <a:gd name="T12" fmla="*/ 90 w 97"/>
                  <a:gd name="T13" fmla="*/ 28 h 98"/>
                  <a:gd name="T14" fmla="*/ 77 w 97"/>
                  <a:gd name="T15" fmla="*/ 67 h 98"/>
                  <a:gd name="T16" fmla="*/ 52 w 97"/>
                  <a:gd name="T17" fmla="*/ 83 h 98"/>
                  <a:gd name="T18" fmla="*/ 33 w 97"/>
                  <a:gd name="T19" fmla="*/ 77 h 98"/>
                  <a:gd name="T20" fmla="*/ 24 w 97"/>
                  <a:gd name="T21" fmla="*/ 1 h 98"/>
                  <a:gd name="T22" fmla="*/ 21 w 97"/>
                  <a:gd name="T23" fmla="*/ 2 h 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97" h="98">
                    <a:moveTo>
                      <a:pt x="21" y="2"/>
                    </a:moveTo>
                    <a:cubicBezTo>
                      <a:pt x="21" y="22"/>
                      <a:pt x="9" y="41"/>
                      <a:pt x="10" y="62"/>
                    </a:cubicBezTo>
                    <a:cubicBezTo>
                      <a:pt x="11" y="76"/>
                      <a:pt x="24" y="82"/>
                      <a:pt x="37" y="86"/>
                    </a:cubicBezTo>
                    <a:cubicBezTo>
                      <a:pt x="49" y="90"/>
                      <a:pt x="67" y="98"/>
                      <a:pt x="77" y="86"/>
                    </a:cubicBezTo>
                    <a:cubicBezTo>
                      <a:pt x="83" y="80"/>
                      <a:pt x="85" y="71"/>
                      <a:pt x="87" y="63"/>
                    </a:cubicBezTo>
                    <a:cubicBezTo>
                      <a:pt x="89" y="52"/>
                      <a:pt x="94" y="41"/>
                      <a:pt x="97" y="30"/>
                    </a:cubicBezTo>
                    <a:cubicBezTo>
                      <a:pt x="97" y="25"/>
                      <a:pt x="91" y="24"/>
                      <a:pt x="90" y="28"/>
                    </a:cubicBezTo>
                    <a:cubicBezTo>
                      <a:pt x="84" y="40"/>
                      <a:pt x="81" y="53"/>
                      <a:pt x="77" y="67"/>
                    </a:cubicBezTo>
                    <a:cubicBezTo>
                      <a:pt x="74" y="80"/>
                      <a:pt x="66" y="87"/>
                      <a:pt x="52" y="83"/>
                    </a:cubicBezTo>
                    <a:cubicBezTo>
                      <a:pt x="46" y="81"/>
                      <a:pt x="39" y="79"/>
                      <a:pt x="33" y="77"/>
                    </a:cubicBezTo>
                    <a:cubicBezTo>
                      <a:pt x="0" y="63"/>
                      <a:pt x="36" y="25"/>
                      <a:pt x="24" y="1"/>
                    </a:cubicBezTo>
                    <a:cubicBezTo>
                      <a:pt x="24" y="0"/>
                      <a:pt x="21" y="0"/>
                      <a:pt x="21" y="2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026" name="Freeform 339">
                <a:extLst>
                  <a:ext uri="{FF2B5EF4-FFF2-40B4-BE49-F238E27FC236}">
                    <a16:creationId xmlns:a16="http://schemas.microsoft.com/office/drawing/2014/main" id="{98880C7A-4B7E-4308-A2D5-B53D77B081CB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74" y="3094"/>
                <a:ext cx="84" cy="100"/>
              </a:xfrm>
              <a:custGeom>
                <a:avLst/>
                <a:gdLst>
                  <a:gd name="T0" fmla="*/ 3 w 79"/>
                  <a:gd name="T1" fmla="*/ 75 h 94"/>
                  <a:gd name="T2" fmla="*/ 60 w 79"/>
                  <a:gd name="T3" fmla="*/ 87 h 94"/>
                  <a:gd name="T4" fmla="*/ 77 w 79"/>
                  <a:gd name="T5" fmla="*/ 54 h 94"/>
                  <a:gd name="T6" fmla="*/ 78 w 79"/>
                  <a:gd name="T7" fmla="*/ 24 h 94"/>
                  <a:gd name="T8" fmla="*/ 70 w 79"/>
                  <a:gd name="T9" fmla="*/ 10 h 94"/>
                  <a:gd name="T10" fmla="*/ 54 w 79"/>
                  <a:gd name="T11" fmla="*/ 5 h 94"/>
                  <a:gd name="T12" fmla="*/ 19 w 79"/>
                  <a:gd name="T13" fmla="*/ 0 h 94"/>
                  <a:gd name="T14" fmla="*/ 17 w 79"/>
                  <a:gd name="T15" fmla="*/ 8 h 94"/>
                  <a:gd name="T16" fmla="*/ 52 w 79"/>
                  <a:gd name="T17" fmla="*/ 15 h 94"/>
                  <a:gd name="T18" fmla="*/ 68 w 79"/>
                  <a:gd name="T19" fmla="*/ 32 h 94"/>
                  <a:gd name="T20" fmla="*/ 68 w 79"/>
                  <a:gd name="T21" fmla="*/ 54 h 94"/>
                  <a:gd name="T22" fmla="*/ 63 w 79"/>
                  <a:gd name="T23" fmla="*/ 73 h 94"/>
                  <a:gd name="T24" fmla="*/ 37 w 79"/>
                  <a:gd name="T25" fmla="*/ 78 h 94"/>
                  <a:gd name="T26" fmla="*/ 2 w 79"/>
                  <a:gd name="T27" fmla="*/ 71 h 94"/>
                  <a:gd name="T28" fmla="*/ 3 w 79"/>
                  <a:gd name="T29" fmla="*/ 75 h 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79" h="94">
                    <a:moveTo>
                      <a:pt x="3" y="75"/>
                    </a:moveTo>
                    <a:cubicBezTo>
                      <a:pt x="22" y="74"/>
                      <a:pt x="41" y="94"/>
                      <a:pt x="60" y="87"/>
                    </a:cubicBezTo>
                    <a:cubicBezTo>
                      <a:pt x="72" y="83"/>
                      <a:pt x="76" y="65"/>
                      <a:pt x="77" y="54"/>
                    </a:cubicBezTo>
                    <a:cubicBezTo>
                      <a:pt x="79" y="45"/>
                      <a:pt x="79" y="33"/>
                      <a:pt x="78" y="24"/>
                    </a:cubicBezTo>
                    <a:cubicBezTo>
                      <a:pt x="77" y="18"/>
                      <a:pt x="74" y="14"/>
                      <a:pt x="70" y="10"/>
                    </a:cubicBezTo>
                    <a:cubicBezTo>
                      <a:pt x="65" y="7"/>
                      <a:pt x="59" y="6"/>
                      <a:pt x="54" y="5"/>
                    </a:cubicBezTo>
                    <a:cubicBezTo>
                      <a:pt x="42" y="4"/>
                      <a:pt x="30" y="2"/>
                      <a:pt x="19" y="0"/>
                    </a:cubicBezTo>
                    <a:cubicBezTo>
                      <a:pt x="14" y="0"/>
                      <a:pt x="13" y="7"/>
                      <a:pt x="17" y="8"/>
                    </a:cubicBezTo>
                    <a:cubicBezTo>
                      <a:pt x="29" y="13"/>
                      <a:pt x="40" y="13"/>
                      <a:pt x="52" y="15"/>
                    </a:cubicBezTo>
                    <a:cubicBezTo>
                      <a:pt x="63" y="16"/>
                      <a:pt x="67" y="21"/>
                      <a:pt x="68" y="32"/>
                    </a:cubicBezTo>
                    <a:cubicBezTo>
                      <a:pt x="69" y="38"/>
                      <a:pt x="69" y="48"/>
                      <a:pt x="68" y="54"/>
                    </a:cubicBezTo>
                    <a:cubicBezTo>
                      <a:pt x="67" y="59"/>
                      <a:pt x="66" y="69"/>
                      <a:pt x="63" y="73"/>
                    </a:cubicBezTo>
                    <a:cubicBezTo>
                      <a:pt x="57" y="83"/>
                      <a:pt x="46" y="81"/>
                      <a:pt x="37" y="78"/>
                    </a:cubicBezTo>
                    <a:cubicBezTo>
                      <a:pt x="26" y="73"/>
                      <a:pt x="15" y="69"/>
                      <a:pt x="2" y="71"/>
                    </a:cubicBezTo>
                    <a:cubicBezTo>
                      <a:pt x="0" y="72"/>
                      <a:pt x="1" y="75"/>
                      <a:pt x="3" y="75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027" name="Freeform 340">
                <a:extLst>
                  <a:ext uri="{FF2B5EF4-FFF2-40B4-BE49-F238E27FC236}">
                    <a16:creationId xmlns:a16="http://schemas.microsoft.com/office/drawing/2014/main" id="{0BA157EC-9C79-4098-A801-7069C00DBA6A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18" y="3119"/>
                <a:ext cx="55" cy="28"/>
              </a:xfrm>
              <a:custGeom>
                <a:avLst/>
                <a:gdLst>
                  <a:gd name="T0" fmla="*/ 6 w 52"/>
                  <a:gd name="T1" fmla="*/ 2 h 27"/>
                  <a:gd name="T2" fmla="*/ 42 w 52"/>
                  <a:gd name="T3" fmla="*/ 3 h 27"/>
                  <a:gd name="T4" fmla="*/ 38 w 52"/>
                  <a:gd name="T5" fmla="*/ 4 h 27"/>
                  <a:gd name="T6" fmla="*/ 24 w 52"/>
                  <a:gd name="T7" fmla="*/ 15 h 27"/>
                  <a:gd name="T8" fmla="*/ 10 w 52"/>
                  <a:gd name="T9" fmla="*/ 3 h 27"/>
                  <a:gd name="T10" fmla="*/ 6 w 52"/>
                  <a:gd name="T11" fmla="*/ 2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52" h="27">
                    <a:moveTo>
                      <a:pt x="6" y="2"/>
                    </a:moveTo>
                    <a:cubicBezTo>
                      <a:pt x="0" y="27"/>
                      <a:pt x="52" y="26"/>
                      <a:pt x="42" y="3"/>
                    </a:cubicBezTo>
                    <a:cubicBezTo>
                      <a:pt x="41" y="1"/>
                      <a:pt x="38" y="1"/>
                      <a:pt x="38" y="4"/>
                    </a:cubicBezTo>
                    <a:cubicBezTo>
                      <a:pt x="38" y="12"/>
                      <a:pt x="32" y="15"/>
                      <a:pt x="24" y="15"/>
                    </a:cubicBezTo>
                    <a:cubicBezTo>
                      <a:pt x="17" y="14"/>
                      <a:pt x="9" y="10"/>
                      <a:pt x="10" y="3"/>
                    </a:cubicBezTo>
                    <a:cubicBezTo>
                      <a:pt x="10" y="1"/>
                      <a:pt x="7" y="0"/>
                      <a:pt x="6" y="2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028" name="Freeform 341">
                <a:extLst>
                  <a:ext uri="{FF2B5EF4-FFF2-40B4-BE49-F238E27FC236}">
                    <a16:creationId xmlns:a16="http://schemas.microsoft.com/office/drawing/2014/main" id="{F98F66BD-5B47-44C0-98F3-C94047CCDE82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9" y="3070"/>
                <a:ext cx="264" cy="203"/>
              </a:xfrm>
              <a:custGeom>
                <a:avLst/>
                <a:gdLst>
                  <a:gd name="T0" fmla="*/ 35 w 249"/>
                  <a:gd name="T1" fmla="*/ 1 h 192"/>
                  <a:gd name="T2" fmla="*/ 79 w 249"/>
                  <a:gd name="T3" fmla="*/ 148 h 192"/>
                  <a:gd name="T4" fmla="*/ 156 w 249"/>
                  <a:gd name="T5" fmla="*/ 183 h 192"/>
                  <a:gd name="T6" fmla="*/ 249 w 249"/>
                  <a:gd name="T7" fmla="*/ 167 h 192"/>
                  <a:gd name="T8" fmla="*/ 249 w 249"/>
                  <a:gd name="T9" fmla="*/ 167 h 192"/>
                  <a:gd name="T10" fmla="*/ 206 w 249"/>
                  <a:gd name="T11" fmla="*/ 184 h 192"/>
                  <a:gd name="T12" fmla="*/ 151 w 249"/>
                  <a:gd name="T13" fmla="*/ 176 h 192"/>
                  <a:gd name="T14" fmla="*/ 83 w 249"/>
                  <a:gd name="T15" fmla="*/ 144 h 192"/>
                  <a:gd name="T16" fmla="*/ 37 w 249"/>
                  <a:gd name="T17" fmla="*/ 2 h 192"/>
                  <a:gd name="T18" fmla="*/ 35 w 249"/>
                  <a:gd name="T19" fmla="*/ 1 h 1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49" h="192">
                    <a:moveTo>
                      <a:pt x="35" y="1"/>
                    </a:moveTo>
                    <a:cubicBezTo>
                      <a:pt x="0" y="44"/>
                      <a:pt x="46" y="118"/>
                      <a:pt x="79" y="148"/>
                    </a:cubicBezTo>
                    <a:cubicBezTo>
                      <a:pt x="99" y="167"/>
                      <a:pt x="130" y="175"/>
                      <a:pt x="156" y="183"/>
                    </a:cubicBezTo>
                    <a:cubicBezTo>
                      <a:pt x="191" y="192"/>
                      <a:pt x="219" y="187"/>
                      <a:pt x="249" y="167"/>
                    </a:cubicBezTo>
                    <a:cubicBezTo>
                      <a:pt x="249" y="167"/>
                      <a:pt x="249" y="167"/>
                      <a:pt x="249" y="167"/>
                    </a:cubicBezTo>
                    <a:cubicBezTo>
                      <a:pt x="236" y="175"/>
                      <a:pt x="222" y="182"/>
                      <a:pt x="206" y="184"/>
                    </a:cubicBezTo>
                    <a:cubicBezTo>
                      <a:pt x="187" y="187"/>
                      <a:pt x="169" y="182"/>
                      <a:pt x="151" y="176"/>
                    </a:cubicBezTo>
                    <a:cubicBezTo>
                      <a:pt x="128" y="169"/>
                      <a:pt x="102" y="161"/>
                      <a:pt x="83" y="144"/>
                    </a:cubicBezTo>
                    <a:cubicBezTo>
                      <a:pt x="47" y="110"/>
                      <a:pt x="16" y="51"/>
                      <a:pt x="37" y="2"/>
                    </a:cubicBezTo>
                    <a:cubicBezTo>
                      <a:pt x="37" y="1"/>
                      <a:pt x="35" y="0"/>
                      <a:pt x="35" y="1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029" name="Freeform 342">
                <a:extLst>
                  <a:ext uri="{FF2B5EF4-FFF2-40B4-BE49-F238E27FC236}">
                    <a16:creationId xmlns:a16="http://schemas.microsoft.com/office/drawing/2014/main" id="{2A696CCD-EE38-48A8-8E22-C938DFF6F3CC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376" y="3177"/>
                <a:ext cx="31" cy="17"/>
              </a:xfrm>
              <a:custGeom>
                <a:avLst/>
                <a:gdLst>
                  <a:gd name="T0" fmla="*/ 3 w 29"/>
                  <a:gd name="T1" fmla="*/ 15 h 16"/>
                  <a:gd name="T2" fmla="*/ 28 w 29"/>
                  <a:gd name="T3" fmla="*/ 4 h 16"/>
                  <a:gd name="T4" fmla="*/ 25 w 29"/>
                  <a:gd name="T5" fmla="*/ 1 h 16"/>
                  <a:gd name="T6" fmla="*/ 2 w 29"/>
                  <a:gd name="T7" fmla="*/ 12 h 16"/>
                  <a:gd name="T8" fmla="*/ 3 w 29"/>
                  <a:gd name="T9" fmla="*/ 15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9" h="16">
                    <a:moveTo>
                      <a:pt x="3" y="15"/>
                    </a:moveTo>
                    <a:cubicBezTo>
                      <a:pt x="12" y="14"/>
                      <a:pt x="21" y="10"/>
                      <a:pt x="28" y="4"/>
                    </a:cubicBezTo>
                    <a:cubicBezTo>
                      <a:pt x="29" y="2"/>
                      <a:pt x="27" y="0"/>
                      <a:pt x="25" y="1"/>
                    </a:cubicBezTo>
                    <a:cubicBezTo>
                      <a:pt x="18" y="5"/>
                      <a:pt x="11" y="10"/>
                      <a:pt x="2" y="12"/>
                    </a:cubicBezTo>
                    <a:cubicBezTo>
                      <a:pt x="0" y="12"/>
                      <a:pt x="1" y="16"/>
                      <a:pt x="3" y="15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030" name="Freeform 343">
                <a:extLst>
                  <a:ext uri="{FF2B5EF4-FFF2-40B4-BE49-F238E27FC236}">
                    <a16:creationId xmlns:a16="http://schemas.microsoft.com/office/drawing/2014/main" id="{2693415E-02C8-4A41-B423-FDD30E1CE377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395" y="3150"/>
                <a:ext cx="14" cy="13"/>
              </a:xfrm>
              <a:custGeom>
                <a:avLst/>
                <a:gdLst>
                  <a:gd name="T0" fmla="*/ 5 w 13"/>
                  <a:gd name="T1" fmla="*/ 10 h 12"/>
                  <a:gd name="T2" fmla="*/ 12 w 13"/>
                  <a:gd name="T3" fmla="*/ 4 h 12"/>
                  <a:gd name="T4" fmla="*/ 10 w 13"/>
                  <a:gd name="T5" fmla="*/ 1 h 12"/>
                  <a:gd name="T6" fmla="*/ 2 w 13"/>
                  <a:gd name="T7" fmla="*/ 7 h 12"/>
                  <a:gd name="T8" fmla="*/ 5 w 13"/>
                  <a:gd name="T9" fmla="*/ 10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3" h="12">
                    <a:moveTo>
                      <a:pt x="5" y="10"/>
                    </a:moveTo>
                    <a:cubicBezTo>
                      <a:pt x="7" y="8"/>
                      <a:pt x="10" y="6"/>
                      <a:pt x="12" y="4"/>
                    </a:cubicBezTo>
                    <a:cubicBezTo>
                      <a:pt x="13" y="2"/>
                      <a:pt x="12" y="0"/>
                      <a:pt x="10" y="1"/>
                    </a:cubicBezTo>
                    <a:cubicBezTo>
                      <a:pt x="7" y="3"/>
                      <a:pt x="5" y="5"/>
                      <a:pt x="2" y="7"/>
                    </a:cubicBezTo>
                    <a:cubicBezTo>
                      <a:pt x="0" y="9"/>
                      <a:pt x="3" y="12"/>
                      <a:pt x="5" y="10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031" name="Freeform 344">
                <a:extLst>
                  <a:ext uri="{FF2B5EF4-FFF2-40B4-BE49-F238E27FC236}">
                    <a16:creationId xmlns:a16="http://schemas.microsoft.com/office/drawing/2014/main" id="{F4DBEFEA-A7C4-4E65-87CA-2759779CC57D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05" y="2956"/>
                <a:ext cx="306" cy="159"/>
              </a:xfrm>
              <a:custGeom>
                <a:avLst/>
                <a:gdLst>
                  <a:gd name="T0" fmla="*/ 278 w 289"/>
                  <a:gd name="T1" fmla="*/ 150 h 151"/>
                  <a:gd name="T2" fmla="*/ 167 w 289"/>
                  <a:gd name="T3" fmla="*/ 11 h 151"/>
                  <a:gd name="T4" fmla="*/ 71 w 289"/>
                  <a:gd name="T5" fmla="*/ 13 h 151"/>
                  <a:gd name="T6" fmla="*/ 2 w 289"/>
                  <a:gd name="T7" fmla="*/ 79 h 151"/>
                  <a:gd name="T8" fmla="*/ 7 w 289"/>
                  <a:gd name="T9" fmla="*/ 82 h 151"/>
                  <a:gd name="T10" fmla="*/ 70 w 289"/>
                  <a:gd name="T11" fmla="*/ 20 h 151"/>
                  <a:gd name="T12" fmla="*/ 178 w 289"/>
                  <a:gd name="T13" fmla="*/ 22 h 151"/>
                  <a:gd name="T14" fmla="*/ 275 w 289"/>
                  <a:gd name="T15" fmla="*/ 149 h 151"/>
                  <a:gd name="T16" fmla="*/ 278 w 289"/>
                  <a:gd name="T17" fmla="*/ 150 h 1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89" h="151">
                    <a:moveTo>
                      <a:pt x="278" y="150"/>
                    </a:moveTo>
                    <a:cubicBezTo>
                      <a:pt x="289" y="79"/>
                      <a:pt x="226" y="32"/>
                      <a:pt x="167" y="11"/>
                    </a:cubicBezTo>
                    <a:cubicBezTo>
                      <a:pt x="135" y="0"/>
                      <a:pt x="102" y="1"/>
                      <a:pt x="71" y="13"/>
                    </a:cubicBezTo>
                    <a:cubicBezTo>
                      <a:pt x="39" y="25"/>
                      <a:pt x="20" y="50"/>
                      <a:pt x="2" y="79"/>
                    </a:cubicBezTo>
                    <a:cubicBezTo>
                      <a:pt x="0" y="82"/>
                      <a:pt x="4" y="85"/>
                      <a:pt x="7" y="82"/>
                    </a:cubicBezTo>
                    <a:cubicBezTo>
                      <a:pt x="26" y="58"/>
                      <a:pt x="40" y="33"/>
                      <a:pt x="70" y="20"/>
                    </a:cubicBezTo>
                    <a:cubicBezTo>
                      <a:pt x="106" y="5"/>
                      <a:pt x="142" y="8"/>
                      <a:pt x="178" y="22"/>
                    </a:cubicBezTo>
                    <a:cubicBezTo>
                      <a:pt x="231" y="43"/>
                      <a:pt x="283" y="86"/>
                      <a:pt x="275" y="149"/>
                    </a:cubicBezTo>
                    <a:cubicBezTo>
                      <a:pt x="275" y="151"/>
                      <a:pt x="278" y="151"/>
                      <a:pt x="278" y="150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032" name="Freeform 345">
                <a:extLst>
                  <a:ext uri="{FF2B5EF4-FFF2-40B4-BE49-F238E27FC236}">
                    <a16:creationId xmlns:a16="http://schemas.microsoft.com/office/drawing/2014/main" id="{B7550C4E-41EE-4AFC-9C40-4F43EC8C86E9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69" y="2271"/>
                <a:ext cx="119" cy="334"/>
              </a:xfrm>
              <a:custGeom>
                <a:avLst/>
                <a:gdLst>
                  <a:gd name="T0" fmla="*/ 19 w 112"/>
                  <a:gd name="T1" fmla="*/ 1 h 316"/>
                  <a:gd name="T2" fmla="*/ 4 w 112"/>
                  <a:gd name="T3" fmla="*/ 54 h 316"/>
                  <a:gd name="T4" fmla="*/ 1 w 112"/>
                  <a:gd name="T5" fmla="*/ 96 h 316"/>
                  <a:gd name="T6" fmla="*/ 14 w 112"/>
                  <a:gd name="T7" fmla="*/ 184 h 316"/>
                  <a:gd name="T8" fmla="*/ 109 w 112"/>
                  <a:gd name="T9" fmla="*/ 315 h 316"/>
                  <a:gd name="T10" fmla="*/ 111 w 112"/>
                  <a:gd name="T11" fmla="*/ 313 h 316"/>
                  <a:gd name="T12" fmla="*/ 16 w 112"/>
                  <a:gd name="T13" fmla="*/ 177 h 316"/>
                  <a:gd name="T14" fmla="*/ 5 w 112"/>
                  <a:gd name="T15" fmla="*/ 89 h 316"/>
                  <a:gd name="T16" fmla="*/ 10 w 112"/>
                  <a:gd name="T17" fmla="*/ 42 h 316"/>
                  <a:gd name="T18" fmla="*/ 21 w 112"/>
                  <a:gd name="T19" fmla="*/ 2 h 316"/>
                  <a:gd name="T20" fmla="*/ 19 w 112"/>
                  <a:gd name="T21" fmla="*/ 1 h 3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12" h="316">
                    <a:moveTo>
                      <a:pt x="19" y="1"/>
                    </a:moveTo>
                    <a:cubicBezTo>
                      <a:pt x="14" y="19"/>
                      <a:pt x="6" y="35"/>
                      <a:pt x="4" y="54"/>
                    </a:cubicBezTo>
                    <a:cubicBezTo>
                      <a:pt x="1" y="68"/>
                      <a:pt x="1" y="82"/>
                      <a:pt x="1" y="96"/>
                    </a:cubicBezTo>
                    <a:cubicBezTo>
                      <a:pt x="0" y="126"/>
                      <a:pt x="6" y="155"/>
                      <a:pt x="14" y="184"/>
                    </a:cubicBezTo>
                    <a:cubicBezTo>
                      <a:pt x="27" y="235"/>
                      <a:pt x="64" y="288"/>
                      <a:pt x="109" y="315"/>
                    </a:cubicBezTo>
                    <a:cubicBezTo>
                      <a:pt x="111" y="316"/>
                      <a:pt x="112" y="314"/>
                      <a:pt x="111" y="313"/>
                    </a:cubicBezTo>
                    <a:cubicBezTo>
                      <a:pt x="64" y="283"/>
                      <a:pt x="29" y="230"/>
                      <a:pt x="16" y="177"/>
                    </a:cubicBezTo>
                    <a:cubicBezTo>
                      <a:pt x="9" y="148"/>
                      <a:pt x="4" y="119"/>
                      <a:pt x="5" y="89"/>
                    </a:cubicBezTo>
                    <a:cubicBezTo>
                      <a:pt x="6" y="73"/>
                      <a:pt x="7" y="57"/>
                      <a:pt x="10" y="42"/>
                    </a:cubicBezTo>
                    <a:cubicBezTo>
                      <a:pt x="13" y="28"/>
                      <a:pt x="18" y="15"/>
                      <a:pt x="21" y="2"/>
                    </a:cubicBezTo>
                    <a:cubicBezTo>
                      <a:pt x="21" y="0"/>
                      <a:pt x="19" y="0"/>
                      <a:pt x="19" y="1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033" name="Freeform 346">
                <a:extLst>
                  <a:ext uri="{FF2B5EF4-FFF2-40B4-BE49-F238E27FC236}">
                    <a16:creationId xmlns:a16="http://schemas.microsoft.com/office/drawing/2014/main" id="{BA60C45C-AA9C-4164-8B96-D0EA130D0EC0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13" y="2610"/>
                <a:ext cx="111" cy="33"/>
              </a:xfrm>
              <a:custGeom>
                <a:avLst/>
                <a:gdLst>
                  <a:gd name="T0" fmla="*/ 1 w 105"/>
                  <a:gd name="T1" fmla="*/ 31 h 31"/>
                  <a:gd name="T2" fmla="*/ 63 w 105"/>
                  <a:gd name="T3" fmla="*/ 21 h 31"/>
                  <a:gd name="T4" fmla="*/ 104 w 105"/>
                  <a:gd name="T5" fmla="*/ 1 h 31"/>
                  <a:gd name="T6" fmla="*/ 104 w 105"/>
                  <a:gd name="T7" fmla="*/ 1 h 31"/>
                  <a:gd name="T8" fmla="*/ 54 w 105"/>
                  <a:gd name="T9" fmla="*/ 20 h 31"/>
                  <a:gd name="T10" fmla="*/ 1 w 105"/>
                  <a:gd name="T11" fmla="*/ 29 h 31"/>
                  <a:gd name="T12" fmla="*/ 1 w 105"/>
                  <a:gd name="T13" fmla="*/ 31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05" h="31">
                    <a:moveTo>
                      <a:pt x="1" y="31"/>
                    </a:moveTo>
                    <a:cubicBezTo>
                      <a:pt x="22" y="28"/>
                      <a:pt x="43" y="26"/>
                      <a:pt x="63" y="21"/>
                    </a:cubicBezTo>
                    <a:cubicBezTo>
                      <a:pt x="78" y="17"/>
                      <a:pt x="90" y="7"/>
                      <a:pt x="104" y="1"/>
                    </a:cubicBezTo>
                    <a:cubicBezTo>
                      <a:pt x="105" y="1"/>
                      <a:pt x="104" y="0"/>
                      <a:pt x="104" y="1"/>
                    </a:cubicBezTo>
                    <a:cubicBezTo>
                      <a:pt x="87" y="7"/>
                      <a:pt x="72" y="16"/>
                      <a:pt x="54" y="20"/>
                    </a:cubicBezTo>
                    <a:cubicBezTo>
                      <a:pt x="37" y="23"/>
                      <a:pt x="19" y="26"/>
                      <a:pt x="1" y="29"/>
                    </a:cubicBezTo>
                    <a:cubicBezTo>
                      <a:pt x="0" y="29"/>
                      <a:pt x="0" y="31"/>
                      <a:pt x="1" y="31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034" name="Freeform 347">
                <a:extLst>
                  <a:ext uri="{FF2B5EF4-FFF2-40B4-BE49-F238E27FC236}">
                    <a16:creationId xmlns:a16="http://schemas.microsoft.com/office/drawing/2014/main" id="{FD435350-E1C4-445F-A4A1-B49E065AC090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26" y="2458"/>
                <a:ext cx="11" cy="29"/>
              </a:xfrm>
              <a:custGeom>
                <a:avLst/>
                <a:gdLst>
                  <a:gd name="T0" fmla="*/ 1 w 10"/>
                  <a:gd name="T1" fmla="*/ 27 h 27"/>
                  <a:gd name="T2" fmla="*/ 10 w 10"/>
                  <a:gd name="T3" fmla="*/ 1 h 27"/>
                  <a:gd name="T4" fmla="*/ 9 w 10"/>
                  <a:gd name="T5" fmla="*/ 1 h 27"/>
                  <a:gd name="T6" fmla="*/ 0 w 10"/>
                  <a:gd name="T7" fmla="*/ 27 h 27"/>
                  <a:gd name="T8" fmla="*/ 1 w 10"/>
                  <a:gd name="T9" fmla="*/ 27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" h="27">
                    <a:moveTo>
                      <a:pt x="1" y="27"/>
                    </a:moveTo>
                    <a:cubicBezTo>
                      <a:pt x="4" y="18"/>
                      <a:pt x="9" y="10"/>
                      <a:pt x="10" y="1"/>
                    </a:cubicBezTo>
                    <a:cubicBezTo>
                      <a:pt x="10" y="0"/>
                      <a:pt x="10" y="0"/>
                      <a:pt x="9" y="1"/>
                    </a:cubicBezTo>
                    <a:cubicBezTo>
                      <a:pt x="8" y="10"/>
                      <a:pt x="4" y="18"/>
                      <a:pt x="0" y="27"/>
                    </a:cubicBezTo>
                    <a:lnTo>
                      <a:pt x="1" y="27"/>
                    </a:ln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035" name="Freeform 348">
                <a:extLst>
                  <a:ext uri="{FF2B5EF4-FFF2-40B4-BE49-F238E27FC236}">
                    <a16:creationId xmlns:a16="http://schemas.microsoft.com/office/drawing/2014/main" id="{C0A85ACF-E556-4AE3-8A43-335072513BFE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35" y="2318"/>
                <a:ext cx="9" cy="33"/>
              </a:xfrm>
              <a:custGeom>
                <a:avLst/>
                <a:gdLst>
                  <a:gd name="T0" fmla="*/ 9 w 9"/>
                  <a:gd name="T1" fmla="*/ 31 h 31"/>
                  <a:gd name="T2" fmla="*/ 1 w 9"/>
                  <a:gd name="T3" fmla="*/ 1 h 31"/>
                  <a:gd name="T4" fmla="*/ 0 w 9"/>
                  <a:gd name="T5" fmla="*/ 1 h 31"/>
                  <a:gd name="T6" fmla="*/ 9 w 9"/>
                  <a:gd name="T7" fmla="*/ 31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9" h="31">
                    <a:moveTo>
                      <a:pt x="9" y="31"/>
                    </a:moveTo>
                    <a:cubicBezTo>
                      <a:pt x="8" y="21"/>
                      <a:pt x="5" y="11"/>
                      <a:pt x="1" y="1"/>
                    </a:cubicBezTo>
                    <a:cubicBezTo>
                      <a:pt x="1" y="0"/>
                      <a:pt x="0" y="1"/>
                      <a:pt x="0" y="1"/>
                    </a:cubicBezTo>
                    <a:cubicBezTo>
                      <a:pt x="4" y="11"/>
                      <a:pt x="8" y="21"/>
                      <a:pt x="9" y="31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036" name="Freeform 349">
                <a:extLst>
                  <a:ext uri="{FF2B5EF4-FFF2-40B4-BE49-F238E27FC236}">
                    <a16:creationId xmlns:a16="http://schemas.microsoft.com/office/drawing/2014/main" id="{62C62F29-3478-48DF-8FE0-C59D4F6FDDC0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25" y="2132"/>
                <a:ext cx="333" cy="80"/>
              </a:xfrm>
              <a:custGeom>
                <a:avLst/>
                <a:gdLst>
                  <a:gd name="T0" fmla="*/ 314 w 315"/>
                  <a:gd name="T1" fmla="*/ 74 h 76"/>
                  <a:gd name="T2" fmla="*/ 158 w 315"/>
                  <a:gd name="T3" fmla="*/ 0 h 76"/>
                  <a:gd name="T4" fmla="*/ 65 w 315"/>
                  <a:gd name="T5" fmla="*/ 22 h 76"/>
                  <a:gd name="T6" fmla="*/ 2 w 315"/>
                  <a:gd name="T7" fmla="*/ 71 h 76"/>
                  <a:gd name="T8" fmla="*/ 4 w 315"/>
                  <a:gd name="T9" fmla="*/ 73 h 76"/>
                  <a:gd name="T10" fmla="*/ 70 w 315"/>
                  <a:gd name="T11" fmla="*/ 25 h 76"/>
                  <a:gd name="T12" fmla="*/ 154 w 315"/>
                  <a:gd name="T13" fmla="*/ 4 h 76"/>
                  <a:gd name="T14" fmla="*/ 313 w 315"/>
                  <a:gd name="T15" fmla="*/ 75 h 76"/>
                  <a:gd name="T16" fmla="*/ 314 w 315"/>
                  <a:gd name="T17" fmla="*/ 74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15" h="76">
                    <a:moveTo>
                      <a:pt x="314" y="74"/>
                    </a:moveTo>
                    <a:cubicBezTo>
                      <a:pt x="272" y="35"/>
                      <a:pt x="218" y="0"/>
                      <a:pt x="158" y="0"/>
                    </a:cubicBezTo>
                    <a:cubicBezTo>
                      <a:pt x="126" y="0"/>
                      <a:pt x="94" y="12"/>
                      <a:pt x="65" y="22"/>
                    </a:cubicBezTo>
                    <a:cubicBezTo>
                      <a:pt x="39" y="32"/>
                      <a:pt x="20" y="51"/>
                      <a:pt x="2" y="71"/>
                    </a:cubicBezTo>
                    <a:cubicBezTo>
                      <a:pt x="0" y="73"/>
                      <a:pt x="2" y="75"/>
                      <a:pt x="4" y="73"/>
                    </a:cubicBezTo>
                    <a:cubicBezTo>
                      <a:pt x="24" y="54"/>
                      <a:pt x="42" y="35"/>
                      <a:pt x="70" y="25"/>
                    </a:cubicBezTo>
                    <a:cubicBezTo>
                      <a:pt x="97" y="16"/>
                      <a:pt x="126" y="5"/>
                      <a:pt x="154" y="4"/>
                    </a:cubicBezTo>
                    <a:cubicBezTo>
                      <a:pt x="212" y="3"/>
                      <a:pt x="270" y="40"/>
                      <a:pt x="313" y="75"/>
                    </a:cubicBezTo>
                    <a:cubicBezTo>
                      <a:pt x="314" y="76"/>
                      <a:pt x="315" y="75"/>
                      <a:pt x="314" y="74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037" name="Freeform 350">
                <a:extLst>
                  <a:ext uri="{FF2B5EF4-FFF2-40B4-BE49-F238E27FC236}">
                    <a16:creationId xmlns:a16="http://schemas.microsoft.com/office/drawing/2014/main" id="{37F4F6C8-D6F0-408F-B80A-C7FDF014A4D6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38" y="2307"/>
                <a:ext cx="122" cy="126"/>
              </a:xfrm>
              <a:custGeom>
                <a:avLst/>
                <a:gdLst>
                  <a:gd name="T0" fmla="*/ 21 w 115"/>
                  <a:gd name="T1" fmla="*/ 39 h 119"/>
                  <a:gd name="T2" fmla="*/ 113 w 115"/>
                  <a:gd name="T3" fmla="*/ 57 h 119"/>
                  <a:gd name="T4" fmla="*/ 67 w 115"/>
                  <a:gd name="T5" fmla="*/ 2 h 119"/>
                  <a:gd name="T6" fmla="*/ 21 w 115"/>
                  <a:gd name="T7" fmla="*/ 40 h 119"/>
                  <a:gd name="T8" fmla="*/ 28 w 115"/>
                  <a:gd name="T9" fmla="*/ 41 h 119"/>
                  <a:gd name="T10" fmla="*/ 58 w 115"/>
                  <a:gd name="T11" fmla="*/ 9 h 119"/>
                  <a:gd name="T12" fmla="*/ 105 w 115"/>
                  <a:gd name="T13" fmla="*/ 41 h 119"/>
                  <a:gd name="T14" fmla="*/ 75 w 115"/>
                  <a:gd name="T15" fmla="*/ 89 h 119"/>
                  <a:gd name="T16" fmla="*/ 24 w 115"/>
                  <a:gd name="T17" fmla="*/ 40 h 119"/>
                  <a:gd name="T18" fmla="*/ 21 w 115"/>
                  <a:gd name="T19" fmla="*/ 39 h 1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15" h="119">
                    <a:moveTo>
                      <a:pt x="21" y="39"/>
                    </a:moveTo>
                    <a:cubicBezTo>
                      <a:pt x="0" y="97"/>
                      <a:pt x="106" y="119"/>
                      <a:pt x="113" y="57"/>
                    </a:cubicBezTo>
                    <a:cubicBezTo>
                      <a:pt x="115" y="30"/>
                      <a:pt x="94" y="4"/>
                      <a:pt x="67" y="2"/>
                    </a:cubicBezTo>
                    <a:cubicBezTo>
                      <a:pt x="40" y="0"/>
                      <a:pt x="21" y="12"/>
                      <a:pt x="21" y="40"/>
                    </a:cubicBezTo>
                    <a:cubicBezTo>
                      <a:pt x="22" y="44"/>
                      <a:pt x="27" y="44"/>
                      <a:pt x="28" y="41"/>
                    </a:cubicBezTo>
                    <a:cubicBezTo>
                      <a:pt x="32" y="23"/>
                      <a:pt x="37" y="11"/>
                      <a:pt x="58" y="9"/>
                    </a:cubicBezTo>
                    <a:cubicBezTo>
                      <a:pt x="79" y="7"/>
                      <a:pt x="99" y="20"/>
                      <a:pt x="105" y="41"/>
                    </a:cubicBezTo>
                    <a:cubicBezTo>
                      <a:pt x="112" y="63"/>
                      <a:pt x="97" y="85"/>
                      <a:pt x="75" y="89"/>
                    </a:cubicBezTo>
                    <a:cubicBezTo>
                      <a:pt x="47" y="95"/>
                      <a:pt x="16" y="69"/>
                      <a:pt x="24" y="40"/>
                    </a:cubicBezTo>
                    <a:cubicBezTo>
                      <a:pt x="24" y="38"/>
                      <a:pt x="22" y="38"/>
                      <a:pt x="21" y="39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038" name="Freeform 351">
                <a:extLst>
                  <a:ext uri="{FF2B5EF4-FFF2-40B4-BE49-F238E27FC236}">
                    <a16:creationId xmlns:a16="http://schemas.microsoft.com/office/drawing/2014/main" id="{CAB3BD37-99EE-418E-A081-D86703883765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320" y="2462"/>
                <a:ext cx="100" cy="105"/>
              </a:xfrm>
              <a:custGeom>
                <a:avLst/>
                <a:gdLst>
                  <a:gd name="T0" fmla="*/ 15 w 94"/>
                  <a:gd name="T1" fmla="*/ 37 h 99"/>
                  <a:gd name="T2" fmla="*/ 3 w 94"/>
                  <a:gd name="T3" fmla="*/ 60 h 99"/>
                  <a:gd name="T4" fmla="*/ 22 w 94"/>
                  <a:gd name="T5" fmla="*/ 86 h 99"/>
                  <a:gd name="T6" fmla="*/ 79 w 94"/>
                  <a:gd name="T7" fmla="*/ 77 h 99"/>
                  <a:gd name="T8" fmla="*/ 68 w 94"/>
                  <a:gd name="T9" fmla="*/ 12 h 99"/>
                  <a:gd name="T10" fmla="*/ 14 w 94"/>
                  <a:gd name="T11" fmla="*/ 27 h 99"/>
                  <a:gd name="T12" fmla="*/ 19 w 94"/>
                  <a:gd name="T13" fmla="*/ 30 h 99"/>
                  <a:gd name="T14" fmla="*/ 68 w 94"/>
                  <a:gd name="T15" fmla="*/ 20 h 99"/>
                  <a:gd name="T16" fmla="*/ 65 w 94"/>
                  <a:gd name="T17" fmla="*/ 82 h 99"/>
                  <a:gd name="T18" fmla="*/ 24 w 94"/>
                  <a:gd name="T19" fmla="*/ 79 h 99"/>
                  <a:gd name="T20" fmla="*/ 9 w 94"/>
                  <a:gd name="T21" fmla="*/ 58 h 99"/>
                  <a:gd name="T22" fmla="*/ 17 w 94"/>
                  <a:gd name="T23" fmla="*/ 39 h 99"/>
                  <a:gd name="T24" fmla="*/ 15 w 94"/>
                  <a:gd name="T25" fmla="*/ 37 h 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94" h="99">
                    <a:moveTo>
                      <a:pt x="15" y="37"/>
                    </a:moveTo>
                    <a:cubicBezTo>
                      <a:pt x="7" y="45"/>
                      <a:pt x="0" y="47"/>
                      <a:pt x="3" y="60"/>
                    </a:cubicBezTo>
                    <a:cubicBezTo>
                      <a:pt x="6" y="70"/>
                      <a:pt x="14" y="80"/>
                      <a:pt x="22" y="86"/>
                    </a:cubicBezTo>
                    <a:cubicBezTo>
                      <a:pt x="41" y="99"/>
                      <a:pt x="66" y="95"/>
                      <a:pt x="79" y="77"/>
                    </a:cubicBezTo>
                    <a:cubicBezTo>
                      <a:pt x="94" y="57"/>
                      <a:pt x="91" y="25"/>
                      <a:pt x="68" y="12"/>
                    </a:cubicBezTo>
                    <a:cubicBezTo>
                      <a:pt x="48" y="0"/>
                      <a:pt x="23" y="5"/>
                      <a:pt x="14" y="27"/>
                    </a:cubicBezTo>
                    <a:cubicBezTo>
                      <a:pt x="12" y="31"/>
                      <a:pt x="17" y="34"/>
                      <a:pt x="19" y="30"/>
                    </a:cubicBezTo>
                    <a:cubicBezTo>
                      <a:pt x="30" y="14"/>
                      <a:pt x="50" y="7"/>
                      <a:pt x="68" y="20"/>
                    </a:cubicBezTo>
                    <a:cubicBezTo>
                      <a:pt x="87" y="34"/>
                      <a:pt x="85" y="68"/>
                      <a:pt x="65" y="82"/>
                    </a:cubicBezTo>
                    <a:cubicBezTo>
                      <a:pt x="52" y="91"/>
                      <a:pt x="36" y="89"/>
                      <a:pt x="24" y="79"/>
                    </a:cubicBezTo>
                    <a:cubicBezTo>
                      <a:pt x="18" y="74"/>
                      <a:pt x="11" y="66"/>
                      <a:pt x="9" y="58"/>
                    </a:cubicBezTo>
                    <a:cubicBezTo>
                      <a:pt x="7" y="48"/>
                      <a:pt x="12" y="46"/>
                      <a:pt x="17" y="39"/>
                    </a:cubicBezTo>
                    <a:cubicBezTo>
                      <a:pt x="18" y="37"/>
                      <a:pt x="16" y="35"/>
                      <a:pt x="15" y="37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039" name="Freeform 352">
                <a:extLst>
                  <a:ext uri="{FF2B5EF4-FFF2-40B4-BE49-F238E27FC236}">
                    <a16:creationId xmlns:a16="http://schemas.microsoft.com/office/drawing/2014/main" id="{BAE6E7D9-27A2-4D6A-9035-ADB35DCAD786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23" y="2359"/>
                <a:ext cx="117" cy="128"/>
              </a:xfrm>
              <a:custGeom>
                <a:avLst/>
                <a:gdLst>
                  <a:gd name="T0" fmla="*/ 16 w 111"/>
                  <a:gd name="T1" fmla="*/ 49 h 121"/>
                  <a:gd name="T2" fmla="*/ 15 w 111"/>
                  <a:gd name="T3" fmla="*/ 87 h 121"/>
                  <a:gd name="T4" fmla="*/ 46 w 111"/>
                  <a:gd name="T5" fmla="*/ 108 h 121"/>
                  <a:gd name="T6" fmla="*/ 105 w 111"/>
                  <a:gd name="T7" fmla="*/ 75 h 121"/>
                  <a:gd name="T8" fmla="*/ 70 w 111"/>
                  <a:gd name="T9" fmla="*/ 8 h 121"/>
                  <a:gd name="T10" fmla="*/ 14 w 111"/>
                  <a:gd name="T11" fmla="*/ 57 h 121"/>
                  <a:gd name="T12" fmla="*/ 20 w 111"/>
                  <a:gd name="T13" fmla="*/ 58 h 121"/>
                  <a:gd name="T14" fmla="*/ 54 w 111"/>
                  <a:gd name="T15" fmla="*/ 15 h 121"/>
                  <a:gd name="T16" fmla="*/ 99 w 111"/>
                  <a:gd name="T17" fmla="*/ 59 h 121"/>
                  <a:gd name="T18" fmla="*/ 19 w 111"/>
                  <a:gd name="T19" fmla="*/ 51 h 121"/>
                  <a:gd name="T20" fmla="*/ 16 w 111"/>
                  <a:gd name="T21" fmla="*/ 49 h 1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11" h="121">
                    <a:moveTo>
                      <a:pt x="16" y="49"/>
                    </a:moveTo>
                    <a:cubicBezTo>
                      <a:pt x="12" y="62"/>
                      <a:pt x="7" y="76"/>
                      <a:pt x="15" y="87"/>
                    </a:cubicBezTo>
                    <a:cubicBezTo>
                      <a:pt x="21" y="99"/>
                      <a:pt x="34" y="106"/>
                      <a:pt x="46" y="108"/>
                    </a:cubicBezTo>
                    <a:cubicBezTo>
                      <a:pt x="71" y="114"/>
                      <a:pt x="100" y="102"/>
                      <a:pt x="105" y="75"/>
                    </a:cubicBezTo>
                    <a:cubicBezTo>
                      <a:pt x="111" y="48"/>
                      <a:pt x="99" y="15"/>
                      <a:pt x="70" y="8"/>
                    </a:cubicBezTo>
                    <a:cubicBezTo>
                      <a:pt x="38" y="0"/>
                      <a:pt x="15" y="28"/>
                      <a:pt x="14" y="57"/>
                    </a:cubicBezTo>
                    <a:cubicBezTo>
                      <a:pt x="14" y="60"/>
                      <a:pt x="19" y="61"/>
                      <a:pt x="20" y="58"/>
                    </a:cubicBezTo>
                    <a:cubicBezTo>
                      <a:pt x="24" y="37"/>
                      <a:pt x="31" y="20"/>
                      <a:pt x="54" y="15"/>
                    </a:cubicBezTo>
                    <a:cubicBezTo>
                      <a:pt x="80" y="10"/>
                      <a:pt x="98" y="36"/>
                      <a:pt x="99" y="59"/>
                    </a:cubicBezTo>
                    <a:cubicBezTo>
                      <a:pt x="100" y="121"/>
                      <a:pt x="0" y="113"/>
                      <a:pt x="19" y="51"/>
                    </a:cubicBezTo>
                    <a:cubicBezTo>
                      <a:pt x="20" y="49"/>
                      <a:pt x="17" y="48"/>
                      <a:pt x="16" y="49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040" name="Freeform 353">
                <a:extLst>
                  <a:ext uri="{FF2B5EF4-FFF2-40B4-BE49-F238E27FC236}">
                    <a16:creationId xmlns:a16="http://schemas.microsoft.com/office/drawing/2014/main" id="{A5EB6F0F-A050-4C1B-8608-D37242E4C91B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367" y="2218"/>
                <a:ext cx="107" cy="110"/>
              </a:xfrm>
              <a:custGeom>
                <a:avLst/>
                <a:gdLst>
                  <a:gd name="T0" fmla="*/ 3 w 101"/>
                  <a:gd name="T1" fmla="*/ 45 h 104"/>
                  <a:gd name="T2" fmla="*/ 46 w 101"/>
                  <a:gd name="T3" fmla="*/ 101 h 104"/>
                  <a:gd name="T4" fmla="*/ 94 w 101"/>
                  <a:gd name="T5" fmla="*/ 60 h 104"/>
                  <a:gd name="T6" fmla="*/ 64 w 101"/>
                  <a:gd name="T7" fmla="*/ 4 h 104"/>
                  <a:gd name="T8" fmla="*/ 2 w 101"/>
                  <a:gd name="T9" fmla="*/ 37 h 104"/>
                  <a:gd name="T10" fmla="*/ 8 w 101"/>
                  <a:gd name="T11" fmla="*/ 40 h 104"/>
                  <a:gd name="T12" fmla="*/ 45 w 101"/>
                  <a:gd name="T13" fmla="*/ 11 h 104"/>
                  <a:gd name="T14" fmla="*/ 81 w 101"/>
                  <a:gd name="T15" fmla="*/ 20 h 104"/>
                  <a:gd name="T16" fmla="*/ 87 w 101"/>
                  <a:gd name="T17" fmla="*/ 58 h 104"/>
                  <a:gd name="T18" fmla="*/ 79 w 101"/>
                  <a:gd name="T19" fmla="*/ 84 h 104"/>
                  <a:gd name="T20" fmla="*/ 35 w 101"/>
                  <a:gd name="T21" fmla="*/ 94 h 104"/>
                  <a:gd name="T22" fmla="*/ 6 w 101"/>
                  <a:gd name="T23" fmla="*/ 45 h 104"/>
                  <a:gd name="T24" fmla="*/ 3 w 101"/>
                  <a:gd name="T25" fmla="*/ 45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01" h="104">
                    <a:moveTo>
                      <a:pt x="3" y="45"/>
                    </a:moveTo>
                    <a:cubicBezTo>
                      <a:pt x="4" y="70"/>
                      <a:pt x="19" y="99"/>
                      <a:pt x="46" y="101"/>
                    </a:cubicBezTo>
                    <a:cubicBezTo>
                      <a:pt x="77" y="104"/>
                      <a:pt x="87" y="85"/>
                      <a:pt x="94" y="60"/>
                    </a:cubicBezTo>
                    <a:cubicBezTo>
                      <a:pt x="101" y="34"/>
                      <a:pt x="93" y="8"/>
                      <a:pt x="64" y="4"/>
                    </a:cubicBezTo>
                    <a:cubicBezTo>
                      <a:pt x="36" y="0"/>
                      <a:pt x="15" y="13"/>
                      <a:pt x="2" y="37"/>
                    </a:cubicBezTo>
                    <a:cubicBezTo>
                      <a:pt x="0" y="40"/>
                      <a:pt x="5" y="44"/>
                      <a:pt x="8" y="40"/>
                    </a:cubicBezTo>
                    <a:cubicBezTo>
                      <a:pt x="18" y="27"/>
                      <a:pt x="28" y="14"/>
                      <a:pt x="45" y="11"/>
                    </a:cubicBezTo>
                    <a:cubicBezTo>
                      <a:pt x="57" y="8"/>
                      <a:pt x="72" y="11"/>
                      <a:pt x="81" y="20"/>
                    </a:cubicBezTo>
                    <a:cubicBezTo>
                      <a:pt x="92" y="30"/>
                      <a:pt x="91" y="44"/>
                      <a:pt x="87" y="58"/>
                    </a:cubicBezTo>
                    <a:cubicBezTo>
                      <a:pt x="85" y="67"/>
                      <a:pt x="84" y="76"/>
                      <a:pt x="79" y="84"/>
                    </a:cubicBezTo>
                    <a:cubicBezTo>
                      <a:pt x="70" y="97"/>
                      <a:pt x="49" y="100"/>
                      <a:pt x="35" y="94"/>
                    </a:cubicBezTo>
                    <a:cubicBezTo>
                      <a:pt x="16" y="86"/>
                      <a:pt x="7" y="63"/>
                      <a:pt x="6" y="45"/>
                    </a:cubicBezTo>
                    <a:cubicBezTo>
                      <a:pt x="6" y="43"/>
                      <a:pt x="3" y="44"/>
                      <a:pt x="3" y="45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041" name="Freeform 354">
                <a:extLst>
                  <a:ext uri="{FF2B5EF4-FFF2-40B4-BE49-F238E27FC236}">
                    <a16:creationId xmlns:a16="http://schemas.microsoft.com/office/drawing/2014/main" id="{07076813-7AA7-427E-A617-5C1F9BED4521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334" y="2692"/>
                <a:ext cx="72" cy="113"/>
              </a:xfrm>
              <a:custGeom>
                <a:avLst/>
                <a:gdLst>
                  <a:gd name="T0" fmla="*/ 65 w 68"/>
                  <a:gd name="T1" fmla="*/ 82 h 107"/>
                  <a:gd name="T2" fmla="*/ 58 w 68"/>
                  <a:gd name="T3" fmla="*/ 91 h 107"/>
                  <a:gd name="T4" fmla="*/ 33 w 68"/>
                  <a:gd name="T5" fmla="*/ 85 h 107"/>
                  <a:gd name="T6" fmla="*/ 12 w 68"/>
                  <a:gd name="T7" fmla="*/ 37 h 107"/>
                  <a:gd name="T8" fmla="*/ 10 w 68"/>
                  <a:gd name="T9" fmla="*/ 17 h 107"/>
                  <a:gd name="T10" fmla="*/ 27 w 68"/>
                  <a:gd name="T11" fmla="*/ 22 h 107"/>
                  <a:gd name="T12" fmla="*/ 31 w 68"/>
                  <a:gd name="T13" fmla="*/ 29 h 107"/>
                  <a:gd name="T14" fmla="*/ 53 w 68"/>
                  <a:gd name="T15" fmla="*/ 85 h 107"/>
                  <a:gd name="T16" fmla="*/ 60 w 68"/>
                  <a:gd name="T17" fmla="*/ 85 h 107"/>
                  <a:gd name="T18" fmla="*/ 27 w 68"/>
                  <a:gd name="T19" fmla="*/ 13 h 107"/>
                  <a:gd name="T20" fmla="*/ 3 w 68"/>
                  <a:gd name="T21" fmla="*/ 21 h 107"/>
                  <a:gd name="T22" fmla="*/ 31 w 68"/>
                  <a:gd name="T23" fmla="*/ 94 h 107"/>
                  <a:gd name="T24" fmla="*/ 49 w 68"/>
                  <a:gd name="T25" fmla="*/ 106 h 107"/>
                  <a:gd name="T26" fmla="*/ 67 w 68"/>
                  <a:gd name="T27" fmla="*/ 84 h 107"/>
                  <a:gd name="T28" fmla="*/ 65 w 68"/>
                  <a:gd name="T29" fmla="*/ 82 h 10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68" h="107">
                    <a:moveTo>
                      <a:pt x="65" y="82"/>
                    </a:moveTo>
                    <a:cubicBezTo>
                      <a:pt x="62" y="85"/>
                      <a:pt x="61" y="89"/>
                      <a:pt x="58" y="91"/>
                    </a:cubicBezTo>
                    <a:cubicBezTo>
                      <a:pt x="46" y="102"/>
                      <a:pt x="40" y="96"/>
                      <a:pt x="33" y="85"/>
                    </a:cubicBezTo>
                    <a:cubicBezTo>
                      <a:pt x="23" y="71"/>
                      <a:pt x="16" y="54"/>
                      <a:pt x="12" y="37"/>
                    </a:cubicBezTo>
                    <a:cubicBezTo>
                      <a:pt x="10" y="33"/>
                      <a:pt x="6" y="21"/>
                      <a:pt x="10" y="17"/>
                    </a:cubicBezTo>
                    <a:cubicBezTo>
                      <a:pt x="14" y="11"/>
                      <a:pt x="25" y="18"/>
                      <a:pt x="27" y="22"/>
                    </a:cubicBezTo>
                    <a:cubicBezTo>
                      <a:pt x="29" y="25"/>
                      <a:pt x="30" y="27"/>
                      <a:pt x="31" y="29"/>
                    </a:cubicBezTo>
                    <a:cubicBezTo>
                      <a:pt x="41" y="47"/>
                      <a:pt x="50" y="64"/>
                      <a:pt x="53" y="85"/>
                    </a:cubicBezTo>
                    <a:cubicBezTo>
                      <a:pt x="54" y="89"/>
                      <a:pt x="61" y="89"/>
                      <a:pt x="60" y="85"/>
                    </a:cubicBezTo>
                    <a:cubicBezTo>
                      <a:pt x="56" y="61"/>
                      <a:pt x="43" y="31"/>
                      <a:pt x="27" y="13"/>
                    </a:cubicBezTo>
                    <a:cubicBezTo>
                      <a:pt x="17" y="0"/>
                      <a:pt x="5" y="5"/>
                      <a:pt x="3" y="21"/>
                    </a:cubicBezTo>
                    <a:cubicBezTo>
                      <a:pt x="0" y="44"/>
                      <a:pt x="17" y="77"/>
                      <a:pt x="31" y="94"/>
                    </a:cubicBezTo>
                    <a:cubicBezTo>
                      <a:pt x="35" y="100"/>
                      <a:pt x="42" y="107"/>
                      <a:pt x="49" y="106"/>
                    </a:cubicBezTo>
                    <a:cubicBezTo>
                      <a:pt x="60" y="105"/>
                      <a:pt x="62" y="91"/>
                      <a:pt x="67" y="84"/>
                    </a:cubicBezTo>
                    <a:cubicBezTo>
                      <a:pt x="68" y="83"/>
                      <a:pt x="66" y="81"/>
                      <a:pt x="65" y="82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042" name="Freeform 355">
                <a:extLst>
                  <a:ext uri="{FF2B5EF4-FFF2-40B4-BE49-F238E27FC236}">
                    <a16:creationId xmlns:a16="http://schemas.microsoft.com/office/drawing/2014/main" id="{717F6A05-E4D4-4EC4-B48D-13F34E929671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309" y="2822"/>
                <a:ext cx="67" cy="124"/>
              </a:xfrm>
              <a:custGeom>
                <a:avLst/>
                <a:gdLst>
                  <a:gd name="T0" fmla="*/ 52 w 63"/>
                  <a:gd name="T1" fmla="*/ 91 h 117"/>
                  <a:gd name="T2" fmla="*/ 34 w 63"/>
                  <a:gd name="T3" fmla="*/ 96 h 117"/>
                  <a:gd name="T4" fmla="*/ 27 w 63"/>
                  <a:gd name="T5" fmla="*/ 84 h 117"/>
                  <a:gd name="T6" fmla="*/ 20 w 63"/>
                  <a:gd name="T7" fmla="*/ 64 h 117"/>
                  <a:gd name="T8" fmla="*/ 14 w 63"/>
                  <a:gd name="T9" fmla="*/ 45 h 117"/>
                  <a:gd name="T10" fmla="*/ 6 w 63"/>
                  <a:gd name="T11" fmla="*/ 19 h 117"/>
                  <a:gd name="T12" fmla="*/ 33 w 63"/>
                  <a:gd name="T13" fmla="*/ 47 h 117"/>
                  <a:gd name="T14" fmla="*/ 45 w 63"/>
                  <a:gd name="T15" fmla="*/ 90 h 117"/>
                  <a:gd name="T16" fmla="*/ 53 w 63"/>
                  <a:gd name="T17" fmla="*/ 91 h 117"/>
                  <a:gd name="T18" fmla="*/ 42 w 63"/>
                  <a:gd name="T19" fmla="*/ 50 h 117"/>
                  <a:gd name="T20" fmla="*/ 26 w 63"/>
                  <a:gd name="T21" fmla="*/ 17 h 117"/>
                  <a:gd name="T22" fmla="*/ 4 w 63"/>
                  <a:gd name="T23" fmla="*/ 23 h 117"/>
                  <a:gd name="T24" fmla="*/ 31 w 63"/>
                  <a:gd name="T25" fmla="*/ 104 h 117"/>
                  <a:gd name="T26" fmla="*/ 55 w 63"/>
                  <a:gd name="T27" fmla="*/ 90 h 117"/>
                  <a:gd name="T28" fmla="*/ 52 w 63"/>
                  <a:gd name="T29" fmla="*/ 91 h 1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63" h="117">
                    <a:moveTo>
                      <a:pt x="52" y="91"/>
                    </a:moveTo>
                    <a:cubicBezTo>
                      <a:pt x="45" y="105"/>
                      <a:pt x="39" y="107"/>
                      <a:pt x="34" y="96"/>
                    </a:cubicBezTo>
                    <a:cubicBezTo>
                      <a:pt x="31" y="92"/>
                      <a:pt x="29" y="88"/>
                      <a:pt x="27" y="84"/>
                    </a:cubicBezTo>
                    <a:cubicBezTo>
                      <a:pt x="24" y="78"/>
                      <a:pt x="22" y="71"/>
                      <a:pt x="20" y="64"/>
                    </a:cubicBezTo>
                    <a:cubicBezTo>
                      <a:pt x="18" y="58"/>
                      <a:pt x="16" y="51"/>
                      <a:pt x="14" y="45"/>
                    </a:cubicBezTo>
                    <a:cubicBezTo>
                      <a:pt x="13" y="41"/>
                      <a:pt x="5" y="21"/>
                      <a:pt x="6" y="19"/>
                    </a:cubicBezTo>
                    <a:cubicBezTo>
                      <a:pt x="16" y="0"/>
                      <a:pt x="31" y="40"/>
                      <a:pt x="33" y="47"/>
                    </a:cubicBezTo>
                    <a:cubicBezTo>
                      <a:pt x="39" y="61"/>
                      <a:pt x="45" y="74"/>
                      <a:pt x="45" y="90"/>
                    </a:cubicBezTo>
                    <a:cubicBezTo>
                      <a:pt x="45" y="95"/>
                      <a:pt x="53" y="96"/>
                      <a:pt x="53" y="91"/>
                    </a:cubicBezTo>
                    <a:cubicBezTo>
                      <a:pt x="54" y="76"/>
                      <a:pt x="48" y="63"/>
                      <a:pt x="42" y="50"/>
                    </a:cubicBezTo>
                    <a:cubicBezTo>
                      <a:pt x="37" y="39"/>
                      <a:pt x="34" y="26"/>
                      <a:pt x="26" y="17"/>
                    </a:cubicBezTo>
                    <a:cubicBezTo>
                      <a:pt x="17" y="6"/>
                      <a:pt x="0" y="7"/>
                      <a:pt x="4" y="23"/>
                    </a:cubicBezTo>
                    <a:cubicBezTo>
                      <a:pt x="10" y="49"/>
                      <a:pt x="12" y="85"/>
                      <a:pt x="31" y="104"/>
                    </a:cubicBezTo>
                    <a:cubicBezTo>
                      <a:pt x="43" y="117"/>
                      <a:pt x="63" y="107"/>
                      <a:pt x="55" y="90"/>
                    </a:cubicBezTo>
                    <a:cubicBezTo>
                      <a:pt x="55" y="89"/>
                      <a:pt x="52" y="90"/>
                      <a:pt x="52" y="91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043" name="Freeform 356">
                <a:extLst>
                  <a:ext uri="{FF2B5EF4-FFF2-40B4-BE49-F238E27FC236}">
                    <a16:creationId xmlns:a16="http://schemas.microsoft.com/office/drawing/2014/main" id="{D7F894CA-4FD1-4B2E-9BE6-414071E4792D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98" y="2853"/>
                <a:ext cx="31" cy="36"/>
              </a:xfrm>
              <a:custGeom>
                <a:avLst/>
                <a:gdLst>
                  <a:gd name="T0" fmla="*/ 15 w 29"/>
                  <a:gd name="T1" fmla="*/ 28 h 34"/>
                  <a:gd name="T2" fmla="*/ 11 w 29"/>
                  <a:gd name="T3" fmla="*/ 9 h 34"/>
                  <a:gd name="T4" fmla="*/ 24 w 29"/>
                  <a:gd name="T5" fmla="*/ 13 h 34"/>
                  <a:gd name="T6" fmla="*/ 12 w 29"/>
                  <a:gd name="T7" fmla="*/ 25 h 34"/>
                  <a:gd name="T8" fmla="*/ 12 w 29"/>
                  <a:gd name="T9" fmla="*/ 31 h 34"/>
                  <a:gd name="T10" fmla="*/ 28 w 29"/>
                  <a:gd name="T11" fmla="*/ 13 h 34"/>
                  <a:gd name="T12" fmla="*/ 10 w 29"/>
                  <a:gd name="T13" fmla="*/ 4 h 34"/>
                  <a:gd name="T14" fmla="*/ 15 w 29"/>
                  <a:gd name="T15" fmla="*/ 32 h 34"/>
                  <a:gd name="T16" fmla="*/ 15 w 29"/>
                  <a:gd name="T17" fmla="*/ 28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9" h="34">
                    <a:moveTo>
                      <a:pt x="15" y="28"/>
                    </a:moveTo>
                    <a:cubicBezTo>
                      <a:pt x="6" y="27"/>
                      <a:pt x="7" y="15"/>
                      <a:pt x="11" y="9"/>
                    </a:cubicBezTo>
                    <a:cubicBezTo>
                      <a:pt x="15" y="5"/>
                      <a:pt x="23" y="7"/>
                      <a:pt x="24" y="13"/>
                    </a:cubicBezTo>
                    <a:cubicBezTo>
                      <a:pt x="25" y="20"/>
                      <a:pt x="17" y="24"/>
                      <a:pt x="12" y="25"/>
                    </a:cubicBezTo>
                    <a:cubicBezTo>
                      <a:pt x="8" y="25"/>
                      <a:pt x="9" y="31"/>
                      <a:pt x="12" y="31"/>
                    </a:cubicBezTo>
                    <a:cubicBezTo>
                      <a:pt x="21" y="30"/>
                      <a:pt x="29" y="22"/>
                      <a:pt x="28" y="13"/>
                    </a:cubicBezTo>
                    <a:cubicBezTo>
                      <a:pt x="27" y="5"/>
                      <a:pt x="17" y="0"/>
                      <a:pt x="10" y="4"/>
                    </a:cubicBezTo>
                    <a:cubicBezTo>
                      <a:pt x="0" y="9"/>
                      <a:pt x="0" y="34"/>
                      <a:pt x="15" y="32"/>
                    </a:cubicBezTo>
                    <a:cubicBezTo>
                      <a:pt x="17" y="31"/>
                      <a:pt x="17" y="28"/>
                      <a:pt x="15" y="28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044" name="Freeform 357">
                <a:extLst>
                  <a:ext uri="{FF2B5EF4-FFF2-40B4-BE49-F238E27FC236}">
                    <a16:creationId xmlns:a16="http://schemas.microsoft.com/office/drawing/2014/main" id="{2A4FC6B2-8E45-42E6-8524-A769120BA5FA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24" y="2760"/>
                <a:ext cx="26" cy="30"/>
              </a:xfrm>
              <a:custGeom>
                <a:avLst/>
                <a:gdLst>
                  <a:gd name="T0" fmla="*/ 11 w 25"/>
                  <a:gd name="T1" fmla="*/ 26 h 29"/>
                  <a:gd name="T2" fmla="*/ 4 w 25"/>
                  <a:gd name="T3" fmla="*/ 13 h 29"/>
                  <a:gd name="T4" fmla="*/ 11 w 25"/>
                  <a:gd name="T5" fmla="*/ 6 h 29"/>
                  <a:gd name="T6" fmla="*/ 19 w 25"/>
                  <a:gd name="T7" fmla="*/ 14 h 29"/>
                  <a:gd name="T8" fmla="*/ 10 w 25"/>
                  <a:gd name="T9" fmla="*/ 15 h 29"/>
                  <a:gd name="T10" fmla="*/ 7 w 25"/>
                  <a:gd name="T11" fmla="*/ 19 h 29"/>
                  <a:gd name="T12" fmla="*/ 22 w 25"/>
                  <a:gd name="T13" fmla="*/ 18 h 29"/>
                  <a:gd name="T14" fmla="*/ 17 w 25"/>
                  <a:gd name="T15" fmla="*/ 4 h 29"/>
                  <a:gd name="T16" fmla="*/ 0 w 25"/>
                  <a:gd name="T17" fmla="*/ 8 h 29"/>
                  <a:gd name="T18" fmla="*/ 1 w 25"/>
                  <a:gd name="T19" fmla="*/ 18 h 29"/>
                  <a:gd name="T20" fmla="*/ 9 w 25"/>
                  <a:gd name="T21" fmla="*/ 28 h 29"/>
                  <a:gd name="T22" fmla="*/ 11 w 25"/>
                  <a:gd name="T23" fmla="*/ 26 h 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25" h="29">
                    <a:moveTo>
                      <a:pt x="11" y="26"/>
                    </a:moveTo>
                    <a:cubicBezTo>
                      <a:pt x="8" y="22"/>
                      <a:pt x="4" y="19"/>
                      <a:pt x="4" y="13"/>
                    </a:cubicBezTo>
                    <a:cubicBezTo>
                      <a:pt x="3" y="8"/>
                      <a:pt x="6" y="5"/>
                      <a:pt x="11" y="6"/>
                    </a:cubicBezTo>
                    <a:cubicBezTo>
                      <a:pt x="15" y="7"/>
                      <a:pt x="20" y="9"/>
                      <a:pt x="19" y="14"/>
                    </a:cubicBezTo>
                    <a:cubicBezTo>
                      <a:pt x="17" y="18"/>
                      <a:pt x="13" y="16"/>
                      <a:pt x="10" y="15"/>
                    </a:cubicBezTo>
                    <a:cubicBezTo>
                      <a:pt x="8" y="15"/>
                      <a:pt x="5" y="17"/>
                      <a:pt x="7" y="19"/>
                    </a:cubicBezTo>
                    <a:cubicBezTo>
                      <a:pt x="10" y="25"/>
                      <a:pt x="19" y="24"/>
                      <a:pt x="22" y="18"/>
                    </a:cubicBezTo>
                    <a:cubicBezTo>
                      <a:pt x="25" y="13"/>
                      <a:pt x="22" y="6"/>
                      <a:pt x="17" y="4"/>
                    </a:cubicBezTo>
                    <a:cubicBezTo>
                      <a:pt x="11" y="1"/>
                      <a:pt x="2" y="0"/>
                      <a:pt x="0" y="8"/>
                    </a:cubicBezTo>
                    <a:cubicBezTo>
                      <a:pt x="0" y="11"/>
                      <a:pt x="0" y="15"/>
                      <a:pt x="1" y="18"/>
                    </a:cubicBezTo>
                    <a:cubicBezTo>
                      <a:pt x="2" y="22"/>
                      <a:pt x="6" y="24"/>
                      <a:pt x="9" y="28"/>
                    </a:cubicBezTo>
                    <a:cubicBezTo>
                      <a:pt x="11" y="29"/>
                      <a:pt x="13" y="27"/>
                      <a:pt x="11" y="26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045" name="Freeform 358">
                <a:extLst>
                  <a:ext uri="{FF2B5EF4-FFF2-40B4-BE49-F238E27FC236}">
                    <a16:creationId xmlns:a16="http://schemas.microsoft.com/office/drawing/2014/main" id="{23832451-96B1-4C07-9D49-12B2E5B0E626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27" y="2652"/>
                <a:ext cx="39" cy="44"/>
              </a:xfrm>
              <a:custGeom>
                <a:avLst/>
                <a:gdLst>
                  <a:gd name="T0" fmla="*/ 29 w 37"/>
                  <a:gd name="T1" fmla="*/ 25 h 42"/>
                  <a:gd name="T2" fmla="*/ 17 w 37"/>
                  <a:gd name="T3" fmla="*/ 13 h 42"/>
                  <a:gd name="T4" fmla="*/ 24 w 37"/>
                  <a:gd name="T5" fmla="*/ 10 h 42"/>
                  <a:gd name="T6" fmla="*/ 30 w 37"/>
                  <a:gd name="T7" fmla="*/ 16 h 42"/>
                  <a:gd name="T8" fmla="*/ 30 w 37"/>
                  <a:gd name="T9" fmla="*/ 23 h 42"/>
                  <a:gd name="T10" fmla="*/ 23 w 37"/>
                  <a:gd name="T11" fmla="*/ 28 h 42"/>
                  <a:gd name="T12" fmla="*/ 25 w 37"/>
                  <a:gd name="T13" fmla="*/ 34 h 42"/>
                  <a:gd name="T14" fmla="*/ 36 w 37"/>
                  <a:gd name="T15" fmla="*/ 25 h 42"/>
                  <a:gd name="T16" fmla="*/ 37 w 37"/>
                  <a:gd name="T17" fmla="*/ 19 h 42"/>
                  <a:gd name="T18" fmla="*/ 35 w 37"/>
                  <a:gd name="T19" fmla="*/ 13 h 42"/>
                  <a:gd name="T20" fmla="*/ 13 w 37"/>
                  <a:gd name="T21" fmla="*/ 8 h 42"/>
                  <a:gd name="T22" fmla="*/ 33 w 37"/>
                  <a:gd name="T23" fmla="*/ 28 h 42"/>
                  <a:gd name="T24" fmla="*/ 29 w 37"/>
                  <a:gd name="T25" fmla="*/ 25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37" h="42">
                    <a:moveTo>
                      <a:pt x="29" y="25"/>
                    </a:moveTo>
                    <a:cubicBezTo>
                      <a:pt x="24" y="31"/>
                      <a:pt x="12" y="20"/>
                      <a:pt x="17" y="13"/>
                    </a:cubicBezTo>
                    <a:cubicBezTo>
                      <a:pt x="19" y="11"/>
                      <a:pt x="21" y="10"/>
                      <a:pt x="24" y="10"/>
                    </a:cubicBezTo>
                    <a:cubicBezTo>
                      <a:pt x="28" y="10"/>
                      <a:pt x="29" y="13"/>
                      <a:pt x="30" y="16"/>
                    </a:cubicBezTo>
                    <a:cubicBezTo>
                      <a:pt x="31" y="19"/>
                      <a:pt x="31" y="20"/>
                      <a:pt x="30" y="23"/>
                    </a:cubicBezTo>
                    <a:cubicBezTo>
                      <a:pt x="28" y="25"/>
                      <a:pt x="26" y="26"/>
                      <a:pt x="23" y="28"/>
                    </a:cubicBezTo>
                    <a:cubicBezTo>
                      <a:pt x="19" y="29"/>
                      <a:pt x="21" y="34"/>
                      <a:pt x="25" y="34"/>
                    </a:cubicBezTo>
                    <a:cubicBezTo>
                      <a:pt x="30" y="33"/>
                      <a:pt x="34" y="30"/>
                      <a:pt x="36" y="25"/>
                    </a:cubicBezTo>
                    <a:cubicBezTo>
                      <a:pt x="36" y="23"/>
                      <a:pt x="37" y="21"/>
                      <a:pt x="37" y="19"/>
                    </a:cubicBezTo>
                    <a:cubicBezTo>
                      <a:pt x="37" y="17"/>
                      <a:pt x="36" y="15"/>
                      <a:pt x="35" y="13"/>
                    </a:cubicBezTo>
                    <a:cubicBezTo>
                      <a:pt x="32" y="4"/>
                      <a:pt x="20" y="0"/>
                      <a:pt x="13" y="8"/>
                    </a:cubicBezTo>
                    <a:cubicBezTo>
                      <a:pt x="0" y="21"/>
                      <a:pt x="25" y="42"/>
                      <a:pt x="33" y="28"/>
                    </a:cubicBezTo>
                    <a:cubicBezTo>
                      <a:pt x="34" y="26"/>
                      <a:pt x="31" y="24"/>
                      <a:pt x="29" y="25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046" name="Freeform 359">
                <a:extLst>
                  <a:ext uri="{FF2B5EF4-FFF2-40B4-BE49-F238E27FC236}">
                    <a16:creationId xmlns:a16="http://schemas.microsoft.com/office/drawing/2014/main" id="{3FBEB1E0-545C-443E-8030-DB25C9FE8778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662" y="658"/>
                <a:ext cx="67" cy="465"/>
              </a:xfrm>
              <a:custGeom>
                <a:avLst/>
                <a:gdLst>
                  <a:gd name="T0" fmla="*/ 12 w 63"/>
                  <a:gd name="T1" fmla="*/ 3 h 439"/>
                  <a:gd name="T2" fmla="*/ 14 w 63"/>
                  <a:gd name="T3" fmla="*/ 28 h 439"/>
                  <a:gd name="T4" fmla="*/ 20 w 63"/>
                  <a:gd name="T5" fmla="*/ 69 h 439"/>
                  <a:gd name="T6" fmla="*/ 26 w 63"/>
                  <a:gd name="T7" fmla="*/ 104 h 439"/>
                  <a:gd name="T8" fmla="*/ 31 w 63"/>
                  <a:gd name="T9" fmla="*/ 162 h 439"/>
                  <a:gd name="T10" fmla="*/ 25 w 63"/>
                  <a:gd name="T11" fmla="*/ 208 h 439"/>
                  <a:gd name="T12" fmla="*/ 14 w 63"/>
                  <a:gd name="T13" fmla="*/ 193 h 439"/>
                  <a:gd name="T14" fmla="*/ 38 w 63"/>
                  <a:gd name="T15" fmla="*/ 207 h 439"/>
                  <a:gd name="T16" fmla="*/ 46 w 63"/>
                  <a:gd name="T17" fmla="*/ 244 h 439"/>
                  <a:gd name="T18" fmla="*/ 39 w 63"/>
                  <a:gd name="T19" fmla="*/ 262 h 439"/>
                  <a:gd name="T20" fmla="*/ 40 w 63"/>
                  <a:gd name="T21" fmla="*/ 263 h 439"/>
                  <a:gd name="T22" fmla="*/ 43 w 63"/>
                  <a:gd name="T23" fmla="*/ 269 h 439"/>
                  <a:gd name="T24" fmla="*/ 49 w 63"/>
                  <a:gd name="T25" fmla="*/ 336 h 439"/>
                  <a:gd name="T26" fmla="*/ 53 w 63"/>
                  <a:gd name="T27" fmla="*/ 387 h 439"/>
                  <a:gd name="T28" fmla="*/ 49 w 63"/>
                  <a:gd name="T29" fmla="*/ 431 h 439"/>
                  <a:gd name="T30" fmla="*/ 60 w 63"/>
                  <a:gd name="T31" fmla="*/ 432 h 439"/>
                  <a:gd name="T32" fmla="*/ 62 w 63"/>
                  <a:gd name="T33" fmla="*/ 399 h 439"/>
                  <a:gd name="T34" fmla="*/ 60 w 63"/>
                  <a:gd name="T35" fmla="*/ 375 h 439"/>
                  <a:gd name="T36" fmla="*/ 60 w 63"/>
                  <a:gd name="T37" fmla="*/ 296 h 439"/>
                  <a:gd name="T38" fmla="*/ 37 w 63"/>
                  <a:gd name="T39" fmla="*/ 246 h 439"/>
                  <a:gd name="T40" fmla="*/ 17 w 63"/>
                  <a:gd name="T41" fmla="*/ 271 h 439"/>
                  <a:gd name="T42" fmla="*/ 58 w 63"/>
                  <a:gd name="T43" fmla="*/ 255 h 439"/>
                  <a:gd name="T44" fmla="*/ 41 w 63"/>
                  <a:gd name="T45" fmla="*/ 189 h 439"/>
                  <a:gd name="T46" fmla="*/ 0 w 63"/>
                  <a:gd name="T47" fmla="*/ 197 h 439"/>
                  <a:gd name="T48" fmla="*/ 29 w 63"/>
                  <a:gd name="T49" fmla="*/ 223 h 439"/>
                  <a:gd name="T50" fmla="*/ 44 w 63"/>
                  <a:gd name="T51" fmla="*/ 178 h 439"/>
                  <a:gd name="T52" fmla="*/ 37 w 63"/>
                  <a:gd name="T53" fmla="*/ 96 h 439"/>
                  <a:gd name="T54" fmla="*/ 30 w 63"/>
                  <a:gd name="T55" fmla="*/ 67 h 439"/>
                  <a:gd name="T56" fmla="*/ 21 w 63"/>
                  <a:gd name="T57" fmla="*/ 28 h 439"/>
                  <a:gd name="T58" fmla="*/ 21 w 63"/>
                  <a:gd name="T59" fmla="*/ 18 h 439"/>
                  <a:gd name="T60" fmla="*/ 15 w 63"/>
                  <a:gd name="T61" fmla="*/ 3 h 439"/>
                  <a:gd name="T62" fmla="*/ 12 w 63"/>
                  <a:gd name="T63" fmla="*/ 3 h 4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63" h="439">
                    <a:moveTo>
                      <a:pt x="12" y="3"/>
                    </a:moveTo>
                    <a:cubicBezTo>
                      <a:pt x="11" y="11"/>
                      <a:pt x="14" y="19"/>
                      <a:pt x="14" y="28"/>
                    </a:cubicBezTo>
                    <a:cubicBezTo>
                      <a:pt x="14" y="41"/>
                      <a:pt x="17" y="56"/>
                      <a:pt x="20" y="69"/>
                    </a:cubicBezTo>
                    <a:cubicBezTo>
                      <a:pt x="22" y="81"/>
                      <a:pt x="24" y="92"/>
                      <a:pt x="26" y="104"/>
                    </a:cubicBezTo>
                    <a:cubicBezTo>
                      <a:pt x="29" y="123"/>
                      <a:pt x="31" y="142"/>
                      <a:pt x="31" y="162"/>
                    </a:cubicBezTo>
                    <a:cubicBezTo>
                      <a:pt x="32" y="174"/>
                      <a:pt x="34" y="199"/>
                      <a:pt x="25" y="208"/>
                    </a:cubicBezTo>
                    <a:cubicBezTo>
                      <a:pt x="15" y="219"/>
                      <a:pt x="10" y="198"/>
                      <a:pt x="14" y="193"/>
                    </a:cubicBezTo>
                    <a:cubicBezTo>
                      <a:pt x="20" y="186"/>
                      <a:pt x="35" y="202"/>
                      <a:pt x="38" y="207"/>
                    </a:cubicBezTo>
                    <a:cubicBezTo>
                      <a:pt x="43" y="216"/>
                      <a:pt x="47" y="233"/>
                      <a:pt x="46" y="244"/>
                    </a:cubicBezTo>
                    <a:cubicBezTo>
                      <a:pt x="46" y="252"/>
                      <a:pt x="43" y="255"/>
                      <a:pt x="39" y="262"/>
                    </a:cubicBezTo>
                    <a:cubicBezTo>
                      <a:pt x="33" y="256"/>
                      <a:pt x="33" y="256"/>
                      <a:pt x="40" y="263"/>
                    </a:cubicBezTo>
                    <a:cubicBezTo>
                      <a:pt x="41" y="265"/>
                      <a:pt x="42" y="267"/>
                      <a:pt x="43" y="269"/>
                    </a:cubicBezTo>
                    <a:cubicBezTo>
                      <a:pt x="52" y="289"/>
                      <a:pt x="48" y="314"/>
                      <a:pt x="49" y="336"/>
                    </a:cubicBezTo>
                    <a:cubicBezTo>
                      <a:pt x="49" y="353"/>
                      <a:pt x="51" y="369"/>
                      <a:pt x="53" y="387"/>
                    </a:cubicBezTo>
                    <a:cubicBezTo>
                      <a:pt x="54" y="402"/>
                      <a:pt x="50" y="416"/>
                      <a:pt x="49" y="431"/>
                    </a:cubicBezTo>
                    <a:cubicBezTo>
                      <a:pt x="47" y="439"/>
                      <a:pt x="61" y="439"/>
                      <a:pt x="60" y="432"/>
                    </a:cubicBezTo>
                    <a:cubicBezTo>
                      <a:pt x="58" y="420"/>
                      <a:pt x="61" y="410"/>
                      <a:pt x="62" y="399"/>
                    </a:cubicBezTo>
                    <a:cubicBezTo>
                      <a:pt x="63" y="390"/>
                      <a:pt x="61" y="383"/>
                      <a:pt x="60" y="375"/>
                    </a:cubicBezTo>
                    <a:cubicBezTo>
                      <a:pt x="57" y="349"/>
                      <a:pt x="61" y="322"/>
                      <a:pt x="60" y="296"/>
                    </a:cubicBezTo>
                    <a:cubicBezTo>
                      <a:pt x="59" y="280"/>
                      <a:pt x="56" y="252"/>
                      <a:pt x="37" y="246"/>
                    </a:cubicBezTo>
                    <a:cubicBezTo>
                      <a:pt x="23" y="242"/>
                      <a:pt x="8" y="257"/>
                      <a:pt x="17" y="271"/>
                    </a:cubicBezTo>
                    <a:cubicBezTo>
                      <a:pt x="29" y="291"/>
                      <a:pt x="54" y="270"/>
                      <a:pt x="58" y="255"/>
                    </a:cubicBezTo>
                    <a:cubicBezTo>
                      <a:pt x="63" y="235"/>
                      <a:pt x="56" y="202"/>
                      <a:pt x="41" y="189"/>
                    </a:cubicBezTo>
                    <a:cubicBezTo>
                      <a:pt x="25" y="177"/>
                      <a:pt x="1" y="168"/>
                      <a:pt x="0" y="197"/>
                    </a:cubicBezTo>
                    <a:cubicBezTo>
                      <a:pt x="0" y="212"/>
                      <a:pt x="10" y="234"/>
                      <a:pt x="29" y="223"/>
                    </a:cubicBezTo>
                    <a:cubicBezTo>
                      <a:pt x="43" y="214"/>
                      <a:pt x="44" y="192"/>
                      <a:pt x="44" y="178"/>
                    </a:cubicBezTo>
                    <a:cubicBezTo>
                      <a:pt x="45" y="151"/>
                      <a:pt x="42" y="123"/>
                      <a:pt x="37" y="96"/>
                    </a:cubicBezTo>
                    <a:cubicBezTo>
                      <a:pt x="35" y="86"/>
                      <a:pt x="33" y="77"/>
                      <a:pt x="30" y="67"/>
                    </a:cubicBezTo>
                    <a:cubicBezTo>
                      <a:pt x="27" y="54"/>
                      <a:pt x="23" y="41"/>
                      <a:pt x="21" y="28"/>
                    </a:cubicBezTo>
                    <a:cubicBezTo>
                      <a:pt x="21" y="24"/>
                      <a:pt x="21" y="21"/>
                      <a:pt x="21" y="18"/>
                    </a:cubicBezTo>
                    <a:cubicBezTo>
                      <a:pt x="20" y="13"/>
                      <a:pt x="15" y="6"/>
                      <a:pt x="15" y="3"/>
                    </a:cubicBezTo>
                    <a:cubicBezTo>
                      <a:pt x="15" y="0"/>
                      <a:pt x="12" y="0"/>
                      <a:pt x="12" y="3"/>
                    </a:cubicBezTo>
                    <a:close/>
                  </a:path>
                </a:pathLst>
              </a:custGeom>
              <a:solidFill>
                <a:srgbClr val="04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047" name="Freeform 360">
                <a:extLst>
                  <a:ext uri="{FF2B5EF4-FFF2-40B4-BE49-F238E27FC236}">
                    <a16:creationId xmlns:a16="http://schemas.microsoft.com/office/drawing/2014/main" id="{D2C7EE28-E77A-4692-B90C-A2A7DFA0223B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417" y="1536"/>
                <a:ext cx="76" cy="39"/>
              </a:xfrm>
              <a:custGeom>
                <a:avLst/>
                <a:gdLst>
                  <a:gd name="T0" fmla="*/ 29 w 72"/>
                  <a:gd name="T1" fmla="*/ 30 h 37"/>
                  <a:gd name="T2" fmla="*/ 7 w 72"/>
                  <a:gd name="T3" fmla="*/ 37 h 37"/>
                  <a:gd name="T4" fmla="*/ 6 w 72"/>
                  <a:gd name="T5" fmla="*/ 35 h 37"/>
                  <a:gd name="T6" fmla="*/ 10 w 72"/>
                  <a:gd name="T7" fmla="*/ 17 h 37"/>
                  <a:gd name="T8" fmla="*/ 29 w 72"/>
                  <a:gd name="T9" fmla="*/ 3 h 37"/>
                  <a:gd name="T10" fmla="*/ 55 w 72"/>
                  <a:gd name="T11" fmla="*/ 1 h 37"/>
                  <a:gd name="T12" fmla="*/ 71 w 72"/>
                  <a:gd name="T13" fmla="*/ 17 h 37"/>
                  <a:gd name="T14" fmla="*/ 29 w 72"/>
                  <a:gd name="T15" fmla="*/ 30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72" h="37">
                    <a:moveTo>
                      <a:pt x="29" y="30"/>
                    </a:moveTo>
                    <a:cubicBezTo>
                      <a:pt x="21" y="32"/>
                      <a:pt x="14" y="34"/>
                      <a:pt x="7" y="37"/>
                    </a:cubicBezTo>
                    <a:cubicBezTo>
                      <a:pt x="6" y="35"/>
                      <a:pt x="6" y="35"/>
                      <a:pt x="6" y="35"/>
                    </a:cubicBezTo>
                    <a:cubicBezTo>
                      <a:pt x="0" y="31"/>
                      <a:pt x="5" y="20"/>
                      <a:pt x="10" y="17"/>
                    </a:cubicBezTo>
                    <a:cubicBezTo>
                      <a:pt x="13" y="11"/>
                      <a:pt x="22" y="7"/>
                      <a:pt x="29" y="3"/>
                    </a:cubicBezTo>
                    <a:cubicBezTo>
                      <a:pt x="38" y="1"/>
                      <a:pt x="45" y="0"/>
                      <a:pt x="55" y="1"/>
                    </a:cubicBezTo>
                    <a:cubicBezTo>
                      <a:pt x="63" y="2"/>
                      <a:pt x="72" y="10"/>
                      <a:pt x="71" y="17"/>
                    </a:cubicBezTo>
                    <a:cubicBezTo>
                      <a:pt x="69" y="32"/>
                      <a:pt x="39" y="28"/>
                      <a:pt x="29" y="30"/>
                    </a:cubicBezTo>
                    <a:close/>
                  </a:path>
                </a:pathLst>
              </a:custGeom>
              <a:solidFill>
                <a:srgbClr val="F6B84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048" name="Freeform 361">
                <a:extLst>
                  <a:ext uri="{FF2B5EF4-FFF2-40B4-BE49-F238E27FC236}">
                    <a16:creationId xmlns:a16="http://schemas.microsoft.com/office/drawing/2014/main" id="{64521784-8C2B-4C01-A5D2-90925E600667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452" y="1825"/>
                <a:ext cx="106" cy="110"/>
              </a:xfrm>
              <a:custGeom>
                <a:avLst/>
                <a:gdLst>
                  <a:gd name="T0" fmla="*/ 56 w 100"/>
                  <a:gd name="T1" fmla="*/ 0 h 104"/>
                  <a:gd name="T2" fmla="*/ 57 w 100"/>
                  <a:gd name="T3" fmla="*/ 7 h 104"/>
                  <a:gd name="T4" fmla="*/ 91 w 100"/>
                  <a:gd name="T5" fmla="*/ 27 h 104"/>
                  <a:gd name="T6" fmla="*/ 100 w 100"/>
                  <a:gd name="T7" fmla="*/ 60 h 104"/>
                  <a:gd name="T8" fmla="*/ 33 w 100"/>
                  <a:gd name="T9" fmla="*/ 97 h 104"/>
                  <a:gd name="T10" fmla="*/ 6 w 100"/>
                  <a:gd name="T11" fmla="*/ 44 h 104"/>
                  <a:gd name="T12" fmla="*/ 48 w 100"/>
                  <a:gd name="T13" fmla="*/ 9 h 104"/>
                  <a:gd name="T14" fmla="*/ 47 w 100"/>
                  <a:gd name="T15" fmla="*/ 2 h 104"/>
                  <a:gd name="T16" fmla="*/ 56 w 100"/>
                  <a:gd name="T17" fmla="*/ 0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00" h="104">
                    <a:moveTo>
                      <a:pt x="56" y="0"/>
                    </a:moveTo>
                    <a:cubicBezTo>
                      <a:pt x="57" y="7"/>
                      <a:pt x="57" y="7"/>
                      <a:pt x="57" y="7"/>
                    </a:cubicBezTo>
                    <a:cubicBezTo>
                      <a:pt x="68" y="12"/>
                      <a:pt x="86" y="14"/>
                      <a:pt x="91" y="27"/>
                    </a:cubicBezTo>
                    <a:cubicBezTo>
                      <a:pt x="93" y="37"/>
                      <a:pt x="100" y="50"/>
                      <a:pt x="100" y="60"/>
                    </a:cubicBezTo>
                    <a:cubicBezTo>
                      <a:pt x="96" y="92"/>
                      <a:pt x="59" y="104"/>
                      <a:pt x="33" y="97"/>
                    </a:cubicBezTo>
                    <a:cubicBezTo>
                      <a:pt x="8" y="92"/>
                      <a:pt x="0" y="65"/>
                      <a:pt x="6" y="44"/>
                    </a:cubicBezTo>
                    <a:cubicBezTo>
                      <a:pt x="14" y="23"/>
                      <a:pt x="29" y="13"/>
                      <a:pt x="48" y="9"/>
                    </a:cubicBezTo>
                    <a:cubicBezTo>
                      <a:pt x="47" y="2"/>
                      <a:pt x="47" y="2"/>
                      <a:pt x="47" y="2"/>
                    </a:cubicBezTo>
                    <a:cubicBezTo>
                      <a:pt x="50" y="1"/>
                      <a:pt x="53" y="0"/>
                      <a:pt x="56" y="0"/>
                    </a:cubicBezTo>
                    <a:close/>
                  </a:path>
                </a:pathLst>
              </a:custGeom>
              <a:solidFill>
                <a:srgbClr val="F6B84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049" name="Freeform 362">
                <a:extLst>
                  <a:ext uri="{FF2B5EF4-FFF2-40B4-BE49-F238E27FC236}">
                    <a16:creationId xmlns:a16="http://schemas.microsoft.com/office/drawing/2014/main" id="{E15228DF-128A-4E06-A0A0-7E3BF8869F8C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594" y="1677"/>
                <a:ext cx="97" cy="107"/>
              </a:xfrm>
              <a:custGeom>
                <a:avLst/>
                <a:gdLst>
                  <a:gd name="T0" fmla="*/ 7 w 92"/>
                  <a:gd name="T1" fmla="*/ 35 h 101"/>
                  <a:gd name="T2" fmla="*/ 32 w 92"/>
                  <a:gd name="T3" fmla="*/ 3 h 101"/>
                  <a:gd name="T4" fmla="*/ 43 w 92"/>
                  <a:gd name="T5" fmla="*/ 4 h 101"/>
                  <a:gd name="T6" fmla="*/ 43 w 92"/>
                  <a:gd name="T7" fmla="*/ 0 h 101"/>
                  <a:gd name="T8" fmla="*/ 71 w 92"/>
                  <a:gd name="T9" fmla="*/ 15 h 101"/>
                  <a:gd name="T10" fmla="*/ 87 w 92"/>
                  <a:gd name="T11" fmla="*/ 44 h 101"/>
                  <a:gd name="T12" fmla="*/ 85 w 92"/>
                  <a:gd name="T13" fmla="*/ 84 h 101"/>
                  <a:gd name="T14" fmla="*/ 44 w 92"/>
                  <a:gd name="T15" fmla="*/ 99 h 101"/>
                  <a:gd name="T16" fmla="*/ 7 w 92"/>
                  <a:gd name="T17" fmla="*/ 35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92" h="101">
                    <a:moveTo>
                      <a:pt x="7" y="35"/>
                    </a:moveTo>
                    <a:cubicBezTo>
                      <a:pt x="9" y="23"/>
                      <a:pt x="18" y="6"/>
                      <a:pt x="32" y="3"/>
                    </a:cubicBezTo>
                    <a:cubicBezTo>
                      <a:pt x="36" y="2"/>
                      <a:pt x="39" y="4"/>
                      <a:pt x="43" y="4"/>
                    </a:cubicBezTo>
                    <a:cubicBezTo>
                      <a:pt x="43" y="0"/>
                      <a:pt x="43" y="0"/>
                      <a:pt x="43" y="0"/>
                    </a:cubicBezTo>
                    <a:cubicBezTo>
                      <a:pt x="54" y="1"/>
                      <a:pt x="63" y="8"/>
                      <a:pt x="71" y="15"/>
                    </a:cubicBezTo>
                    <a:cubicBezTo>
                      <a:pt x="80" y="23"/>
                      <a:pt x="84" y="32"/>
                      <a:pt x="87" y="44"/>
                    </a:cubicBezTo>
                    <a:cubicBezTo>
                      <a:pt x="89" y="56"/>
                      <a:pt x="92" y="72"/>
                      <a:pt x="85" y="84"/>
                    </a:cubicBezTo>
                    <a:cubicBezTo>
                      <a:pt x="78" y="97"/>
                      <a:pt x="59" y="101"/>
                      <a:pt x="44" y="99"/>
                    </a:cubicBezTo>
                    <a:cubicBezTo>
                      <a:pt x="18" y="94"/>
                      <a:pt x="0" y="61"/>
                      <a:pt x="7" y="35"/>
                    </a:cubicBezTo>
                    <a:close/>
                  </a:path>
                </a:pathLst>
              </a:custGeom>
              <a:solidFill>
                <a:srgbClr val="E840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050" name="Freeform 363">
                <a:extLst>
                  <a:ext uri="{FF2B5EF4-FFF2-40B4-BE49-F238E27FC236}">
                    <a16:creationId xmlns:a16="http://schemas.microsoft.com/office/drawing/2014/main" id="{4EAEAED6-C92F-4E50-9F20-53AAE65B72A5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683" y="1571"/>
                <a:ext cx="92" cy="105"/>
              </a:xfrm>
              <a:custGeom>
                <a:avLst/>
                <a:gdLst>
                  <a:gd name="T0" fmla="*/ 36 w 87"/>
                  <a:gd name="T1" fmla="*/ 1 h 99"/>
                  <a:gd name="T2" fmla="*/ 82 w 87"/>
                  <a:gd name="T3" fmla="*/ 48 h 99"/>
                  <a:gd name="T4" fmla="*/ 75 w 87"/>
                  <a:gd name="T5" fmla="*/ 86 h 99"/>
                  <a:gd name="T6" fmla="*/ 34 w 87"/>
                  <a:gd name="T7" fmla="*/ 94 h 99"/>
                  <a:gd name="T8" fmla="*/ 11 w 87"/>
                  <a:gd name="T9" fmla="*/ 72 h 99"/>
                  <a:gd name="T10" fmla="*/ 2 w 87"/>
                  <a:gd name="T11" fmla="*/ 29 h 99"/>
                  <a:gd name="T12" fmla="*/ 36 w 87"/>
                  <a:gd name="T13" fmla="*/ 1 h 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7" h="99">
                    <a:moveTo>
                      <a:pt x="36" y="1"/>
                    </a:moveTo>
                    <a:cubicBezTo>
                      <a:pt x="65" y="0"/>
                      <a:pt x="77" y="22"/>
                      <a:pt x="82" y="48"/>
                    </a:cubicBezTo>
                    <a:cubicBezTo>
                      <a:pt x="87" y="62"/>
                      <a:pt x="87" y="76"/>
                      <a:pt x="75" y="86"/>
                    </a:cubicBezTo>
                    <a:cubicBezTo>
                      <a:pt x="64" y="95"/>
                      <a:pt x="48" y="99"/>
                      <a:pt x="34" y="94"/>
                    </a:cubicBezTo>
                    <a:cubicBezTo>
                      <a:pt x="22" y="91"/>
                      <a:pt x="15" y="81"/>
                      <a:pt x="11" y="72"/>
                    </a:cubicBezTo>
                    <a:cubicBezTo>
                      <a:pt x="5" y="58"/>
                      <a:pt x="0" y="42"/>
                      <a:pt x="2" y="29"/>
                    </a:cubicBezTo>
                    <a:cubicBezTo>
                      <a:pt x="4" y="14"/>
                      <a:pt x="19" y="1"/>
                      <a:pt x="36" y="1"/>
                    </a:cubicBezTo>
                    <a:close/>
                  </a:path>
                </a:pathLst>
              </a:custGeom>
              <a:solidFill>
                <a:srgbClr val="E840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051" name="Freeform 364">
                <a:extLst>
                  <a:ext uri="{FF2B5EF4-FFF2-40B4-BE49-F238E27FC236}">
                    <a16:creationId xmlns:a16="http://schemas.microsoft.com/office/drawing/2014/main" id="{BA1B1D2C-358D-400C-AD4A-B3C4C129CF91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764" y="1486"/>
                <a:ext cx="102" cy="107"/>
              </a:xfrm>
              <a:custGeom>
                <a:avLst/>
                <a:gdLst>
                  <a:gd name="T0" fmla="*/ 54 w 96"/>
                  <a:gd name="T1" fmla="*/ 0 h 101"/>
                  <a:gd name="T2" fmla="*/ 88 w 96"/>
                  <a:gd name="T3" fmla="*/ 28 h 101"/>
                  <a:gd name="T4" fmla="*/ 94 w 96"/>
                  <a:gd name="T5" fmla="*/ 69 h 101"/>
                  <a:gd name="T6" fmla="*/ 67 w 96"/>
                  <a:gd name="T7" fmla="*/ 98 h 101"/>
                  <a:gd name="T8" fmla="*/ 30 w 96"/>
                  <a:gd name="T9" fmla="*/ 84 h 101"/>
                  <a:gd name="T10" fmla="*/ 26 w 96"/>
                  <a:gd name="T11" fmla="*/ 9 h 101"/>
                  <a:gd name="T12" fmla="*/ 44 w 96"/>
                  <a:gd name="T13" fmla="*/ 3 h 101"/>
                  <a:gd name="T14" fmla="*/ 53 w 96"/>
                  <a:gd name="T15" fmla="*/ 1 h 101"/>
                  <a:gd name="T16" fmla="*/ 54 w 96"/>
                  <a:gd name="T17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96" h="101">
                    <a:moveTo>
                      <a:pt x="54" y="0"/>
                    </a:moveTo>
                    <a:cubicBezTo>
                      <a:pt x="68" y="7"/>
                      <a:pt x="81" y="14"/>
                      <a:pt x="88" y="28"/>
                    </a:cubicBezTo>
                    <a:cubicBezTo>
                      <a:pt x="93" y="40"/>
                      <a:pt x="96" y="56"/>
                      <a:pt x="94" y="69"/>
                    </a:cubicBezTo>
                    <a:cubicBezTo>
                      <a:pt x="91" y="82"/>
                      <a:pt x="82" y="96"/>
                      <a:pt x="67" y="98"/>
                    </a:cubicBezTo>
                    <a:cubicBezTo>
                      <a:pt x="53" y="101"/>
                      <a:pt x="37" y="95"/>
                      <a:pt x="30" y="84"/>
                    </a:cubicBezTo>
                    <a:cubicBezTo>
                      <a:pt x="14" y="62"/>
                      <a:pt x="0" y="28"/>
                      <a:pt x="26" y="9"/>
                    </a:cubicBezTo>
                    <a:cubicBezTo>
                      <a:pt x="30" y="6"/>
                      <a:pt x="37" y="4"/>
                      <a:pt x="44" y="3"/>
                    </a:cubicBezTo>
                    <a:cubicBezTo>
                      <a:pt x="46" y="2"/>
                      <a:pt x="50" y="7"/>
                      <a:pt x="53" y="1"/>
                    </a:cubicBezTo>
                    <a:lnTo>
                      <a:pt x="54" y="0"/>
                    </a:lnTo>
                    <a:close/>
                  </a:path>
                </a:pathLst>
              </a:custGeom>
              <a:solidFill>
                <a:srgbClr val="E840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052" name="Freeform 365">
                <a:extLst>
                  <a:ext uri="{FF2B5EF4-FFF2-40B4-BE49-F238E27FC236}">
                    <a16:creationId xmlns:a16="http://schemas.microsoft.com/office/drawing/2014/main" id="{291BB2C8-5B24-4A9E-BE57-D93E2095D24C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026" y="1655"/>
                <a:ext cx="82" cy="86"/>
              </a:xfrm>
              <a:custGeom>
                <a:avLst/>
                <a:gdLst>
                  <a:gd name="T0" fmla="*/ 48 w 78"/>
                  <a:gd name="T1" fmla="*/ 6 h 82"/>
                  <a:gd name="T2" fmla="*/ 76 w 78"/>
                  <a:gd name="T3" fmla="*/ 45 h 82"/>
                  <a:gd name="T4" fmla="*/ 58 w 78"/>
                  <a:gd name="T5" fmla="*/ 68 h 82"/>
                  <a:gd name="T6" fmla="*/ 24 w 78"/>
                  <a:gd name="T7" fmla="*/ 82 h 82"/>
                  <a:gd name="T8" fmla="*/ 4 w 78"/>
                  <a:gd name="T9" fmla="*/ 27 h 82"/>
                  <a:gd name="T10" fmla="*/ 2 w 78"/>
                  <a:gd name="T11" fmla="*/ 25 h 82"/>
                  <a:gd name="T12" fmla="*/ 48 w 78"/>
                  <a:gd name="T13" fmla="*/ 6 h 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78" h="82">
                    <a:moveTo>
                      <a:pt x="48" y="6"/>
                    </a:moveTo>
                    <a:cubicBezTo>
                      <a:pt x="66" y="10"/>
                      <a:pt x="75" y="30"/>
                      <a:pt x="76" y="45"/>
                    </a:cubicBezTo>
                    <a:cubicBezTo>
                      <a:pt x="78" y="59"/>
                      <a:pt x="69" y="63"/>
                      <a:pt x="58" y="68"/>
                    </a:cubicBezTo>
                    <a:cubicBezTo>
                      <a:pt x="47" y="72"/>
                      <a:pt x="36" y="82"/>
                      <a:pt x="24" y="82"/>
                    </a:cubicBezTo>
                    <a:cubicBezTo>
                      <a:pt x="0" y="82"/>
                      <a:pt x="0" y="45"/>
                      <a:pt x="4" y="27"/>
                    </a:cubicBezTo>
                    <a:cubicBezTo>
                      <a:pt x="2" y="25"/>
                      <a:pt x="2" y="25"/>
                      <a:pt x="2" y="25"/>
                    </a:cubicBezTo>
                    <a:cubicBezTo>
                      <a:pt x="15" y="15"/>
                      <a:pt x="34" y="0"/>
                      <a:pt x="48" y="6"/>
                    </a:cubicBezTo>
                    <a:close/>
                  </a:path>
                </a:pathLst>
              </a:custGeom>
              <a:solidFill>
                <a:srgbClr val="21AAD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053" name="Freeform 366">
                <a:extLst>
                  <a:ext uri="{FF2B5EF4-FFF2-40B4-BE49-F238E27FC236}">
                    <a16:creationId xmlns:a16="http://schemas.microsoft.com/office/drawing/2014/main" id="{D7A3EFE0-A6CC-41EE-97CB-DA4098C5BBD5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134" y="1716"/>
                <a:ext cx="72" cy="94"/>
              </a:xfrm>
              <a:custGeom>
                <a:avLst/>
                <a:gdLst>
                  <a:gd name="T0" fmla="*/ 28 w 68"/>
                  <a:gd name="T1" fmla="*/ 1 h 89"/>
                  <a:gd name="T2" fmla="*/ 38 w 68"/>
                  <a:gd name="T3" fmla="*/ 1 h 89"/>
                  <a:gd name="T4" fmla="*/ 57 w 68"/>
                  <a:gd name="T5" fmla="*/ 24 h 89"/>
                  <a:gd name="T6" fmla="*/ 64 w 68"/>
                  <a:gd name="T7" fmla="*/ 50 h 89"/>
                  <a:gd name="T8" fmla="*/ 59 w 68"/>
                  <a:gd name="T9" fmla="*/ 75 h 89"/>
                  <a:gd name="T10" fmla="*/ 31 w 68"/>
                  <a:gd name="T11" fmla="*/ 86 h 89"/>
                  <a:gd name="T12" fmla="*/ 25 w 68"/>
                  <a:gd name="T13" fmla="*/ 87 h 89"/>
                  <a:gd name="T14" fmla="*/ 2 w 68"/>
                  <a:gd name="T15" fmla="*/ 72 h 89"/>
                  <a:gd name="T16" fmla="*/ 3 w 68"/>
                  <a:gd name="T17" fmla="*/ 37 h 89"/>
                  <a:gd name="T18" fmla="*/ 3 w 68"/>
                  <a:gd name="T19" fmla="*/ 13 h 89"/>
                  <a:gd name="T20" fmla="*/ 4 w 68"/>
                  <a:gd name="T21" fmla="*/ 8 h 89"/>
                  <a:gd name="T22" fmla="*/ 28 w 68"/>
                  <a:gd name="T23" fmla="*/ 1 h 8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68" h="89">
                    <a:moveTo>
                      <a:pt x="28" y="1"/>
                    </a:moveTo>
                    <a:cubicBezTo>
                      <a:pt x="32" y="0"/>
                      <a:pt x="35" y="0"/>
                      <a:pt x="38" y="1"/>
                    </a:cubicBezTo>
                    <a:cubicBezTo>
                      <a:pt x="48" y="4"/>
                      <a:pt x="53" y="14"/>
                      <a:pt x="57" y="24"/>
                    </a:cubicBezTo>
                    <a:cubicBezTo>
                      <a:pt x="61" y="31"/>
                      <a:pt x="62" y="40"/>
                      <a:pt x="64" y="50"/>
                    </a:cubicBezTo>
                    <a:cubicBezTo>
                      <a:pt x="68" y="59"/>
                      <a:pt x="68" y="69"/>
                      <a:pt x="59" y="75"/>
                    </a:cubicBezTo>
                    <a:cubicBezTo>
                      <a:pt x="52" y="81"/>
                      <a:pt x="40" y="84"/>
                      <a:pt x="31" y="86"/>
                    </a:cubicBezTo>
                    <a:cubicBezTo>
                      <a:pt x="29" y="86"/>
                      <a:pt x="27" y="87"/>
                      <a:pt x="25" y="87"/>
                    </a:cubicBezTo>
                    <a:cubicBezTo>
                      <a:pt x="13" y="89"/>
                      <a:pt x="5" y="83"/>
                      <a:pt x="2" y="72"/>
                    </a:cubicBezTo>
                    <a:cubicBezTo>
                      <a:pt x="0" y="60"/>
                      <a:pt x="3" y="50"/>
                      <a:pt x="3" y="37"/>
                    </a:cubicBezTo>
                    <a:cubicBezTo>
                      <a:pt x="4" y="30"/>
                      <a:pt x="2" y="20"/>
                      <a:pt x="3" y="13"/>
                    </a:cubicBezTo>
                    <a:cubicBezTo>
                      <a:pt x="4" y="8"/>
                      <a:pt x="4" y="8"/>
                      <a:pt x="4" y="8"/>
                    </a:cubicBezTo>
                    <a:cubicBezTo>
                      <a:pt x="13" y="8"/>
                      <a:pt x="19" y="2"/>
                      <a:pt x="28" y="1"/>
                    </a:cubicBezTo>
                    <a:close/>
                  </a:path>
                </a:pathLst>
              </a:custGeom>
              <a:solidFill>
                <a:srgbClr val="21AAD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054" name="Freeform 367">
                <a:extLst>
                  <a:ext uri="{FF2B5EF4-FFF2-40B4-BE49-F238E27FC236}">
                    <a16:creationId xmlns:a16="http://schemas.microsoft.com/office/drawing/2014/main" id="{7258A268-7D04-471F-8A5A-09D005546E58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182" y="1635"/>
                <a:ext cx="92" cy="69"/>
              </a:xfrm>
              <a:custGeom>
                <a:avLst/>
                <a:gdLst>
                  <a:gd name="T0" fmla="*/ 82 w 86"/>
                  <a:gd name="T1" fmla="*/ 49 h 65"/>
                  <a:gd name="T2" fmla="*/ 68 w 86"/>
                  <a:gd name="T3" fmla="*/ 57 h 65"/>
                  <a:gd name="T4" fmla="*/ 43 w 86"/>
                  <a:gd name="T5" fmla="*/ 62 h 65"/>
                  <a:gd name="T6" fmla="*/ 21 w 86"/>
                  <a:gd name="T7" fmla="*/ 64 h 65"/>
                  <a:gd name="T8" fmla="*/ 12 w 86"/>
                  <a:gd name="T9" fmla="*/ 56 h 65"/>
                  <a:gd name="T10" fmla="*/ 11 w 86"/>
                  <a:gd name="T11" fmla="*/ 54 h 65"/>
                  <a:gd name="T12" fmla="*/ 4 w 86"/>
                  <a:gd name="T13" fmla="*/ 28 h 65"/>
                  <a:gd name="T14" fmla="*/ 23 w 86"/>
                  <a:gd name="T15" fmla="*/ 15 h 65"/>
                  <a:gd name="T16" fmla="*/ 48 w 86"/>
                  <a:gd name="T17" fmla="*/ 5 h 65"/>
                  <a:gd name="T18" fmla="*/ 82 w 86"/>
                  <a:gd name="T19" fmla="*/ 13 h 65"/>
                  <a:gd name="T20" fmla="*/ 82 w 86"/>
                  <a:gd name="T21" fmla="*/ 49 h 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86" h="65">
                    <a:moveTo>
                      <a:pt x="82" y="49"/>
                    </a:moveTo>
                    <a:cubicBezTo>
                      <a:pt x="78" y="54"/>
                      <a:pt x="72" y="57"/>
                      <a:pt x="68" y="57"/>
                    </a:cubicBezTo>
                    <a:cubicBezTo>
                      <a:pt x="60" y="62"/>
                      <a:pt x="50" y="63"/>
                      <a:pt x="43" y="62"/>
                    </a:cubicBezTo>
                    <a:cubicBezTo>
                      <a:pt x="37" y="63"/>
                      <a:pt x="28" y="65"/>
                      <a:pt x="21" y="64"/>
                    </a:cubicBezTo>
                    <a:cubicBezTo>
                      <a:pt x="17" y="63"/>
                      <a:pt x="13" y="61"/>
                      <a:pt x="12" y="56"/>
                    </a:cubicBezTo>
                    <a:cubicBezTo>
                      <a:pt x="11" y="54"/>
                      <a:pt x="11" y="54"/>
                      <a:pt x="11" y="54"/>
                    </a:cubicBezTo>
                    <a:cubicBezTo>
                      <a:pt x="5" y="48"/>
                      <a:pt x="0" y="34"/>
                      <a:pt x="4" y="28"/>
                    </a:cubicBezTo>
                    <a:cubicBezTo>
                      <a:pt x="7" y="20"/>
                      <a:pt x="16" y="16"/>
                      <a:pt x="23" y="15"/>
                    </a:cubicBezTo>
                    <a:cubicBezTo>
                      <a:pt x="32" y="11"/>
                      <a:pt x="39" y="7"/>
                      <a:pt x="48" y="5"/>
                    </a:cubicBezTo>
                    <a:cubicBezTo>
                      <a:pt x="63" y="2"/>
                      <a:pt x="72" y="0"/>
                      <a:pt x="82" y="13"/>
                    </a:cubicBezTo>
                    <a:cubicBezTo>
                      <a:pt x="86" y="22"/>
                      <a:pt x="84" y="37"/>
                      <a:pt x="82" y="49"/>
                    </a:cubicBezTo>
                    <a:close/>
                  </a:path>
                </a:pathLst>
              </a:custGeom>
              <a:solidFill>
                <a:srgbClr val="21AAD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055" name="Freeform 368">
                <a:extLst>
                  <a:ext uri="{FF2B5EF4-FFF2-40B4-BE49-F238E27FC236}">
                    <a16:creationId xmlns:a16="http://schemas.microsoft.com/office/drawing/2014/main" id="{B13857A8-03DD-4BC9-B5E9-CB8F6DDB94A7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095" y="1548"/>
                <a:ext cx="84" cy="98"/>
              </a:xfrm>
              <a:custGeom>
                <a:avLst/>
                <a:gdLst>
                  <a:gd name="T0" fmla="*/ 49 w 80"/>
                  <a:gd name="T1" fmla="*/ 4 h 93"/>
                  <a:gd name="T2" fmla="*/ 70 w 80"/>
                  <a:gd name="T3" fmla="*/ 39 h 93"/>
                  <a:gd name="T4" fmla="*/ 76 w 80"/>
                  <a:gd name="T5" fmla="*/ 67 h 93"/>
                  <a:gd name="T6" fmla="*/ 79 w 80"/>
                  <a:gd name="T7" fmla="*/ 81 h 93"/>
                  <a:gd name="T8" fmla="*/ 49 w 80"/>
                  <a:gd name="T9" fmla="*/ 92 h 93"/>
                  <a:gd name="T10" fmla="*/ 24 w 80"/>
                  <a:gd name="T11" fmla="*/ 87 h 93"/>
                  <a:gd name="T12" fmla="*/ 21 w 80"/>
                  <a:gd name="T13" fmla="*/ 88 h 93"/>
                  <a:gd name="T14" fmla="*/ 17 w 80"/>
                  <a:gd name="T15" fmla="*/ 76 h 93"/>
                  <a:gd name="T16" fmla="*/ 8 w 80"/>
                  <a:gd name="T17" fmla="*/ 44 h 93"/>
                  <a:gd name="T18" fmla="*/ 49 w 80"/>
                  <a:gd name="T19" fmla="*/ 4 h 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80" h="93">
                    <a:moveTo>
                      <a:pt x="49" y="4"/>
                    </a:moveTo>
                    <a:cubicBezTo>
                      <a:pt x="68" y="0"/>
                      <a:pt x="68" y="27"/>
                      <a:pt x="70" y="39"/>
                    </a:cubicBezTo>
                    <a:cubicBezTo>
                      <a:pt x="72" y="48"/>
                      <a:pt x="74" y="58"/>
                      <a:pt x="76" y="67"/>
                    </a:cubicBezTo>
                    <a:cubicBezTo>
                      <a:pt x="77" y="72"/>
                      <a:pt x="80" y="76"/>
                      <a:pt x="79" y="81"/>
                    </a:cubicBezTo>
                    <a:cubicBezTo>
                      <a:pt x="75" y="89"/>
                      <a:pt x="56" y="90"/>
                      <a:pt x="49" y="92"/>
                    </a:cubicBezTo>
                    <a:cubicBezTo>
                      <a:pt x="41" y="91"/>
                      <a:pt x="32" y="93"/>
                      <a:pt x="24" y="87"/>
                    </a:cubicBezTo>
                    <a:cubicBezTo>
                      <a:pt x="21" y="88"/>
                      <a:pt x="21" y="88"/>
                      <a:pt x="21" y="88"/>
                    </a:cubicBezTo>
                    <a:cubicBezTo>
                      <a:pt x="20" y="84"/>
                      <a:pt x="17" y="80"/>
                      <a:pt x="17" y="76"/>
                    </a:cubicBezTo>
                    <a:cubicBezTo>
                      <a:pt x="12" y="67"/>
                      <a:pt x="10" y="55"/>
                      <a:pt x="8" y="44"/>
                    </a:cubicBezTo>
                    <a:cubicBezTo>
                      <a:pt x="0" y="18"/>
                      <a:pt x="30" y="7"/>
                      <a:pt x="49" y="4"/>
                    </a:cubicBezTo>
                    <a:close/>
                  </a:path>
                </a:pathLst>
              </a:custGeom>
              <a:solidFill>
                <a:srgbClr val="21AAD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056" name="Freeform 369">
                <a:extLst>
                  <a:ext uri="{FF2B5EF4-FFF2-40B4-BE49-F238E27FC236}">
                    <a16:creationId xmlns:a16="http://schemas.microsoft.com/office/drawing/2014/main" id="{8D4EAAAF-2FD0-4145-9106-81F1C3692C43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602" y="1465"/>
                <a:ext cx="71" cy="86"/>
              </a:xfrm>
              <a:custGeom>
                <a:avLst/>
                <a:gdLst>
                  <a:gd name="T0" fmla="*/ 29 w 67"/>
                  <a:gd name="T1" fmla="*/ 4 h 81"/>
                  <a:gd name="T2" fmla="*/ 58 w 67"/>
                  <a:gd name="T3" fmla="*/ 13 h 81"/>
                  <a:gd name="T4" fmla="*/ 65 w 67"/>
                  <a:gd name="T5" fmla="*/ 49 h 81"/>
                  <a:gd name="T6" fmla="*/ 32 w 67"/>
                  <a:gd name="T7" fmla="*/ 80 h 81"/>
                  <a:gd name="T8" fmla="*/ 2 w 67"/>
                  <a:gd name="T9" fmla="*/ 39 h 81"/>
                  <a:gd name="T10" fmla="*/ 27 w 67"/>
                  <a:gd name="T11" fmla="*/ 0 h 81"/>
                  <a:gd name="T12" fmla="*/ 29 w 67"/>
                  <a:gd name="T13" fmla="*/ 4 h 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7" h="81">
                    <a:moveTo>
                      <a:pt x="29" y="4"/>
                    </a:moveTo>
                    <a:cubicBezTo>
                      <a:pt x="39" y="5"/>
                      <a:pt x="51" y="5"/>
                      <a:pt x="58" y="13"/>
                    </a:cubicBezTo>
                    <a:cubicBezTo>
                      <a:pt x="62" y="22"/>
                      <a:pt x="67" y="36"/>
                      <a:pt x="65" y="49"/>
                    </a:cubicBezTo>
                    <a:cubicBezTo>
                      <a:pt x="64" y="68"/>
                      <a:pt x="51" y="76"/>
                      <a:pt x="32" y="80"/>
                    </a:cubicBezTo>
                    <a:cubicBezTo>
                      <a:pt x="13" y="81"/>
                      <a:pt x="0" y="54"/>
                      <a:pt x="2" y="39"/>
                    </a:cubicBezTo>
                    <a:cubicBezTo>
                      <a:pt x="3" y="20"/>
                      <a:pt x="10" y="8"/>
                      <a:pt x="27" y="0"/>
                    </a:cubicBezTo>
                    <a:lnTo>
                      <a:pt x="29" y="4"/>
                    </a:lnTo>
                    <a:close/>
                  </a:path>
                </a:pathLst>
              </a:custGeom>
              <a:solidFill>
                <a:srgbClr val="21AAD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057" name="Freeform 370">
                <a:extLst>
                  <a:ext uri="{FF2B5EF4-FFF2-40B4-BE49-F238E27FC236}">
                    <a16:creationId xmlns:a16="http://schemas.microsoft.com/office/drawing/2014/main" id="{CF968EFC-FE1A-4711-85E2-7B43771E2B77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526" y="1551"/>
                <a:ext cx="76" cy="84"/>
              </a:xfrm>
              <a:custGeom>
                <a:avLst/>
                <a:gdLst>
                  <a:gd name="T0" fmla="*/ 41 w 72"/>
                  <a:gd name="T1" fmla="*/ 3 h 80"/>
                  <a:gd name="T2" fmla="*/ 72 w 72"/>
                  <a:gd name="T3" fmla="*/ 37 h 80"/>
                  <a:gd name="T4" fmla="*/ 57 w 72"/>
                  <a:gd name="T5" fmla="*/ 71 h 80"/>
                  <a:gd name="T6" fmla="*/ 29 w 72"/>
                  <a:gd name="T7" fmla="*/ 77 h 80"/>
                  <a:gd name="T8" fmla="*/ 10 w 72"/>
                  <a:gd name="T9" fmla="*/ 58 h 80"/>
                  <a:gd name="T10" fmla="*/ 20 w 72"/>
                  <a:gd name="T11" fmla="*/ 5 h 80"/>
                  <a:gd name="T12" fmla="*/ 41 w 72"/>
                  <a:gd name="T13" fmla="*/ 3 h 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72" h="80">
                    <a:moveTo>
                      <a:pt x="41" y="3"/>
                    </a:moveTo>
                    <a:cubicBezTo>
                      <a:pt x="54" y="1"/>
                      <a:pt x="70" y="25"/>
                      <a:pt x="72" y="37"/>
                    </a:cubicBezTo>
                    <a:cubicBezTo>
                      <a:pt x="72" y="49"/>
                      <a:pt x="68" y="64"/>
                      <a:pt x="57" y="71"/>
                    </a:cubicBezTo>
                    <a:cubicBezTo>
                      <a:pt x="48" y="78"/>
                      <a:pt x="39" y="80"/>
                      <a:pt x="29" y="77"/>
                    </a:cubicBezTo>
                    <a:cubicBezTo>
                      <a:pt x="10" y="58"/>
                      <a:pt x="10" y="58"/>
                      <a:pt x="10" y="58"/>
                    </a:cubicBezTo>
                    <a:cubicBezTo>
                      <a:pt x="0" y="41"/>
                      <a:pt x="3" y="18"/>
                      <a:pt x="20" y="5"/>
                    </a:cubicBezTo>
                    <a:cubicBezTo>
                      <a:pt x="26" y="2"/>
                      <a:pt x="35" y="0"/>
                      <a:pt x="41" y="3"/>
                    </a:cubicBezTo>
                    <a:close/>
                  </a:path>
                </a:pathLst>
              </a:custGeom>
              <a:solidFill>
                <a:srgbClr val="21AAD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058" name="Freeform 371">
                <a:extLst>
                  <a:ext uri="{FF2B5EF4-FFF2-40B4-BE49-F238E27FC236}">
                    <a16:creationId xmlns:a16="http://schemas.microsoft.com/office/drawing/2014/main" id="{8FBB56DA-4BC4-4D17-B03E-AE7336E1CD60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686" y="1390"/>
                <a:ext cx="75" cy="94"/>
              </a:xfrm>
              <a:custGeom>
                <a:avLst/>
                <a:gdLst>
                  <a:gd name="T0" fmla="*/ 65 w 71"/>
                  <a:gd name="T1" fmla="*/ 23 h 89"/>
                  <a:gd name="T2" fmla="*/ 46 w 71"/>
                  <a:gd name="T3" fmla="*/ 78 h 89"/>
                  <a:gd name="T4" fmla="*/ 1 w 71"/>
                  <a:gd name="T5" fmla="*/ 36 h 89"/>
                  <a:gd name="T6" fmla="*/ 7 w 71"/>
                  <a:gd name="T7" fmla="*/ 13 h 89"/>
                  <a:gd name="T8" fmla="*/ 15 w 71"/>
                  <a:gd name="T9" fmla="*/ 6 h 89"/>
                  <a:gd name="T10" fmla="*/ 65 w 71"/>
                  <a:gd name="T11" fmla="*/ 23 h 8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71" h="89">
                    <a:moveTo>
                      <a:pt x="65" y="23"/>
                    </a:moveTo>
                    <a:cubicBezTo>
                      <a:pt x="71" y="44"/>
                      <a:pt x="67" y="70"/>
                      <a:pt x="46" y="78"/>
                    </a:cubicBezTo>
                    <a:cubicBezTo>
                      <a:pt x="17" y="89"/>
                      <a:pt x="1" y="58"/>
                      <a:pt x="1" y="36"/>
                    </a:cubicBezTo>
                    <a:cubicBezTo>
                      <a:pt x="0" y="29"/>
                      <a:pt x="0" y="19"/>
                      <a:pt x="7" y="13"/>
                    </a:cubicBezTo>
                    <a:cubicBezTo>
                      <a:pt x="9" y="10"/>
                      <a:pt x="11" y="9"/>
                      <a:pt x="15" y="6"/>
                    </a:cubicBezTo>
                    <a:cubicBezTo>
                      <a:pt x="33" y="0"/>
                      <a:pt x="56" y="1"/>
                      <a:pt x="65" y="23"/>
                    </a:cubicBezTo>
                    <a:close/>
                  </a:path>
                </a:pathLst>
              </a:custGeom>
              <a:solidFill>
                <a:srgbClr val="21AAD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059" name="Freeform 372">
                <a:extLst>
                  <a:ext uri="{FF2B5EF4-FFF2-40B4-BE49-F238E27FC236}">
                    <a16:creationId xmlns:a16="http://schemas.microsoft.com/office/drawing/2014/main" id="{86CAD864-C3C5-4FD6-A14A-6357B6A4C808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167" y="1675"/>
                <a:ext cx="140" cy="167"/>
              </a:xfrm>
              <a:custGeom>
                <a:avLst/>
                <a:gdLst>
                  <a:gd name="T0" fmla="*/ 0 w 133"/>
                  <a:gd name="T1" fmla="*/ 125 h 158"/>
                  <a:gd name="T2" fmla="*/ 28 w 133"/>
                  <a:gd name="T3" fmla="*/ 114 h 158"/>
                  <a:gd name="T4" fmla="*/ 33 w 133"/>
                  <a:gd name="T5" fmla="*/ 89 h 158"/>
                  <a:gd name="T6" fmla="*/ 26 w 133"/>
                  <a:gd name="T7" fmla="*/ 63 h 158"/>
                  <a:gd name="T8" fmla="*/ 7 w 133"/>
                  <a:gd name="T9" fmla="*/ 40 h 158"/>
                  <a:gd name="T10" fmla="*/ 36 w 133"/>
                  <a:gd name="T11" fmla="*/ 27 h 158"/>
                  <a:gd name="T12" fmla="*/ 58 w 133"/>
                  <a:gd name="T13" fmla="*/ 25 h 158"/>
                  <a:gd name="T14" fmla="*/ 83 w 133"/>
                  <a:gd name="T15" fmla="*/ 20 h 158"/>
                  <a:gd name="T16" fmla="*/ 97 w 133"/>
                  <a:gd name="T17" fmla="*/ 12 h 158"/>
                  <a:gd name="T18" fmla="*/ 99 w 133"/>
                  <a:gd name="T19" fmla="*/ 10 h 158"/>
                  <a:gd name="T20" fmla="*/ 124 w 133"/>
                  <a:gd name="T21" fmla="*/ 0 h 158"/>
                  <a:gd name="T22" fmla="*/ 100 w 133"/>
                  <a:gd name="T23" fmla="*/ 103 h 158"/>
                  <a:gd name="T24" fmla="*/ 62 w 133"/>
                  <a:gd name="T25" fmla="*/ 137 h 158"/>
                  <a:gd name="T26" fmla="*/ 38 w 133"/>
                  <a:gd name="T27" fmla="*/ 149 h 158"/>
                  <a:gd name="T28" fmla="*/ 5 w 133"/>
                  <a:gd name="T29" fmla="*/ 158 h 158"/>
                  <a:gd name="T30" fmla="*/ 0 w 133"/>
                  <a:gd name="T31" fmla="*/ 125 h 1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133" h="158">
                    <a:moveTo>
                      <a:pt x="0" y="125"/>
                    </a:moveTo>
                    <a:cubicBezTo>
                      <a:pt x="9" y="123"/>
                      <a:pt x="21" y="120"/>
                      <a:pt x="28" y="114"/>
                    </a:cubicBezTo>
                    <a:cubicBezTo>
                      <a:pt x="37" y="108"/>
                      <a:pt x="37" y="98"/>
                      <a:pt x="33" y="89"/>
                    </a:cubicBezTo>
                    <a:cubicBezTo>
                      <a:pt x="31" y="79"/>
                      <a:pt x="30" y="70"/>
                      <a:pt x="26" y="63"/>
                    </a:cubicBezTo>
                    <a:cubicBezTo>
                      <a:pt x="22" y="53"/>
                      <a:pt x="17" y="43"/>
                      <a:pt x="7" y="40"/>
                    </a:cubicBezTo>
                    <a:cubicBezTo>
                      <a:pt x="36" y="27"/>
                      <a:pt x="36" y="27"/>
                      <a:pt x="36" y="27"/>
                    </a:cubicBezTo>
                    <a:cubicBezTo>
                      <a:pt x="43" y="28"/>
                      <a:pt x="52" y="26"/>
                      <a:pt x="58" y="25"/>
                    </a:cubicBezTo>
                    <a:cubicBezTo>
                      <a:pt x="65" y="26"/>
                      <a:pt x="75" y="25"/>
                      <a:pt x="83" y="20"/>
                    </a:cubicBezTo>
                    <a:cubicBezTo>
                      <a:pt x="87" y="20"/>
                      <a:pt x="93" y="17"/>
                      <a:pt x="97" y="12"/>
                    </a:cubicBezTo>
                    <a:cubicBezTo>
                      <a:pt x="97" y="12"/>
                      <a:pt x="98" y="11"/>
                      <a:pt x="99" y="10"/>
                    </a:cubicBezTo>
                    <a:cubicBezTo>
                      <a:pt x="124" y="0"/>
                      <a:pt x="124" y="0"/>
                      <a:pt x="124" y="0"/>
                    </a:cubicBezTo>
                    <a:cubicBezTo>
                      <a:pt x="133" y="35"/>
                      <a:pt x="119" y="75"/>
                      <a:pt x="100" y="103"/>
                    </a:cubicBezTo>
                    <a:cubicBezTo>
                      <a:pt x="90" y="117"/>
                      <a:pt x="78" y="129"/>
                      <a:pt x="62" y="137"/>
                    </a:cubicBezTo>
                    <a:cubicBezTo>
                      <a:pt x="56" y="143"/>
                      <a:pt x="47" y="145"/>
                      <a:pt x="38" y="149"/>
                    </a:cubicBezTo>
                    <a:cubicBezTo>
                      <a:pt x="29" y="153"/>
                      <a:pt x="15" y="158"/>
                      <a:pt x="5" y="158"/>
                    </a:cubicBezTo>
                    <a:lnTo>
                      <a:pt x="0" y="125"/>
                    </a:lnTo>
                    <a:close/>
                  </a:path>
                </a:pathLst>
              </a:custGeom>
              <a:solidFill>
                <a:srgbClr val="3C3C3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060" name="Freeform 373">
                <a:extLst>
                  <a:ext uri="{FF2B5EF4-FFF2-40B4-BE49-F238E27FC236}">
                    <a16:creationId xmlns:a16="http://schemas.microsoft.com/office/drawing/2014/main" id="{88F6180F-D75C-4893-B878-770D830E9917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856" y="1258"/>
                <a:ext cx="1364" cy="1207"/>
              </a:xfrm>
              <a:custGeom>
                <a:avLst/>
                <a:gdLst>
                  <a:gd name="T0" fmla="*/ 736 w 1287"/>
                  <a:gd name="T1" fmla="*/ 276 h 1141"/>
                  <a:gd name="T2" fmla="*/ 733 w 1287"/>
                  <a:gd name="T3" fmla="*/ 200 h 1141"/>
                  <a:gd name="T4" fmla="*/ 558 w 1287"/>
                  <a:gd name="T5" fmla="*/ 293 h 1141"/>
                  <a:gd name="T6" fmla="*/ 558 w 1287"/>
                  <a:gd name="T7" fmla="*/ 266 h 1141"/>
                  <a:gd name="T8" fmla="*/ 536 w 1287"/>
                  <a:gd name="T9" fmla="*/ 300 h 1141"/>
                  <a:gd name="T10" fmla="*/ 703 w 1287"/>
                  <a:gd name="T11" fmla="*/ 431 h 1141"/>
                  <a:gd name="T12" fmla="*/ 783 w 1287"/>
                  <a:gd name="T13" fmla="*/ 440 h 1141"/>
                  <a:gd name="T14" fmla="*/ 739 w 1287"/>
                  <a:gd name="T15" fmla="*/ 400 h 1141"/>
                  <a:gd name="T16" fmla="*/ 618 w 1287"/>
                  <a:gd name="T17" fmla="*/ 536 h 1141"/>
                  <a:gd name="T18" fmla="*/ 568 w 1287"/>
                  <a:gd name="T19" fmla="*/ 580 h 1141"/>
                  <a:gd name="T20" fmla="*/ 653 w 1287"/>
                  <a:gd name="T21" fmla="*/ 563 h 1141"/>
                  <a:gd name="T22" fmla="*/ 314 w 1287"/>
                  <a:gd name="T23" fmla="*/ 671 h 1141"/>
                  <a:gd name="T24" fmla="*/ 72 w 1287"/>
                  <a:gd name="T25" fmla="*/ 1110 h 1141"/>
                  <a:gd name="T26" fmla="*/ 48 w 1287"/>
                  <a:gd name="T27" fmla="*/ 523 h 1141"/>
                  <a:gd name="T28" fmla="*/ 546 w 1287"/>
                  <a:gd name="T29" fmla="*/ 7 h 1141"/>
                  <a:gd name="T30" fmla="*/ 896 w 1287"/>
                  <a:gd name="T31" fmla="*/ 105 h 1141"/>
                  <a:gd name="T32" fmla="*/ 1243 w 1287"/>
                  <a:gd name="T33" fmla="*/ 678 h 1141"/>
                  <a:gd name="T34" fmla="*/ 1194 w 1287"/>
                  <a:gd name="T35" fmla="*/ 930 h 1141"/>
                  <a:gd name="T36" fmla="*/ 905 w 1287"/>
                  <a:gd name="T37" fmla="*/ 576 h 1141"/>
                  <a:gd name="T38" fmla="*/ 765 w 1287"/>
                  <a:gd name="T39" fmla="*/ 700 h 1141"/>
                  <a:gd name="T40" fmla="*/ 448 w 1287"/>
                  <a:gd name="T41" fmla="*/ 743 h 1141"/>
                  <a:gd name="T42" fmla="*/ 265 w 1287"/>
                  <a:gd name="T43" fmla="*/ 446 h 1141"/>
                  <a:gd name="T44" fmla="*/ 287 w 1287"/>
                  <a:gd name="T45" fmla="*/ 520 h 1141"/>
                  <a:gd name="T46" fmla="*/ 331 w 1287"/>
                  <a:gd name="T47" fmla="*/ 543 h 1141"/>
                  <a:gd name="T48" fmla="*/ 417 w 1287"/>
                  <a:gd name="T49" fmla="*/ 394 h 1141"/>
                  <a:gd name="T50" fmla="*/ 390 w 1287"/>
                  <a:gd name="T51" fmla="*/ 370 h 1141"/>
                  <a:gd name="T52" fmla="*/ 312 w 1287"/>
                  <a:gd name="T53" fmla="*/ 385 h 1141"/>
                  <a:gd name="T54" fmla="*/ 329 w 1287"/>
                  <a:gd name="T55" fmla="*/ 421 h 1141"/>
                  <a:gd name="T56" fmla="*/ 266 w 1287"/>
                  <a:gd name="T57" fmla="*/ 441 h 1141"/>
                  <a:gd name="T58" fmla="*/ 242 w 1287"/>
                  <a:gd name="T59" fmla="*/ 350 h 1141"/>
                  <a:gd name="T60" fmla="*/ 274 w 1287"/>
                  <a:gd name="T61" fmla="*/ 366 h 1141"/>
                  <a:gd name="T62" fmla="*/ 295 w 1287"/>
                  <a:gd name="T63" fmla="*/ 313 h 1141"/>
                  <a:gd name="T64" fmla="*/ 184 w 1287"/>
                  <a:gd name="T65" fmla="*/ 457 h 1141"/>
                  <a:gd name="T66" fmla="*/ 208 w 1287"/>
                  <a:gd name="T67" fmla="*/ 381 h 1141"/>
                  <a:gd name="T68" fmla="*/ 911 w 1287"/>
                  <a:gd name="T69" fmla="*/ 216 h 1141"/>
                  <a:gd name="T70" fmla="*/ 883 w 1287"/>
                  <a:gd name="T71" fmla="*/ 225 h 1141"/>
                  <a:gd name="T72" fmla="*/ 951 w 1287"/>
                  <a:gd name="T73" fmla="*/ 285 h 1141"/>
                  <a:gd name="T74" fmla="*/ 829 w 1287"/>
                  <a:gd name="T75" fmla="*/ 203 h 1141"/>
                  <a:gd name="T76" fmla="*/ 790 w 1287"/>
                  <a:gd name="T77" fmla="*/ 138 h 1141"/>
                  <a:gd name="T78" fmla="*/ 862 w 1287"/>
                  <a:gd name="T79" fmla="*/ 344 h 1141"/>
                  <a:gd name="T80" fmla="*/ 791 w 1287"/>
                  <a:gd name="T81" fmla="*/ 368 h 1141"/>
                  <a:gd name="T82" fmla="*/ 862 w 1287"/>
                  <a:gd name="T83" fmla="*/ 344 h 1141"/>
                  <a:gd name="T84" fmla="*/ 652 w 1287"/>
                  <a:gd name="T85" fmla="*/ 282 h 1141"/>
                  <a:gd name="T86" fmla="*/ 689 w 1287"/>
                  <a:gd name="T87" fmla="*/ 348 h 11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1287" h="1141">
                    <a:moveTo>
                      <a:pt x="731" y="196"/>
                    </a:moveTo>
                    <a:cubicBezTo>
                      <a:pt x="714" y="204"/>
                      <a:pt x="707" y="216"/>
                      <a:pt x="706" y="235"/>
                    </a:cubicBezTo>
                    <a:cubicBezTo>
                      <a:pt x="704" y="250"/>
                      <a:pt x="717" y="277"/>
                      <a:pt x="736" y="276"/>
                    </a:cubicBezTo>
                    <a:cubicBezTo>
                      <a:pt x="755" y="272"/>
                      <a:pt x="768" y="264"/>
                      <a:pt x="769" y="245"/>
                    </a:cubicBezTo>
                    <a:cubicBezTo>
                      <a:pt x="771" y="232"/>
                      <a:pt x="766" y="218"/>
                      <a:pt x="762" y="209"/>
                    </a:cubicBezTo>
                    <a:cubicBezTo>
                      <a:pt x="755" y="201"/>
                      <a:pt x="743" y="201"/>
                      <a:pt x="733" y="200"/>
                    </a:cubicBezTo>
                    <a:lnTo>
                      <a:pt x="731" y="196"/>
                    </a:lnTo>
                    <a:close/>
                    <a:moveTo>
                      <a:pt x="536" y="300"/>
                    </a:moveTo>
                    <a:cubicBezTo>
                      <a:pt x="543" y="297"/>
                      <a:pt x="550" y="295"/>
                      <a:pt x="558" y="293"/>
                    </a:cubicBezTo>
                    <a:cubicBezTo>
                      <a:pt x="568" y="291"/>
                      <a:pt x="598" y="295"/>
                      <a:pt x="600" y="280"/>
                    </a:cubicBezTo>
                    <a:cubicBezTo>
                      <a:pt x="601" y="273"/>
                      <a:pt x="592" y="265"/>
                      <a:pt x="584" y="264"/>
                    </a:cubicBezTo>
                    <a:cubicBezTo>
                      <a:pt x="574" y="263"/>
                      <a:pt x="567" y="264"/>
                      <a:pt x="558" y="266"/>
                    </a:cubicBezTo>
                    <a:cubicBezTo>
                      <a:pt x="551" y="270"/>
                      <a:pt x="542" y="274"/>
                      <a:pt x="539" y="280"/>
                    </a:cubicBezTo>
                    <a:cubicBezTo>
                      <a:pt x="534" y="283"/>
                      <a:pt x="529" y="294"/>
                      <a:pt x="535" y="298"/>
                    </a:cubicBezTo>
                    <a:lnTo>
                      <a:pt x="536" y="300"/>
                    </a:lnTo>
                    <a:close/>
                    <a:moveTo>
                      <a:pt x="739" y="400"/>
                    </a:moveTo>
                    <a:cubicBezTo>
                      <a:pt x="735" y="400"/>
                      <a:pt x="732" y="398"/>
                      <a:pt x="728" y="399"/>
                    </a:cubicBezTo>
                    <a:cubicBezTo>
                      <a:pt x="714" y="402"/>
                      <a:pt x="705" y="419"/>
                      <a:pt x="703" y="431"/>
                    </a:cubicBezTo>
                    <a:cubicBezTo>
                      <a:pt x="696" y="457"/>
                      <a:pt x="714" y="490"/>
                      <a:pt x="740" y="495"/>
                    </a:cubicBezTo>
                    <a:cubicBezTo>
                      <a:pt x="755" y="497"/>
                      <a:pt x="774" y="493"/>
                      <a:pt x="781" y="480"/>
                    </a:cubicBezTo>
                    <a:cubicBezTo>
                      <a:pt x="788" y="468"/>
                      <a:pt x="785" y="452"/>
                      <a:pt x="783" y="440"/>
                    </a:cubicBezTo>
                    <a:cubicBezTo>
                      <a:pt x="780" y="428"/>
                      <a:pt x="776" y="419"/>
                      <a:pt x="767" y="411"/>
                    </a:cubicBezTo>
                    <a:cubicBezTo>
                      <a:pt x="759" y="404"/>
                      <a:pt x="750" y="397"/>
                      <a:pt x="739" y="396"/>
                    </a:cubicBezTo>
                    <a:lnTo>
                      <a:pt x="739" y="400"/>
                    </a:lnTo>
                    <a:close/>
                    <a:moveTo>
                      <a:pt x="653" y="563"/>
                    </a:moveTo>
                    <a:cubicBezTo>
                      <a:pt x="648" y="550"/>
                      <a:pt x="630" y="548"/>
                      <a:pt x="619" y="543"/>
                    </a:cubicBezTo>
                    <a:cubicBezTo>
                      <a:pt x="618" y="536"/>
                      <a:pt x="618" y="536"/>
                      <a:pt x="618" y="536"/>
                    </a:cubicBezTo>
                    <a:cubicBezTo>
                      <a:pt x="615" y="536"/>
                      <a:pt x="612" y="537"/>
                      <a:pt x="609" y="538"/>
                    </a:cubicBezTo>
                    <a:cubicBezTo>
                      <a:pt x="610" y="545"/>
                      <a:pt x="610" y="545"/>
                      <a:pt x="610" y="545"/>
                    </a:cubicBezTo>
                    <a:cubicBezTo>
                      <a:pt x="591" y="549"/>
                      <a:pt x="576" y="559"/>
                      <a:pt x="568" y="580"/>
                    </a:cubicBezTo>
                    <a:cubicBezTo>
                      <a:pt x="562" y="601"/>
                      <a:pt x="570" y="628"/>
                      <a:pt x="595" y="633"/>
                    </a:cubicBezTo>
                    <a:cubicBezTo>
                      <a:pt x="621" y="640"/>
                      <a:pt x="658" y="628"/>
                      <a:pt x="662" y="596"/>
                    </a:cubicBezTo>
                    <a:cubicBezTo>
                      <a:pt x="662" y="586"/>
                      <a:pt x="655" y="573"/>
                      <a:pt x="653" y="563"/>
                    </a:cubicBezTo>
                    <a:close/>
                    <a:moveTo>
                      <a:pt x="356" y="697"/>
                    </a:moveTo>
                    <a:cubicBezTo>
                      <a:pt x="342" y="688"/>
                      <a:pt x="329" y="678"/>
                      <a:pt x="316" y="669"/>
                    </a:cubicBezTo>
                    <a:cubicBezTo>
                      <a:pt x="314" y="671"/>
                      <a:pt x="314" y="671"/>
                      <a:pt x="314" y="671"/>
                    </a:cubicBezTo>
                    <a:cubicBezTo>
                      <a:pt x="305" y="737"/>
                      <a:pt x="293" y="802"/>
                      <a:pt x="276" y="865"/>
                    </a:cubicBezTo>
                    <a:cubicBezTo>
                      <a:pt x="256" y="939"/>
                      <a:pt x="233" y="1020"/>
                      <a:pt x="183" y="1078"/>
                    </a:cubicBezTo>
                    <a:cubicBezTo>
                      <a:pt x="156" y="1113"/>
                      <a:pt x="112" y="1141"/>
                      <a:pt x="72" y="1110"/>
                    </a:cubicBezTo>
                    <a:cubicBezTo>
                      <a:pt x="28" y="1074"/>
                      <a:pt x="15" y="1004"/>
                      <a:pt x="9" y="951"/>
                    </a:cubicBezTo>
                    <a:cubicBezTo>
                      <a:pt x="0" y="879"/>
                      <a:pt x="6" y="810"/>
                      <a:pt x="16" y="737"/>
                    </a:cubicBezTo>
                    <a:cubicBezTo>
                      <a:pt x="25" y="667"/>
                      <a:pt x="35" y="594"/>
                      <a:pt x="48" y="523"/>
                    </a:cubicBezTo>
                    <a:cubicBezTo>
                      <a:pt x="62" y="444"/>
                      <a:pt x="83" y="366"/>
                      <a:pt x="121" y="296"/>
                    </a:cubicBezTo>
                    <a:cubicBezTo>
                      <a:pt x="158" y="225"/>
                      <a:pt x="212" y="163"/>
                      <a:pt x="279" y="115"/>
                    </a:cubicBezTo>
                    <a:cubicBezTo>
                      <a:pt x="358" y="58"/>
                      <a:pt x="452" y="25"/>
                      <a:pt x="546" y="7"/>
                    </a:cubicBezTo>
                    <a:cubicBezTo>
                      <a:pt x="546" y="5"/>
                      <a:pt x="546" y="5"/>
                      <a:pt x="546" y="5"/>
                    </a:cubicBezTo>
                    <a:cubicBezTo>
                      <a:pt x="592" y="0"/>
                      <a:pt x="636" y="1"/>
                      <a:pt x="682" y="12"/>
                    </a:cubicBezTo>
                    <a:cubicBezTo>
                      <a:pt x="759" y="29"/>
                      <a:pt x="831" y="61"/>
                      <a:pt x="896" y="105"/>
                    </a:cubicBezTo>
                    <a:cubicBezTo>
                      <a:pt x="950" y="143"/>
                      <a:pt x="998" y="190"/>
                      <a:pt x="1035" y="244"/>
                    </a:cubicBezTo>
                    <a:cubicBezTo>
                      <a:pt x="1066" y="287"/>
                      <a:pt x="1092" y="331"/>
                      <a:pt x="1118" y="377"/>
                    </a:cubicBezTo>
                    <a:cubicBezTo>
                      <a:pt x="1171" y="472"/>
                      <a:pt x="1204" y="578"/>
                      <a:pt x="1243" y="678"/>
                    </a:cubicBezTo>
                    <a:cubicBezTo>
                      <a:pt x="1263" y="733"/>
                      <a:pt x="1287" y="792"/>
                      <a:pt x="1284" y="851"/>
                    </a:cubicBezTo>
                    <a:cubicBezTo>
                      <a:pt x="1281" y="873"/>
                      <a:pt x="1276" y="899"/>
                      <a:pt x="1257" y="915"/>
                    </a:cubicBezTo>
                    <a:cubicBezTo>
                      <a:pt x="1241" y="933"/>
                      <a:pt x="1217" y="935"/>
                      <a:pt x="1194" y="930"/>
                    </a:cubicBezTo>
                    <a:cubicBezTo>
                      <a:pt x="1158" y="920"/>
                      <a:pt x="1126" y="894"/>
                      <a:pt x="1097" y="870"/>
                    </a:cubicBezTo>
                    <a:cubicBezTo>
                      <a:pt x="1064" y="838"/>
                      <a:pt x="1035" y="802"/>
                      <a:pt x="1010" y="763"/>
                    </a:cubicBezTo>
                    <a:cubicBezTo>
                      <a:pt x="969" y="703"/>
                      <a:pt x="935" y="640"/>
                      <a:pt x="905" y="576"/>
                    </a:cubicBezTo>
                    <a:cubicBezTo>
                      <a:pt x="902" y="583"/>
                      <a:pt x="899" y="590"/>
                      <a:pt x="894" y="597"/>
                    </a:cubicBezTo>
                    <a:cubicBezTo>
                      <a:pt x="877" y="625"/>
                      <a:pt x="857" y="646"/>
                      <a:pt x="834" y="663"/>
                    </a:cubicBezTo>
                    <a:cubicBezTo>
                      <a:pt x="812" y="677"/>
                      <a:pt x="787" y="689"/>
                      <a:pt x="765" y="700"/>
                    </a:cubicBezTo>
                    <a:cubicBezTo>
                      <a:pt x="745" y="709"/>
                      <a:pt x="727" y="718"/>
                      <a:pt x="706" y="722"/>
                    </a:cubicBezTo>
                    <a:cubicBezTo>
                      <a:pt x="664" y="735"/>
                      <a:pt x="622" y="743"/>
                      <a:pt x="581" y="746"/>
                    </a:cubicBezTo>
                    <a:cubicBezTo>
                      <a:pt x="535" y="750"/>
                      <a:pt x="492" y="756"/>
                      <a:pt x="448" y="743"/>
                    </a:cubicBezTo>
                    <a:cubicBezTo>
                      <a:pt x="417" y="732"/>
                      <a:pt x="384" y="716"/>
                      <a:pt x="356" y="697"/>
                    </a:cubicBezTo>
                    <a:close/>
                    <a:moveTo>
                      <a:pt x="266" y="441"/>
                    </a:moveTo>
                    <a:cubicBezTo>
                      <a:pt x="265" y="446"/>
                      <a:pt x="265" y="446"/>
                      <a:pt x="265" y="446"/>
                    </a:cubicBezTo>
                    <a:cubicBezTo>
                      <a:pt x="264" y="453"/>
                      <a:pt x="266" y="463"/>
                      <a:pt x="265" y="470"/>
                    </a:cubicBezTo>
                    <a:cubicBezTo>
                      <a:pt x="265" y="483"/>
                      <a:pt x="262" y="493"/>
                      <a:pt x="264" y="505"/>
                    </a:cubicBezTo>
                    <a:cubicBezTo>
                      <a:pt x="267" y="516"/>
                      <a:pt x="275" y="522"/>
                      <a:pt x="287" y="520"/>
                    </a:cubicBezTo>
                    <a:cubicBezTo>
                      <a:pt x="289" y="520"/>
                      <a:pt x="291" y="519"/>
                      <a:pt x="293" y="519"/>
                    </a:cubicBezTo>
                    <a:cubicBezTo>
                      <a:pt x="298" y="552"/>
                      <a:pt x="298" y="552"/>
                      <a:pt x="298" y="552"/>
                    </a:cubicBezTo>
                    <a:cubicBezTo>
                      <a:pt x="308" y="552"/>
                      <a:pt x="322" y="547"/>
                      <a:pt x="331" y="543"/>
                    </a:cubicBezTo>
                    <a:cubicBezTo>
                      <a:pt x="340" y="539"/>
                      <a:pt x="349" y="537"/>
                      <a:pt x="355" y="531"/>
                    </a:cubicBezTo>
                    <a:cubicBezTo>
                      <a:pt x="371" y="523"/>
                      <a:pt x="383" y="511"/>
                      <a:pt x="393" y="497"/>
                    </a:cubicBezTo>
                    <a:cubicBezTo>
                      <a:pt x="412" y="469"/>
                      <a:pt x="426" y="429"/>
                      <a:pt x="417" y="394"/>
                    </a:cubicBezTo>
                    <a:cubicBezTo>
                      <a:pt x="392" y="404"/>
                      <a:pt x="392" y="404"/>
                      <a:pt x="392" y="404"/>
                    </a:cubicBezTo>
                    <a:cubicBezTo>
                      <a:pt x="391" y="405"/>
                      <a:pt x="390" y="406"/>
                      <a:pt x="390" y="406"/>
                    </a:cubicBezTo>
                    <a:cubicBezTo>
                      <a:pt x="392" y="394"/>
                      <a:pt x="394" y="379"/>
                      <a:pt x="390" y="370"/>
                    </a:cubicBezTo>
                    <a:cubicBezTo>
                      <a:pt x="380" y="357"/>
                      <a:pt x="371" y="359"/>
                      <a:pt x="356" y="362"/>
                    </a:cubicBezTo>
                    <a:cubicBezTo>
                      <a:pt x="347" y="364"/>
                      <a:pt x="340" y="368"/>
                      <a:pt x="331" y="372"/>
                    </a:cubicBezTo>
                    <a:cubicBezTo>
                      <a:pt x="324" y="373"/>
                      <a:pt x="315" y="377"/>
                      <a:pt x="312" y="385"/>
                    </a:cubicBezTo>
                    <a:cubicBezTo>
                      <a:pt x="308" y="391"/>
                      <a:pt x="313" y="405"/>
                      <a:pt x="319" y="411"/>
                    </a:cubicBezTo>
                    <a:cubicBezTo>
                      <a:pt x="320" y="413"/>
                      <a:pt x="320" y="413"/>
                      <a:pt x="320" y="413"/>
                    </a:cubicBezTo>
                    <a:cubicBezTo>
                      <a:pt x="321" y="418"/>
                      <a:pt x="325" y="420"/>
                      <a:pt x="329" y="421"/>
                    </a:cubicBezTo>
                    <a:cubicBezTo>
                      <a:pt x="300" y="434"/>
                      <a:pt x="300" y="434"/>
                      <a:pt x="300" y="434"/>
                    </a:cubicBezTo>
                    <a:cubicBezTo>
                      <a:pt x="297" y="433"/>
                      <a:pt x="294" y="433"/>
                      <a:pt x="290" y="434"/>
                    </a:cubicBezTo>
                    <a:cubicBezTo>
                      <a:pt x="281" y="435"/>
                      <a:pt x="275" y="441"/>
                      <a:pt x="266" y="441"/>
                    </a:cubicBezTo>
                    <a:close/>
                    <a:moveTo>
                      <a:pt x="274" y="278"/>
                    </a:moveTo>
                    <a:cubicBezTo>
                      <a:pt x="255" y="281"/>
                      <a:pt x="225" y="292"/>
                      <a:pt x="233" y="318"/>
                    </a:cubicBezTo>
                    <a:cubicBezTo>
                      <a:pt x="235" y="329"/>
                      <a:pt x="237" y="341"/>
                      <a:pt x="242" y="350"/>
                    </a:cubicBezTo>
                    <a:cubicBezTo>
                      <a:pt x="242" y="354"/>
                      <a:pt x="245" y="358"/>
                      <a:pt x="246" y="362"/>
                    </a:cubicBezTo>
                    <a:cubicBezTo>
                      <a:pt x="249" y="361"/>
                      <a:pt x="249" y="361"/>
                      <a:pt x="249" y="361"/>
                    </a:cubicBezTo>
                    <a:cubicBezTo>
                      <a:pt x="257" y="367"/>
                      <a:pt x="266" y="365"/>
                      <a:pt x="274" y="366"/>
                    </a:cubicBezTo>
                    <a:cubicBezTo>
                      <a:pt x="281" y="364"/>
                      <a:pt x="300" y="363"/>
                      <a:pt x="304" y="355"/>
                    </a:cubicBezTo>
                    <a:cubicBezTo>
                      <a:pt x="305" y="350"/>
                      <a:pt x="302" y="346"/>
                      <a:pt x="301" y="341"/>
                    </a:cubicBezTo>
                    <a:cubicBezTo>
                      <a:pt x="299" y="332"/>
                      <a:pt x="297" y="322"/>
                      <a:pt x="295" y="313"/>
                    </a:cubicBezTo>
                    <a:cubicBezTo>
                      <a:pt x="293" y="301"/>
                      <a:pt x="293" y="274"/>
                      <a:pt x="274" y="278"/>
                    </a:cubicBezTo>
                    <a:close/>
                    <a:moveTo>
                      <a:pt x="164" y="402"/>
                    </a:moveTo>
                    <a:cubicBezTo>
                      <a:pt x="160" y="420"/>
                      <a:pt x="160" y="457"/>
                      <a:pt x="184" y="457"/>
                    </a:cubicBezTo>
                    <a:cubicBezTo>
                      <a:pt x="196" y="457"/>
                      <a:pt x="207" y="447"/>
                      <a:pt x="218" y="443"/>
                    </a:cubicBezTo>
                    <a:cubicBezTo>
                      <a:pt x="229" y="438"/>
                      <a:pt x="238" y="434"/>
                      <a:pt x="236" y="420"/>
                    </a:cubicBezTo>
                    <a:cubicBezTo>
                      <a:pt x="235" y="405"/>
                      <a:pt x="226" y="385"/>
                      <a:pt x="208" y="381"/>
                    </a:cubicBezTo>
                    <a:cubicBezTo>
                      <a:pt x="194" y="375"/>
                      <a:pt x="175" y="390"/>
                      <a:pt x="162" y="400"/>
                    </a:cubicBezTo>
                    <a:lnTo>
                      <a:pt x="164" y="402"/>
                    </a:lnTo>
                    <a:close/>
                    <a:moveTo>
                      <a:pt x="911" y="216"/>
                    </a:moveTo>
                    <a:cubicBezTo>
                      <a:pt x="910" y="217"/>
                      <a:pt x="910" y="217"/>
                      <a:pt x="910" y="217"/>
                    </a:cubicBezTo>
                    <a:cubicBezTo>
                      <a:pt x="907" y="223"/>
                      <a:pt x="903" y="218"/>
                      <a:pt x="901" y="219"/>
                    </a:cubicBezTo>
                    <a:cubicBezTo>
                      <a:pt x="894" y="220"/>
                      <a:pt x="887" y="222"/>
                      <a:pt x="883" y="225"/>
                    </a:cubicBezTo>
                    <a:cubicBezTo>
                      <a:pt x="857" y="244"/>
                      <a:pt x="871" y="278"/>
                      <a:pt x="887" y="300"/>
                    </a:cubicBezTo>
                    <a:cubicBezTo>
                      <a:pt x="894" y="311"/>
                      <a:pt x="910" y="317"/>
                      <a:pt x="924" y="314"/>
                    </a:cubicBezTo>
                    <a:cubicBezTo>
                      <a:pt x="939" y="312"/>
                      <a:pt x="948" y="298"/>
                      <a:pt x="951" y="285"/>
                    </a:cubicBezTo>
                    <a:cubicBezTo>
                      <a:pt x="953" y="272"/>
                      <a:pt x="950" y="256"/>
                      <a:pt x="945" y="244"/>
                    </a:cubicBezTo>
                    <a:cubicBezTo>
                      <a:pt x="938" y="230"/>
                      <a:pt x="925" y="223"/>
                      <a:pt x="911" y="216"/>
                    </a:cubicBezTo>
                    <a:close/>
                    <a:moveTo>
                      <a:pt x="829" y="203"/>
                    </a:moveTo>
                    <a:cubicBezTo>
                      <a:pt x="850" y="195"/>
                      <a:pt x="854" y="169"/>
                      <a:pt x="848" y="148"/>
                    </a:cubicBezTo>
                    <a:cubicBezTo>
                      <a:pt x="839" y="126"/>
                      <a:pt x="816" y="125"/>
                      <a:pt x="798" y="131"/>
                    </a:cubicBezTo>
                    <a:cubicBezTo>
                      <a:pt x="794" y="134"/>
                      <a:pt x="792" y="135"/>
                      <a:pt x="790" y="138"/>
                    </a:cubicBezTo>
                    <a:cubicBezTo>
                      <a:pt x="783" y="144"/>
                      <a:pt x="783" y="154"/>
                      <a:pt x="784" y="161"/>
                    </a:cubicBezTo>
                    <a:cubicBezTo>
                      <a:pt x="784" y="183"/>
                      <a:pt x="800" y="214"/>
                      <a:pt x="829" y="203"/>
                    </a:cubicBezTo>
                    <a:close/>
                    <a:moveTo>
                      <a:pt x="862" y="344"/>
                    </a:moveTo>
                    <a:cubicBezTo>
                      <a:pt x="857" y="318"/>
                      <a:pt x="845" y="296"/>
                      <a:pt x="816" y="297"/>
                    </a:cubicBezTo>
                    <a:cubicBezTo>
                      <a:pt x="799" y="297"/>
                      <a:pt x="784" y="310"/>
                      <a:pt x="782" y="325"/>
                    </a:cubicBezTo>
                    <a:cubicBezTo>
                      <a:pt x="780" y="338"/>
                      <a:pt x="785" y="354"/>
                      <a:pt x="791" y="368"/>
                    </a:cubicBezTo>
                    <a:cubicBezTo>
                      <a:pt x="795" y="377"/>
                      <a:pt x="802" y="387"/>
                      <a:pt x="814" y="390"/>
                    </a:cubicBezTo>
                    <a:cubicBezTo>
                      <a:pt x="828" y="395"/>
                      <a:pt x="844" y="391"/>
                      <a:pt x="855" y="382"/>
                    </a:cubicBezTo>
                    <a:cubicBezTo>
                      <a:pt x="867" y="372"/>
                      <a:pt x="867" y="358"/>
                      <a:pt x="862" y="344"/>
                    </a:cubicBezTo>
                    <a:close/>
                    <a:moveTo>
                      <a:pt x="704" y="314"/>
                    </a:moveTo>
                    <a:cubicBezTo>
                      <a:pt x="702" y="302"/>
                      <a:pt x="686" y="278"/>
                      <a:pt x="673" y="280"/>
                    </a:cubicBezTo>
                    <a:cubicBezTo>
                      <a:pt x="667" y="277"/>
                      <a:pt x="658" y="279"/>
                      <a:pt x="652" y="282"/>
                    </a:cubicBezTo>
                    <a:cubicBezTo>
                      <a:pt x="635" y="295"/>
                      <a:pt x="632" y="318"/>
                      <a:pt x="642" y="335"/>
                    </a:cubicBezTo>
                    <a:cubicBezTo>
                      <a:pt x="661" y="354"/>
                      <a:pt x="661" y="354"/>
                      <a:pt x="661" y="354"/>
                    </a:cubicBezTo>
                    <a:cubicBezTo>
                      <a:pt x="671" y="357"/>
                      <a:pt x="680" y="355"/>
                      <a:pt x="689" y="348"/>
                    </a:cubicBezTo>
                    <a:cubicBezTo>
                      <a:pt x="700" y="341"/>
                      <a:pt x="704" y="326"/>
                      <a:pt x="704" y="314"/>
                    </a:cubicBezTo>
                    <a:close/>
                  </a:path>
                </a:pathLst>
              </a:custGeom>
              <a:solidFill>
                <a:srgbClr val="3C3C3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061" name="Freeform 374">
                <a:extLst>
                  <a:ext uri="{FF2B5EF4-FFF2-40B4-BE49-F238E27FC236}">
                    <a16:creationId xmlns:a16="http://schemas.microsoft.com/office/drawing/2014/main" id="{B498DC07-7346-41C2-9470-1D74C29CCCF2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431" y="1253"/>
                <a:ext cx="811" cy="1024"/>
              </a:xfrm>
              <a:custGeom>
                <a:avLst/>
                <a:gdLst>
                  <a:gd name="T0" fmla="*/ 2 w 765"/>
                  <a:gd name="T1" fmla="*/ 19 h 967"/>
                  <a:gd name="T2" fmla="*/ 82 w 765"/>
                  <a:gd name="T3" fmla="*/ 16 h 967"/>
                  <a:gd name="T4" fmla="*/ 186 w 765"/>
                  <a:gd name="T5" fmla="*/ 35 h 967"/>
                  <a:gd name="T6" fmla="*/ 342 w 765"/>
                  <a:gd name="T7" fmla="*/ 104 h 967"/>
                  <a:gd name="T8" fmla="*/ 571 w 765"/>
                  <a:gd name="T9" fmla="*/ 363 h 967"/>
                  <a:gd name="T10" fmla="*/ 709 w 765"/>
                  <a:gd name="T11" fmla="*/ 683 h 967"/>
                  <a:gd name="T12" fmla="*/ 751 w 765"/>
                  <a:gd name="T13" fmla="*/ 867 h 967"/>
                  <a:gd name="T14" fmla="*/ 700 w 765"/>
                  <a:gd name="T15" fmla="*/ 938 h 967"/>
                  <a:gd name="T16" fmla="*/ 609 w 765"/>
                  <a:gd name="T17" fmla="*/ 907 h 967"/>
                  <a:gd name="T18" fmla="*/ 485 w 765"/>
                  <a:gd name="T19" fmla="*/ 771 h 967"/>
                  <a:gd name="T20" fmla="*/ 380 w 765"/>
                  <a:gd name="T21" fmla="*/ 582 h 967"/>
                  <a:gd name="T22" fmla="*/ 373 w 765"/>
                  <a:gd name="T23" fmla="*/ 585 h 967"/>
                  <a:gd name="T24" fmla="*/ 469 w 765"/>
                  <a:gd name="T25" fmla="*/ 759 h 967"/>
                  <a:gd name="T26" fmla="*/ 585 w 765"/>
                  <a:gd name="T27" fmla="*/ 898 h 967"/>
                  <a:gd name="T28" fmla="*/ 722 w 765"/>
                  <a:gd name="T29" fmla="*/ 937 h 967"/>
                  <a:gd name="T30" fmla="*/ 755 w 765"/>
                  <a:gd name="T31" fmla="*/ 802 h 967"/>
                  <a:gd name="T32" fmla="*/ 692 w 765"/>
                  <a:gd name="T33" fmla="*/ 616 h 967"/>
                  <a:gd name="T34" fmla="*/ 617 w 765"/>
                  <a:gd name="T35" fmla="*/ 431 h 967"/>
                  <a:gd name="T36" fmla="*/ 395 w 765"/>
                  <a:gd name="T37" fmla="*/ 131 h 967"/>
                  <a:gd name="T38" fmla="*/ 215 w 765"/>
                  <a:gd name="T39" fmla="*/ 35 h 967"/>
                  <a:gd name="T40" fmla="*/ 1 w 765"/>
                  <a:gd name="T41" fmla="*/ 17 h 967"/>
                  <a:gd name="T42" fmla="*/ 2 w 765"/>
                  <a:gd name="T43" fmla="*/ 19 h 9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765" h="967">
                    <a:moveTo>
                      <a:pt x="2" y="19"/>
                    </a:moveTo>
                    <a:cubicBezTo>
                      <a:pt x="28" y="18"/>
                      <a:pt x="55" y="15"/>
                      <a:pt x="82" y="16"/>
                    </a:cubicBezTo>
                    <a:cubicBezTo>
                      <a:pt x="117" y="18"/>
                      <a:pt x="152" y="25"/>
                      <a:pt x="186" y="35"/>
                    </a:cubicBezTo>
                    <a:cubicBezTo>
                      <a:pt x="241" y="50"/>
                      <a:pt x="294" y="74"/>
                      <a:pt x="342" y="104"/>
                    </a:cubicBezTo>
                    <a:cubicBezTo>
                      <a:pt x="445" y="166"/>
                      <a:pt x="512" y="261"/>
                      <a:pt x="571" y="363"/>
                    </a:cubicBezTo>
                    <a:cubicBezTo>
                      <a:pt x="630" y="464"/>
                      <a:pt x="667" y="574"/>
                      <a:pt x="709" y="683"/>
                    </a:cubicBezTo>
                    <a:cubicBezTo>
                      <a:pt x="730" y="740"/>
                      <a:pt x="759" y="804"/>
                      <a:pt x="751" y="867"/>
                    </a:cubicBezTo>
                    <a:cubicBezTo>
                      <a:pt x="748" y="897"/>
                      <a:pt x="733" y="931"/>
                      <a:pt x="700" y="938"/>
                    </a:cubicBezTo>
                    <a:cubicBezTo>
                      <a:pt x="667" y="944"/>
                      <a:pt x="634" y="925"/>
                      <a:pt x="609" y="907"/>
                    </a:cubicBezTo>
                    <a:cubicBezTo>
                      <a:pt x="557" y="871"/>
                      <a:pt x="519" y="823"/>
                      <a:pt x="485" y="771"/>
                    </a:cubicBezTo>
                    <a:cubicBezTo>
                      <a:pt x="445" y="711"/>
                      <a:pt x="410" y="648"/>
                      <a:pt x="380" y="582"/>
                    </a:cubicBezTo>
                    <a:cubicBezTo>
                      <a:pt x="378" y="578"/>
                      <a:pt x="371" y="580"/>
                      <a:pt x="373" y="585"/>
                    </a:cubicBezTo>
                    <a:cubicBezTo>
                      <a:pt x="401" y="645"/>
                      <a:pt x="432" y="704"/>
                      <a:pt x="469" y="759"/>
                    </a:cubicBezTo>
                    <a:cubicBezTo>
                      <a:pt x="502" y="810"/>
                      <a:pt x="537" y="860"/>
                      <a:pt x="585" y="898"/>
                    </a:cubicBezTo>
                    <a:cubicBezTo>
                      <a:pt x="620" y="926"/>
                      <a:pt x="677" y="967"/>
                      <a:pt x="722" y="937"/>
                    </a:cubicBezTo>
                    <a:cubicBezTo>
                      <a:pt x="765" y="907"/>
                      <a:pt x="764" y="847"/>
                      <a:pt x="755" y="802"/>
                    </a:cubicBezTo>
                    <a:cubicBezTo>
                      <a:pt x="743" y="738"/>
                      <a:pt x="714" y="677"/>
                      <a:pt x="692" y="616"/>
                    </a:cubicBezTo>
                    <a:cubicBezTo>
                      <a:pt x="669" y="554"/>
                      <a:pt x="646" y="491"/>
                      <a:pt x="617" y="431"/>
                    </a:cubicBezTo>
                    <a:cubicBezTo>
                      <a:pt x="563" y="319"/>
                      <a:pt x="493" y="208"/>
                      <a:pt x="395" y="131"/>
                    </a:cubicBezTo>
                    <a:cubicBezTo>
                      <a:pt x="341" y="89"/>
                      <a:pt x="279" y="57"/>
                      <a:pt x="215" y="35"/>
                    </a:cubicBezTo>
                    <a:cubicBezTo>
                      <a:pt x="147" y="13"/>
                      <a:pt x="72" y="0"/>
                      <a:pt x="1" y="17"/>
                    </a:cubicBezTo>
                    <a:cubicBezTo>
                      <a:pt x="0" y="17"/>
                      <a:pt x="0" y="19"/>
                      <a:pt x="2" y="19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062" name="Freeform 375">
                <a:extLst>
                  <a:ext uri="{FF2B5EF4-FFF2-40B4-BE49-F238E27FC236}">
                    <a16:creationId xmlns:a16="http://schemas.microsoft.com/office/drawing/2014/main" id="{B82B15E8-E8DF-4CF5-ACE9-5A7629EE5E31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869" y="1267"/>
                <a:ext cx="588" cy="1221"/>
              </a:xfrm>
              <a:custGeom>
                <a:avLst/>
                <a:gdLst>
                  <a:gd name="T0" fmla="*/ 549 w 555"/>
                  <a:gd name="T1" fmla="*/ 1 h 1153"/>
                  <a:gd name="T2" fmla="*/ 202 w 555"/>
                  <a:gd name="T3" fmla="*/ 176 h 1153"/>
                  <a:gd name="T4" fmla="*/ 45 w 555"/>
                  <a:gd name="T5" fmla="*/ 524 h 1153"/>
                  <a:gd name="T6" fmla="*/ 12 w 555"/>
                  <a:gd name="T7" fmla="*/ 750 h 1153"/>
                  <a:gd name="T8" fmla="*/ 8 w 555"/>
                  <a:gd name="T9" fmla="*/ 959 h 1153"/>
                  <a:gd name="T10" fmla="*/ 60 w 555"/>
                  <a:gd name="T11" fmla="*/ 1099 h 1153"/>
                  <a:gd name="T12" fmla="*/ 182 w 555"/>
                  <a:gd name="T13" fmla="*/ 1089 h 1153"/>
                  <a:gd name="T14" fmla="*/ 272 w 555"/>
                  <a:gd name="T15" fmla="*/ 907 h 1153"/>
                  <a:gd name="T16" fmla="*/ 322 w 555"/>
                  <a:gd name="T17" fmla="*/ 670 h 1153"/>
                  <a:gd name="T18" fmla="*/ 313 w 555"/>
                  <a:gd name="T19" fmla="*/ 668 h 1153"/>
                  <a:gd name="T20" fmla="*/ 275 w 555"/>
                  <a:gd name="T21" fmla="*/ 861 h 1153"/>
                  <a:gd name="T22" fmla="*/ 215 w 555"/>
                  <a:gd name="T23" fmla="*/ 1026 h 1153"/>
                  <a:gd name="T24" fmla="*/ 70 w 555"/>
                  <a:gd name="T25" fmla="*/ 1097 h 1153"/>
                  <a:gd name="T26" fmla="*/ 18 w 555"/>
                  <a:gd name="T27" fmla="*/ 953 h 1153"/>
                  <a:gd name="T28" fmla="*/ 22 w 555"/>
                  <a:gd name="T29" fmla="*/ 750 h 1153"/>
                  <a:gd name="T30" fmla="*/ 51 w 555"/>
                  <a:gd name="T31" fmla="*/ 551 h 1153"/>
                  <a:gd name="T32" fmla="*/ 194 w 555"/>
                  <a:gd name="T33" fmla="*/ 199 h 1153"/>
                  <a:gd name="T34" fmla="*/ 550 w 555"/>
                  <a:gd name="T35" fmla="*/ 8 h 1153"/>
                  <a:gd name="T36" fmla="*/ 549 w 555"/>
                  <a:gd name="T37" fmla="*/ 1 h 11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555" h="1153">
                    <a:moveTo>
                      <a:pt x="549" y="1"/>
                    </a:moveTo>
                    <a:cubicBezTo>
                      <a:pt x="419" y="24"/>
                      <a:pt x="294" y="78"/>
                      <a:pt x="202" y="176"/>
                    </a:cubicBezTo>
                    <a:cubicBezTo>
                      <a:pt x="111" y="272"/>
                      <a:pt x="68" y="396"/>
                      <a:pt x="45" y="524"/>
                    </a:cubicBezTo>
                    <a:cubicBezTo>
                      <a:pt x="31" y="599"/>
                      <a:pt x="22" y="674"/>
                      <a:pt x="12" y="750"/>
                    </a:cubicBezTo>
                    <a:cubicBezTo>
                      <a:pt x="3" y="820"/>
                      <a:pt x="0" y="889"/>
                      <a:pt x="8" y="959"/>
                    </a:cubicBezTo>
                    <a:cubicBezTo>
                      <a:pt x="14" y="1008"/>
                      <a:pt x="26" y="1062"/>
                      <a:pt x="60" y="1099"/>
                    </a:cubicBezTo>
                    <a:cubicBezTo>
                      <a:pt x="98" y="1140"/>
                      <a:pt x="147" y="1126"/>
                      <a:pt x="182" y="1089"/>
                    </a:cubicBezTo>
                    <a:cubicBezTo>
                      <a:pt x="228" y="1038"/>
                      <a:pt x="253" y="972"/>
                      <a:pt x="272" y="907"/>
                    </a:cubicBezTo>
                    <a:cubicBezTo>
                      <a:pt x="294" y="829"/>
                      <a:pt x="310" y="750"/>
                      <a:pt x="322" y="670"/>
                    </a:cubicBezTo>
                    <a:cubicBezTo>
                      <a:pt x="323" y="664"/>
                      <a:pt x="313" y="662"/>
                      <a:pt x="313" y="668"/>
                    </a:cubicBezTo>
                    <a:cubicBezTo>
                      <a:pt x="303" y="733"/>
                      <a:pt x="292" y="798"/>
                      <a:pt x="275" y="861"/>
                    </a:cubicBezTo>
                    <a:cubicBezTo>
                      <a:pt x="260" y="918"/>
                      <a:pt x="244" y="975"/>
                      <a:pt x="215" y="1026"/>
                    </a:cubicBezTo>
                    <a:cubicBezTo>
                      <a:pt x="189" y="1073"/>
                      <a:pt x="127" y="1153"/>
                      <a:pt x="70" y="1097"/>
                    </a:cubicBezTo>
                    <a:cubicBezTo>
                      <a:pt x="34" y="1060"/>
                      <a:pt x="24" y="1002"/>
                      <a:pt x="18" y="953"/>
                    </a:cubicBezTo>
                    <a:cubicBezTo>
                      <a:pt x="10" y="885"/>
                      <a:pt x="14" y="818"/>
                      <a:pt x="22" y="750"/>
                    </a:cubicBezTo>
                    <a:cubicBezTo>
                      <a:pt x="31" y="684"/>
                      <a:pt x="39" y="617"/>
                      <a:pt x="51" y="551"/>
                    </a:cubicBezTo>
                    <a:cubicBezTo>
                      <a:pt x="72" y="424"/>
                      <a:pt x="108" y="299"/>
                      <a:pt x="194" y="199"/>
                    </a:cubicBezTo>
                    <a:cubicBezTo>
                      <a:pt x="286" y="93"/>
                      <a:pt x="415" y="37"/>
                      <a:pt x="550" y="8"/>
                    </a:cubicBezTo>
                    <a:cubicBezTo>
                      <a:pt x="555" y="7"/>
                      <a:pt x="554" y="0"/>
                      <a:pt x="549" y="1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063" name="Freeform 376">
                <a:extLst>
                  <a:ext uri="{FF2B5EF4-FFF2-40B4-BE49-F238E27FC236}">
                    <a16:creationId xmlns:a16="http://schemas.microsoft.com/office/drawing/2014/main" id="{EEBBF177-53A1-4896-AE6A-81E9EB1C2E03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683" y="1779"/>
                <a:ext cx="302" cy="177"/>
              </a:xfrm>
              <a:custGeom>
                <a:avLst/>
                <a:gdLst>
                  <a:gd name="T0" fmla="*/ 282 w 285"/>
                  <a:gd name="T1" fmla="*/ 0 h 167"/>
                  <a:gd name="T2" fmla="*/ 147 w 285"/>
                  <a:gd name="T3" fmla="*/ 55 h 167"/>
                  <a:gd name="T4" fmla="*/ 70 w 285"/>
                  <a:gd name="T5" fmla="*/ 112 h 167"/>
                  <a:gd name="T6" fmla="*/ 2 w 285"/>
                  <a:gd name="T7" fmla="*/ 163 h 167"/>
                  <a:gd name="T8" fmla="*/ 4 w 285"/>
                  <a:gd name="T9" fmla="*/ 166 h 167"/>
                  <a:gd name="T10" fmla="*/ 65 w 285"/>
                  <a:gd name="T11" fmla="*/ 122 h 167"/>
                  <a:gd name="T12" fmla="*/ 140 w 285"/>
                  <a:gd name="T13" fmla="*/ 70 h 167"/>
                  <a:gd name="T14" fmla="*/ 205 w 285"/>
                  <a:gd name="T15" fmla="*/ 27 h 167"/>
                  <a:gd name="T16" fmla="*/ 240 w 285"/>
                  <a:gd name="T17" fmla="*/ 13 h 167"/>
                  <a:gd name="T18" fmla="*/ 282 w 285"/>
                  <a:gd name="T19" fmla="*/ 4 h 167"/>
                  <a:gd name="T20" fmla="*/ 282 w 285"/>
                  <a:gd name="T21" fmla="*/ 0 h 1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285" h="167">
                    <a:moveTo>
                      <a:pt x="282" y="0"/>
                    </a:moveTo>
                    <a:cubicBezTo>
                      <a:pt x="234" y="2"/>
                      <a:pt x="184" y="23"/>
                      <a:pt x="147" y="55"/>
                    </a:cubicBezTo>
                    <a:cubicBezTo>
                      <a:pt x="123" y="76"/>
                      <a:pt x="95" y="93"/>
                      <a:pt x="70" y="112"/>
                    </a:cubicBezTo>
                    <a:cubicBezTo>
                      <a:pt x="47" y="129"/>
                      <a:pt x="24" y="146"/>
                      <a:pt x="2" y="163"/>
                    </a:cubicBezTo>
                    <a:cubicBezTo>
                      <a:pt x="0" y="164"/>
                      <a:pt x="2" y="167"/>
                      <a:pt x="4" y="166"/>
                    </a:cubicBezTo>
                    <a:cubicBezTo>
                      <a:pt x="25" y="153"/>
                      <a:pt x="45" y="137"/>
                      <a:pt x="65" y="122"/>
                    </a:cubicBezTo>
                    <a:cubicBezTo>
                      <a:pt x="90" y="104"/>
                      <a:pt x="116" y="88"/>
                      <a:pt x="140" y="70"/>
                    </a:cubicBezTo>
                    <a:cubicBezTo>
                      <a:pt x="162" y="53"/>
                      <a:pt x="180" y="38"/>
                      <a:pt x="205" y="27"/>
                    </a:cubicBezTo>
                    <a:cubicBezTo>
                      <a:pt x="217" y="22"/>
                      <a:pt x="228" y="17"/>
                      <a:pt x="240" y="13"/>
                    </a:cubicBezTo>
                    <a:cubicBezTo>
                      <a:pt x="254" y="8"/>
                      <a:pt x="269" y="9"/>
                      <a:pt x="282" y="4"/>
                    </a:cubicBezTo>
                    <a:cubicBezTo>
                      <a:pt x="285" y="3"/>
                      <a:pt x="284" y="0"/>
                      <a:pt x="282" y="0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064" name="Freeform 377">
                <a:extLst>
                  <a:ext uri="{FF2B5EF4-FFF2-40B4-BE49-F238E27FC236}">
                    <a16:creationId xmlns:a16="http://schemas.microsoft.com/office/drawing/2014/main" id="{A6F60FEA-A0C3-4216-9146-46837FA1BFBD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060" y="1921"/>
                <a:ext cx="580" cy="93"/>
              </a:xfrm>
              <a:custGeom>
                <a:avLst/>
                <a:gdLst>
                  <a:gd name="T0" fmla="*/ 546 w 548"/>
                  <a:gd name="T1" fmla="*/ 53 h 88"/>
                  <a:gd name="T2" fmla="*/ 409 w 548"/>
                  <a:gd name="T3" fmla="*/ 79 h 88"/>
                  <a:gd name="T4" fmla="*/ 334 w 548"/>
                  <a:gd name="T5" fmla="*/ 80 h 88"/>
                  <a:gd name="T6" fmla="*/ 258 w 548"/>
                  <a:gd name="T7" fmla="*/ 65 h 88"/>
                  <a:gd name="T8" fmla="*/ 128 w 548"/>
                  <a:gd name="T9" fmla="*/ 24 h 88"/>
                  <a:gd name="T10" fmla="*/ 67 w 548"/>
                  <a:gd name="T11" fmla="*/ 5 h 88"/>
                  <a:gd name="T12" fmla="*/ 3 w 548"/>
                  <a:gd name="T13" fmla="*/ 3 h 88"/>
                  <a:gd name="T14" fmla="*/ 4 w 548"/>
                  <a:gd name="T15" fmla="*/ 9 h 88"/>
                  <a:gd name="T16" fmla="*/ 81 w 548"/>
                  <a:gd name="T17" fmla="*/ 16 h 88"/>
                  <a:gd name="T18" fmla="*/ 149 w 548"/>
                  <a:gd name="T19" fmla="*/ 38 h 88"/>
                  <a:gd name="T20" fmla="*/ 278 w 548"/>
                  <a:gd name="T21" fmla="*/ 77 h 88"/>
                  <a:gd name="T22" fmla="*/ 417 w 548"/>
                  <a:gd name="T23" fmla="*/ 84 h 88"/>
                  <a:gd name="T24" fmla="*/ 547 w 548"/>
                  <a:gd name="T25" fmla="*/ 54 h 88"/>
                  <a:gd name="T26" fmla="*/ 546 w 548"/>
                  <a:gd name="T27" fmla="*/ 53 h 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548" h="88">
                    <a:moveTo>
                      <a:pt x="546" y="53"/>
                    </a:moveTo>
                    <a:cubicBezTo>
                      <a:pt x="505" y="71"/>
                      <a:pt x="454" y="76"/>
                      <a:pt x="409" y="79"/>
                    </a:cubicBezTo>
                    <a:cubicBezTo>
                      <a:pt x="385" y="80"/>
                      <a:pt x="359" y="83"/>
                      <a:pt x="334" y="80"/>
                    </a:cubicBezTo>
                    <a:cubicBezTo>
                      <a:pt x="309" y="77"/>
                      <a:pt x="283" y="72"/>
                      <a:pt x="258" y="65"/>
                    </a:cubicBezTo>
                    <a:cubicBezTo>
                      <a:pt x="214" y="53"/>
                      <a:pt x="172" y="37"/>
                      <a:pt x="128" y="24"/>
                    </a:cubicBezTo>
                    <a:cubicBezTo>
                      <a:pt x="108" y="17"/>
                      <a:pt x="88" y="9"/>
                      <a:pt x="67" y="5"/>
                    </a:cubicBezTo>
                    <a:cubicBezTo>
                      <a:pt x="46" y="0"/>
                      <a:pt x="24" y="0"/>
                      <a:pt x="3" y="3"/>
                    </a:cubicBezTo>
                    <a:cubicBezTo>
                      <a:pt x="0" y="3"/>
                      <a:pt x="0" y="9"/>
                      <a:pt x="4" y="9"/>
                    </a:cubicBezTo>
                    <a:cubicBezTo>
                      <a:pt x="30" y="9"/>
                      <a:pt x="55" y="8"/>
                      <a:pt x="81" y="16"/>
                    </a:cubicBezTo>
                    <a:cubicBezTo>
                      <a:pt x="103" y="24"/>
                      <a:pt x="126" y="30"/>
                      <a:pt x="149" y="38"/>
                    </a:cubicBezTo>
                    <a:cubicBezTo>
                      <a:pt x="192" y="53"/>
                      <a:pt x="234" y="67"/>
                      <a:pt x="278" y="77"/>
                    </a:cubicBezTo>
                    <a:cubicBezTo>
                      <a:pt x="325" y="88"/>
                      <a:pt x="369" y="88"/>
                      <a:pt x="417" y="84"/>
                    </a:cubicBezTo>
                    <a:cubicBezTo>
                      <a:pt x="459" y="80"/>
                      <a:pt x="508" y="73"/>
                      <a:pt x="547" y="54"/>
                    </a:cubicBezTo>
                    <a:cubicBezTo>
                      <a:pt x="548" y="54"/>
                      <a:pt x="547" y="53"/>
                      <a:pt x="546" y="53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065" name="Freeform 378">
                <a:extLst>
                  <a:ext uri="{FF2B5EF4-FFF2-40B4-BE49-F238E27FC236}">
                    <a16:creationId xmlns:a16="http://schemas.microsoft.com/office/drawing/2014/main" id="{5C4D0CDE-9A12-4605-80BC-23F3E19FA0E3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164" y="1843"/>
                <a:ext cx="676" cy="222"/>
              </a:xfrm>
              <a:custGeom>
                <a:avLst/>
                <a:gdLst>
                  <a:gd name="T0" fmla="*/ 634 w 638"/>
                  <a:gd name="T1" fmla="*/ 2 h 210"/>
                  <a:gd name="T2" fmla="*/ 531 w 638"/>
                  <a:gd name="T3" fmla="*/ 128 h 210"/>
                  <a:gd name="T4" fmla="*/ 348 w 638"/>
                  <a:gd name="T5" fmla="*/ 190 h 210"/>
                  <a:gd name="T6" fmla="*/ 158 w 638"/>
                  <a:gd name="T7" fmla="*/ 186 h 210"/>
                  <a:gd name="T8" fmla="*/ 8 w 638"/>
                  <a:gd name="T9" fmla="*/ 95 h 210"/>
                  <a:gd name="T10" fmla="*/ 4 w 638"/>
                  <a:gd name="T11" fmla="*/ 103 h 210"/>
                  <a:gd name="T12" fmla="*/ 165 w 638"/>
                  <a:gd name="T13" fmla="*/ 198 h 210"/>
                  <a:gd name="T14" fmla="*/ 260 w 638"/>
                  <a:gd name="T15" fmla="*/ 208 h 210"/>
                  <a:gd name="T16" fmla="*/ 357 w 638"/>
                  <a:gd name="T17" fmla="*/ 198 h 210"/>
                  <a:gd name="T18" fmla="*/ 541 w 638"/>
                  <a:gd name="T19" fmla="*/ 130 h 210"/>
                  <a:gd name="T20" fmla="*/ 638 w 638"/>
                  <a:gd name="T21" fmla="*/ 3 h 210"/>
                  <a:gd name="T22" fmla="*/ 634 w 638"/>
                  <a:gd name="T23" fmla="*/ 2 h 2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638" h="210">
                    <a:moveTo>
                      <a:pt x="634" y="2"/>
                    </a:moveTo>
                    <a:cubicBezTo>
                      <a:pt x="621" y="59"/>
                      <a:pt x="580" y="101"/>
                      <a:pt x="531" y="128"/>
                    </a:cubicBezTo>
                    <a:cubicBezTo>
                      <a:pt x="473" y="160"/>
                      <a:pt x="413" y="180"/>
                      <a:pt x="348" y="190"/>
                    </a:cubicBezTo>
                    <a:cubicBezTo>
                      <a:pt x="287" y="200"/>
                      <a:pt x="217" y="210"/>
                      <a:pt x="158" y="186"/>
                    </a:cubicBezTo>
                    <a:cubicBezTo>
                      <a:pt x="103" y="165"/>
                      <a:pt x="58" y="128"/>
                      <a:pt x="8" y="95"/>
                    </a:cubicBezTo>
                    <a:cubicBezTo>
                      <a:pt x="4" y="92"/>
                      <a:pt x="0" y="100"/>
                      <a:pt x="4" y="103"/>
                    </a:cubicBezTo>
                    <a:cubicBezTo>
                      <a:pt x="55" y="139"/>
                      <a:pt x="105" y="177"/>
                      <a:pt x="165" y="198"/>
                    </a:cubicBezTo>
                    <a:cubicBezTo>
                      <a:pt x="196" y="209"/>
                      <a:pt x="228" y="210"/>
                      <a:pt x="260" y="208"/>
                    </a:cubicBezTo>
                    <a:cubicBezTo>
                      <a:pt x="293" y="206"/>
                      <a:pt x="325" y="203"/>
                      <a:pt x="357" y="198"/>
                    </a:cubicBezTo>
                    <a:cubicBezTo>
                      <a:pt x="423" y="186"/>
                      <a:pt x="484" y="164"/>
                      <a:pt x="541" y="130"/>
                    </a:cubicBezTo>
                    <a:cubicBezTo>
                      <a:pt x="584" y="105"/>
                      <a:pt x="637" y="56"/>
                      <a:pt x="638" y="3"/>
                    </a:cubicBezTo>
                    <a:cubicBezTo>
                      <a:pt x="638" y="0"/>
                      <a:pt x="634" y="0"/>
                      <a:pt x="634" y="2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066" name="Freeform 379">
                <a:extLst>
                  <a:ext uri="{FF2B5EF4-FFF2-40B4-BE49-F238E27FC236}">
                    <a16:creationId xmlns:a16="http://schemas.microsoft.com/office/drawing/2014/main" id="{2B1031DC-2705-4465-BBB2-3AF327457A9A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982" y="2001"/>
                <a:ext cx="119" cy="326"/>
              </a:xfrm>
              <a:custGeom>
                <a:avLst/>
                <a:gdLst>
                  <a:gd name="T0" fmla="*/ 109 w 112"/>
                  <a:gd name="T1" fmla="*/ 2 h 308"/>
                  <a:gd name="T2" fmla="*/ 62 w 112"/>
                  <a:gd name="T3" fmla="*/ 137 h 308"/>
                  <a:gd name="T4" fmla="*/ 2 w 112"/>
                  <a:gd name="T5" fmla="*/ 304 h 308"/>
                  <a:gd name="T6" fmla="*/ 5 w 112"/>
                  <a:gd name="T7" fmla="*/ 306 h 308"/>
                  <a:gd name="T8" fmla="*/ 61 w 112"/>
                  <a:gd name="T9" fmla="*/ 165 h 308"/>
                  <a:gd name="T10" fmla="*/ 112 w 112"/>
                  <a:gd name="T11" fmla="*/ 3 h 308"/>
                  <a:gd name="T12" fmla="*/ 109 w 112"/>
                  <a:gd name="T13" fmla="*/ 2 h 3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12" h="308">
                    <a:moveTo>
                      <a:pt x="109" y="2"/>
                    </a:moveTo>
                    <a:cubicBezTo>
                      <a:pt x="90" y="45"/>
                      <a:pt x="71" y="91"/>
                      <a:pt x="62" y="137"/>
                    </a:cubicBezTo>
                    <a:cubicBezTo>
                      <a:pt x="49" y="196"/>
                      <a:pt x="39" y="255"/>
                      <a:pt x="2" y="304"/>
                    </a:cubicBezTo>
                    <a:cubicBezTo>
                      <a:pt x="0" y="306"/>
                      <a:pt x="3" y="308"/>
                      <a:pt x="5" y="306"/>
                    </a:cubicBezTo>
                    <a:cubicBezTo>
                      <a:pt x="39" y="266"/>
                      <a:pt x="50" y="215"/>
                      <a:pt x="61" y="165"/>
                    </a:cubicBezTo>
                    <a:cubicBezTo>
                      <a:pt x="73" y="110"/>
                      <a:pt x="90" y="55"/>
                      <a:pt x="112" y="3"/>
                    </a:cubicBezTo>
                    <a:cubicBezTo>
                      <a:pt x="112" y="1"/>
                      <a:pt x="110" y="0"/>
                      <a:pt x="109" y="2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067" name="Freeform 380">
                <a:extLst>
                  <a:ext uri="{FF2B5EF4-FFF2-40B4-BE49-F238E27FC236}">
                    <a16:creationId xmlns:a16="http://schemas.microsoft.com/office/drawing/2014/main" id="{C9B27726-EF89-4122-A9EE-C05A852C85D0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901" y="1860"/>
                <a:ext cx="178" cy="269"/>
              </a:xfrm>
              <a:custGeom>
                <a:avLst/>
                <a:gdLst>
                  <a:gd name="T0" fmla="*/ 1 w 168"/>
                  <a:gd name="T1" fmla="*/ 2 h 254"/>
                  <a:gd name="T2" fmla="*/ 65 w 168"/>
                  <a:gd name="T3" fmla="*/ 129 h 254"/>
                  <a:gd name="T4" fmla="*/ 161 w 168"/>
                  <a:gd name="T5" fmla="*/ 251 h 254"/>
                  <a:gd name="T6" fmla="*/ 166 w 168"/>
                  <a:gd name="T7" fmla="*/ 247 h 254"/>
                  <a:gd name="T8" fmla="*/ 69 w 168"/>
                  <a:gd name="T9" fmla="*/ 123 h 254"/>
                  <a:gd name="T10" fmla="*/ 4 w 168"/>
                  <a:gd name="T11" fmla="*/ 1 h 254"/>
                  <a:gd name="T12" fmla="*/ 1 w 168"/>
                  <a:gd name="T13" fmla="*/ 2 h 2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68" h="254">
                    <a:moveTo>
                      <a:pt x="1" y="2"/>
                    </a:moveTo>
                    <a:cubicBezTo>
                      <a:pt x="26" y="43"/>
                      <a:pt x="41" y="89"/>
                      <a:pt x="65" y="129"/>
                    </a:cubicBezTo>
                    <a:cubicBezTo>
                      <a:pt x="92" y="173"/>
                      <a:pt x="125" y="215"/>
                      <a:pt x="161" y="251"/>
                    </a:cubicBezTo>
                    <a:cubicBezTo>
                      <a:pt x="164" y="254"/>
                      <a:pt x="168" y="250"/>
                      <a:pt x="166" y="247"/>
                    </a:cubicBezTo>
                    <a:cubicBezTo>
                      <a:pt x="131" y="207"/>
                      <a:pt x="96" y="168"/>
                      <a:pt x="69" y="123"/>
                    </a:cubicBezTo>
                    <a:cubicBezTo>
                      <a:pt x="45" y="83"/>
                      <a:pt x="31" y="38"/>
                      <a:pt x="4" y="1"/>
                    </a:cubicBezTo>
                    <a:cubicBezTo>
                      <a:pt x="3" y="0"/>
                      <a:pt x="0" y="1"/>
                      <a:pt x="1" y="2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068" name="Freeform 381">
                <a:extLst>
                  <a:ext uri="{FF2B5EF4-FFF2-40B4-BE49-F238E27FC236}">
                    <a16:creationId xmlns:a16="http://schemas.microsoft.com/office/drawing/2014/main" id="{2FD5958B-9665-4369-87DE-FA94312A4C70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069" y="2134"/>
                <a:ext cx="31" cy="23"/>
              </a:xfrm>
              <a:custGeom>
                <a:avLst/>
                <a:gdLst>
                  <a:gd name="T0" fmla="*/ 3 w 29"/>
                  <a:gd name="T1" fmla="*/ 7 h 22"/>
                  <a:gd name="T2" fmla="*/ 24 w 29"/>
                  <a:gd name="T3" fmla="*/ 21 h 22"/>
                  <a:gd name="T4" fmla="*/ 27 w 29"/>
                  <a:gd name="T5" fmla="*/ 16 h 22"/>
                  <a:gd name="T6" fmla="*/ 6 w 29"/>
                  <a:gd name="T7" fmla="*/ 2 h 22"/>
                  <a:gd name="T8" fmla="*/ 3 w 29"/>
                  <a:gd name="T9" fmla="*/ 7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9" h="22">
                    <a:moveTo>
                      <a:pt x="3" y="7"/>
                    </a:moveTo>
                    <a:cubicBezTo>
                      <a:pt x="9" y="12"/>
                      <a:pt x="16" y="18"/>
                      <a:pt x="24" y="21"/>
                    </a:cubicBezTo>
                    <a:cubicBezTo>
                      <a:pt x="27" y="22"/>
                      <a:pt x="29" y="18"/>
                      <a:pt x="27" y="16"/>
                    </a:cubicBezTo>
                    <a:cubicBezTo>
                      <a:pt x="21" y="10"/>
                      <a:pt x="13" y="6"/>
                      <a:pt x="6" y="2"/>
                    </a:cubicBezTo>
                    <a:cubicBezTo>
                      <a:pt x="3" y="0"/>
                      <a:pt x="0" y="5"/>
                      <a:pt x="3" y="7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069" name="Freeform 382">
                <a:extLst>
                  <a:ext uri="{FF2B5EF4-FFF2-40B4-BE49-F238E27FC236}">
                    <a16:creationId xmlns:a16="http://schemas.microsoft.com/office/drawing/2014/main" id="{830DE63D-1FD6-4A07-9256-713723C1DF4D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103" y="2161"/>
                <a:ext cx="17" cy="12"/>
              </a:xfrm>
              <a:custGeom>
                <a:avLst/>
                <a:gdLst>
                  <a:gd name="T0" fmla="*/ 3 w 16"/>
                  <a:gd name="T1" fmla="*/ 8 h 12"/>
                  <a:gd name="T2" fmla="*/ 10 w 16"/>
                  <a:gd name="T3" fmla="*/ 12 h 12"/>
                  <a:gd name="T4" fmla="*/ 15 w 16"/>
                  <a:gd name="T5" fmla="*/ 10 h 12"/>
                  <a:gd name="T6" fmla="*/ 12 w 16"/>
                  <a:gd name="T7" fmla="*/ 6 h 12"/>
                  <a:gd name="T8" fmla="*/ 6 w 16"/>
                  <a:gd name="T9" fmla="*/ 2 h 12"/>
                  <a:gd name="T10" fmla="*/ 3 w 16"/>
                  <a:gd name="T11" fmla="*/ 8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6" h="12">
                    <a:moveTo>
                      <a:pt x="3" y="8"/>
                    </a:moveTo>
                    <a:cubicBezTo>
                      <a:pt x="5" y="10"/>
                      <a:pt x="7" y="11"/>
                      <a:pt x="10" y="12"/>
                    </a:cubicBezTo>
                    <a:cubicBezTo>
                      <a:pt x="11" y="12"/>
                      <a:pt x="14" y="12"/>
                      <a:pt x="15" y="10"/>
                    </a:cubicBezTo>
                    <a:cubicBezTo>
                      <a:pt x="16" y="7"/>
                      <a:pt x="14" y="6"/>
                      <a:pt x="12" y="6"/>
                    </a:cubicBezTo>
                    <a:cubicBezTo>
                      <a:pt x="10" y="5"/>
                      <a:pt x="8" y="4"/>
                      <a:pt x="6" y="2"/>
                    </a:cubicBezTo>
                    <a:cubicBezTo>
                      <a:pt x="3" y="0"/>
                      <a:pt x="0" y="6"/>
                      <a:pt x="3" y="8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070" name="Freeform 383">
                <a:extLst>
                  <a:ext uri="{FF2B5EF4-FFF2-40B4-BE49-F238E27FC236}">
                    <a16:creationId xmlns:a16="http://schemas.microsoft.com/office/drawing/2014/main" id="{57CCBFBA-BA62-452C-B04A-E13507A42DED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137" y="2176"/>
                <a:ext cx="4" cy="4"/>
              </a:xfrm>
              <a:custGeom>
                <a:avLst/>
                <a:gdLst>
                  <a:gd name="T0" fmla="*/ 2 w 4"/>
                  <a:gd name="T1" fmla="*/ 3 h 3"/>
                  <a:gd name="T2" fmla="*/ 2 w 4"/>
                  <a:gd name="T3" fmla="*/ 0 h 3"/>
                  <a:gd name="T4" fmla="*/ 2 w 4"/>
                  <a:gd name="T5" fmla="*/ 3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4" h="3">
                    <a:moveTo>
                      <a:pt x="2" y="3"/>
                    </a:moveTo>
                    <a:cubicBezTo>
                      <a:pt x="3" y="3"/>
                      <a:pt x="4" y="0"/>
                      <a:pt x="2" y="0"/>
                    </a:cubicBezTo>
                    <a:cubicBezTo>
                      <a:pt x="0" y="0"/>
                      <a:pt x="0" y="3"/>
                      <a:pt x="2" y="3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071" name="Freeform 384">
                <a:extLst>
                  <a:ext uri="{FF2B5EF4-FFF2-40B4-BE49-F238E27FC236}">
                    <a16:creationId xmlns:a16="http://schemas.microsoft.com/office/drawing/2014/main" id="{CEC3B030-9C34-45D8-ABF4-F8037C8D2A34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789" y="1487"/>
                <a:ext cx="98" cy="121"/>
              </a:xfrm>
              <a:custGeom>
                <a:avLst/>
                <a:gdLst>
                  <a:gd name="T0" fmla="*/ 45 w 93"/>
                  <a:gd name="T1" fmla="*/ 6 h 114"/>
                  <a:gd name="T2" fmla="*/ 29 w 93"/>
                  <a:gd name="T3" fmla="*/ 7 h 114"/>
                  <a:gd name="T4" fmla="*/ 11 w 93"/>
                  <a:gd name="T5" fmla="*/ 16 h 114"/>
                  <a:gd name="T6" fmla="*/ 0 w 93"/>
                  <a:gd name="T7" fmla="*/ 47 h 114"/>
                  <a:gd name="T8" fmla="*/ 42 w 93"/>
                  <a:gd name="T9" fmla="*/ 107 h 114"/>
                  <a:gd name="T10" fmla="*/ 91 w 93"/>
                  <a:gd name="T11" fmla="*/ 69 h 114"/>
                  <a:gd name="T12" fmla="*/ 43 w 93"/>
                  <a:gd name="T13" fmla="*/ 1 h 114"/>
                  <a:gd name="T14" fmla="*/ 41 w 93"/>
                  <a:gd name="T15" fmla="*/ 8 h 114"/>
                  <a:gd name="T16" fmla="*/ 81 w 93"/>
                  <a:gd name="T17" fmla="*/ 57 h 114"/>
                  <a:gd name="T18" fmla="*/ 70 w 93"/>
                  <a:gd name="T19" fmla="*/ 94 h 114"/>
                  <a:gd name="T20" fmla="*/ 25 w 93"/>
                  <a:gd name="T21" fmla="*/ 87 h 114"/>
                  <a:gd name="T22" fmla="*/ 8 w 93"/>
                  <a:gd name="T23" fmla="*/ 35 h 114"/>
                  <a:gd name="T24" fmla="*/ 38 w 93"/>
                  <a:gd name="T25" fmla="*/ 10 h 114"/>
                  <a:gd name="T26" fmla="*/ 46 w 93"/>
                  <a:gd name="T27" fmla="*/ 7 h 114"/>
                  <a:gd name="T28" fmla="*/ 45 w 93"/>
                  <a:gd name="T29" fmla="*/ 6 h 1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93" h="114">
                    <a:moveTo>
                      <a:pt x="45" y="6"/>
                    </a:moveTo>
                    <a:cubicBezTo>
                      <a:pt x="42" y="8"/>
                      <a:pt x="33" y="7"/>
                      <a:pt x="29" y="7"/>
                    </a:cubicBezTo>
                    <a:cubicBezTo>
                      <a:pt x="22" y="8"/>
                      <a:pt x="16" y="11"/>
                      <a:pt x="11" y="16"/>
                    </a:cubicBezTo>
                    <a:cubicBezTo>
                      <a:pt x="3" y="24"/>
                      <a:pt x="0" y="35"/>
                      <a:pt x="0" y="47"/>
                    </a:cubicBezTo>
                    <a:cubicBezTo>
                      <a:pt x="2" y="70"/>
                      <a:pt x="18" y="101"/>
                      <a:pt x="42" y="107"/>
                    </a:cubicBezTo>
                    <a:cubicBezTo>
                      <a:pt x="68" y="114"/>
                      <a:pt x="89" y="94"/>
                      <a:pt x="91" y="69"/>
                    </a:cubicBezTo>
                    <a:cubicBezTo>
                      <a:pt x="93" y="36"/>
                      <a:pt x="74" y="11"/>
                      <a:pt x="43" y="1"/>
                    </a:cubicBezTo>
                    <a:cubicBezTo>
                      <a:pt x="39" y="0"/>
                      <a:pt x="38" y="6"/>
                      <a:pt x="41" y="8"/>
                    </a:cubicBezTo>
                    <a:cubicBezTo>
                      <a:pt x="63" y="20"/>
                      <a:pt x="79" y="30"/>
                      <a:pt x="81" y="57"/>
                    </a:cubicBezTo>
                    <a:cubicBezTo>
                      <a:pt x="83" y="70"/>
                      <a:pt x="81" y="85"/>
                      <a:pt x="70" y="94"/>
                    </a:cubicBezTo>
                    <a:cubicBezTo>
                      <a:pt x="56" y="106"/>
                      <a:pt x="36" y="100"/>
                      <a:pt x="25" y="87"/>
                    </a:cubicBezTo>
                    <a:cubicBezTo>
                      <a:pt x="15" y="74"/>
                      <a:pt x="4" y="53"/>
                      <a:pt x="8" y="35"/>
                    </a:cubicBezTo>
                    <a:cubicBezTo>
                      <a:pt x="11" y="18"/>
                      <a:pt x="24" y="15"/>
                      <a:pt x="38" y="10"/>
                    </a:cubicBezTo>
                    <a:cubicBezTo>
                      <a:pt x="45" y="8"/>
                      <a:pt x="40" y="13"/>
                      <a:pt x="46" y="7"/>
                    </a:cubicBezTo>
                    <a:lnTo>
                      <a:pt x="45" y="6"/>
                    </a:ln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072" name="Freeform 385">
                <a:extLst>
                  <a:ext uri="{FF2B5EF4-FFF2-40B4-BE49-F238E27FC236}">
                    <a16:creationId xmlns:a16="http://schemas.microsoft.com/office/drawing/2014/main" id="{32EC147E-C619-4ECE-9BDE-1FBDCE14080F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671" y="1573"/>
                <a:ext cx="124" cy="123"/>
              </a:xfrm>
              <a:custGeom>
                <a:avLst/>
                <a:gdLst>
                  <a:gd name="T0" fmla="*/ 62 w 117"/>
                  <a:gd name="T1" fmla="*/ 4 h 116"/>
                  <a:gd name="T2" fmla="*/ 80 w 117"/>
                  <a:gd name="T3" fmla="*/ 103 h 116"/>
                  <a:gd name="T4" fmla="*/ 111 w 117"/>
                  <a:gd name="T5" fmla="*/ 84 h 116"/>
                  <a:gd name="T6" fmla="*/ 110 w 117"/>
                  <a:gd name="T7" fmla="*/ 46 h 116"/>
                  <a:gd name="T8" fmla="*/ 62 w 117"/>
                  <a:gd name="T9" fmla="*/ 2 h 116"/>
                  <a:gd name="T10" fmla="*/ 62 w 117"/>
                  <a:gd name="T11" fmla="*/ 8 h 116"/>
                  <a:gd name="T12" fmla="*/ 99 w 117"/>
                  <a:gd name="T13" fmla="*/ 35 h 116"/>
                  <a:gd name="T14" fmla="*/ 88 w 117"/>
                  <a:gd name="T15" fmla="*/ 94 h 116"/>
                  <a:gd name="T16" fmla="*/ 62 w 117"/>
                  <a:gd name="T17" fmla="*/ 6 h 116"/>
                  <a:gd name="T18" fmla="*/ 62 w 117"/>
                  <a:gd name="T19" fmla="*/ 4 h 1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17" h="116">
                    <a:moveTo>
                      <a:pt x="62" y="4"/>
                    </a:moveTo>
                    <a:cubicBezTo>
                      <a:pt x="0" y="7"/>
                      <a:pt x="24" y="110"/>
                      <a:pt x="80" y="103"/>
                    </a:cubicBezTo>
                    <a:cubicBezTo>
                      <a:pt x="92" y="101"/>
                      <a:pt x="105" y="95"/>
                      <a:pt x="111" y="84"/>
                    </a:cubicBezTo>
                    <a:cubicBezTo>
                      <a:pt x="117" y="72"/>
                      <a:pt x="113" y="59"/>
                      <a:pt x="110" y="46"/>
                    </a:cubicBezTo>
                    <a:cubicBezTo>
                      <a:pt x="104" y="22"/>
                      <a:pt x="90" y="0"/>
                      <a:pt x="62" y="2"/>
                    </a:cubicBezTo>
                    <a:cubicBezTo>
                      <a:pt x="58" y="2"/>
                      <a:pt x="58" y="8"/>
                      <a:pt x="62" y="8"/>
                    </a:cubicBezTo>
                    <a:cubicBezTo>
                      <a:pt x="80" y="10"/>
                      <a:pt x="92" y="18"/>
                      <a:pt x="99" y="35"/>
                    </a:cubicBezTo>
                    <a:cubicBezTo>
                      <a:pt x="108" y="56"/>
                      <a:pt x="114" y="83"/>
                      <a:pt x="88" y="94"/>
                    </a:cubicBezTo>
                    <a:cubicBezTo>
                      <a:pt x="35" y="116"/>
                      <a:pt x="5" y="17"/>
                      <a:pt x="62" y="6"/>
                    </a:cubicBezTo>
                    <a:cubicBezTo>
                      <a:pt x="64" y="6"/>
                      <a:pt x="63" y="4"/>
                      <a:pt x="62" y="4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073" name="Freeform 386">
                <a:extLst>
                  <a:ext uri="{FF2B5EF4-FFF2-40B4-BE49-F238E27FC236}">
                    <a16:creationId xmlns:a16="http://schemas.microsoft.com/office/drawing/2014/main" id="{C31C0449-0DA2-4801-986E-87A99C0502D4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593" y="1679"/>
                <a:ext cx="142" cy="118"/>
              </a:xfrm>
              <a:custGeom>
                <a:avLst/>
                <a:gdLst>
                  <a:gd name="T0" fmla="*/ 61 w 134"/>
                  <a:gd name="T1" fmla="*/ 6 h 112"/>
                  <a:gd name="T2" fmla="*/ 64 w 134"/>
                  <a:gd name="T3" fmla="*/ 107 h 112"/>
                  <a:gd name="T4" fmla="*/ 55 w 134"/>
                  <a:gd name="T5" fmla="*/ 1 h 112"/>
                  <a:gd name="T6" fmla="*/ 54 w 134"/>
                  <a:gd name="T7" fmla="*/ 7 h 112"/>
                  <a:gd name="T8" fmla="*/ 100 w 134"/>
                  <a:gd name="T9" fmla="*/ 54 h 112"/>
                  <a:gd name="T10" fmla="*/ 60 w 134"/>
                  <a:gd name="T11" fmla="*/ 100 h 112"/>
                  <a:gd name="T12" fmla="*/ 25 w 134"/>
                  <a:gd name="T13" fmla="*/ 55 h 112"/>
                  <a:gd name="T14" fmla="*/ 61 w 134"/>
                  <a:gd name="T15" fmla="*/ 9 h 112"/>
                  <a:gd name="T16" fmla="*/ 61 w 134"/>
                  <a:gd name="T17" fmla="*/ 6 h 1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34" h="112">
                    <a:moveTo>
                      <a:pt x="61" y="6"/>
                    </a:moveTo>
                    <a:cubicBezTo>
                      <a:pt x="0" y="0"/>
                      <a:pt x="8" y="103"/>
                      <a:pt x="64" y="107"/>
                    </a:cubicBezTo>
                    <a:cubicBezTo>
                      <a:pt x="134" y="112"/>
                      <a:pt x="114" y="2"/>
                      <a:pt x="55" y="1"/>
                    </a:cubicBezTo>
                    <a:cubicBezTo>
                      <a:pt x="51" y="1"/>
                      <a:pt x="51" y="7"/>
                      <a:pt x="54" y="7"/>
                    </a:cubicBezTo>
                    <a:cubicBezTo>
                      <a:pt x="80" y="12"/>
                      <a:pt x="96" y="29"/>
                      <a:pt x="100" y="54"/>
                    </a:cubicBezTo>
                    <a:cubicBezTo>
                      <a:pt x="105" y="81"/>
                      <a:pt x="91" y="106"/>
                      <a:pt x="60" y="100"/>
                    </a:cubicBezTo>
                    <a:cubicBezTo>
                      <a:pt x="40" y="96"/>
                      <a:pt x="26" y="74"/>
                      <a:pt x="25" y="55"/>
                    </a:cubicBezTo>
                    <a:cubicBezTo>
                      <a:pt x="23" y="31"/>
                      <a:pt x="36" y="12"/>
                      <a:pt x="61" y="9"/>
                    </a:cubicBezTo>
                    <a:cubicBezTo>
                      <a:pt x="63" y="9"/>
                      <a:pt x="62" y="7"/>
                      <a:pt x="61" y="6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074" name="Freeform 387">
                <a:extLst>
                  <a:ext uri="{FF2B5EF4-FFF2-40B4-BE49-F238E27FC236}">
                    <a16:creationId xmlns:a16="http://schemas.microsoft.com/office/drawing/2014/main" id="{67AB6F0B-AF2D-493D-8A58-261C02EDCA45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467" y="1834"/>
                <a:ext cx="111" cy="106"/>
              </a:xfrm>
              <a:custGeom>
                <a:avLst/>
                <a:gdLst>
                  <a:gd name="T0" fmla="*/ 48 w 104"/>
                  <a:gd name="T1" fmla="*/ 5 h 100"/>
                  <a:gd name="T2" fmla="*/ 1 w 104"/>
                  <a:gd name="T3" fmla="*/ 58 h 100"/>
                  <a:gd name="T4" fmla="*/ 48 w 104"/>
                  <a:gd name="T5" fmla="*/ 100 h 100"/>
                  <a:gd name="T6" fmla="*/ 103 w 104"/>
                  <a:gd name="T7" fmla="*/ 60 h 100"/>
                  <a:gd name="T8" fmla="*/ 92 w 104"/>
                  <a:gd name="T9" fmla="*/ 19 h 100"/>
                  <a:gd name="T10" fmla="*/ 59 w 104"/>
                  <a:gd name="T11" fmla="*/ 1 h 100"/>
                  <a:gd name="T12" fmla="*/ 56 w 104"/>
                  <a:gd name="T13" fmla="*/ 8 h 100"/>
                  <a:gd name="T14" fmla="*/ 77 w 104"/>
                  <a:gd name="T15" fmla="*/ 16 h 100"/>
                  <a:gd name="T16" fmla="*/ 94 w 104"/>
                  <a:gd name="T17" fmla="*/ 45 h 100"/>
                  <a:gd name="T18" fmla="*/ 58 w 104"/>
                  <a:gd name="T19" fmla="*/ 93 h 100"/>
                  <a:gd name="T20" fmla="*/ 7 w 104"/>
                  <a:gd name="T21" fmla="*/ 56 h 100"/>
                  <a:gd name="T22" fmla="*/ 49 w 104"/>
                  <a:gd name="T23" fmla="*/ 8 h 100"/>
                  <a:gd name="T24" fmla="*/ 48 w 104"/>
                  <a:gd name="T25" fmla="*/ 5 h 1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04" h="100">
                    <a:moveTo>
                      <a:pt x="48" y="5"/>
                    </a:moveTo>
                    <a:cubicBezTo>
                      <a:pt x="21" y="8"/>
                      <a:pt x="0" y="30"/>
                      <a:pt x="1" y="58"/>
                    </a:cubicBezTo>
                    <a:cubicBezTo>
                      <a:pt x="3" y="84"/>
                      <a:pt x="22" y="100"/>
                      <a:pt x="48" y="100"/>
                    </a:cubicBezTo>
                    <a:cubicBezTo>
                      <a:pt x="72" y="100"/>
                      <a:pt x="99" y="86"/>
                      <a:pt x="103" y="60"/>
                    </a:cubicBezTo>
                    <a:cubicBezTo>
                      <a:pt x="104" y="48"/>
                      <a:pt x="98" y="30"/>
                      <a:pt x="92" y="19"/>
                    </a:cubicBezTo>
                    <a:cubicBezTo>
                      <a:pt x="85" y="8"/>
                      <a:pt x="70" y="5"/>
                      <a:pt x="59" y="1"/>
                    </a:cubicBezTo>
                    <a:cubicBezTo>
                      <a:pt x="55" y="0"/>
                      <a:pt x="52" y="6"/>
                      <a:pt x="56" y="8"/>
                    </a:cubicBezTo>
                    <a:cubicBezTo>
                      <a:pt x="63" y="11"/>
                      <a:pt x="71" y="12"/>
                      <a:pt x="77" y="16"/>
                    </a:cubicBezTo>
                    <a:cubicBezTo>
                      <a:pt x="88" y="22"/>
                      <a:pt x="90" y="34"/>
                      <a:pt x="94" y="45"/>
                    </a:cubicBezTo>
                    <a:cubicBezTo>
                      <a:pt x="102" y="70"/>
                      <a:pt x="82" y="89"/>
                      <a:pt x="58" y="93"/>
                    </a:cubicBezTo>
                    <a:cubicBezTo>
                      <a:pt x="33" y="97"/>
                      <a:pt x="8" y="83"/>
                      <a:pt x="7" y="56"/>
                    </a:cubicBezTo>
                    <a:cubicBezTo>
                      <a:pt x="7" y="31"/>
                      <a:pt x="27" y="15"/>
                      <a:pt x="49" y="8"/>
                    </a:cubicBezTo>
                    <a:cubicBezTo>
                      <a:pt x="50" y="7"/>
                      <a:pt x="49" y="5"/>
                      <a:pt x="48" y="5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075" name="Freeform 388">
                <a:extLst>
                  <a:ext uri="{FF2B5EF4-FFF2-40B4-BE49-F238E27FC236}">
                    <a16:creationId xmlns:a16="http://schemas.microsoft.com/office/drawing/2014/main" id="{6EEBCAB2-4112-4FD5-A158-042116DA669E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348" y="1818"/>
                <a:ext cx="339" cy="92"/>
              </a:xfrm>
              <a:custGeom>
                <a:avLst/>
                <a:gdLst>
                  <a:gd name="T0" fmla="*/ 3 w 320"/>
                  <a:gd name="T1" fmla="*/ 86 h 87"/>
                  <a:gd name="T2" fmla="*/ 56 w 320"/>
                  <a:gd name="T3" fmla="*/ 50 h 87"/>
                  <a:gd name="T4" fmla="*/ 139 w 320"/>
                  <a:gd name="T5" fmla="*/ 22 h 87"/>
                  <a:gd name="T6" fmla="*/ 316 w 320"/>
                  <a:gd name="T7" fmla="*/ 33 h 87"/>
                  <a:gd name="T8" fmla="*/ 318 w 320"/>
                  <a:gd name="T9" fmla="*/ 29 h 87"/>
                  <a:gd name="T10" fmla="*/ 138 w 320"/>
                  <a:gd name="T11" fmla="*/ 17 h 87"/>
                  <a:gd name="T12" fmla="*/ 95 w 320"/>
                  <a:gd name="T13" fmla="*/ 28 h 87"/>
                  <a:gd name="T14" fmla="*/ 64 w 320"/>
                  <a:gd name="T15" fmla="*/ 38 h 87"/>
                  <a:gd name="T16" fmla="*/ 1 w 320"/>
                  <a:gd name="T17" fmla="*/ 84 h 87"/>
                  <a:gd name="T18" fmla="*/ 3 w 320"/>
                  <a:gd name="T19" fmla="*/ 86 h 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20" h="87">
                    <a:moveTo>
                      <a:pt x="3" y="86"/>
                    </a:moveTo>
                    <a:cubicBezTo>
                      <a:pt x="21" y="75"/>
                      <a:pt x="38" y="62"/>
                      <a:pt x="56" y="50"/>
                    </a:cubicBezTo>
                    <a:cubicBezTo>
                      <a:pt x="81" y="34"/>
                      <a:pt x="110" y="29"/>
                      <a:pt x="139" y="22"/>
                    </a:cubicBezTo>
                    <a:cubicBezTo>
                      <a:pt x="200" y="8"/>
                      <a:pt x="257" y="9"/>
                      <a:pt x="316" y="33"/>
                    </a:cubicBezTo>
                    <a:cubicBezTo>
                      <a:pt x="318" y="34"/>
                      <a:pt x="320" y="30"/>
                      <a:pt x="318" y="29"/>
                    </a:cubicBezTo>
                    <a:cubicBezTo>
                      <a:pt x="262" y="0"/>
                      <a:pt x="197" y="4"/>
                      <a:pt x="138" y="17"/>
                    </a:cubicBezTo>
                    <a:cubicBezTo>
                      <a:pt x="123" y="20"/>
                      <a:pt x="110" y="25"/>
                      <a:pt x="95" y="28"/>
                    </a:cubicBezTo>
                    <a:cubicBezTo>
                      <a:pt x="84" y="30"/>
                      <a:pt x="74" y="32"/>
                      <a:pt x="64" y="38"/>
                    </a:cubicBezTo>
                    <a:cubicBezTo>
                      <a:pt x="42" y="52"/>
                      <a:pt x="18" y="65"/>
                      <a:pt x="1" y="84"/>
                    </a:cubicBezTo>
                    <a:cubicBezTo>
                      <a:pt x="0" y="86"/>
                      <a:pt x="2" y="87"/>
                      <a:pt x="3" y="86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076" name="Freeform 389">
                <a:extLst>
                  <a:ext uri="{FF2B5EF4-FFF2-40B4-BE49-F238E27FC236}">
                    <a16:creationId xmlns:a16="http://schemas.microsoft.com/office/drawing/2014/main" id="{AF995572-BDCA-4613-BC3F-21D435B181AC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700" y="1392"/>
                <a:ext cx="81" cy="101"/>
              </a:xfrm>
              <a:custGeom>
                <a:avLst/>
                <a:gdLst>
                  <a:gd name="T0" fmla="*/ 17 w 77"/>
                  <a:gd name="T1" fmla="*/ 10 h 95"/>
                  <a:gd name="T2" fmla="*/ 1 w 77"/>
                  <a:gd name="T3" fmla="*/ 34 h 95"/>
                  <a:gd name="T4" fmla="*/ 6 w 77"/>
                  <a:gd name="T5" fmla="*/ 66 h 95"/>
                  <a:gd name="T6" fmla="*/ 55 w 77"/>
                  <a:gd name="T7" fmla="*/ 83 h 95"/>
                  <a:gd name="T8" fmla="*/ 69 w 77"/>
                  <a:gd name="T9" fmla="*/ 25 h 95"/>
                  <a:gd name="T10" fmla="*/ 16 w 77"/>
                  <a:gd name="T11" fmla="*/ 8 h 95"/>
                  <a:gd name="T12" fmla="*/ 18 w 77"/>
                  <a:gd name="T13" fmla="*/ 13 h 95"/>
                  <a:gd name="T14" fmla="*/ 65 w 77"/>
                  <a:gd name="T15" fmla="*/ 32 h 95"/>
                  <a:gd name="T16" fmla="*/ 42 w 77"/>
                  <a:gd name="T17" fmla="*/ 82 h 95"/>
                  <a:gd name="T18" fmla="*/ 8 w 77"/>
                  <a:gd name="T19" fmla="*/ 55 h 95"/>
                  <a:gd name="T20" fmla="*/ 18 w 77"/>
                  <a:gd name="T21" fmla="*/ 11 h 95"/>
                  <a:gd name="T22" fmla="*/ 17 w 77"/>
                  <a:gd name="T23" fmla="*/ 10 h 9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77" h="95">
                    <a:moveTo>
                      <a:pt x="17" y="10"/>
                    </a:moveTo>
                    <a:cubicBezTo>
                      <a:pt x="7" y="16"/>
                      <a:pt x="1" y="22"/>
                      <a:pt x="1" y="34"/>
                    </a:cubicBezTo>
                    <a:cubicBezTo>
                      <a:pt x="0" y="44"/>
                      <a:pt x="2" y="56"/>
                      <a:pt x="6" y="66"/>
                    </a:cubicBezTo>
                    <a:cubicBezTo>
                      <a:pt x="15" y="84"/>
                      <a:pt x="36" y="95"/>
                      <a:pt x="55" y="83"/>
                    </a:cubicBezTo>
                    <a:cubicBezTo>
                      <a:pt x="73" y="71"/>
                      <a:pt x="77" y="43"/>
                      <a:pt x="69" y="25"/>
                    </a:cubicBezTo>
                    <a:cubicBezTo>
                      <a:pt x="60" y="5"/>
                      <a:pt x="35" y="0"/>
                      <a:pt x="16" y="8"/>
                    </a:cubicBezTo>
                    <a:cubicBezTo>
                      <a:pt x="14" y="10"/>
                      <a:pt x="15" y="14"/>
                      <a:pt x="18" y="13"/>
                    </a:cubicBezTo>
                    <a:cubicBezTo>
                      <a:pt x="37" y="10"/>
                      <a:pt x="59" y="9"/>
                      <a:pt x="65" y="32"/>
                    </a:cubicBezTo>
                    <a:cubicBezTo>
                      <a:pt x="70" y="51"/>
                      <a:pt x="64" y="77"/>
                      <a:pt x="42" y="82"/>
                    </a:cubicBezTo>
                    <a:cubicBezTo>
                      <a:pt x="24" y="85"/>
                      <a:pt x="12" y="70"/>
                      <a:pt x="8" y="55"/>
                    </a:cubicBezTo>
                    <a:cubicBezTo>
                      <a:pt x="3" y="38"/>
                      <a:pt x="4" y="22"/>
                      <a:pt x="18" y="11"/>
                    </a:cubicBezTo>
                    <a:cubicBezTo>
                      <a:pt x="18" y="11"/>
                      <a:pt x="18" y="10"/>
                      <a:pt x="17" y="10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077" name="Freeform 390">
                <a:extLst>
                  <a:ext uri="{FF2B5EF4-FFF2-40B4-BE49-F238E27FC236}">
                    <a16:creationId xmlns:a16="http://schemas.microsoft.com/office/drawing/2014/main" id="{E0DC6CB7-10FD-462F-BA69-D3D2CC6CD64B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611" y="1470"/>
                <a:ext cx="80" cy="96"/>
              </a:xfrm>
              <a:custGeom>
                <a:avLst/>
                <a:gdLst>
                  <a:gd name="T0" fmla="*/ 35 w 76"/>
                  <a:gd name="T1" fmla="*/ 0 h 90"/>
                  <a:gd name="T2" fmla="*/ 8 w 76"/>
                  <a:gd name="T3" fmla="*/ 43 h 90"/>
                  <a:gd name="T4" fmla="*/ 34 w 76"/>
                  <a:gd name="T5" fmla="*/ 82 h 90"/>
                  <a:gd name="T6" fmla="*/ 74 w 76"/>
                  <a:gd name="T7" fmla="*/ 54 h 90"/>
                  <a:gd name="T8" fmla="*/ 66 w 76"/>
                  <a:gd name="T9" fmla="*/ 14 h 90"/>
                  <a:gd name="T10" fmla="*/ 37 w 76"/>
                  <a:gd name="T11" fmla="*/ 4 h 90"/>
                  <a:gd name="T12" fmla="*/ 36 w 76"/>
                  <a:gd name="T13" fmla="*/ 7 h 90"/>
                  <a:gd name="T14" fmla="*/ 67 w 76"/>
                  <a:gd name="T15" fmla="*/ 24 h 90"/>
                  <a:gd name="T16" fmla="*/ 70 w 76"/>
                  <a:gd name="T17" fmla="*/ 50 h 90"/>
                  <a:gd name="T18" fmla="*/ 21 w 76"/>
                  <a:gd name="T19" fmla="*/ 72 h 90"/>
                  <a:gd name="T20" fmla="*/ 36 w 76"/>
                  <a:gd name="T21" fmla="*/ 2 h 90"/>
                  <a:gd name="T22" fmla="*/ 35 w 76"/>
                  <a:gd name="T23" fmla="*/ 0 h 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76" h="90">
                    <a:moveTo>
                      <a:pt x="35" y="0"/>
                    </a:moveTo>
                    <a:cubicBezTo>
                      <a:pt x="17" y="9"/>
                      <a:pt x="8" y="23"/>
                      <a:pt x="8" y="43"/>
                    </a:cubicBezTo>
                    <a:cubicBezTo>
                      <a:pt x="8" y="58"/>
                      <a:pt x="17" y="79"/>
                      <a:pt x="34" y="82"/>
                    </a:cubicBezTo>
                    <a:cubicBezTo>
                      <a:pt x="52" y="85"/>
                      <a:pt x="70" y="72"/>
                      <a:pt x="74" y="54"/>
                    </a:cubicBezTo>
                    <a:cubicBezTo>
                      <a:pt x="76" y="42"/>
                      <a:pt x="74" y="24"/>
                      <a:pt x="66" y="14"/>
                    </a:cubicBezTo>
                    <a:cubicBezTo>
                      <a:pt x="59" y="5"/>
                      <a:pt x="47" y="4"/>
                      <a:pt x="37" y="4"/>
                    </a:cubicBezTo>
                    <a:cubicBezTo>
                      <a:pt x="34" y="4"/>
                      <a:pt x="34" y="7"/>
                      <a:pt x="36" y="7"/>
                    </a:cubicBezTo>
                    <a:cubicBezTo>
                      <a:pt x="50" y="9"/>
                      <a:pt x="61" y="11"/>
                      <a:pt x="67" y="24"/>
                    </a:cubicBezTo>
                    <a:cubicBezTo>
                      <a:pt x="71" y="32"/>
                      <a:pt x="71" y="41"/>
                      <a:pt x="70" y="50"/>
                    </a:cubicBezTo>
                    <a:cubicBezTo>
                      <a:pt x="68" y="71"/>
                      <a:pt x="39" y="90"/>
                      <a:pt x="21" y="72"/>
                    </a:cubicBezTo>
                    <a:cubicBezTo>
                      <a:pt x="0" y="49"/>
                      <a:pt x="10" y="15"/>
                      <a:pt x="36" y="2"/>
                    </a:cubicBezTo>
                    <a:cubicBezTo>
                      <a:pt x="37" y="1"/>
                      <a:pt x="36" y="0"/>
                      <a:pt x="35" y="0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078" name="Freeform 391">
                <a:extLst>
                  <a:ext uri="{FF2B5EF4-FFF2-40B4-BE49-F238E27FC236}">
                    <a16:creationId xmlns:a16="http://schemas.microsoft.com/office/drawing/2014/main" id="{4692DB78-5572-449C-90DF-5748CA7BC2BF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541" y="1552"/>
                <a:ext cx="46" cy="70"/>
              </a:xfrm>
              <a:custGeom>
                <a:avLst/>
                <a:gdLst>
                  <a:gd name="T0" fmla="*/ 43 w 44"/>
                  <a:gd name="T1" fmla="*/ 8 h 66"/>
                  <a:gd name="T2" fmla="*/ 7 w 44"/>
                  <a:gd name="T3" fmla="*/ 22 h 66"/>
                  <a:gd name="T4" fmla="*/ 10 w 44"/>
                  <a:gd name="T5" fmla="*/ 65 h 66"/>
                  <a:gd name="T6" fmla="*/ 13 w 44"/>
                  <a:gd name="T7" fmla="*/ 63 h 66"/>
                  <a:gd name="T8" fmla="*/ 9 w 44"/>
                  <a:gd name="T9" fmla="*/ 32 h 66"/>
                  <a:gd name="T10" fmla="*/ 42 w 44"/>
                  <a:gd name="T11" fmla="*/ 10 h 66"/>
                  <a:gd name="T12" fmla="*/ 43 w 44"/>
                  <a:gd name="T13" fmla="*/ 8 h 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4" h="66">
                    <a:moveTo>
                      <a:pt x="43" y="8"/>
                    </a:moveTo>
                    <a:cubicBezTo>
                      <a:pt x="29" y="0"/>
                      <a:pt x="14" y="9"/>
                      <a:pt x="7" y="22"/>
                    </a:cubicBezTo>
                    <a:cubicBezTo>
                      <a:pt x="0" y="36"/>
                      <a:pt x="2" y="52"/>
                      <a:pt x="10" y="65"/>
                    </a:cubicBezTo>
                    <a:cubicBezTo>
                      <a:pt x="11" y="66"/>
                      <a:pt x="14" y="65"/>
                      <a:pt x="13" y="63"/>
                    </a:cubicBezTo>
                    <a:cubicBezTo>
                      <a:pt x="8" y="54"/>
                      <a:pt x="6" y="43"/>
                      <a:pt x="9" y="32"/>
                    </a:cubicBezTo>
                    <a:cubicBezTo>
                      <a:pt x="13" y="19"/>
                      <a:pt x="27" y="4"/>
                      <a:pt x="42" y="10"/>
                    </a:cubicBezTo>
                    <a:cubicBezTo>
                      <a:pt x="43" y="11"/>
                      <a:pt x="44" y="9"/>
                      <a:pt x="43" y="8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079" name="Freeform 392">
                <a:extLst>
                  <a:ext uri="{FF2B5EF4-FFF2-40B4-BE49-F238E27FC236}">
                    <a16:creationId xmlns:a16="http://schemas.microsoft.com/office/drawing/2014/main" id="{BAD10F19-F5DB-4868-89BC-8FD6DD6B9979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572" y="1549"/>
                <a:ext cx="53" cy="97"/>
              </a:xfrm>
              <a:custGeom>
                <a:avLst/>
                <a:gdLst>
                  <a:gd name="T0" fmla="*/ 0 w 50"/>
                  <a:gd name="T1" fmla="*/ 86 h 92"/>
                  <a:gd name="T2" fmla="*/ 44 w 50"/>
                  <a:gd name="T3" fmla="*/ 45 h 92"/>
                  <a:gd name="T4" fmla="*/ 8 w 50"/>
                  <a:gd name="T5" fmla="*/ 10 h 92"/>
                  <a:gd name="T6" fmla="*/ 10 w 50"/>
                  <a:gd name="T7" fmla="*/ 15 h 92"/>
                  <a:gd name="T8" fmla="*/ 41 w 50"/>
                  <a:gd name="T9" fmla="*/ 41 h 92"/>
                  <a:gd name="T10" fmla="*/ 0 w 50"/>
                  <a:gd name="T11" fmla="*/ 85 h 92"/>
                  <a:gd name="T12" fmla="*/ 0 w 50"/>
                  <a:gd name="T13" fmla="*/ 86 h 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50" h="92">
                    <a:moveTo>
                      <a:pt x="0" y="86"/>
                    </a:moveTo>
                    <a:cubicBezTo>
                      <a:pt x="24" y="92"/>
                      <a:pt x="47" y="71"/>
                      <a:pt x="44" y="45"/>
                    </a:cubicBezTo>
                    <a:cubicBezTo>
                      <a:pt x="43" y="32"/>
                      <a:pt x="25" y="0"/>
                      <a:pt x="8" y="10"/>
                    </a:cubicBezTo>
                    <a:cubicBezTo>
                      <a:pt x="6" y="12"/>
                      <a:pt x="8" y="15"/>
                      <a:pt x="10" y="15"/>
                    </a:cubicBezTo>
                    <a:cubicBezTo>
                      <a:pt x="23" y="16"/>
                      <a:pt x="36" y="28"/>
                      <a:pt x="41" y="41"/>
                    </a:cubicBezTo>
                    <a:cubicBezTo>
                      <a:pt x="50" y="66"/>
                      <a:pt x="23" y="89"/>
                      <a:pt x="0" y="85"/>
                    </a:cubicBezTo>
                    <a:lnTo>
                      <a:pt x="0" y="86"/>
                    </a:ln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080" name="Freeform 393">
                <a:extLst>
                  <a:ext uri="{FF2B5EF4-FFF2-40B4-BE49-F238E27FC236}">
                    <a16:creationId xmlns:a16="http://schemas.microsoft.com/office/drawing/2014/main" id="{EE3CC968-6975-475A-8592-3B5D2C77E29C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422" y="1533"/>
                <a:ext cx="94" cy="55"/>
              </a:xfrm>
              <a:custGeom>
                <a:avLst/>
                <a:gdLst>
                  <a:gd name="T0" fmla="*/ 8 w 89"/>
                  <a:gd name="T1" fmla="*/ 52 h 52"/>
                  <a:gd name="T2" fmla="*/ 48 w 89"/>
                  <a:gd name="T3" fmla="*/ 42 h 52"/>
                  <a:gd name="T4" fmla="*/ 71 w 89"/>
                  <a:gd name="T5" fmla="*/ 40 h 52"/>
                  <a:gd name="T6" fmla="*/ 78 w 89"/>
                  <a:gd name="T7" fmla="*/ 13 h 52"/>
                  <a:gd name="T8" fmla="*/ 27 w 89"/>
                  <a:gd name="T9" fmla="*/ 15 h 52"/>
                  <a:gd name="T10" fmla="*/ 14 w 89"/>
                  <a:gd name="T11" fmla="*/ 47 h 52"/>
                  <a:gd name="T12" fmla="*/ 18 w 89"/>
                  <a:gd name="T13" fmla="*/ 43 h 52"/>
                  <a:gd name="T14" fmla="*/ 50 w 89"/>
                  <a:gd name="T15" fmla="*/ 15 h 52"/>
                  <a:gd name="T16" fmla="*/ 59 w 89"/>
                  <a:gd name="T17" fmla="*/ 14 h 52"/>
                  <a:gd name="T18" fmla="*/ 67 w 89"/>
                  <a:gd name="T19" fmla="*/ 15 h 52"/>
                  <a:gd name="T20" fmla="*/ 73 w 89"/>
                  <a:gd name="T21" fmla="*/ 24 h 52"/>
                  <a:gd name="T22" fmla="*/ 69 w 89"/>
                  <a:gd name="T23" fmla="*/ 34 h 52"/>
                  <a:gd name="T24" fmla="*/ 60 w 89"/>
                  <a:gd name="T25" fmla="*/ 35 h 52"/>
                  <a:gd name="T26" fmla="*/ 41 w 89"/>
                  <a:gd name="T27" fmla="*/ 37 h 52"/>
                  <a:gd name="T28" fmla="*/ 7 w 89"/>
                  <a:gd name="T29" fmla="*/ 50 h 52"/>
                  <a:gd name="T30" fmla="*/ 8 w 89"/>
                  <a:gd name="T31" fmla="*/ 52 h 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89" h="52">
                    <a:moveTo>
                      <a:pt x="8" y="52"/>
                    </a:moveTo>
                    <a:cubicBezTo>
                      <a:pt x="21" y="47"/>
                      <a:pt x="34" y="42"/>
                      <a:pt x="48" y="42"/>
                    </a:cubicBezTo>
                    <a:cubicBezTo>
                      <a:pt x="56" y="42"/>
                      <a:pt x="64" y="42"/>
                      <a:pt x="71" y="40"/>
                    </a:cubicBezTo>
                    <a:cubicBezTo>
                      <a:pt x="84" y="36"/>
                      <a:pt x="89" y="24"/>
                      <a:pt x="78" y="13"/>
                    </a:cubicBezTo>
                    <a:cubicBezTo>
                      <a:pt x="65" y="0"/>
                      <a:pt x="40" y="7"/>
                      <a:pt x="27" y="15"/>
                    </a:cubicBezTo>
                    <a:cubicBezTo>
                      <a:pt x="19" y="20"/>
                      <a:pt x="0" y="38"/>
                      <a:pt x="14" y="47"/>
                    </a:cubicBezTo>
                    <a:cubicBezTo>
                      <a:pt x="17" y="49"/>
                      <a:pt x="20" y="45"/>
                      <a:pt x="18" y="43"/>
                    </a:cubicBezTo>
                    <a:cubicBezTo>
                      <a:pt x="12" y="27"/>
                      <a:pt x="40" y="16"/>
                      <a:pt x="50" y="15"/>
                    </a:cubicBezTo>
                    <a:cubicBezTo>
                      <a:pt x="53" y="14"/>
                      <a:pt x="56" y="14"/>
                      <a:pt x="59" y="14"/>
                    </a:cubicBezTo>
                    <a:cubicBezTo>
                      <a:pt x="62" y="13"/>
                      <a:pt x="64" y="14"/>
                      <a:pt x="67" y="15"/>
                    </a:cubicBezTo>
                    <a:cubicBezTo>
                      <a:pt x="73" y="15"/>
                      <a:pt x="75" y="18"/>
                      <a:pt x="73" y="24"/>
                    </a:cubicBezTo>
                    <a:cubicBezTo>
                      <a:pt x="74" y="34"/>
                      <a:pt x="75" y="30"/>
                      <a:pt x="69" y="34"/>
                    </a:cubicBezTo>
                    <a:cubicBezTo>
                      <a:pt x="67" y="35"/>
                      <a:pt x="62" y="35"/>
                      <a:pt x="60" y="35"/>
                    </a:cubicBezTo>
                    <a:cubicBezTo>
                      <a:pt x="53" y="36"/>
                      <a:pt x="47" y="36"/>
                      <a:pt x="41" y="37"/>
                    </a:cubicBezTo>
                    <a:cubicBezTo>
                      <a:pt x="29" y="39"/>
                      <a:pt x="18" y="45"/>
                      <a:pt x="7" y="50"/>
                    </a:cubicBezTo>
                    <a:cubicBezTo>
                      <a:pt x="6" y="50"/>
                      <a:pt x="6" y="52"/>
                      <a:pt x="8" y="52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081" name="Freeform 394">
                <a:extLst>
                  <a:ext uri="{FF2B5EF4-FFF2-40B4-BE49-F238E27FC236}">
                    <a16:creationId xmlns:a16="http://schemas.microsoft.com/office/drawing/2014/main" id="{5EA96BA6-F25F-4C9E-9204-2B60A651D7B8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513" y="1451"/>
                <a:ext cx="40" cy="33"/>
              </a:xfrm>
              <a:custGeom>
                <a:avLst/>
                <a:gdLst>
                  <a:gd name="T0" fmla="*/ 4 w 38"/>
                  <a:gd name="T1" fmla="*/ 17 h 31"/>
                  <a:gd name="T2" fmla="*/ 29 w 38"/>
                  <a:gd name="T3" fmla="*/ 10 h 31"/>
                  <a:gd name="T4" fmla="*/ 21 w 38"/>
                  <a:gd name="T5" fmla="*/ 24 h 31"/>
                  <a:gd name="T6" fmla="*/ 13 w 38"/>
                  <a:gd name="T7" fmla="*/ 12 h 31"/>
                  <a:gd name="T8" fmla="*/ 5 w 38"/>
                  <a:gd name="T9" fmla="*/ 13 h 31"/>
                  <a:gd name="T10" fmla="*/ 21 w 38"/>
                  <a:gd name="T11" fmla="*/ 30 h 31"/>
                  <a:gd name="T12" fmla="*/ 37 w 38"/>
                  <a:gd name="T13" fmla="*/ 13 h 31"/>
                  <a:gd name="T14" fmla="*/ 21 w 38"/>
                  <a:gd name="T15" fmla="*/ 1 h 31"/>
                  <a:gd name="T16" fmla="*/ 1 w 38"/>
                  <a:gd name="T17" fmla="*/ 16 h 31"/>
                  <a:gd name="T18" fmla="*/ 4 w 38"/>
                  <a:gd name="T19" fmla="*/ 17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8" h="31">
                    <a:moveTo>
                      <a:pt x="4" y="17"/>
                    </a:moveTo>
                    <a:cubicBezTo>
                      <a:pt x="9" y="11"/>
                      <a:pt x="21" y="0"/>
                      <a:pt x="29" y="10"/>
                    </a:cubicBezTo>
                    <a:cubicBezTo>
                      <a:pt x="33" y="15"/>
                      <a:pt x="28" y="24"/>
                      <a:pt x="21" y="24"/>
                    </a:cubicBezTo>
                    <a:cubicBezTo>
                      <a:pt x="14" y="24"/>
                      <a:pt x="15" y="17"/>
                      <a:pt x="13" y="12"/>
                    </a:cubicBezTo>
                    <a:cubicBezTo>
                      <a:pt x="12" y="8"/>
                      <a:pt x="4" y="8"/>
                      <a:pt x="5" y="13"/>
                    </a:cubicBezTo>
                    <a:cubicBezTo>
                      <a:pt x="5" y="22"/>
                      <a:pt x="11" y="31"/>
                      <a:pt x="21" y="30"/>
                    </a:cubicBezTo>
                    <a:cubicBezTo>
                      <a:pt x="30" y="29"/>
                      <a:pt x="38" y="22"/>
                      <a:pt x="37" y="13"/>
                    </a:cubicBezTo>
                    <a:cubicBezTo>
                      <a:pt x="36" y="5"/>
                      <a:pt x="29" y="1"/>
                      <a:pt x="21" y="1"/>
                    </a:cubicBezTo>
                    <a:cubicBezTo>
                      <a:pt x="11" y="1"/>
                      <a:pt x="6" y="7"/>
                      <a:pt x="1" y="16"/>
                    </a:cubicBezTo>
                    <a:cubicBezTo>
                      <a:pt x="0" y="18"/>
                      <a:pt x="2" y="19"/>
                      <a:pt x="4" y="17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082" name="Freeform 395">
                <a:extLst>
                  <a:ext uri="{FF2B5EF4-FFF2-40B4-BE49-F238E27FC236}">
                    <a16:creationId xmlns:a16="http://schemas.microsoft.com/office/drawing/2014/main" id="{02CBECD8-CAC7-4A56-B9B5-2D969EB6649E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387" y="1486"/>
                <a:ext cx="25" cy="25"/>
              </a:xfrm>
              <a:custGeom>
                <a:avLst/>
                <a:gdLst>
                  <a:gd name="T0" fmla="*/ 9 w 24"/>
                  <a:gd name="T1" fmla="*/ 13 h 23"/>
                  <a:gd name="T2" fmla="*/ 9 w 24"/>
                  <a:gd name="T3" fmla="*/ 10 h 23"/>
                  <a:gd name="T4" fmla="*/ 14 w 24"/>
                  <a:gd name="T5" fmla="*/ 8 h 23"/>
                  <a:gd name="T6" fmla="*/ 15 w 24"/>
                  <a:gd name="T7" fmla="*/ 8 h 23"/>
                  <a:gd name="T8" fmla="*/ 15 w 24"/>
                  <a:gd name="T9" fmla="*/ 8 h 23"/>
                  <a:gd name="T10" fmla="*/ 15 w 24"/>
                  <a:gd name="T11" fmla="*/ 8 h 23"/>
                  <a:gd name="T12" fmla="*/ 15 w 24"/>
                  <a:gd name="T13" fmla="*/ 8 h 23"/>
                  <a:gd name="T14" fmla="*/ 15 w 24"/>
                  <a:gd name="T15" fmla="*/ 8 h 23"/>
                  <a:gd name="T16" fmla="*/ 15 w 24"/>
                  <a:gd name="T17" fmla="*/ 8 h 23"/>
                  <a:gd name="T18" fmla="*/ 15 w 24"/>
                  <a:gd name="T19" fmla="*/ 8 h 23"/>
                  <a:gd name="T20" fmla="*/ 15 w 24"/>
                  <a:gd name="T21" fmla="*/ 9 h 23"/>
                  <a:gd name="T22" fmla="*/ 16 w 24"/>
                  <a:gd name="T23" fmla="*/ 10 h 23"/>
                  <a:gd name="T24" fmla="*/ 15 w 24"/>
                  <a:gd name="T25" fmla="*/ 10 h 23"/>
                  <a:gd name="T26" fmla="*/ 15 w 24"/>
                  <a:gd name="T27" fmla="*/ 12 h 23"/>
                  <a:gd name="T28" fmla="*/ 14 w 24"/>
                  <a:gd name="T29" fmla="*/ 15 h 23"/>
                  <a:gd name="T30" fmla="*/ 13 w 24"/>
                  <a:gd name="T31" fmla="*/ 15 h 23"/>
                  <a:gd name="T32" fmla="*/ 13 w 24"/>
                  <a:gd name="T33" fmla="*/ 15 h 23"/>
                  <a:gd name="T34" fmla="*/ 13 w 24"/>
                  <a:gd name="T35" fmla="*/ 15 h 23"/>
                  <a:gd name="T36" fmla="*/ 12 w 24"/>
                  <a:gd name="T37" fmla="*/ 15 h 23"/>
                  <a:gd name="T38" fmla="*/ 12 w 24"/>
                  <a:gd name="T39" fmla="*/ 15 h 23"/>
                  <a:gd name="T40" fmla="*/ 8 w 24"/>
                  <a:gd name="T41" fmla="*/ 14 h 23"/>
                  <a:gd name="T42" fmla="*/ 5 w 24"/>
                  <a:gd name="T43" fmla="*/ 17 h 23"/>
                  <a:gd name="T44" fmla="*/ 5 w 24"/>
                  <a:gd name="T45" fmla="*/ 19 h 23"/>
                  <a:gd name="T46" fmla="*/ 6 w 24"/>
                  <a:gd name="T47" fmla="*/ 21 h 23"/>
                  <a:gd name="T48" fmla="*/ 13 w 24"/>
                  <a:gd name="T49" fmla="*/ 23 h 23"/>
                  <a:gd name="T50" fmla="*/ 19 w 24"/>
                  <a:gd name="T51" fmla="*/ 21 h 23"/>
                  <a:gd name="T52" fmla="*/ 23 w 24"/>
                  <a:gd name="T53" fmla="*/ 11 h 23"/>
                  <a:gd name="T54" fmla="*/ 19 w 24"/>
                  <a:gd name="T55" fmla="*/ 1 h 23"/>
                  <a:gd name="T56" fmla="*/ 12 w 24"/>
                  <a:gd name="T57" fmla="*/ 1 h 23"/>
                  <a:gd name="T58" fmla="*/ 6 w 24"/>
                  <a:gd name="T59" fmla="*/ 4 h 23"/>
                  <a:gd name="T60" fmla="*/ 7 w 24"/>
                  <a:gd name="T61" fmla="*/ 18 h 23"/>
                  <a:gd name="T62" fmla="*/ 9 w 24"/>
                  <a:gd name="T63" fmla="*/ 13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24" h="23">
                    <a:moveTo>
                      <a:pt x="9" y="13"/>
                    </a:moveTo>
                    <a:cubicBezTo>
                      <a:pt x="7" y="13"/>
                      <a:pt x="8" y="11"/>
                      <a:pt x="9" y="10"/>
                    </a:cubicBezTo>
                    <a:cubicBezTo>
                      <a:pt x="10" y="9"/>
                      <a:pt x="12" y="8"/>
                      <a:pt x="14" y="8"/>
                    </a:cubicBezTo>
                    <a:cubicBezTo>
                      <a:pt x="14" y="8"/>
                      <a:pt x="15" y="8"/>
                      <a:pt x="15" y="8"/>
                    </a:cubicBezTo>
                    <a:cubicBezTo>
                      <a:pt x="15" y="8"/>
                      <a:pt x="15" y="8"/>
                      <a:pt x="15" y="8"/>
                    </a:cubicBezTo>
                    <a:cubicBezTo>
                      <a:pt x="15" y="8"/>
                      <a:pt x="14" y="8"/>
                      <a:pt x="15" y="8"/>
                    </a:cubicBezTo>
                    <a:cubicBezTo>
                      <a:pt x="16" y="8"/>
                      <a:pt x="15" y="7"/>
                      <a:pt x="15" y="8"/>
                    </a:cubicBezTo>
                    <a:cubicBezTo>
                      <a:pt x="15" y="8"/>
                      <a:pt x="15" y="8"/>
                      <a:pt x="15" y="8"/>
                    </a:cubicBezTo>
                    <a:cubicBezTo>
                      <a:pt x="15" y="7"/>
                      <a:pt x="15" y="8"/>
                      <a:pt x="15" y="8"/>
                    </a:cubicBezTo>
                    <a:cubicBezTo>
                      <a:pt x="15" y="9"/>
                      <a:pt x="15" y="7"/>
                      <a:pt x="15" y="8"/>
                    </a:cubicBezTo>
                    <a:cubicBezTo>
                      <a:pt x="15" y="9"/>
                      <a:pt x="15" y="9"/>
                      <a:pt x="15" y="9"/>
                    </a:cubicBezTo>
                    <a:cubicBezTo>
                      <a:pt x="15" y="10"/>
                      <a:pt x="16" y="11"/>
                      <a:pt x="16" y="10"/>
                    </a:cubicBezTo>
                    <a:cubicBezTo>
                      <a:pt x="15" y="10"/>
                      <a:pt x="15" y="10"/>
                      <a:pt x="15" y="10"/>
                    </a:cubicBezTo>
                    <a:cubicBezTo>
                      <a:pt x="15" y="11"/>
                      <a:pt x="15" y="12"/>
                      <a:pt x="15" y="12"/>
                    </a:cubicBezTo>
                    <a:cubicBezTo>
                      <a:pt x="15" y="13"/>
                      <a:pt x="15" y="13"/>
                      <a:pt x="14" y="15"/>
                    </a:cubicBezTo>
                    <a:cubicBezTo>
                      <a:pt x="15" y="14"/>
                      <a:pt x="13" y="15"/>
                      <a:pt x="13" y="15"/>
                    </a:cubicBezTo>
                    <a:cubicBezTo>
                      <a:pt x="14" y="15"/>
                      <a:pt x="13" y="15"/>
                      <a:pt x="13" y="15"/>
                    </a:cubicBezTo>
                    <a:cubicBezTo>
                      <a:pt x="12" y="15"/>
                      <a:pt x="14" y="15"/>
                      <a:pt x="13" y="15"/>
                    </a:cubicBezTo>
                    <a:cubicBezTo>
                      <a:pt x="12" y="15"/>
                      <a:pt x="14" y="15"/>
                      <a:pt x="12" y="15"/>
                    </a:cubicBezTo>
                    <a:cubicBezTo>
                      <a:pt x="12" y="15"/>
                      <a:pt x="11" y="15"/>
                      <a:pt x="12" y="15"/>
                    </a:cubicBezTo>
                    <a:cubicBezTo>
                      <a:pt x="10" y="15"/>
                      <a:pt x="10" y="14"/>
                      <a:pt x="8" y="14"/>
                    </a:cubicBezTo>
                    <a:cubicBezTo>
                      <a:pt x="6" y="15"/>
                      <a:pt x="5" y="16"/>
                      <a:pt x="5" y="17"/>
                    </a:cubicBezTo>
                    <a:cubicBezTo>
                      <a:pt x="5" y="17"/>
                      <a:pt x="5" y="18"/>
                      <a:pt x="5" y="19"/>
                    </a:cubicBezTo>
                    <a:cubicBezTo>
                      <a:pt x="5" y="19"/>
                      <a:pt x="6" y="20"/>
                      <a:pt x="6" y="21"/>
                    </a:cubicBezTo>
                    <a:cubicBezTo>
                      <a:pt x="6" y="23"/>
                      <a:pt x="11" y="23"/>
                      <a:pt x="13" y="23"/>
                    </a:cubicBezTo>
                    <a:cubicBezTo>
                      <a:pt x="15" y="23"/>
                      <a:pt x="17" y="22"/>
                      <a:pt x="19" y="21"/>
                    </a:cubicBezTo>
                    <a:cubicBezTo>
                      <a:pt x="22" y="19"/>
                      <a:pt x="23" y="15"/>
                      <a:pt x="23" y="11"/>
                    </a:cubicBezTo>
                    <a:cubicBezTo>
                      <a:pt x="24" y="7"/>
                      <a:pt x="22" y="3"/>
                      <a:pt x="19" y="1"/>
                    </a:cubicBezTo>
                    <a:cubicBezTo>
                      <a:pt x="17" y="0"/>
                      <a:pt x="14" y="0"/>
                      <a:pt x="12" y="1"/>
                    </a:cubicBezTo>
                    <a:cubicBezTo>
                      <a:pt x="10" y="1"/>
                      <a:pt x="8" y="2"/>
                      <a:pt x="6" y="4"/>
                    </a:cubicBezTo>
                    <a:cubicBezTo>
                      <a:pt x="1" y="7"/>
                      <a:pt x="0" y="16"/>
                      <a:pt x="7" y="18"/>
                    </a:cubicBezTo>
                    <a:cubicBezTo>
                      <a:pt x="10" y="19"/>
                      <a:pt x="11" y="15"/>
                      <a:pt x="9" y="13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083" name="Freeform 396">
                <a:extLst>
                  <a:ext uri="{FF2B5EF4-FFF2-40B4-BE49-F238E27FC236}">
                    <a16:creationId xmlns:a16="http://schemas.microsoft.com/office/drawing/2014/main" id="{5A0646D2-CFF4-4261-B78F-031F2F10E195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103" y="1545"/>
                <a:ext cx="96" cy="115"/>
              </a:xfrm>
              <a:custGeom>
                <a:avLst/>
                <a:gdLst>
                  <a:gd name="T0" fmla="*/ 31 w 91"/>
                  <a:gd name="T1" fmla="*/ 98 h 108"/>
                  <a:gd name="T2" fmla="*/ 17 w 91"/>
                  <a:gd name="T3" fmla="*/ 48 h 108"/>
                  <a:gd name="T4" fmla="*/ 36 w 91"/>
                  <a:gd name="T5" fmla="*/ 22 h 108"/>
                  <a:gd name="T6" fmla="*/ 70 w 91"/>
                  <a:gd name="T7" fmla="*/ 25 h 108"/>
                  <a:gd name="T8" fmla="*/ 78 w 91"/>
                  <a:gd name="T9" fmla="*/ 65 h 108"/>
                  <a:gd name="T10" fmla="*/ 68 w 91"/>
                  <a:gd name="T11" fmla="*/ 96 h 108"/>
                  <a:gd name="T12" fmla="*/ 32 w 91"/>
                  <a:gd name="T13" fmla="*/ 93 h 108"/>
                  <a:gd name="T14" fmla="*/ 29 w 91"/>
                  <a:gd name="T15" fmla="*/ 98 h 108"/>
                  <a:gd name="T16" fmla="*/ 89 w 91"/>
                  <a:gd name="T17" fmla="*/ 91 h 108"/>
                  <a:gd name="T18" fmla="*/ 87 w 91"/>
                  <a:gd name="T19" fmla="*/ 77 h 108"/>
                  <a:gd name="T20" fmla="*/ 81 w 91"/>
                  <a:gd name="T21" fmla="*/ 46 h 108"/>
                  <a:gd name="T22" fmla="*/ 72 w 91"/>
                  <a:gd name="T23" fmla="*/ 15 h 108"/>
                  <a:gd name="T24" fmla="*/ 20 w 91"/>
                  <a:gd name="T25" fmla="*/ 24 h 108"/>
                  <a:gd name="T26" fmla="*/ 27 w 91"/>
                  <a:gd name="T27" fmla="*/ 99 h 108"/>
                  <a:gd name="T28" fmla="*/ 31 w 91"/>
                  <a:gd name="T29" fmla="*/ 98 h 1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91" h="108">
                    <a:moveTo>
                      <a:pt x="31" y="98"/>
                    </a:moveTo>
                    <a:cubicBezTo>
                      <a:pt x="28" y="81"/>
                      <a:pt x="18" y="65"/>
                      <a:pt x="17" y="48"/>
                    </a:cubicBezTo>
                    <a:cubicBezTo>
                      <a:pt x="17" y="34"/>
                      <a:pt x="24" y="27"/>
                      <a:pt x="36" y="22"/>
                    </a:cubicBezTo>
                    <a:cubicBezTo>
                      <a:pt x="46" y="17"/>
                      <a:pt x="64" y="13"/>
                      <a:pt x="70" y="25"/>
                    </a:cubicBezTo>
                    <a:cubicBezTo>
                      <a:pt x="75" y="36"/>
                      <a:pt x="76" y="53"/>
                      <a:pt x="78" y="65"/>
                    </a:cubicBezTo>
                    <a:cubicBezTo>
                      <a:pt x="80" y="78"/>
                      <a:pt x="83" y="90"/>
                      <a:pt x="68" y="96"/>
                    </a:cubicBezTo>
                    <a:cubicBezTo>
                      <a:pt x="57" y="99"/>
                      <a:pt x="42" y="97"/>
                      <a:pt x="32" y="93"/>
                    </a:cubicBezTo>
                    <a:cubicBezTo>
                      <a:pt x="29" y="91"/>
                      <a:pt x="26" y="96"/>
                      <a:pt x="29" y="98"/>
                    </a:cubicBezTo>
                    <a:cubicBezTo>
                      <a:pt x="41" y="105"/>
                      <a:pt x="81" y="108"/>
                      <a:pt x="89" y="91"/>
                    </a:cubicBezTo>
                    <a:cubicBezTo>
                      <a:pt x="91" y="86"/>
                      <a:pt x="88" y="81"/>
                      <a:pt x="87" y="77"/>
                    </a:cubicBezTo>
                    <a:cubicBezTo>
                      <a:pt x="84" y="67"/>
                      <a:pt x="82" y="57"/>
                      <a:pt x="81" y="46"/>
                    </a:cubicBezTo>
                    <a:cubicBezTo>
                      <a:pt x="79" y="36"/>
                      <a:pt x="79" y="23"/>
                      <a:pt x="72" y="15"/>
                    </a:cubicBezTo>
                    <a:cubicBezTo>
                      <a:pt x="60" y="0"/>
                      <a:pt x="31" y="14"/>
                      <a:pt x="20" y="24"/>
                    </a:cubicBezTo>
                    <a:cubicBezTo>
                      <a:pt x="0" y="43"/>
                      <a:pt x="16" y="79"/>
                      <a:pt x="27" y="99"/>
                    </a:cubicBezTo>
                    <a:cubicBezTo>
                      <a:pt x="28" y="101"/>
                      <a:pt x="31" y="100"/>
                      <a:pt x="31" y="98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084" name="Freeform 397">
                <a:extLst>
                  <a:ext uri="{FF2B5EF4-FFF2-40B4-BE49-F238E27FC236}">
                    <a16:creationId xmlns:a16="http://schemas.microsoft.com/office/drawing/2014/main" id="{1BA6E21E-A607-448E-B281-0D6317D6AC73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195" y="1640"/>
                <a:ext cx="100" cy="62"/>
              </a:xfrm>
              <a:custGeom>
                <a:avLst/>
                <a:gdLst>
                  <a:gd name="T0" fmla="*/ 16 w 94"/>
                  <a:gd name="T1" fmla="*/ 55 h 59"/>
                  <a:gd name="T2" fmla="*/ 20 w 94"/>
                  <a:gd name="T3" fmla="*/ 22 h 59"/>
                  <a:gd name="T4" fmla="*/ 54 w 94"/>
                  <a:gd name="T5" fmla="*/ 10 h 59"/>
                  <a:gd name="T6" fmla="*/ 82 w 94"/>
                  <a:gd name="T7" fmla="*/ 17 h 59"/>
                  <a:gd name="T8" fmla="*/ 82 w 94"/>
                  <a:gd name="T9" fmla="*/ 52 h 59"/>
                  <a:gd name="T10" fmla="*/ 88 w 94"/>
                  <a:gd name="T11" fmla="*/ 53 h 59"/>
                  <a:gd name="T12" fmla="*/ 84 w 94"/>
                  <a:gd name="T13" fmla="*/ 11 h 59"/>
                  <a:gd name="T14" fmla="*/ 46 w 94"/>
                  <a:gd name="T15" fmla="*/ 6 h 59"/>
                  <a:gd name="T16" fmla="*/ 5 w 94"/>
                  <a:gd name="T17" fmla="*/ 29 h 59"/>
                  <a:gd name="T18" fmla="*/ 13 w 94"/>
                  <a:gd name="T19" fmla="*/ 57 h 59"/>
                  <a:gd name="T20" fmla="*/ 16 w 94"/>
                  <a:gd name="T21" fmla="*/ 55 h 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94" h="59">
                    <a:moveTo>
                      <a:pt x="16" y="55"/>
                    </a:moveTo>
                    <a:cubicBezTo>
                      <a:pt x="8" y="45"/>
                      <a:pt x="6" y="29"/>
                      <a:pt x="20" y="22"/>
                    </a:cubicBezTo>
                    <a:cubicBezTo>
                      <a:pt x="31" y="17"/>
                      <a:pt x="43" y="12"/>
                      <a:pt x="54" y="10"/>
                    </a:cubicBezTo>
                    <a:cubicBezTo>
                      <a:pt x="64" y="7"/>
                      <a:pt x="76" y="6"/>
                      <a:pt x="82" y="17"/>
                    </a:cubicBezTo>
                    <a:cubicBezTo>
                      <a:pt x="87" y="27"/>
                      <a:pt x="83" y="42"/>
                      <a:pt x="82" y="52"/>
                    </a:cubicBezTo>
                    <a:cubicBezTo>
                      <a:pt x="81" y="56"/>
                      <a:pt x="87" y="57"/>
                      <a:pt x="88" y="53"/>
                    </a:cubicBezTo>
                    <a:cubicBezTo>
                      <a:pt x="91" y="40"/>
                      <a:pt x="94" y="21"/>
                      <a:pt x="84" y="11"/>
                    </a:cubicBezTo>
                    <a:cubicBezTo>
                      <a:pt x="74" y="0"/>
                      <a:pt x="58" y="3"/>
                      <a:pt x="46" y="6"/>
                    </a:cubicBezTo>
                    <a:cubicBezTo>
                      <a:pt x="34" y="10"/>
                      <a:pt x="11" y="16"/>
                      <a:pt x="5" y="29"/>
                    </a:cubicBezTo>
                    <a:cubicBezTo>
                      <a:pt x="0" y="39"/>
                      <a:pt x="6" y="50"/>
                      <a:pt x="13" y="57"/>
                    </a:cubicBezTo>
                    <a:cubicBezTo>
                      <a:pt x="15" y="59"/>
                      <a:pt x="17" y="57"/>
                      <a:pt x="16" y="55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085" name="Freeform 398">
                <a:extLst>
                  <a:ext uri="{FF2B5EF4-FFF2-40B4-BE49-F238E27FC236}">
                    <a16:creationId xmlns:a16="http://schemas.microsoft.com/office/drawing/2014/main" id="{1398F50F-2D37-46B6-974F-C3E8B10A9CDD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209" y="1687"/>
                <a:ext cx="83" cy="31"/>
              </a:xfrm>
              <a:custGeom>
                <a:avLst/>
                <a:gdLst>
                  <a:gd name="T0" fmla="*/ 1 w 78"/>
                  <a:gd name="T1" fmla="*/ 14 h 29"/>
                  <a:gd name="T2" fmla="*/ 33 w 78"/>
                  <a:gd name="T3" fmla="*/ 24 h 29"/>
                  <a:gd name="T4" fmla="*/ 77 w 78"/>
                  <a:gd name="T5" fmla="*/ 6 h 29"/>
                  <a:gd name="T6" fmla="*/ 71 w 78"/>
                  <a:gd name="T7" fmla="*/ 2 h 29"/>
                  <a:gd name="T8" fmla="*/ 36 w 78"/>
                  <a:gd name="T9" fmla="*/ 17 h 29"/>
                  <a:gd name="T10" fmla="*/ 3 w 78"/>
                  <a:gd name="T11" fmla="*/ 13 h 29"/>
                  <a:gd name="T12" fmla="*/ 1 w 78"/>
                  <a:gd name="T13" fmla="*/ 14 h 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78" h="29">
                    <a:moveTo>
                      <a:pt x="1" y="14"/>
                    </a:moveTo>
                    <a:cubicBezTo>
                      <a:pt x="4" y="29"/>
                      <a:pt x="22" y="24"/>
                      <a:pt x="33" y="24"/>
                    </a:cubicBezTo>
                    <a:cubicBezTo>
                      <a:pt x="48" y="23"/>
                      <a:pt x="68" y="20"/>
                      <a:pt x="77" y="6"/>
                    </a:cubicBezTo>
                    <a:cubicBezTo>
                      <a:pt x="78" y="3"/>
                      <a:pt x="74" y="0"/>
                      <a:pt x="71" y="2"/>
                    </a:cubicBezTo>
                    <a:cubicBezTo>
                      <a:pt x="61" y="11"/>
                      <a:pt x="50" y="15"/>
                      <a:pt x="36" y="17"/>
                    </a:cubicBezTo>
                    <a:cubicBezTo>
                      <a:pt x="27" y="18"/>
                      <a:pt x="8" y="24"/>
                      <a:pt x="3" y="13"/>
                    </a:cubicBezTo>
                    <a:cubicBezTo>
                      <a:pt x="3" y="11"/>
                      <a:pt x="0" y="12"/>
                      <a:pt x="1" y="14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086" name="Freeform 399">
                <a:extLst>
                  <a:ext uri="{FF2B5EF4-FFF2-40B4-BE49-F238E27FC236}">
                    <a16:creationId xmlns:a16="http://schemas.microsoft.com/office/drawing/2014/main" id="{F9E4E44B-8E02-44D8-9B0B-0CDDA6FFA89C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147" y="1717"/>
                <a:ext cx="86" cy="109"/>
              </a:xfrm>
              <a:custGeom>
                <a:avLst/>
                <a:gdLst>
                  <a:gd name="T0" fmla="*/ 4 w 81"/>
                  <a:gd name="T1" fmla="*/ 15 h 103"/>
                  <a:gd name="T2" fmla="*/ 49 w 81"/>
                  <a:gd name="T3" fmla="*/ 17 h 103"/>
                  <a:gd name="T4" fmla="*/ 60 w 81"/>
                  <a:gd name="T5" fmla="*/ 40 h 103"/>
                  <a:gd name="T6" fmla="*/ 62 w 81"/>
                  <a:gd name="T7" fmla="*/ 51 h 103"/>
                  <a:gd name="T8" fmla="*/ 59 w 81"/>
                  <a:gd name="T9" fmla="*/ 71 h 103"/>
                  <a:gd name="T10" fmla="*/ 35 w 81"/>
                  <a:gd name="T11" fmla="*/ 87 h 103"/>
                  <a:gd name="T12" fmla="*/ 20 w 81"/>
                  <a:gd name="T13" fmla="*/ 89 h 103"/>
                  <a:gd name="T14" fmla="*/ 7 w 81"/>
                  <a:gd name="T15" fmla="*/ 71 h 103"/>
                  <a:gd name="T16" fmla="*/ 9 w 81"/>
                  <a:gd name="T17" fmla="*/ 19 h 103"/>
                  <a:gd name="T18" fmla="*/ 2 w 81"/>
                  <a:gd name="T19" fmla="*/ 18 h 103"/>
                  <a:gd name="T20" fmla="*/ 0 w 81"/>
                  <a:gd name="T21" fmla="*/ 65 h 103"/>
                  <a:gd name="T22" fmla="*/ 7 w 81"/>
                  <a:gd name="T23" fmla="*/ 91 h 103"/>
                  <a:gd name="T24" fmla="*/ 64 w 81"/>
                  <a:gd name="T25" fmla="*/ 83 h 103"/>
                  <a:gd name="T26" fmla="*/ 59 w 81"/>
                  <a:gd name="T27" fmla="*/ 22 h 103"/>
                  <a:gd name="T28" fmla="*/ 41 w 81"/>
                  <a:gd name="T29" fmla="*/ 4 h 103"/>
                  <a:gd name="T30" fmla="*/ 4 w 81"/>
                  <a:gd name="T31" fmla="*/ 12 h 103"/>
                  <a:gd name="T32" fmla="*/ 4 w 81"/>
                  <a:gd name="T33" fmla="*/ 15 h 1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81" h="103">
                    <a:moveTo>
                      <a:pt x="4" y="15"/>
                    </a:moveTo>
                    <a:cubicBezTo>
                      <a:pt x="20" y="15"/>
                      <a:pt x="35" y="2"/>
                      <a:pt x="49" y="17"/>
                    </a:cubicBezTo>
                    <a:cubicBezTo>
                      <a:pt x="54" y="22"/>
                      <a:pt x="57" y="33"/>
                      <a:pt x="60" y="40"/>
                    </a:cubicBezTo>
                    <a:cubicBezTo>
                      <a:pt x="61" y="43"/>
                      <a:pt x="61" y="47"/>
                      <a:pt x="62" y="51"/>
                    </a:cubicBezTo>
                    <a:cubicBezTo>
                      <a:pt x="65" y="61"/>
                      <a:pt x="65" y="60"/>
                      <a:pt x="59" y="71"/>
                    </a:cubicBezTo>
                    <a:cubicBezTo>
                      <a:pt x="52" y="84"/>
                      <a:pt x="48" y="84"/>
                      <a:pt x="35" y="87"/>
                    </a:cubicBezTo>
                    <a:cubicBezTo>
                      <a:pt x="31" y="88"/>
                      <a:pt x="23" y="90"/>
                      <a:pt x="20" y="89"/>
                    </a:cubicBezTo>
                    <a:cubicBezTo>
                      <a:pt x="12" y="86"/>
                      <a:pt x="8" y="78"/>
                      <a:pt x="7" y="71"/>
                    </a:cubicBezTo>
                    <a:cubicBezTo>
                      <a:pt x="6" y="55"/>
                      <a:pt x="8" y="35"/>
                      <a:pt x="9" y="19"/>
                    </a:cubicBezTo>
                    <a:cubicBezTo>
                      <a:pt x="9" y="14"/>
                      <a:pt x="2" y="13"/>
                      <a:pt x="2" y="18"/>
                    </a:cubicBezTo>
                    <a:cubicBezTo>
                      <a:pt x="1" y="34"/>
                      <a:pt x="0" y="50"/>
                      <a:pt x="0" y="65"/>
                    </a:cubicBezTo>
                    <a:cubicBezTo>
                      <a:pt x="0" y="74"/>
                      <a:pt x="1" y="84"/>
                      <a:pt x="7" y="91"/>
                    </a:cubicBezTo>
                    <a:cubicBezTo>
                      <a:pt x="20" y="103"/>
                      <a:pt x="52" y="93"/>
                      <a:pt x="64" y="83"/>
                    </a:cubicBezTo>
                    <a:cubicBezTo>
                      <a:pt x="81" y="69"/>
                      <a:pt x="67" y="39"/>
                      <a:pt x="59" y="22"/>
                    </a:cubicBezTo>
                    <a:cubicBezTo>
                      <a:pt x="55" y="14"/>
                      <a:pt x="50" y="7"/>
                      <a:pt x="41" y="4"/>
                    </a:cubicBezTo>
                    <a:cubicBezTo>
                      <a:pt x="28" y="0"/>
                      <a:pt x="17" y="11"/>
                      <a:pt x="4" y="12"/>
                    </a:cubicBezTo>
                    <a:cubicBezTo>
                      <a:pt x="2" y="12"/>
                      <a:pt x="2" y="15"/>
                      <a:pt x="4" y="15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087" name="Freeform 400">
                <a:extLst>
                  <a:ext uri="{FF2B5EF4-FFF2-40B4-BE49-F238E27FC236}">
                    <a16:creationId xmlns:a16="http://schemas.microsoft.com/office/drawing/2014/main" id="{43EC6908-23B7-4EEE-8B66-C3FF89AD8C84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034" y="1652"/>
                <a:ext cx="102" cy="103"/>
              </a:xfrm>
              <a:custGeom>
                <a:avLst/>
                <a:gdLst>
                  <a:gd name="T0" fmla="*/ 7 w 96"/>
                  <a:gd name="T1" fmla="*/ 37 h 97"/>
                  <a:gd name="T2" fmla="*/ 62 w 96"/>
                  <a:gd name="T3" fmla="*/ 21 h 97"/>
                  <a:gd name="T4" fmla="*/ 78 w 96"/>
                  <a:gd name="T5" fmla="*/ 48 h 97"/>
                  <a:gd name="T6" fmla="*/ 75 w 96"/>
                  <a:gd name="T7" fmla="*/ 66 h 97"/>
                  <a:gd name="T8" fmla="*/ 63 w 96"/>
                  <a:gd name="T9" fmla="*/ 73 h 97"/>
                  <a:gd name="T10" fmla="*/ 16 w 96"/>
                  <a:gd name="T11" fmla="*/ 74 h 97"/>
                  <a:gd name="T12" fmla="*/ 14 w 96"/>
                  <a:gd name="T13" fmla="*/ 35 h 97"/>
                  <a:gd name="T14" fmla="*/ 8 w 96"/>
                  <a:gd name="T15" fmla="*/ 34 h 97"/>
                  <a:gd name="T16" fmla="*/ 16 w 96"/>
                  <a:gd name="T17" fmla="*/ 88 h 97"/>
                  <a:gd name="T18" fmla="*/ 42 w 96"/>
                  <a:gd name="T19" fmla="*/ 93 h 97"/>
                  <a:gd name="T20" fmla="*/ 63 w 96"/>
                  <a:gd name="T21" fmla="*/ 82 h 97"/>
                  <a:gd name="T22" fmla="*/ 81 w 96"/>
                  <a:gd name="T23" fmla="*/ 73 h 97"/>
                  <a:gd name="T24" fmla="*/ 71 w 96"/>
                  <a:gd name="T25" fmla="*/ 19 h 97"/>
                  <a:gd name="T26" fmla="*/ 6 w 96"/>
                  <a:gd name="T27" fmla="*/ 36 h 97"/>
                  <a:gd name="T28" fmla="*/ 7 w 96"/>
                  <a:gd name="T29" fmla="*/ 37 h 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96" h="97">
                    <a:moveTo>
                      <a:pt x="7" y="37"/>
                    </a:moveTo>
                    <a:cubicBezTo>
                      <a:pt x="22" y="25"/>
                      <a:pt x="42" y="7"/>
                      <a:pt x="62" y="21"/>
                    </a:cubicBezTo>
                    <a:cubicBezTo>
                      <a:pt x="71" y="27"/>
                      <a:pt x="76" y="37"/>
                      <a:pt x="78" y="48"/>
                    </a:cubicBezTo>
                    <a:cubicBezTo>
                      <a:pt x="79" y="53"/>
                      <a:pt x="79" y="62"/>
                      <a:pt x="75" y="66"/>
                    </a:cubicBezTo>
                    <a:cubicBezTo>
                      <a:pt x="72" y="69"/>
                      <a:pt x="67" y="71"/>
                      <a:pt x="63" y="73"/>
                    </a:cubicBezTo>
                    <a:cubicBezTo>
                      <a:pt x="48" y="80"/>
                      <a:pt x="25" y="97"/>
                      <a:pt x="16" y="74"/>
                    </a:cubicBezTo>
                    <a:cubicBezTo>
                      <a:pt x="11" y="61"/>
                      <a:pt x="16" y="48"/>
                      <a:pt x="14" y="35"/>
                    </a:cubicBezTo>
                    <a:cubicBezTo>
                      <a:pt x="13" y="32"/>
                      <a:pt x="9" y="32"/>
                      <a:pt x="8" y="34"/>
                    </a:cubicBezTo>
                    <a:cubicBezTo>
                      <a:pt x="0" y="48"/>
                      <a:pt x="4" y="77"/>
                      <a:pt x="16" y="88"/>
                    </a:cubicBezTo>
                    <a:cubicBezTo>
                      <a:pt x="23" y="95"/>
                      <a:pt x="33" y="95"/>
                      <a:pt x="42" y="93"/>
                    </a:cubicBezTo>
                    <a:cubicBezTo>
                      <a:pt x="49" y="90"/>
                      <a:pt x="56" y="85"/>
                      <a:pt x="63" y="82"/>
                    </a:cubicBezTo>
                    <a:cubicBezTo>
                      <a:pt x="69" y="79"/>
                      <a:pt x="76" y="77"/>
                      <a:pt x="81" y="73"/>
                    </a:cubicBezTo>
                    <a:cubicBezTo>
                      <a:pt x="96" y="59"/>
                      <a:pt x="84" y="30"/>
                      <a:pt x="71" y="19"/>
                    </a:cubicBezTo>
                    <a:cubicBezTo>
                      <a:pt x="48" y="0"/>
                      <a:pt x="24" y="21"/>
                      <a:pt x="6" y="36"/>
                    </a:cubicBezTo>
                    <a:cubicBezTo>
                      <a:pt x="5" y="37"/>
                      <a:pt x="6" y="38"/>
                      <a:pt x="7" y="37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088" name="Freeform 401">
                <a:extLst>
                  <a:ext uri="{FF2B5EF4-FFF2-40B4-BE49-F238E27FC236}">
                    <a16:creationId xmlns:a16="http://schemas.microsoft.com/office/drawing/2014/main" id="{9673793E-4707-4912-810A-69F95E35A6EE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192" y="1535"/>
                <a:ext cx="108" cy="81"/>
              </a:xfrm>
              <a:custGeom>
                <a:avLst/>
                <a:gdLst>
                  <a:gd name="T0" fmla="*/ 2 w 102"/>
                  <a:gd name="T1" fmla="*/ 3 h 77"/>
                  <a:gd name="T2" fmla="*/ 97 w 102"/>
                  <a:gd name="T3" fmla="*/ 74 h 77"/>
                  <a:gd name="T4" fmla="*/ 102 w 102"/>
                  <a:gd name="T5" fmla="*/ 73 h 77"/>
                  <a:gd name="T6" fmla="*/ 2 w 102"/>
                  <a:gd name="T7" fmla="*/ 0 h 77"/>
                  <a:gd name="T8" fmla="*/ 2 w 102"/>
                  <a:gd name="T9" fmla="*/ 3 h 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2" h="77">
                    <a:moveTo>
                      <a:pt x="2" y="3"/>
                    </a:moveTo>
                    <a:cubicBezTo>
                      <a:pt x="45" y="7"/>
                      <a:pt x="83" y="32"/>
                      <a:pt x="97" y="74"/>
                    </a:cubicBezTo>
                    <a:cubicBezTo>
                      <a:pt x="98" y="77"/>
                      <a:pt x="102" y="76"/>
                      <a:pt x="102" y="73"/>
                    </a:cubicBezTo>
                    <a:cubicBezTo>
                      <a:pt x="94" y="27"/>
                      <a:pt x="44" y="2"/>
                      <a:pt x="2" y="0"/>
                    </a:cubicBezTo>
                    <a:cubicBezTo>
                      <a:pt x="0" y="0"/>
                      <a:pt x="0" y="3"/>
                      <a:pt x="2" y="3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089" name="Freeform 402">
                <a:extLst>
                  <a:ext uri="{FF2B5EF4-FFF2-40B4-BE49-F238E27FC236}">
                    <a16:creationId xmlns:a16="http://schemas.microsoft.com/office/drawing/2014/main" id="{C2633424-540C-4EFE-B848-A9C27BBEF26C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185" y="1680"/>
                <a:ext cx="143" cy="172"/>
              </a:xfrm>
              <a:custGeom>
                <a:avLst/>
                <a:gdLst>
                  <a:gd name="T0" fmla="*/ 120 w 135"/>
                  <a:gd name="T1" fmla="*/ 2 h 163"/>
                  <a:gd name="T2" fmla="*/ 3 w 135"/>
                  <a:gd name="T3" fmla="*/ 157 h 163"/>
                  <a:gd name="T4" fmla="*/ 3 w 135"/>
                  <a:gd name="T5" fmla="*/ 162 h 163"/>
                  <a:gd name="T6" fmla="*/ 94 w 135"/>
                  <a:gd name="T7" fmla="*/ 114 h 163"/>
                  <a:gd name="T8" fmla="*/ 123 w 135"/>
                  <a:gd name="T9" fmla="*/ 1 h 163"/>
                  <a:gd name="T10" fmla="*/ 120 w 135"/>
                  <a:gd name="T11" fmla="*/ 2 h 1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35" h="163">
                    <a:moveTo>
                      <a:pt x="120" y="2"/>
                    </a:moveTo>
                    <a:cubicBezTo>
                      <a:pt x="135" y="74"/>
                      <a:pt x="75" y="149"/>
                      <a:pt x="3" y="157"/>
                    </a:cubicBezTo>
                    <a:cubicBezTo>
                      <a:pt x="0" y="157"/>
                      <a:pt x="0" y="162"/>
                      <a:pt x="3" y="162"/>
                    </a:cubicBezTo>
                    <a:cubicBezTo>
                      <a:pt x="35" y="163"/>
                      <a:pt x="75" y="138"/>
                      <a:pt x="94" y="114"/>
                    </a:cubicBezTo>
                    <a:cubicBezTo>
                      <a:pt x="119" y="82"/>
                      <a:pt x="133" y="40"/>
                      <a:pt x="123" y="1"/>
                    </a:cubicBezTo>
                    <a:cubicBezTo>
                      <a:pt x="123" y="0"/>
                      <a:pt x="120" y="0"/>
                      <a:pt x="120" y="2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090" name="Freeform 403">
                <a:extLst>
                  <a:ext uri="{FF2B5EF4-FFF2-40B4-BE49-F238E27FC236}">
                    <a16:creationId xmlns:a16="http://schemas.microsoft.com/office/drawing/2014/main" id="{F3BB71DC-77C0-4224-A049-FA1996176BF1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007" y="1639"/>
                <a:ext cx="136" cy="212"/>
              </a:xfrm>
              <a:custGeom>
                <a:avLst/>
                <a:gdLst>
                  <a:gd name="T0" fmla="*/ 128 w 129"/>
                  <a:gd name="T1" fmla="*/ 198 h 201"/>
                  <a:gd name="T2" fmla="*/ 69 w 129"/>
                  <a:gd name="T3" fmla="*/ 175 h 201"/>
                  <a:gd name="T4" fmla="*/ 35 w 129"/>
                  <a:gd name="T5" fmla="*/ 133 h 201"/>
                  <a:gd name="T6" fmla="*/ 26 w 129"/>
                  <a:gd name="T7" fmla="*/ 2 h 201"/>
                  <a:gd name="T8" fmla="*/ 24 w 129"/>
                  <a:gd name="T9" fmla="*/ 1 h 201"/>
                  <a:gd name="T10" fmla="*/ 24 w 129"/>
                  <a:gd name="T11" fmla="*/ 127 h 201"/>
                  <a:gd name="T12" fmla="*/ 71 w 129"/>
                  <a:gd name="T13" fmla="*/ 186 h 201"/>
                  <a:gd name="T14" fmla="*/ 127 w 129"/>
                  <a:gd name="T15" fmla="*/ 201 h 201"/>
                  <a:gd name="T16" fmla="*/ 128 w 129"/>
                  <a:gd name="T17" fmla="*/ 198 h 2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29" h="201">
                    <a:moveTo>
                      <a:pt x="128" y="198"/>
                    </a:moveTo>
                    <a:cubicBezTo>
                      <a:pt x="105" y="195"/>
                      <a:pt x="86" y="191"/>
                      <a:pt x="69" y="175"/>
                    </a:cubicBezTo>
                    <a:cubicBezTo>
                      <a:pt x="56" y="163"/>
                      <a:pt x="45" y="147"/>
                      <a:pt x="35" y="133"/>
                    </a:cubicBezTo>
                    <a:cubicBezTo>
                      <a:pt x="4" y="93"/>
                      <a:pt x="2" y="47"/>
                      <a:pt x="26" y="2"/>
                    </a:cubicBezTo>
                    <a:cubicBezTo>
                      <a:pt x="27" y="1"/>
                      <a:pt x="25" y="0"/>
                      <a:pt x="24" y="1"/>
                    </a:cubicBezTo>
                    <a:cubicBezTo>
                      <a:pt x="1" y="42"/>
                      <a:pt x="0" y="86"/>
                      <a:pt x="24" y="127"/>
                    </a:cubicBezTo>
                    <a:cubicBezTo>
                      <a:pt x="37" y="147"/>
                      <a:pt x="52" y="171"/>
                      <a:pt x="71" y="186"/>
                    </a:cubicBezTo>
                    <a:cubicBezTo>
                      <a:pt x="88" y="199"/>
                      <a:pt x="107" y="201"/>
                      <a:pt x="127" y="201"/>
                    </a:cubicBezTo>
                    <a:cubicBezTo>
                      <a:pt x="129" y="201"/>
                      <a:pt x="129" y="199"/>
                      <a:pt x="128" y="198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091" name="Freeform 404">
                <a:extLst>
                  <a:ext uri="{FF2B5EF4-FFF2-40B4-BE49-F238E27FC236}">
                    <a16:creationId xmlns:a16="http://schemas.microsoft.com/office/drawing/2014/main" id="{0ACD0AD7-1108-48D4-8863-578C0C2F82AA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058" y="1565"/>
                <a:ext cx="40" cy="33"/>
              </a:xfrm>
              <a:custGeom>
                <a:avLst/>
                <a:gdLst>
                  <a:gd name="T0" fmla="*/ 3 w 37"/>
                  <a:gd name="T1" fmla="*/ 31 h 32"/>
                  <a:gd name="T2" fmla="*/ 22 w 37"/>
                  <a:gd name="T3" fmla="*/ 17 h 32"/>
                  <a:gd name="T4" fmla="*/ 37 w 37"/>
                  <a:gd name="T5" fmla="*/ 2 h 32"/>
                  <a:gd name="T6" fmla="*/ 35 w 37"/>
                  <a:gd name="T7" fmla="*/ 1 h 32"/>
                  <a:gd name="T8" fmla="*/ 17 w 37"/>
                  <a:gd name="T9" fmla="*/ 17 h 32"/>
                  <a:gd name="T10" fmla="*/ 1 w 37"/>
                  <a:gd name="T11" fmla="*/ 30 h 32"/>
                  <a:gd name="T12" fmla="*/ 3 w 37"/>
                  <a:gd name="T13" fmla="*/ 31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7" h="32">
                    <a:moveTo>
                      <a:pt x="3" y="31"/>
                    </a:moveTo>
                    <a:cubicBezTo>
                      <a:pt x="9" y="25"/>
                      <a:pt x="16" y="22"/>
                      <a:pt x="22" y="17"/>
                    </a:cubicBezTo>
                    <a:cubicBezTo>
                      <a:pt x="27" y="12"/>
                      <a:pt x="32" y="7"/>
                      <a:pt x="37" y="2"/>
                    </a:cubicBezTo>
                    <a:cubicBezTo>
                      <a:pt x="37" y="1"/>
                      <a:pt x="36" y="0"/>
                      <a:pt x="35" y="1"/>
                    </a:cubicBezTo>
                    <a:cubicBezTo>
                      <a:pt x="29" y="6"/>
                      <a:pt x="24" y="13"/>
                      <a:pt x="17" y="17"/>
                    </a:cubicBezTo>
                    <a:cubicBezTo>
                      <a:pt x="12" y="21"/>
                      <a:pt x="6" y="25"/>
                      <a:pt x="1" y="30"/>
                    </a:cubicBezTo>
                    <a:cubicBezTo>
                      <a:pt x="0" y="30"/>
                      <a:pt x="2" y="32"/>
                      <a:pt x="3" y="31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092" name="Freeform 405">
                <a:extLst>
                  <a:ext uri="{FF2B5EF4-FFF2-40B4-BE49-F238E27FC236}">
                    <a16:creationId xmlns:a16="http://schemas.microsoft.com/office/drawing/2014/main" id="{E9C65A00-3AC3-4B5E-980A-252801AAC3B2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118" y="1542"/>
                <a:ext cx="14" cy="16"/>
              </a:xfrm>
              <a:custGeom>
                <a:avLst/>
                <a:gdLst>
                  <a:gd name="T0" fmla="*/ 1 w 13"/>
                  <a:gd name="T1" fmla="*/ 4 h 15"/>
                  <a:gd name="T2" fmla="*/ 9 w 13"/>
                  <a:gd name="T3" fmla="*/ 14 h 15"/>
                  <a:gd name="T4" fmla="*/ 11 w 13"/>
                  <a:gd name="T5" fmla="*/ 10 h 15"/>
                  <a:gd name="T6" fmla="*/ 5 w 13"/>
                  <a:gd name="T7" fmla="*/ 3 h 15"/>
                  <a:gd name="T8" fmla="*/ 1 w 13"/>
                  <a:gd name="T9" fmla="*/ 4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3" h="15">
                    <a:moveTo>
                      <a:pt x="1" y="4"/>
                    </a:moveTo>
                    <a:cubicBezTo>
                      <a:pt x="2" y="8"/>
                      <a:pt x="5" y="12"/>
                      <a:pt x="9" y="14"/>
                    </a:cubicBezTo>
                    <a:cubicBezTo>
                      <a:pt x="11" y="15"/>
                      <a:pt x="13" y="12"/>
                      <a:pt x="11" y="10"/>
                    </a:cubicBezTo>
                    <a:cubicBezTo>
                      <a:pt x="9" y="8"/>
                      <a:pt x="6" y="6"/>
                      <a:pt x="5" y="3"/>
                    </a:cubicBezTo>
                    <a:cubicBezTo>
                      <a:pt x="4" y="0"/>
                      <a:pt x="0" y="1"/>
                      <a:pt x="1" y="4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</p:grpSp>
        <p:sp>
          <p:nvSpPr>
            <p:cNvPr id="8" name="Freeform 407">
              <a:extLst>
                <a:ext uri="{FF2B5EF4-FFF2-40B4-BE49-F238E27FC236}">
                  <a16:creationId xmlns:a16="http://schemas.microsoft.com/office/drawing/2014/main" id="{D2087493-7D18-4FE8-BA73-1CC9AA3EA1C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806575" y="2439988"/>
              <a:ext cx="17463" cy="12700"/>
            </a:xfrm>
            <a:custGeom>
              <a:avLst/>
              <a:gdLst>
                <a:gd name="T0" fmla="*/ 2 w 10"/>
                <a:gd name="T1" fmla="*/ 3 h 8"/>
                <a:gd name="T2" fmla="*/ 4 w 10"/>
                <a:gd name="T3" fmla="*/ 5 h 8"/>
                <a:gd name="T4" fmla="*/ 7 w 10"/>
                <a:gd name="T5" fmla="*/ 6 h 8"/>
                <a:gd name="T6" fmla="*/ 9 w 10"/>
                <a:gd name="T7" fmla="*/ 6 h 8"/>
                <a:gd name="T8" fmla="*/ 3 w 10"/>
                <a:gd name="T9" fmla="*/ 1 h 8"/>
                <a:gd name="T10" fmla="*/ 2 w 10"/>
                <a:gd name="T11" fmla="*/ 3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0" h="8">
                  <a:moveTo>
                    <a:pt x="2" y="3"/>
                  </a:moveTo>
                  <a:cubicBezTo>
                    <a:pt x="2" y="4"/>
                    <a:pt x="3" y="4"/>
                    <a:pt x="4" y="5"/>
                  </a:cubicBezTo>
                  <a:cubicBezTo>
                    <a:pt x="5" y="5"/>
                    <a:pt x="6" y="5"/>
                    <a:pt x="7" y="6"/>
                  </a:cubicBezTo>
                  <a:cubicBezTo>
                    <a:pt x="7" y="8"/>
                    <a:pt x="10" y="8"/>
                    <a:pt x="9" y="6"/>
                  </a:cubicBezTo>
                  <a:cubicBezTo>
                    <a:pt x="8" y="3"/>
                    <a:pt x="6" y="3"/>
                    <a:pt x="3" y="1"/>
                  </a:cubicBezTo>
                  <a:cubicBezTo>
                    <a:pt x="2" y="0"/>
                    <a:pt x="0" y="3"/>
                    <a:pt x="2" y="3"/>
                  </a:cubicBezTo>
                  <a:close/>
                </a:path>
              </a:pathLst>
            </a:custGeom>
            <a:solidFill>
              <a:srgbClr val="1C1D1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" name="Freeform 408">
              <a:extLst>
                <a:ext uri="{FF2B5EF4-FFF2-40B4-BE49-F238E27FC236}">
                  <a16:creationId xmlns:a16="http://schemas.microsoft.com/office/drawing/2014/main" id="{F7D93C8C-5315-44D1-889C-787DEA235CF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65338" y="1031875"/>
              <a:ext cx="188913" cy="1022350"/>
            </a:xfrm>
            <a:custGeom>
              <a:avLst/>
              <a:gdLst>
                <a:gd name="T0" fmla="*/ 9 w 112"/>
                <a:gd name="T1" fmla="*/ 1 h 608"/>
                <a:gd name="T2" fmla="*/ 1 w 112"/>
                <a:gd name="T3" fmla="*/ 88 h 608"/>
                <a:gd name="T4" fmla="*/ 17 w 112"/>
                <a:gd name="T5" fmla="*/ 181 h 608"/>
                <a:gd name="T6" fmla="*/ 85 w 112"/>
                <a:gd name="T7" fmla="*/ 269 h 608"/>
                <a:gd name="T8" fmla="*/ 61 w 112"/>
                <a:gd name="T9" fmla="*/ 247 h 608"/>
                <a:gd name="T10" fmla="*/ 57 w 112"/>
                <a:gd name="T11" fmla="*/ 311 h 608"/>
                <a:gd name="T12" fmla="*/ 63 w 112"/>
                <a:gd name="T13" fmla="*/ 406 h 608"/>
                <a:gd name="T14" fmla="*/ 68 w 112"/>
                <a:gd name="T15" fmla="*/ 456 h 608"/>
                <a:gd name="T16" fmla="*/ 73 w 112"/>
                <a:gd name="T17" fmla="*/ 511 h 608"/>
                <a:gd name="T18" fmla="*/ 78 w 112"/>
                <a:gd name="T19" fmla="*/ 561 h 608"/>
                <a:gd name="T20" fmla="*/ 89 w 112"/>
                <a:gd name="T21" fmla="*/ 601 h 608"/>
                <a:gd name="T22" fmla="*/ 100 w 112"/>
                <a:gd name="T23" fmla="*/ 595 h 608"/>
                <a:gd name="T24" fmla="*/ 91 w 112"/>
                <a:gd name="T25" fmla="*/ 559 h 608"/>
                <a:gd name="T26" fmla="*/ 85 w 112"/>
                <a:gd name="T27" fmla="*/ 510 h 608"/>
                <a:gd name="T28" fmla="*/ 79 w 112"/>
                <a:gd name="T29" fmla="*/ 453 h 608"/>
                <a:gd name="T30" fmla="*/ 73 w 112"/>
                <a:gd name="T31" fmla="*/ 412 h 608"/>
                <a:gd name="T32" fmla="*/ 73 w 112"/>
                <a:gd name="T33" fmla="*/ 369 h 608"/>
                <a:gd name="T34" fmla="*/ 69 w 112"/>
                <a:gd name="T35" fmla="*/ 334 h 608"/>
                <a:gd name="T36" fmla="*/ 67 w 112"/>
                <a:gd name="T37" fmla="*/ 268 h 608"/>
                <a:gd name="T38" fmla="*/ 72 w 112"/>
                <a:gd name="T39" fmla="*/ 249 h 608"/>
                <a:gd name="T40" fmla="*/ 70 w 112"/>
                <a:gd name="T41" fmla="*/ 261 h 608"/>
                <a:gd name="T42" fmla="*/ 62 w 112"/>
                <a:gd name="T43" fmla="*/ 256 h 608"/>
                <a:gd name="T44" fmla="*/ 41 w 112"/>
                <a:gd name="T45" fmla="*/ 220 h 608"/>
                <a:gd name="T46" fmla="*/ 16 w 112"/>
                <a:gd name="T47" fmla="*/ 142 h 608"/>
                <a:gd name="T48" fmla="*/ 7 w 112"/>
                <a:gd name="T49" fmla="*/ 67 h 608"/>
                <a:gd name="T50" fmla="*/ 10 w 112"/>
                <a:gd name="T51" fmla="*/ 1 h 608"/>
                <a:gd name="T52" fmla="*/ 9 w 112"/>
                <a:gd name="T53" fmla="*/ 1 h 6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112" h="608">
                  <a:moveTo>
                    <a:pt x="9" y="1"/>
                  </a:moveTo>
                  <a:cubicBezTo>
                    <a:pt x="5" y="31"/>
                    <a:pt x="0" y="58"/>
                    <a:pt x="1" y="88"/>
                  </a:cubicBezTo>
                  <a:cubicBezTo>
                    <a:pt x="3" y="120"/>
                    <a:pt x="8" y="151"/>
                    <a:pt x="17" y="181"/>
                  </a:cubicBezTo>
                  <a:cubicBezTo>
                    <a:pt x="24" y="201"/>
                    <a:pt x="48" y="293"/>
                    <a:pt x="85" y="269"/>
                  </a:cubicBezTo>
                  <a:cubicBezTo>
                    <a:pt x="112" y="252"/>
                    <a:pt x="77" y="219"/>
                    <a:pt x="61" y="247"/>
                  </a:cubicBezTo>
                  <a:cubicBezTo>
                    <a:pt x="51" y="265"/>
                    <a:pt x="57" y="292"/>
                    <a:pt x="57" y="311"/>
                  </a:cubicBezTo>
                  <a:cubicBezTo>
                    <a:pt x="58" y="343"/>
                    <a:pt x="62" y="374"/>
                    <a:pt x="63" y="406"/>
                  </a:cubicBezTo>
                  <a:cubicBezTo>
                    <a:pt x="63" y="423"/>
                    <a:pt x="67" y="439"/>
                    <a:pt x="68" y="456"/>
                  </a:cubicBezTo>
                  <a:cubicBezTo>
                    <a:pt x="69" y="474"/>
                    <a:pt x="70" y="492"/>
                    <a:pt x="73" y="511"/>
                  </a:cubicBezTo>
                  <a:cubicBezTo>
                    <a:pt x="76" y="528"/>
                    <a:pt x="77" y="544"/>
                    <a:pt x="78" y="561"/>
                  </a:cubicBezTo>
                  <a:cubicBezTo>
                    <a:pt x="79" y="575"/>
                    <a:pt x="82" y="588"/>
                    <a:pt x="89" y="601"/>
                  </a:cubicBezTo>
                  <a:cubicBezTo>
                    <a:pt x="93" y="608"/>
                    <a:pt x="104" y="602"/>
                    <a:pt x="100" y="595"/>
                  </a:cubicBezTo>
                  <a:cubicBezTo>
                    <a:pt x="94" y="584"/>
                    <a:pt x="92" y="572"/>
                    <a:pt x="91" y="559"/>
                  </a:cubicBezTo>
                  <a:cubicBezTo>
                    <a:pt x="89" y="542"/>
                    <a:pt x="88" y="528"/>
                    <a:pt x="85" y="510"/>
                  </a:cubicBezTo>
                  <a:cubicBezTo>
                    <a:pt x="81" y="490"/>
                    <a:pt x="80" y="472"/>
                    <a:pt x="79" y="453"/>
                  </a:cubicBezTo>
                  <a:cubicBezTo>
                    <a:pt x="77" y="439"/>
                    <a:pt x="74" y="425"/>
                    <a:pt x="73" y="412"/>
                  </a:cubicBezTo>
                  <a:cubicBezTo>
                    <a:pt x="73" y="398"/>
                    <a:pt x="75" y="383"/>
                    <a:pt x="73" y="369"/>
                  </a:cubicBezTo>
                  <a:cubicBezTo>
                    <a:pt x="72" y="357"/>
                    <a:pt x="69" y="346"/>
                    <a:pt x="69" y="334"/>
                  </a:cubicBezTo>
                  <a:cubicBezTo>
                    <a:pt x="67" y="313"/>
                    <a:pt x="66" y="290"/>
                    <a:pt x="67" y="268"/>
                  </a:cubicBezTo>
                  <a:cubicBezTo>
                    <a:pt x="67" y="265"/>
                    <a:pt x="71" y="248"/>
                    <a:pt x="72" y="249"/>
                  </a:cubicBezTo>
                  <a:cubicBezTo>
                    <a:pt x="72" y="253"/>
                    <a:pt x="71" y="257"/>
                    <a:pt x="70" y="261"/>
                  </a:cubicBezTo>
                  <a:cubicBezTo>
                    <a:pt x="67" y="260"/>
                    <a:pt x="65" y="258"/>
                    <a:pt x="62" y="256"/>
                  </a:cubicBezTo>
                  <a:cubicBezTo>
                    <a:pt x="52" y="247"/>
                    <a:pt x="46" y="232"/>
                    <a:pt x="41" y="220"/>
                  </a:cubicBezTo>
                  <a:cubicBezTo>
                    <a:pt x="31" y="194"/>
                    <a:pt x="21" y="169"/>
                    <a:pt x="16" y="142"/>
                  </a:cubicBezTo>
                  <a:cubicBezTo>
                    <a:pt x="11" y="117"/>
                    <a:pt x="8" y="92"/>
                    <a:pt x="7" y="67"/>
                  </a:cubicBezTo>
                  <a:cubicBezTo>
                    <a:pt x="7" y="45"/>
                    <a:pt x="11" y="23"/>
                    <a:pt x="10" y="1"/>
                  </a:cubicBezTo>
                  <a:cubicBezTo>
                    <a:pt x="10" y="0"/>
                    <a:pt x="9" y="0"/>
                    <a:pt x="9" y="1"/>
                  </a:cubicBezTo>
                  <a:close/>
                </a:path>
              </a:pathLst>
            </a:custGeom>
            <a:solidFill>
              <a:srgbClr val="04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" name="Freeform 409">
              <a:extLst>
                <a:ext uri="{FF2B5EF4-FFF2-40B4-BE49-F238E27FC236}">
                  <a16:creationId xmlns:a16="http://schemas.microsoft.com/office/drawing/2014/main" id="{B76370E2-27CB-4985-9EEE-1AB5B24BCB4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826000" y="2355850"/>
              <a:ext cx="214313" cy="71438"/>
            </a:xfrm>
            <a:custGeom>
              <a:avLst/>
              <a:gdLst>
                <a:gd name="T0" fmla="*/ 4 w 127"/>
                <a:gd name="T1" fmla="*/ 11 h 42"/>
                <a:gd name="T2" fmla="*/ 26 w 127"/>
                <a:gd name="T3" fmla="*/ 9 h 42"/>
                <a:gd name="T4" fmla="*/ 26 w 127"/>
                <a:gd name="T5" fmla="*/ 0 h 42"/>
                <a:gd name="T6" fmla="*/ 17 w 127"/>
                <a:gd name="T7" fmla="*/ 0 h 42"/>
                <a:gd name="T8" fmla="*/ 16 w 127"/>
                <a:gd name="T9" fmla="*/ 9 h 42"/>
                <a:gd name="T10" fmla="*/ 66 w 127"/>
                <a:gd name="T11" fmla="*/ 22 h 42"/>
                <a:gd name="T12" fmla="*/ 114 w 127"/>
                <a:gd name="T13" fmla="*/ 39 h 42"/>
                <a:gd name="T14" fmla="*/ 121 w 127"/>
                <a:gd name="T15" fmla="*/ 26 h 42"/>
                <a:gd name="T16" fmla="*/ 51 w 127"/>
                <a:gd name="T17" fmla="*/ 1 h 42"/>
                <a:gd name="T18" fmla="*/ 50 w 127"/>
                <a:gd name="T19" fmla="*/ 14 h 42"/>
                <a:gd name="T20" fmla="*/ 89 w 127"/>
                <a:gd name="T21" fmla="*/ 22 h 42"/>
                <a:gd name="T22" fmla="*/ 114 w 127"/>
                <a:gd name="T23" fmla="*/ 34 h 42"/>
                <a:gd name="T24" fmla="*/ 127 w 127"/>
                <a:gd name="T25" fmla="*/ 30 h 42"/>
                <a:gd name="T26" fmla="*/ 127 w 127"/>
                <a:gd name="T27" fmla="*/ 28 h 42"/>
                <a:gd name="T28" fmla="*/ 113 w 127"/>
                <a:gd name="T29" fmla="*/ 29 h 42"/>
                <a:gd name="T30" fmla="*/ 113 w 127"/>
                <a:gd name="T31" fmla="*/ 31 h 42"/>
                <a:gd name="T32" fmla="*/ 126 w 127"/>
                <a:gd name="T33" fmla="*/ 27 h 42"/>
                <a:gd name="T34" fmla="*/ 95 w 127"/>
                <a:gd name="T35" fmla="*/ 10 h 42"/>
                <a:gd name="T36" fmla="*/ 48 w 127"/>
                <a:gd name="T37" fmla="*/ 1 h 42"/>
                <a:gd name="T38" fmla="*/ 47 w 127"/>
                <a:gd name="T39" fmla="*/ 13 h 42"/>
                <a:gd name="T40" fmla="*/ 111 w 127"/>
                <a:gd name="T41" fmla="*/ 37 h 42"/>
                <a:gd name="T42" fmla="*/ 119 w 127"/>
                <a:gd name="T43" fmla="*/ 25 h 42"/>
                <a:gd name="T44" fmla="*/ 71 w 127"/>
                <a:gd name="T45" fmla="*/ 9 h 42"/>
                <a:gd name="T46" fmla="*/ 18 w 127"/>
                <a:gd name="T47" fmla="*/ 0 h 42"/>
                <a:gd name="T48" fmla="*/ 18 w 127"/>
                <a:gd name="T49" fmla="*/ 9 h 42"/>
                <a:gd name="T50" fmla="*/ 27 w 127"/>
                <a:gd name="T51" fmla="*/ 9 h 42"/>
                <a:gd name="T52" fmla="*/ 26 w 127"/>
                <a:gd name="T53" fmla="*/ 0 h 42"/>
                <a:gd name="T54" fmla="*/ 3 w 127"/>
                <a:gd name="T55" fmla="*/ 5 h 42"/>
                <a:gd name="T56" fmla="*/ 4 w 127"/>
                <a:gd name="T57" fmla="*/ 11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27" h="42">
                  <a:moveTo>
                    <a:pt x="4" y="11"/>
                  </a:moveTo>
                  <a:cubicBezTo>
                    <a:pt x="11" y="11"/>
                    <a:pt x="18" y="8"/>
                    <a:pt x="26" y="9"/>
                  </a:cubicBezTo>
                  <a:cubicBezTo>
                    <a:pt x="32" y="10"/>
                    <a:pt x="33" y="0"/>
                    <a:pt x="26" y="0"/>
                  </a:cubicBezTo>
                  <a:cubicBezTo>
                    <a:pt x="23" y="0"/>
                    <a:pt x="20" y="0"/>
                    <a:pt x="17" y="0"/>
                  </a:cubicBezTo>
                  <a:cubicBezTo>
                    <a:pt x="12" y="0"/>
                    <a:pt x="11" y="8"/>
                    <a:pt x="16" y="9"/>
                  </a:cubicBezTo>
                  <a:cubicBezTo>
                    <a:pt x="32" y="14"/>
                    <a:pt x="50" y="17"/>
                    <a:pt x="66" y="22"/>
                  </a:cubicBezTo>
                  <a:cubicBezTo>
                    <a:pt x="82" y="28"/>
                    <a:pt x="98" y="35"/>
                    <a:pt x="114" y="39"/>
                  </a:cubicBezTo>
                  <a:cubicBezTo>
                    <a:pt x="123" y="42"/>
                    <a:pt x="127" y="32"/>
                    <a:pt x="121" y="26"/>
                  </a:cubicBezTo>
                  <a:cubicBezTo>
                    <a:pt x="103" y="9"/>
                    <a:pt x="73" y="11"/>
                    <a:pt x="51" y="1"/>
                  </a:cubicBezTo>
                  <a:cubicBezTo>
                    <a:pt x="51" y="6"/>
                    <a:pt x="50" y="10"/>
                    <a:pt x="50" y="14"/>
                  </a:cubicBezTo>
                  <a:cubicBezTo>
                    <a:pt x="62" y="12"/>
                    <a:pt x="77" y="18"/>
                    <a:pt x="89" y="22"/>
                  </a:cubicBezTo>
                  <a:cubicBezTo>
                    <a:pt x="97" y="24"/>
                    <a:pt x="109" y="26"/>
                    <a:pt x="114" y="34"/>
                  </a:cubicBezTo>
                  <a:cubicBezTo>
                    <a:pt x="118" y="40"/>
                    <a:pt x="127" y="37"/>
                    <a:pt x="127" y="30"/>
                  </a:cubicBezTo>
                  <a:cubicBezTo>
                    <a:pt x="127" y="30"/>
                    <a:pt x="127" y="29"/>
                    <a:pt x="127" y="28"/>
                  </a:cubicBezTo>
                  <a:cubicBezTo>
                    <a:pt x="127" y="20"/>
                    <a:pt x="113" y="20"/>
                    <a:pt x="113" y="29"/>
                  </a:cubicBezTo>
                  <a:cubicBezTo>
                    <a:pt x="113" y="30"/>
                    <a:pt x="113" y="30"/>
                    <a:pt x="113" y="31"/>
                  </a:cubicBezTo>
                  <a:cubicBezTo>
                    <a:pt x="118" y="29"/>
                    <a:pt x="122" y="28"/>
                    <a:pt x="126" y="27"/>
                  </a:cubicBezTo>
                  <a:cubicBezTo>
                    <a:pt x="119" y="17"/>
                    <a:pt x="107" y="13"/>
                    <a:pt x="95" y="10"/>
                  </a:cubicBezTo>
                  <a:cubicBezTo>
                    <a:pt x="80" y="6"/>
                    <a:pt x="64" y="0"/>
                    <a:pt x="48" y="1"/>
                  </a:cubicBezTo>
                  <a:cubicBezTo>
                    <a:pt x="41" y="2"/>
                    <a:pt x="42" y="11"/>
                    <a:pt x="47" y="13"/>
                  </a:cubicBezTo>
                  <a:cubicBezTo>
                    <a:pt x="66" y="22"/>
                    <a:pt x="97" y="21"/>
                    <a:pt x="111" y="37"/>
                  </a:cubicBezTo>
                  <a:cubicBezTo>
                    <a:pt x="114" y="33"/>
                    <a:pt x="117" y="29"/>
                    <a:pt x="119" y="25"/>
                  </a:cubicBezTo>
                  <a:cubicBezTo>
                    <a:pt x="103" y="19"/>
                    <a:pt x="88" y="13"/>
                    <a:pt x="71" y="9"/>
                  </a:cubicBezTo>
                  <a:cubicBezTo>
                    <a:pt x="54" y="4"/>
                    <a:pt x="36" y="4"/>
                    <a:pt x="18" y="0"/>
                  </a:cubicBezTo>
                  <a:cubicBezTo>
                    <a:pt x="18" y="3"/>
                    <a:pt x="18" y="6"/>
                    <a:pt x="18" y="9"/>
                  </a:cubicBezTo>
                  <a:cubicBezTo>
                    <a:pt x="21" y="9"/>
                    <a:pt x="24" y="9"/>
                    <a:pt x="27" y="9"/>
                  </a:cubicBezTo>
                  <a:cubicBezTo>
                    <a:pt x="27" y="6"/>
                    <a:pt x="26" y="3"/>
                    <a:pt x="26" y="0"/>
                  </a:cubicBezTo>
                  <a:cubicBezTo>
                    <a:pt x="17" y="1"/>
                    <a:pt x="12" y="3"/>
                    <a:pt x="3" y="5"/>
                  </a:cubicBezTo>
                  <a:cubicBezTo>
                    <a:pt x="0" y="6"/>
                    <a:pt x="0" y="11"/>
                    <a:pt x="4" y="11"/>
                  </a:cubicBezTo>
                  <a:close/>
                </a:path>
              </a:pathLst>
            </a:custGeom>
            <a:solidFill>
              <a:srgbClr val="3C3C3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1" name="Freeform 410">
              <a:extLst>
                <a:ext uri="{FF2B5EF4-FFF2-40B4-BE49-F238E27FC236}">
                  <a16:creationId xmlns:a16="http://schemas.microsoft.com/office/drawing/2014/main" id="{B4CC63D9-6303-4CA8-90C2-0AE7A2AC9A3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565650" y="2889250"/>
              <a:ext cx="188913" cy="142875"/>
            </a:xfrm>
            <a:custGeom>
              <a:avLst/>
              <a:gdLst>
                <a:gd name="T0" fmla="*/ 57 w 113"/>
                <a:gd name="T1" fmla="*/ 80 h 85"/>
                <a:gd name="T2" fmla="*/ 22 w 113"/>
                <a:gd name="T3" fmla="*/ 76 h 85"/>
                <a:gd name="T4" fmla="*/ 13 w 113"/>
                <a:gd name="T5" fmla="*/ 28 h 85"/>
                <a:gd name="T6" fmla="*/ 25 w 113"/>
                <a:gd name="T7" fmla="*/ 4 h 85"/>
                <a:gd name="T8" fmla="*/ 47 w 113"/>
                <a:gd name="T9" fmla="*/ 3 h 85"/>
                <a:gd name="T10" fmla="*/ 75 w 113"/>
                <a:gd name="T11" fmla="*/ 11 h 85"/>
                <a:gd name="T12" fmla="*/ 88 w 113"/>
                <a:gd name="T13" fmla="*/ 15 h 85"/>
                <a:gd name="T14" fmla="*/ 88 w 113"/>
                <a:gd name="T15" fmla="*/ 17 h 85"/>
                <a:gd name="T16" fmla="*/ 97 w 113"/>
                <a:gd name="T17" fmla="*/ 33 h 85"/>
                <a:gd name="T18" fmla="*/ 108 w 113"/>
                <a:gd name="T19" fmla="*/ 57 h 85"/>
                <a:gd name="T20" fmla="*/ 89 w 113"/>
                <a:gd name="T21" fmla="*/ 71 h 85"/>
                <a:gd name="T22" fmla="*/ 77 w 113"/>
                <a:gd name="T23" fmla="*/ 84 h 85"/>
                <a:gd name="T24" fmla="*/ 73 w 113"/>
                <a:gd name="T25" fmla="*/ 85 h 85"/>
                <a:gd name="T26" fmla="*/ 57 w 113"/>
                <a:gd name="T27" fmla="*/ 80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13" h="85">
                  <a:moveTo>
                    <a:pt x="57" y="80"/>
                  </a:moveTo>
                  <a:cubicBezTo>
                    <a:pt x="45" y="77"/>
                    <a:pt x="34" y="79"/>
                    <a:pt x="22" y="76"/>
                  </a:cubicBezTo>
                  <a:cubicBezTo>
                    <a:pt x="0" y="71"/>
                    <a:pt x="10" y="43"/>
                    <a:pt x="13" y="28"/>
                  </a:cubicBezTo>
                  <a:cubicBezTo>
                    <a:pt x="15" y="20"/>
                    <a:pt x="17" y="9"/>
                    <a:pt x="25" y="4"/>
                  </a:cubicBezTo>
                  <a:cubicBezTo>
                    <a:pt x="31" y="0"/>
                    <a:pt x="40" y="2"/>
                    <a:pt x="47" y="3"/>
                  </a:cubicBezTo>
                  <a:cubicBezTo>
                    <a:pt x="57" y="6"/>
                    <a:pt x="67" y="8"/>
                    <a:pt x="75" y="11"/>
                  </a:cubicBezTo>
                  <a:cubicBezTo>
                    <a:pt x="79" y="12"/>
                    <a:pt x="84" y="15"/>
                    <a:pt x="88" y="15"/>
                  </a:cubicBezTo>
                  <a:cubicBezTo>
                    <a:pt x="88" y="17"/>
                    <a:pt x="88" y="17"/>
                    <a:pt x="88" y="17"/>
                  </a:cubicBezTo>
                  <a:cubicBezTo>
                    <a:pt x="90" y="23"/>
                    <a:pt x="93" y="27"/>
                    <a:pt x="97" y="33"/>
                  </a:cubicBezTo>
                  <a:cubicBezTo>
                    <a:pt x="100" y="38"/>
                    <a:pt x="113" y="49"/>
                    <a:pt x="108" y="57"/>
                  </a:cubicBezTo>
                  <a:cubicBezTo>
                    <a:pt x="103" y="61"/>
                    <a:pt x="95" y="67"/>
                    <a:pt x="89" y="71"/>
                  </a:cubicBezTo>
                  <a:cubicBezTo>
                    <a:pt x="85" y="73"/>
                    <a:pt x="80" y="79"/>
                    <a:pt x="77" y="84"/>
                  </a:cubicBezTo>
                  <a:cubicBezTo>
                    <a:pt x="73" y="85"/>
                    <a:pt x="73" y="85"/>
                    <a:pt x="73" y="85"/>
                  </a:cubicBezTo>
                  <a:cubicBezTo>
                    <a:pt x="67" y="83"/>
                    <a:pt x="63" y="81"/>
                    <a:pt x="57" y="80"/>
                  </a:cubicBezTo>
                  <a:close/>
                </a:path>
              </a:pathLst>
            </a:custGeom>
            <a:solidFill>
              <a:srgbClr val="E840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4" name="Freeform 411">
              <a:extLst>
                <a:ext uri="{FF2B5EF4-FFF2-40B4-BE49-F238E27FC236}">
                  <a16:creationId xmlns:a16="http://schemas.microsoft.com/office/drawing/2014/main" id="{3E247606-2581-467D-A0CB-6F1EC47D642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694238" y="3048000"/>
              <a:ext cx="155575" cy="169863"/>
            </a:xfrm>
            <a:custGeom>
              <a:avLst/>
              <a:gdLst>
                <a:gd name="T0" fmla="*/ 42 w 92"/>
                <a:gd name="T1" fmla="*/ 7 h 101"/>
                <a:gd name="T2" fmla="*/ 56 w 92"/>
                <a:gd name="T3" fmla="*/ 1 h 101"/>
                <a:gd name="T4" fmla="*/ 66 w 92"/>
                <a:gd name="T5" fmla="*/ 7 h 101"/>
                <a:gd name="T6" fmla="*/ 89 w 92"/>
                <a:gd name="T7" fmla="*/ 31 h 101"/>
                <a:gd name="T8" fmla="*/ 92 w 92"/>
                <a:gd name="T9" fmla="*/ 32 h 101"/>
                <a:gd name="T10" fmla="*/ 85 w 92"/>
                <a:gd name="T11" fmla="*/ 64 h 101"/>
                <a:gd name="T12" fmla="*/ 80 w 92"/>
                <a:gd name="T13" fmla="*/ 82 h 101"/>
                <a:gd name="T14" fmla="*/ 71 w 92"/>
                <a:gd name="T15" fmla="*/ 96 h 101"/>
                <a:gd name="T16" fmla="*/ 41 w 92"/>
                <a:gd name="T17" fmla="*/ 97 h 101"/>
                <a:gd name="T18" fmla="*/ 6 w 92"/>
                <a:gd name="T19" fmla="*/ 86 h 101"/>
                <a:gd name="T20" fmla="*/ 1 w 92"/>
                <a:gd name="T21" fmla="*/ 86 h 101"/>
                <a:gd name="T22" fmla="*/ 2 w 92"/>
                <a:gd name="T23" fmla="*/ 74 h 101"/>
                <a:gd name="T24" fmla="*/ 5 w 92"/>
                <a:gd name="T25" fmla="*/ 40 h 101"/>
                <a:gd name="T26" fmla="*/ 7 w 92"/>
                <a:gd name="T27" fmla="*/ 34 h 101"/>
                <a:gd name="T28" fmla="*/ 17 w 92"/>
                <a:gd name="T29" fmla="*/ 21 h 101"/>
                <a:gd name="T30" fmla="*/ 42 w 92"/>
                <a:gd name="T31" fmla="*/ 7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92" h="101">
                  <a:moveTo>
                    <a:pt x="42" y="7"/>
                  </a:moveTo>
                  <a:cubicBezTo>
                    <a:pt x="47" y="4"/>
                    <a:pt x="51" y="0"/>
                    <a:pt x="56" y="1"/>
                  </a:cubicBezTo>
                  <a:cubicBezTo>
                    <a:pt x="58" y="1"/>
                    <a:pt x="62" y="4"/>
                    <a:pt x="66" y="7"/>
                  </a:cubicBezTo>
                  <a:cubicBezTo>
                    <a:pt x="73" y="12"/>
                    <a:pt x="87" y="22"/>
                    <a:pt x="89" y="31"/>
                  </a:cubicBezTo>
                  <a:cubicBezTo>
                    <a:pt x="92" y="32"/>
                    <a:pt x="92" y="32"/>
                    <a:pt x="92" y="32"/>
                  </a:cubicBezTo>
                  <a:cubicBezTo>
                    <a:pt x="90" y="42"/>
                    <a:pt x="87" y="53"/>
                    <a:pt x="85" y="64"/>
                  </a:cubicBezTo>
                  <a:cubicBezTo>
                    <a:pt x="84" y="70"/>
                    <a:pt x="81" y="75"/>
                    <a:pt x="80" y="82"/>
                  </a:cubicBezTo>
                  <a:cubicBezTo>
                    <a:pt x="78" y="87"/>
                    <a:pt x="76" y="92"/>
                    <a:pt x="71" y="96"/>
                  </a:cubicBezTo>
                  <a:cubicBezTo>
                    <a:pt x="61" y="101"/>
                    <a:pt x="51" y="99"/>
                    <a:pt x="41" y="97"/>
                  </a:cubicBezTo>
                  <a:cubicBezTo>
                    <a:pt x="29" y="94"/>
                    <a:pt x="18" y="90"/>
                    <a:pt x="6" y="86"/>
                  </a:cubicBezTo>
                  <a:cubicBezTo>
                    <a:pt x="1" y="86"/>
                    <a:pt x="1" y="86"/>
                    <a:pt x="1" y="86"/>
                  </a:cubicBezTo>
                  <a:cubicBezTo>
                    <a:pt x="0" y="83"/>
                    <a:pt x="3" y="78"/>
                    <a:pt x="2" y="74"/>
                  </a:cubicBezTo>
                  <a:cubicBezTo>
                    <a:pt x="4" y="62"/>
                    <a:pt x="5" y="52"/>
                    <a:pt x="5" y="40"/>
                  </a:cubicBezTo>
                  <a:cubicBezTo>
                    <a:pt x="6" y="38"/>
                    <a:pt x="6" y="36"/>
                    <a:pt x="7" y="34"/>
                  </a:cubicBezTo>
                  <a:cubicBezTo>
                    <a:pt x="9" y="29"/>
                    <a:pt x="12" y="25"/>
                    <a:pt x="17" y="21"/>
                  </a:cubicBezTo>
                  <a:cubicBezTo>
                    <a:pt x="25" y="15"/>
                    <a:pt x="35" y="11"/>
                    <a:pt x="42" y="7"/>
                  </a:cubicBezTo>
                  <a:close/>
                </a:path>
              </a:pathLst>
            </a:custGeom>
            <a:solidFill>
              <a:srgbClr val="E840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5" name="Freeform 412">
              <a:extLst>
                <a:ext uri="{FF2B5EF4-FFF2-40B4-BE49-F238E27FC236}">
                  <a16:creationId xmlns:a16="http://schemas.microsoft.com/office/drawing/2014/main" id="{6E114A8A-4124-486B-A82E-D5752D26B73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851400" y="2944813"/>
              <a:ext cx="174625" cy="157163"/>
            </a:xfrm>
            <a:custGeom>
              <a:avLst/>
              <a:gdLst>
                <a:gd name="T0" fmla="*/ 98 w 104"/>
                <a:gd name="T1" fmla="*/ 12 h 94"/>
                <a:gd name="T2" fmla="*/ 101 w 104"/>
                <a:gd name="T3" fmla="*/ 32 h 94"/>
                <a:gd name="T4" fmla="*/ 90 w 104"/>
                <a:gd name="T5" fmla="*/ 83 h 94"/>
                <a:gd name="T6" fmla="*/ 89 w 104"/>
                <a:gd name="T7" fmla="*/ 84 h 94"/>
                <a:gd name="T8" fmla="*/ 77 w 104"/>
                <a:gd name="T9" fmla="*/ 92 h 94"/>
                <a:gd name="T10" fmla="*/ 48 w 104"/>
                <a:gd name="T11" fmla="*/ 86 h 94"/>
                <a:gd name="T12" fmla="*/ 28 w 104"/>
                <a:gd name="T13" fmla="*/ 84 h 94"/>
                <a:gd name="T14" fmla="*/ 26 w 104"/>
                <a:gd name="T15" fmla="*/ 83 h 94"/>
                <a:gd name="T16" fmla="*/ 17 w 104"/>
                <a:gd name="T17" fmla="*/ 76 h 94"/>
                <a:gd name="T18" fmla="*/ 11 w 104"/>
                <a:gd name="T19" fmla="*/ 55 h 94"/>
                <a:gd name="T20" fmla="*/ 3 w 104"/>
                <a:gd name="T21" fmla="*/ 40 h 94"/>
                <a:gd name="T22" fmla="*/ 0 w 104"/>
                <a:gd name="T23" fmla="*/ 39 h 94"/>
                <a:gd name="T24" fmla="*/ 25 w 104"/>
                <a:gd name="T25" fmla="*/ 12 h 94"/>
                <a:gd name="T26" fmla="*/ 76 w 104"/>
                <a:gd name="T27" fmla="*/ 7 h 94"/>
                <a:gd name="T28" fmla="*/ 98 w 104"/>
                <a:gd name="T29" fmla="*/ 12 h 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04" h="94">
                  <a:moveTo>
                    <a:pt x="98" y="12"/>
                  </a:moveTo>
                  <a:cubicBezTo>
                    <a:pt x="104" y="17"/>
                    <a:pt x="102" y="25"/>
                    <a:pt x="101" y="32"/>
                  </a:cubicBezTo>
                  <a:cubicBezTo>
                    <a:pt x="99" y="49"/>
                    <a:pt x="95" y="66"/>
                    <a:pt x="90" y="83"/>
                  </a:cubicBezTo>
                  <a:cubicBezTo>
                    <a:pt x="89" y="84"/>
                    <a:pt x="89" y="84"/>
                    <a:pt x="89" y="84"/>
                  </a:cubicBezTo>
                  <a:cubicBezTo>
                    <a:pt x="86" y="91"/>
                    <a:pt x="84" y="94"/>
                    <a:pt x="77" y="92"/>
                  </a:cubicBezTo>
                  <a:cubicBezTo>
                    <a:pt x="67" y="90"/>
                    <a:pt x="58" y="89"/>
                    <a:pt x="48" y="86"/>
                  </a:cubicBezTo>
                  <a:cubicBezTo>
                    <a:pt x="42" y="85"/>
                    <a:pt x="34" y="85"/>
                    <a:pt x="28" y="84"/>
                  </a:cubicBezTo>
                  <a:cubicBezTo>
                    <a:pt x="27" y="84"/>
                    <a:pt x="27" y="84"/>
                    <a:pt x="26" y="83"/>
                  </a:cubicBezTo>
                  <a:cubicBezTo>
                    <a:pt x="23" y="82"/>
                    <a:pt x="19" y="80"/>
                    <a:pt x="17" y="76"/>
                  </a:cubicBezTo>
                  <a:cubicBezTo>
                    <a:pt x="15" y="70"/>
                    <a:pt x="13" y="61"/>
                    <a:pt x="11" y="55"/>
                  </a:cubicBezTo>
                  <a:cubicBezTo>
                    <a:pt x="8" y="51"/>
                    <a:pt x="8" y="44"/>
                    <a:pt x="3" y="40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10" y="32"/>
                    <a:pt x="17" y="19"/>
                    <a:pt x="25" y="12"/>
                  </a:cubicBezTo>
                  <a:cubicBezTo>
                    <a:pt x="40" y="0"/>
                    <a:pt x="60" y="6"/>
                    <a:pt x="76" y="7"/>
                  </a:cubicBezTo>
                  <a:cubicBezTo>
                    <a:pt x="83" y="7"/>
                    <a:pt x="94" y="6"/>
                    <a:pt x="98" y="12"/>
                  </a:cubicBezTo>
                  <a:close/>
                </a:path>
              </a:pathLst>
            </a:custGeom>
            <a:solidFill>
              <a:srgbClr val="E840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6" name="Freeform 413">
              <a:extLst>
                <a:ext uri="{FF2B5EF4-FFF2-40B4-BE49-F238E27FC236}">
                  <a16:creationId xmlns:a16="http://schemas.microsoft.com/office/drawing/2014/main" id="{5CA0FD97-2A04-4E22-9D15-3EA11158E2C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767263" y="2768600"/>
              <a:ext cx="134938" cy="168275"/>
            </a:xfrm>
            <a:custGeom>
              <a:avLst/>
              <a:gdLst>
                <a:gd name="T0" fmla="*/ 1 w 80"/>
                <a:gd name="T1" fmla="*/ 56 h 100"/>
                <a:gd name="T2" fmla="*/ 0 w 80"/>
                <a:gd name="T3" fmla="*/ 55 h 100"/>
                <a:gd name="T4" fmla="*/ 2 w 80"/>
                <a:gd name="T5" fmla="*/ 36 h 100"/>
                <a:gd name="T6" fmla="*/ 7 w 80"/>
                <a:gd name="T7" fmla="*/ 6 h 100"/>
                <a:gd name="T8" fmla="*/ 29 w 80"/>
                <a:gd name="T9" fmla="*/ 1 h 100"/>
                <a:gd name="T10" fmla="*/ 57 w 80"/>
                <a:gd name="T11" fmla="*/ 1 h 100"/>
                <a:gd name="T12" fmla="*/ 80 w 80"/>
                <a:gd name="T13" fmla="*/ 34 h 100"/>
                <a:gd name="T14" fmla="*/ 77 w 80"/>
                <a:gd name="T15" fmla="*/ 74 h 100"/>
                <a:gd name="T16" fmla="*/ 71 w 80"/>
                <a:gd name="T17" fmla="*/ 78 h 100"/>
                <a:gd name="T18" fmla="*/ 45 w 80"/>
                <a:gd name="T19" fmla="*/ 92 h 100"/>
                <a:gd name="T20" fmla="*/ 33 w 80"/>
                <a:gd name="T21" fmla="*/ 97 h 100"/>
                <a:gd name="T22" fmla="*/ 27 w 80"/>
                <a:gd name="T23" fmla="*/ 99 h 100"/>
                <a:gd name="T24" fmla="*/ 17 w 80"/>
                <a:gd name="T25" fmla="*/ 90 h 100"/>
                <a:gd name="T26" fmla="*/ 11 w 80"/>
                <a:gd name="T27" fmla="*/ 76 h 100"/>
                <a:gd name="T28" fmla="*/ 2 w 80"/>
                <a:gd name="T29" fmla="*/ 62 h 100"/>
                <a:gd name="T30" fmla="*/ 1 w 80"/>
                <a:gd name="T31" fmla="*/ 56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80" h="100">
                  <a:moveTo>
                    <a:pt x="1" y="56"/>
                  </a:moveTo>
                  <a:cubicBezTo>
                    <a:pt x="0" y="55"/>
                    <a:pt x="0" y="55"/>
                    <a:pt x="0" y="55"/>
                  </a:cubicBezTo>
                  <a:cubicBezTo>
                    <a:pt x="1" y="49"/>
                    <a:pt x="1" y="41"/>
                    <a:pt x="2" y="36"/>
                  </a:cubicBezTo>
                  <a:cubicBezTo>
                    <a:pt x="2" y="27"/>
                    <a:pt x="1" y="14"/>
                    <a:pt x="7" y="6"/>
                  </a:cubicBezTo>
                  <a:cubicBezTo>
                    <a:pt x="11" y="0"/>
                    <a:pt x="22" y="1"/>
                    <a:pt x="29" y="1"/>
                  </a:cubicBezTo>
                  <a:cubicBezTo>
                    <a:pt x="38" y="1"/>
                    <a:pt x="49" y="0"/>
                    <a:pt x="57" y="1"/>
                  </a:cubicBezTo>
                  <a:cubicBezTo>
                    <a:pt x="76" y="4"/>
                    <a:pt x="80" y="19"/>
                    <a:pt x="80" y="34"/>
                  </a:cubicBezTo>
                  <a:cubicBezTo>
                    <a:pt x="79" y="48"/>
                    <a:pt x="80" y="61"/>
                    <a:pt x="77" y="74"/>
                  </a:cubicBezTo>
                  <a:cubicBezTo>
                    <a:pt x="71" y="78"/>
                    <a:pt x="71" y="78"/>
                    <a:pt x="71" y="78"/>
                  </a:cubicBezTo>
                  <a:cubicBezTo>
                    <a:pt x="67" y="87"/>
                    <a:pt x="52" y="90"/>
                    <a:pt x="45" y="92"/>
                  </a:cubicBezTo>
                  <a:cubicBezTo>
                    <a:pt x="41" y="93"/>
                    <a:pt x="37" y="94"/>
                    <a:pt x="33" y="97"/>
                  </a:cubicBezTo>
                  <a:cubicBezTo>
                    <a:pt x="32" y="97"/>
                    <a:pt x="29" y="100"/>
                    <a:pt x="27" y="99"/>
                  </a:cubicBezTo>
                  <a:cubicBezTo>
                    <a:pt x="22" y="100"/>
                    <a:pt x="20" y="94"/>
                    <a:pt x="17" y="90"/>
                  </a:cubicBezTo>
                  <a:cubicBezTo>
                    <a:pt x="14" y="86"/>
                    <a:pt x="13" y="82"/>
                    <a:pt x="11" y="76"/>
                  </a:cubicBezTo>
                  <a:cubicBezTo>
                    <a:pt x="7" y="72"/>
                    <a:pt x="2" y="67"/>
                    <a:pt x="2" y="62"/>
                  </a:cubicBezTo>
                  <a:cubicBezTo>
                    <a:pt x="1" y="59"/>
                    <a:pt x="1" y="58"/>
                    <a:pt x="1" y="56"/>
                  </a:cubicBezTo>
                  <a:close/>
                </a:path>
              </a:pathLst>
            </a:custGeom>
            <a:solidFill>
              <a:srgbClr val="E840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7" name="Freeform 414">
              <a:extLst>
                <a:ext uri="{FF2B5EF4-FFF2-40B4-BE49-F238E27FC236}">
                  <a16:creationId xmlns:a16="http://schemas.microsoft.com/office/drawing/2014/main" id="{F7FA1F6B-3072-4111-8D4F-E667CE690AC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484813" y="3317875"/>
              <a:ext cx="192088" cy="209550"/>
            </a:xfrm>
            <a:custGeom>
              <a:avLst/>
              <a:gdLst>
                <a:gd name="T0" fmla="*/ 74 w 114"/>
                <a:gd name="T1" fmla="*/ 118 h 125"/>
                <a:gd name="T2" fmla="*/ 13 w 114"/>
                <a:gd name="T3" fmla="*/ 94 h 125"/>
                <a:gd name="T4" fmla="*/ 2 w 114"/>
                <a:gd name="T5" fmla="*/ 64 h 125"/>
                <a:gd name="T6" fmla="*/ 10 w 114"/>
                <a:gd name="T7" fmla="*/ 35 h 125"/>
                <a:gd name="T8" fmla="*/ 69 w 114"/>
                <a:gd name="T9" fmla="*/ 5 h 125"/>
                <a:gd name="T10" fmla="*/ 75 w 114"/>
                <a:gd name="T11" fmla="*/ 5 h 125"/>
                <a:gd name="T12" fmla="*/ 105 w 114"/>
                <a:gd name="T13" fmla="*/ 29 h 125"/>
                <a:gd name="T14" fmla="*/ 112 w 114"/>
                <a:gd name="T15" fmla="*/ 60 h 125"/>
                <a:gd name="T16" fmla="*/ 74 w 114"/>
                <a:gd name="T17" fmla="*/ 118 h 1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14" h="125">
                  <a:moveTo>
                    <a:pt x="74" y="118"/>
                  </a:moveTo>
                  <a:cubicBezTo>
                    <a:pt x="51" y="125"/>
                    <a:pt x="29" y="112"/>
                    <a:pt x="13" y="94"/>
                  </a:cubicBezTo>
                  <a:cubicBezTo>
                    <a:pt x="6" y="86"/>
                    <a:pt x="0" y="75"/>
                    <a:pt x="2" y="64"/>
                  </a:cubicBezTo>
                  <a:cubicBezTo>
                    <a:pt x="2" y="55"/>
                    <a:pt x="6" y="43"/>
                    <a:pt x="10" y="35"/>
                  </a:cubicBezTo>
                  <a:cubicBezTo>
                    <a:pt x="22" y="13"/>
                    <a:pt x="44" y="0"/>
                    <a:pt x="69" y="5"/>
                  </a:cubicBezTo>
                  <a:cubicBezTo>
                    <a:pt x="75" y="5"/>
                    <a:pt x="75" y="5"/>
                    <a:pt x="75" y="5"/>
                  </a:cubicBezTo>
                  <a:cubicBezTo>
                    <a:pt x="88" y="10"/>
                    <a:pt x="99" y="16"/>
                    <a:pt x="105" y="29"/>
                  </a:cubicBezTo>
                  <a:cubicBezTo>
                    <a:pt x="110" y="37"/>
                    <a:pt x="113" y="48"/>
                    <a:pt x="112" y="60"/>
                  </a:cubicBezTo>
                  <a:cubicBezTo>
                    <a:pt x="114" y="86"/>
                    <a:pt x="98" y="109"/>
                    <a:pt x="74" y="118"/>
                  </a:cubicBezTo>
                  <a:close/>
                </a:path>
              </a:pathLst>
            </a:custGeom>
            <a:solidFill>
              <a:srgbClr val="E840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8" name="Freeform 415">
              <a:extLst>
                <a:ext uri="{FF2B5EF4-FFF2-40B4-BE49-F238E27FC236}">
                  <a16:creationId xmlns:a16="http://schemas.microsoft.com/office/drawing/2014/main" id="{2E67812C-733E-4614-81DA-B3BF33862C3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161088" y="3232150"/>
              <a:ext cx="150813" cy="136525"/>
            </a:xfrm>
            <a:custGeom>
              <a:avLst/>
              <a:gdLst>
                <a:gd name="T0" fmla="*/ 87 w 89"/>
                <a:gd name="T1" fmla="*/ 27 h 82"/>
                <a:gd name="T2" fmla="*/ 80 w 89"/>
                <a:gd name="T3" fmla="*/ 54 h 82"/>
                <a:gd name="T4" fmla="*/ 26 w 89"/>
                <a:gd name="T5" fmla="*/ 72 h 82"/>
                <a:gd name="T6" fmla="*/ 19 w 89"/>
                <a:gd name="T7" fmla="*/ 13 h 82"/>
                <a:gd name="T8" fmla="*/ 66 w 89"/>
                <a:gd name="T9" fmla="*/ 8 h 82"/>
                <a:gd name="T10" fmla="*/ 75 w 89"/>
                <a:gd name="T11" fmla="*/ 7 h 82"/>
                <a:gd name="T12" fmla="*/ 87 w 89"/>
                <a:gd name="T13" fmla="*/ 27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9" h="82">
                  <a:moveTo>
                    <a:pt x="87" y="27"/>
                  </a:moveTo>
                  <a:cubicBezTo>
                    <a:pt x="89" y="36"/>
                    <a:pt x="85" y="46"/>
                    <a:pt x="80" y="54"/>
                  </a:cubicBezTo>
                  <a:cubicBezTo>
                    <a:pt x="70" y="73"/>
                    <a:pt x="45" y="82"/>
                    <a:pt x="26" y="72"/>
                  </a:cubicBezTo>
                  <a:cubicBezTo>
                    <a:pt x="4" y="61"/>
                    <a:pt x="0" y="28"/>
                    <a:pt x="19" y="13"/>
                  </a:cubicBezTo>
                  <a:cubicBezTo>
                    <a:pt x="32" y="1"/>
                    <a:pt x="52" y="0"/>
                    <a:pt x="66" y="8"/>
                  </a:cubicBezTo>
                  <a:cubicBezTo>
                    <a:pt x="75" y="7"/>
                    <a:pt x="75" y="7"/>
                    <a:pt x="75" y="7"/>
                  </a:cubicBezTo>
                  <a:cubicBezTo>
                    <a:pt x="80" y="13"/>
                    <a:pt x="85" y="19"/>
                    <a:pt x="87" y="27"/>
                  </a:cubicBezTo>
                  <a:close/>
                </a:path>
              </a:pathLst>
            </a:custGeom>
            <a:solidFill>
              <a:srgbClr val="E840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9" name="Freeform 416">
              <a:extLst>
                <a:ext uri="{FF2B5EF4-FFF2-40B4-BE49-F238E27FC236}">
                  <a16:creationId xmlns:a16="http://schemas.microsoft.com/office/drawing/2014/main" id="{E458189C-7EBD-4905-9312-E41BB65EC46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343650" y="3465513"/>
              <a:ext cx="133350" cy="141288"/>
            </a:xfrm>
            <a:custGeom>
              <a:avLst/>
              <a:gdLst>
                <a:gd name="T0" fmla="*/ 1 w 80"/>
                <a:gd name="T1" fmla="*/ 41 h 84"/>
                <a:gd name="T2" fmla="*/ 46 w 80"/>
                <a:gd name="T3" fmla="*/ 5 h 84"/>
                <a:gd name="T4" fmla="*/ 48 w 80"/>
                <a:gd name="T5" fmla="*/ 0 h 84"/>
                <a:gd name="T6" fmla="*/ 75 w 80"/>
                <a:gd name="T7" fmla="*/ 27 h 84"/>
                <a:gd name="T8" fmla="*/ 71 w 80"/>
                <a:gd name="T9" fmla="*/ 65 h 84"/>
                <a:gd name="T10" fmla="*/ 51 w 80"/>
                <a:gd name="T11" fmla="*/ 82 h 84"/>
                <a:gd name="T12" fmla="*/ 28 w 80"/>
                <a:gd name="T13" fmla="*/ 81 h 84"/>
                <a:gd name="T14" fmla="*/ 8 w 80"/>
                <a:gd name="T15" fmla="*/ 69 h 84"/>
                <a:gd name="T16" fmla="*/ 1 w 80"/>
                <a:gd name="T17" fmla="*/ 41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0" h="84">
                  <a:moveTo>
                    <a:pt x="1" y="41"/>
                  </a:moveTo>
                  <a:cubicBezTo>
                    <a:pt x="2" y="20"/>
                    <a:pt x="25" y="4"/>
                    <a:pt x="46" y="5"/>
                  </a:cubicBezTo>
                  <a:cubicBezTo>
                    <a:pt x="48" y="0"/>
                    <a:pt x="48" y="0"/>
                    <a:pt x="48" y="0"/>
                  </a:cubicBezTo>
                  <a:cubicBezTo>
                    <a:pt x="61" y="5"/>
                    <a:pt x="71" y="13"/>
                    <a:pt x="75" y="27"/>
                  </a:cubicBezTo>
                  <a:cubicBezTo>
                    <a:pt x="80" y="38"/>
                    <a:pt x="79" y="52"/>
                    <a:pt x="71" y="65"/>
                  </a:cubicBezTo>
                  <a:cubicBezTo>
                    <a:pt x="65" y="72"/>
                    <a:pt x="59" y="80"/>
                    <a:pt x="51" y="82"/>
                  </a:cubicBezTo>
                  <a:cubicBezTo>
                    <a:pt x="44" y="84"/>
                    <a:pt x="35" y="82"/>
                    <a:pt x="28" y="81"/>
                  </a:cubicBezTo>
                  <a:cubicBezTo>
                    <a:pt x="20" y="79"/>
                    <a:pt x="12" y="75"/>
                    <a:pt x="8" y="69"/>
                  </a:cubicBezTo>
                  <a:cubicBezTo>
                    <a:pt x="2" y="61"/>
                    <a:pt x="0" y="50"/>
                    <a:pt x="1" y="41"/>
                  </a:cubicBezTo>
                  <a:close/>
                </a:path>
              </a:pathLst>
            </a:custGeom>
            <a:solidFill>
              <a:srgbClr val="E840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0" name="Freeform 417">
              <a:extLst>
                <a:ext uri="{FF2B5EF4-FFF2-40B4-BE49-F238E27FC236}">
                  <a16:creationId xmlns:a16="http://schemas.microsoft.com/office/drawing/2014/main" id="{8717CA0D-859F-4748-8490-3B389C9732E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64313" y="3309938"/>
              <a:ext cx="155575" cy="163513"/>
            </a:xfrm>
            <a:custGeom>
              <a:avLst/>
              <a:gdLst>
                <a:gd name="T0" fmla="*/ 63 w 93"/>
                <a:gd name="T1" fmla="*/ 14 h 97"/>
                <a:gd name="T2" fmla="*/ 64 w 93"/>
                <a:gd name="T3" fmla="*/ 13 h 97"/>
                <a:gd name="T4" fmla="*/ 91 w 93"/>
                <a:gd name="T5" fmla="*/ 37 h 97"/>
                <a:gd name="T6" fmla="*/ 82 w 93"/>
                <a:gd name="T7" fmla="*/ 69 h 97"/>
                <a:gd name="T8" fmla="*/ 23 w 93"/>
                <a:gd name="T9" fmla="*/ 86 h 97"/>
                <a:gd name="T10" fmla="*/ 11 w 93"/>
                <a:gd name="T11" fmla="*/ 29 h 97"/>
                <a:gd name="T12" fmla="*/ 63 w 93"/>
                <a:gd name="T13" fmla="*/ 14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3" h="97">
                  <a:moveTo>
                    <a:pt x="63" y="14"/>
                  </a:moveTo>
                  <a:cubicBezTo>
                    <a:pt x="64" y="13"/>
                    <a:pt x="64" y="13"/>
                    <a:pt x="64" y="13"/>
                  </a:cubicBezTo>
                  <a:cubicBezTo>
                    <a:pt x="73" y="19"/>
                    <a:pt x="86" y="25"/>
                    <a:pt x="91" y="37"/>
                  </a:cubicBezTo>
                  <a:cubicBezTo>
                    <a:pt x="93" y="48"/>
                    <a:pt x="89" y="59"/>
                    <a:pt x="82" y="69"/>
                  </a:cubicBezTo>
                  <a:cubicBezTo>
                    <a:pt x="70" y="85"/>
                    <a:pt x="42" y="97"/>
                    <a:pt x="23" y="86"/>
                  </a:cubicBezTo>
                  <a:cubicBezTo>
                    <a:pt x="5" y="73"/>
                    <a:pt x="0" y="46"/>
                    <a:pt x="11" y="29"/>
                  </a:cubicBezTo>
                  <a:cubicBezTo>
                    <a:pt x="22" y="10"/>
                    <a:pt x="46" y="0"/>
                    <a:pt x="63" y="14"/>
                  </a:cubicBezTo>
                  <a:close/>
                </a:path>
              </a:pathLst>
            </a:custGeom>
            <a:solidFill>
              <a:srgbClr val="E840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1" name="Freeform 418">
              <a:extLst>
                <a:ext uri="{FF2B5EF4-FFF2-40B4-BE49-F238E27FC236}">
                  <a16:creationId xmlns:a16="http://schemas.microsoft.com/office/drawing/2014/main" id="{0D981A8B-6625-44FA-8F3B-4D0D141BD9E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421438" y="3098800"/>
              <a:ext cx="123825" cy="114300"/>
            </a:xfrm>
            <a:custGeom>
              <a:avLst/>
              <a:gdLst>
                <a:gd name="T0" fmla="*/ 13 w 73"/>
                <a:gd name="T1" fmla="*/ 14 h 68"/>
                <a:gd name="T2" fmla="*/ 52 w 73"/>
                <a:gd name="T3" fmla="*/ 6 h 68"/>
                <a:gd name="T4" fmla="*/ 59 w 73"/>
                <a:gd name="T5" fmla="*/ 5 h 68"/>
                <a:gd name="T6" fmla="*/ 71 w 73"/>
                <a:gd name="T7" fmla="*/ 24 h 68"/>
                <a:gd name="T8" fmla="*/ 68 w 73"/>
                <a:gd name="T9" fmla="*/ 47 h 68"/>
                <a:gd name="T10" fmla="*/ 21 w 73"/>
                <a:gd name="T11" fmla="*/ 60 h 68"/>
                <a:gd name="T12" fmla="*/ 13 w 73"/>
                <a:gd name="T13" fmla="*/ 14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3" h="68">
                  <a:moveTo>
                    <a:pt x="13" y="14"/>
                  </a:moveTo>
                  <a:cubicBezTo>
                    <a:pt x="23" y="3"/>
                    <a:pt x="39" y="0"/>
                    <a:pt x="52" y="6"/>
                  </a:cubicBezTo>
                  <a:cubicBezTo>
                    <a:pt x="59" y="5"/>
                    <a:pt x="59" y="5"/>
                    <a:pt x="59" y="5"/>
                  </a:cubicBezTo>
                  <a:cubicBezTo>
                    <a:pt x="64" y="10"/>
                    <a:pt x="70" y="16"/>
                    <a:pt x="71" y="24"/>
                  </a:cubicBezTo>
                  <a:cubicBezTo>
                    <a:pt x="73" y="32"/>
                    <a:pt x="71" y="40"/>
                    <a:pt x="68" y="47"/>
                  </a:cubicBezTo>
                  <a:cubicBezTo>
                    <a:pt x="61" y="63"/>
                    <a:pt x="36" y="68"/>
                    <a:pt x="21" y="60"/>
                  </a:cubicBezTo>
                  <a:cubicBezTo>
                    <a:pt x="4" y="51"/>
                    <a:pt x="0" y="27"/>
                    <a:pt x="13" y="14"/>
                  </a:cubicBezTo>
                  <a:close/>
                </a:path>
              </a:pathLst>
            </a:custGeom>
            <a:solidFill>
              <a:srgbClr val="E840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2" name="Freeform 419">
              <a:extLst>
                <a:ext uri="{FF2B5EF4-FFF2-40B4-BE49-F238E27FC236}">
                  <a16:creationId xmlns:a16="http://schemas.microsoft.com/office/drawing/2014/main" id="{FA0DEB33-1E7B-4502-A4EC-F0D21E8E32C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278438" y="3116263"/>
              <a:ext cx="174625" cy="90488"/>
            </a:xfrm>
            <a:custGeom>
              <a:avLst/>
              <a:gdLst>
                <a:gd name="T0" fmla="*/ 81 w 104"/>
                <a:gd name="T1" fmla="*/ 8 h 54"/>
                <a:gd name="T2" fmla="*/ 72 w 104"/>
                <a:gd name="T3" fmla="*/ 52 h 54"/>
                <a:gd name="T4" fmla="*/ 44 w 104"/>
                <a:gd name="T5" fmla="*/ 48 h 54"/>
                <a:gd name="T6" fmla="*/ 16 w 104"/>
                <a:gd name="T7" fmla="*/ 40 h 54"/>
                <a:gd name="T8" fmla="*/ 0 w 104"/>
                <a:gd name="T9" fmla="*/ 21 h 54"/>
                <a:gd name="T10" fmla="*/ 8 w 104"/>
                <a:gd name="T11" fmla="*/ 1 h 54"/>
                <a:gd name="T12" fmla="*/ 40 w 104"/>
                <a:gd name="T13" fmla="*/ 1 h 54"/>
                <a:gd name="T14" fmla="*/ 81 w 104"/>
                <a:gd name="T15" fmla="*/ 8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04" h="54">
                  <a:moveTo>
                    <a:pt x="81" y="8"/>
                  </a:moveTo>
                  <a:cubicBezTo>
                    <a:pt x="104" y="18"/>
                    <a:pt x="92" y="47"/>
                    <a:pt x="72" y="52"/>
                  </a:cubicBezTo>
                  <a:cubicBezTo>
                    <a:pt x="62" y="54"/>
                    <a:pt x="53" y="50"/>
                    <a:pt x="44" y="48"/>
                  </a:cubicBezTo>
                  <a:cubicBezTo>
                    <a:pt x="34" y="46"/>
                    <a:pt x="24" y="44"/>
                    <a:pt x="16" y="40"/>
                  </a:cubicBezTo>
                  <a:cubicBezTo>
                    <a:pt x="8" y="37"/>
                    <a:pt x="0" y="30"/>
                    <a:pt x="0" y="21"/>
                  </a:cubicBezTo>
                  <a:cubicBezTo>
                    <a:pt x="0" y="14"/>
                    <a:pt x="5" y="7"/>
                    <a:pt x="8" y="1"/>
                  </a:cubicBezTo>
                  <a:cubicBezTo>
                    <a:pt x="19" y="0"/>
                    <a:pt x="29" y="0"/>
                    <a:pt x="40" y="1"/>
                  </a:cubicBezTo>
                  <a:cubicBezTo>
                    <a:pt x="54" y="2"/>
                    <a:pt x="68" y="3"/>
                    <a:pt x="81" y="8"/>
                  </a:cubicBezTo>
                  <a:close/>
                </a:path>
              </a:pathLst>
            </a:custGeom>
            <a:solidFill>
              <a:srgbClr val="21AAD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3" name="Freeform 420">
              <a:extLst>
                <a:ext uri="{FF2B5EF4-FFF2-40B4-BE49-F238E27FC236}">
                  <a16:creationId xmlns:a16="http://schemas.microsoft.com/office/drawing/2014/main" id="{F544D6B4-767F-4F95-A8B2-F890DC8BF1D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772150" y="3209925"/>
              <a:ext cx="138113" cy="90488"/>
            </a:xfrm>
            <a:custGeom>
              <a:avLst/>
              <a:gdLst>
                <a:gd name="T0" fmla="*/ 42 w 82"/>
                <a:gd name="T1" fmla="*/ 15 h 54"/>
                <a:gd name="T2" fmla="*/ 82 w 82"/>
                <a:gd name="T3" fmla="*/ 45 h 54"/>
                <a:gd name="T4" fmla="*/ 82 w 82"/>
                <a:gd name="T5" fmla="*/ 51 h 54"/>
                <a:gd name="T6" fmla="*/ 56 w 82"/>
                <a:gd name="T7" fmla="*/ 51 h 54"/>
                <a:gd name="T8" fmla="*/ 32 w 82"/>
                <a:gd name="T9" fmla="*/ 54 h 54"/>
                <a:gd name="T10" fmla="*/ 13 w 82"/>
                <a:gd name="T11" fmla="*/ 53 h 54"/>
                <a:gd name="T12" fmla="*/ 12 w 82"/>
                <a:gd name="T13" fmla="*/ 23 h 54"/>
                <a:gd name="T14" fmla="*/ 21 w 82"/>
                <a:gd name="T15" fmla="*/ 0 h 54"/>
                <a:gd name="T16" fmla="*/ 42 w 82"/>
                <a:gd name="T17" fmla="*/ 15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2" h="54">
                  <a:moveTo>
                    <a:pt x="42" y="15"/>
                  </a:moveTo>
                  <a:cubicBezTo>
                    <a:pt x="54" y="25"/>
                    <a:pt x="67" y="38"/>
                    <a:pt x="82" y="45"/>
                  </a:cubicBezTo>
                  <a:cubicBezTo>
                    <a:pt x="82" y="51"/>
                    <a:pt x="82" y="51"/>
                    <a:pt x="82" y="51"/>
                  </a:cubicBezTo>
                  <a:cubicBezTo>
                    <a:pt x="74" y="51"/>
                    <a:pt x="65" y="52"/>
                    <a:pt x="56" y="51"/>
                  </a:cubicBezTo>
                  <a:cubicBezTo>
                    <a:pt x="49" y="52"/>
                    <a:pt x="39" y="53"/>
                    <a:pt x="32" y="54"/>
                  </a:cubicBezTo>
                  <a:cubicBezTo>
                    <a:pt x="27" y="53"/>
                    <a:pt x="18" y="54"/>
                    <a:pt x="13" y="53"/>
                  </a:cubicBezTo>
                  <a:cubicBezTo>
                    <a:pt x="0" y="48"/>
                    <a:pt x="11" y="31"/>
                    <a:pt x="12" y="23"/>
                  </a:cubicBezTo>
                  <a:cubicBezTo>
                    <a:pt x="14" y="14"/>
                    <a:pt x="17" y="8"/>
                    <a:pt x="21" y="0"/>
                  </a:cubicBezTo>
                  <a:cubicBezTo>
                    <a:pt x="29" y="1"/>
                    <a:pt x="38" y="10"/>
                    <a:pt x="42" y="15"/>
                  </a:cubicBezTo>
                  <a:close/>
                </a:path>
              </a:pathLst>
            </a:custGeom>
            <a:solidFill>
              <a:srgbClr val="21AAD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4" name="Freeform 421">
              <a:extLst>
                <a:ext uri="{FF2B5EF4-FFF2-40B4-BE49-F238E27FC236}">
                  <a16:creationId xmlns:a16="http://schemas.microsoft.com/office/drawing/2014/main" id="{C55C60E9-9FDE-46DD-8EAD-FBA045104E0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629150" y="3082925"/>
              <a:ext cx="350838" cy="236538"/>
            </a:xfrm>
            <a:custGeom>
              <a:avLst/>
              <a:gdLst>
                <a:gd name="T0" fmla="*/ 13 w 209"/>
                <a:gd name="T1" fmla="*/ 32 h 140"/>
                <a:gd name="T2" fmla="*/ 19 w 209"/>
                <a:gd name="T3" fmla="*/ 10 h 140"/>
                <a:gd name="T4" fmla="*/ 46 w 209"/>
                <a:gd name="T5" fmla="*/ 13 h 140"/>
                <a:gd name="T6" fmla="*/ 44 w 209"/>
                <a:gd name="T7" fmla="*/ 19 h 140"/>
                <a:gd name="T8" fmla="*/ 41 w 209"/>
                <a:gd name="T9" fmla="*/ 53 h 140"/>
                <a:gd name="T10" fmla="*/ 40 w 209"/>
                <a:gd name="T11" fmla="*/ 65 h 140"/>
                <a:gd name="T12" fmla="*/ 45 w 209"/>
                <a:gd name="T13" fmla="*/ 65 h 140"/>
                <a:gd name="T14" fmla="*/ 80 w 209"/>
                <a:gd name="T15" fmla="*/ 76 h 140"/>
                <a:gd name="T16" fmla="*/ 110 w 209"/>
                <a:gd name="T17" fmla="*/ 75 h 140"/>
                <a:gd name="T18" fmla="*/ 119 w 209"/>
                <a:gd name="T19" fmla="*/ 61 h 140"/>
                <a:gd name="T20" fmla="*/ 124 w 209"/>
                <a:gd name="T21" fmla="*/ 43 h 140"/>
                <a:gd name="T22" fmla="*/ 131 w 209"/>
                <a:gd name="T23" fmla="*/ 11 h 140"/>
                <a:gd name="T24" fmla="*/ 132 w 209"/>
                <a:gd name="T25" fmla="*/ 7 h 140"/>
                <a:gd name="T26" fmla="*/ 158 w 209"/>
                <a:gd name="T27" fmla="*/ 0 h 140"/>
                <a:gd name="T28" fmla="*/ 160 w 209"/>
                <a:gd name="T29" fmla="*/ 1 h 140"/>
                <a:gd name="T30" fmla="*/ 180 w 209"/>
                <a:gd name="T31" fmla="*/ 3 h 140"/>
                <a:gd name="T32" fmla="*/ 209 w 209"/>
                <a:gd name="T33" fmla="*/ 9 h 140"/>
                <a:gd name="T34" fmla="*/ 206 w 209"/>
                <a:gd name="T35" fmla="*/ 37 h 140"/>
                <a:gd name="T36" fmla="*/ 160 w 209"/>
                <a:gd name="T37" fmla="*/ 34 h 140"/>
                <a:gd name="T38" fmla="*/ 155 w 209"/>
                <a:gd name="T39" fmla="*/ 71 h 140"/>
                <a:gd name="T40" fmla="*/ 144 w 209"/>
                <a:gd name="T41" fmla="*/ 123 h 140"/>
                <a:gd name="T42" fmla="*/ 129 w 209"/>
                <a:gd name="T43" fmla="*/ 139 h 140"/>
                <a:gd name="T44" fmla="*/ 86 w 209"/>
                <a:gd name="T45" fmla="*/ 137 h 140"/>
                <a:gd name="T46" fmla="*/ 54 w 209"/>
                <a:gd name="T47" fmla="*/ 136 h 140"/>
                <a:gd name="T48" fmla="*/ 1 w 209"/>
                <a:gd name="T49" fmla="*/ 98 h 140"/>
                <a:gd name="T50" fmla="*/ 13 w 209"/>
                <a:gd name="T51" fmla="*/ 32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209" h="140">
                  <a:moveTo>
                    <a:pt x="13" y="32"/>
                  </a:moveTo>
                  <a:cubicBezTo>
                    <a:pt x="15" y="24"/>
                    <a:pt x="16" y="17"/>
                    <a:pt x="19" y="10"/>
                  </a:cubicBezTo>
                  <a:cubicBezTo>
                    <a:pt x="46" y="13"/>
                    <a:pt x="46" y="13"/>
                    <a:pt x="46" y="13"/>
                  </a:cubicBezTo>
                  <a:cubicBezTo>
                    <a:pt x="45" y="15"/>
                    <a:pt x="45" y="17"/>
                    <a:pt x="44" y="19"/>
                  </a:cubicBezTo>
                  <a:cubicBezTo>
                    <a:pt x="44" y="31"/>
                    <a:pt x="43" y="41"/>
                    <a:pt x="41" y="53"/>
                  </a:cubicBezTo>
                  <a:cubicBezTo>
                    <a:pt x="42" y="57"/>
                    <a:pt x="39" y="62"/>
                    <a:pt x="40" y="65"/>
                  </a:cubicBezTo>
                  <a:cubicBezTo>
                    <a:pt x="45" y="65"/>
                    <a:pt x="45" y="65"/>
                    <a:pt x="45" y="65"/>
                  </a:cubicBezTo>
                  <a:cubicBezTo>
                    <a:pt x="57" y="69"/>
                    <a:pt x="68" y="73"/>
                    <a:pt x="80" y="76"/>
                  </a:cubicBezTo>
                  <a:cubicBezTo>
                    <a:pt x="90" y="78"/>
                    <a:pt x="100" y="80"/>
                    <a:pt x="110" y="75"/>
                  </a:cubicBezTo>
                  <a:cubicBezTo>
                    <a:pt x="115" y="71"/>
                    <a:pt x="117" y="66"/>
                    <a:pt x="119" y="61"/>
                  </a:cubicBezTo>
                  <a:cubicBezTo>
                    <a:pt x="120" y="54"/>
                    <a:pt x="123" y="49"/>
                    <a:pt x="124" y="43"/>
                  </a:cubicBezTo>
                  <a:cubicBezTo>
                    <a:pt x="126" y="32"/>
                    <a:pt x="129" y="21"/>
                    <a:pt x="131" y="11"/>
                  </a:cubicBezTo>
                  <a:cubicBezTo>
                    <a:pt x="131" y="9"/>
                    <a:pt x="132" y="8"/>
                    <a:pt x="132" y="7"/>
                  </a:cubicBezTo>
                  <a:cubicBezTo>
                    <a:pt x="158" y="0"/>
                    <a:pt x="158" y="0"/>
                    <a:pt x="158" y="0"/>
                  </a:cubicBezTo>
                  <a:cubicBezTo>
                    <a:pt x="159" y="1"/>
                    <a:pt x="159" y="1"/>
                    <a:pt x="160" y="1"/>
                  </a:cubicBezTo>
                  <a:cubicBezTo>
                    <a:pt x="166" y="2"/>
                    <a:pt x="174" y="2"/>
                    <a:pt x="180" y="3"/>
                  </a:cubicBezTo>
                  <a:cubicBezTo>
                    <a:pt x="190" y="6"/>
                    <a:pt x="199" y="7"/>
                    <a:pt x="209" y="9"/>
                  </a:cubicBezTo>
                  <a:cubicBezTo>
                    <a:pt x="206" y="37"/>
                    <a:pt x="206" y="37"/>
                    <a:pt x="206" y="37"/>
                  </a:cubicBezTo>
                  <a:cubicBezTo>
                    <a:pt x="190" y="36"/>
                    <a:pt x="175" y="34"/>
                    <a:pt x="160" y="34"/>
                  </a:cubicBezTo>
                  <a:cubicBezTo>
                    <a:pt x="159" y="46"/>
                    <a:pt x="158" y="58"/>
                    <a:pt x="155" y="71"/>
                  </a:cubicBezTo>
                  <a:cubicBezTo>
                    <a:pt x="152" y="87"/>
                    <a:pt x="148" y="104"/>
                    <a:pt x="144" y="123"/>
                  </a:cubicBezTo>
                  <a:cubicBezTo>
                    <a:pt x="142" y="133"/>
                    <a:pt x="141" y="140"/>
                    <a:pt x="129" y="139"/>
                  </a:cubicBezTo>
                  <a:cubicBezTo>
                    <a:pt x="114" y="140"/>
                    <a:pt x="101" y="137"/>
                    <a:pt x="86" y="137"/>
                  </a:cubicBezTo>
                  <a:cubicBezTo>
                    <a:pt x="77" y="137"/>
                    <a:pt x="66" y="137"/>
                    <a:pt x="54" y="136"/>
                  </a:cubicBezTo>
                  <a:cubicBezTo>
                    <a:pt x="29" y="135"/>
                    <a:pt x="3" y="128"/>
                    <a:pt x="1" y="98"/>
                  </a:cubicBezTo>
                  <a:cubicBezTo>
                    <a:pt x="0" y="77"/>
                    <a:pt x="9" y="54"/>
                    <a:pt x="13" y="32"/>
                  </a:cubicBezTo>
                  <a:close/>
                </a:path>
              </a:pathLst>
            </a:custGeom>
            <a:solidFill>
              <a:srgbClr val="21AAD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5" name="Freeform 422">
              <a:extLst>
                <a:ext uri="{FF2B5EF4-FFF2-40B4-BE49-F238E27FC236}">
                  <a16:creationId xmlns:a16="http://schemas.microsoft.com/office/drawing/2014/main" id="{04D84B49-0788-4261-9E07-76445392161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468813" y="2659063"/>
              <a:ext cx="679450" cy="506413"/>
            </a:xfrm>
            <a:custGeom>
              <a:avLst/>
              <a:gdLst>
                <a:gd name="T0" fmla="*/ 178 w 404"/>
                <a:gd name="T1" fmla="*/ 122 h 302"/>
                <a:gd name="T2" fmla="*/ 188 w 404"/>
                <a:gd name="T3" fmla="*/ 142 h 302"/>
                <a:gd name="T4" fmla="*/ 204 w 404"/>
                <a:gd name="T5" fmla="*/ 165 h 302"/>
                <a:gd name="T6" fmla="*/ 222 w 404"/>
                <a:gd name="T7" fmla="*/ 158 h 302"/>
                <a:gd name="T8" fmla="*/ 254 w 404"/>
                <a:gd name="T9" fmla="*/ 140 h 302"/>
                <a:gd name="T10" fmla="*/ 234 w 404"/>
                <a:gd name="T11" fmla="*/ 67 h 302"/>
                <a:gd name="T12" fmla="*/ 184 w 404"/>
                <a:gd name="T13" fmla="*/ 72 h 302"/>
                <a:gd name="T14" fmla="*/ 177 w 404"/>
                <a:gd name="T15" fmla="*/ 121 h 302"/>
                <a:gd name="T16" fmla="*/ 132 w 404"/>
                <a:gd name="T17" fmla="*/ 148 h 302"/>
                <a:gd name="T18" fmla="*/ 82 w 404"/>
                <a:gd name="T19" fmla="*/ 141 h 302"/>
                <a:gd name="T20" fmla="*/ 79 w 404"/>
                <a:gd name="T21" fmla="*/ 213 h 302"/>
                <a:gd name="T22" fmla="*/ 130 w 404"/>
                <a:gd name="T23" fmla="*/ 222 h 302"/>
                <a:gd name="T24" fmla="*/ 146 w 404"/>
                <a:gd name="T25" fmla="*/ 208 h 302"/>
                <a:gd name="T26" fmla="*/ 154 w 404"/>
                <a:gd name="T27" fmla="*/ 170 h 302"/>
                <a:gd name="T28" fmla="*/ 145 w 404"/>
                <a:gd name="T29" fmla="*/ 152 h 302"/>
                <a:gd name="T30" fmla="*/ 147 w 404"/>
                <a:gd name="T31" fmla="*/ 95 h 302"/>
                <a:gd name="T32" fmla="*/ 170 w 404"/>
                <a:gd name="T33" fmla="*/ 11 h 302"/>
                <a:gd name="T34" fmla="*/ 258 w 404"/>
                <a:gd name="T35" fmla="*/ 11 h 302"/>
                <a:gd name="T36" fmla="*/ 305 w 404"/>
                <a:gd name="T37" fmla="*/ 22 h 302"/>
                <a:gd name="T38" fmla="*/ 309 w 404"/>
                <a:gd name="T39" fmla="*/ 39 h 302"/>
                <a:gd name="T40" fmla="*/ 289 w 404"/>
                <a:gd name="T41" fmla="*/ 132 h 302"/>
                <a:gd name="T42" fmla="*/ 296 w 404"/>
                <a:gd name="T43" fmla="*/ 141 h 302"/>
                <a:gd name="T44" fmla="*/ 384 w 404"/>
                <a:gd name="T45" fmla="*/ 159 h 302"/>
                <a:gd name="T46" fmla="*/ 380 w 404"/>
                <a:gd name="T47" fmla="*/ 264 h 302"/>
                <a:gd name="T48" fmla="*/ 341 w 404"/>
                <a:gd name="T49" fmla="*/ 297 h 302"/>
                <a:gd name="T50" fmla="*/ 301 w 404"/>
                <a:gd name="T51" fmla="*/ 290 h 302"/>
                <a:gd name="T52" fmla="*/ 316 w 404"/>
                <a:gd name="T53" fmla="*/ 254 h 302"/>
                <a:gd name="T54" fmla="*/ 328 w 404"/>
                <a:gd name="T55" fmla="*/ 202 h 302"/>
                <a:gd name="T56" fmla="*/ 303 w 404"/>
                <a:gd name="T57" fmla="*/ 177 h 302"/>
                <a:gd name="T58" fmla="*/ 227 w 404"/>
                <a:gd name="T59" fmla="*/ 209 h 302"/>
                <a:gd name="T60" fmla="*/ 238 w 404"/>
                <a:gd name="T61" fmla="*/ 225 h 302"/>
                <a:gd name="T62" fmla="*/ 253 w 404"/>
                <a:gd name="T63" fmla="*/ 253 h 302"/>
                <a:gd name="T64" fmla="*/ 226 w 404"/>
                <a:gd name="T65" fmla="*/ 264 h 302"/>
                <a:gd name="T66" fmla="*/ 200 w 404"/>
                <a:gd name="T67" fmla="*/ 239 h 302"/>
                <a:gd name="T68" fmla="*/ 176 w 404"/>
                <a:gd name="T69" fmla="*/ 239 h 302"/>
                <a:gd name="T70" fmla="*/ 141 w 404"/>
                <a:gd name="T71" fmla="*/ 266 h 302"/>
                <a:gd name="T72" fmla="*/ 116 w 404"/>
                <a:gd name="T73" fmla="*/ 258 h 302"/>
                <a:gd name="T74" fmla="*/ 47 w 404"/>
                <a:gd name="T75" fmla="*/ 243 h 302"/>
                <a:gd name="T76" fmla="*/ 7 w 404"/>
                <a:gd name="T77" fmla="*/ 182 h 302"/>
                <a:gd name="T78" fmla="*/ 26 w 404"/>
                <a:gd name="T79" fmla="*/ 106 h 302"/>
                <a:gd name="T80" fmla="*/ 115 w 404"/>
                <a:gd name="T81" fmla="*/ 106 h 3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404" h="302">
                  <a:moveTo>
                    <a:pt x="177" y="121"/>
                  </a:moveTo>
                  <a:cubicBezTo>
                    <a:pt x="178" y="122"/>
                    <a:pt x="178" y="122"/>
                    <a:pt x="178" y="122"/>
                  </a:cubicBezTo>
                  <a:cubicBezTo>
                    <a:pt x="178" y="124"/>
                    <a:pt x="178" y="125"/>
                    <a:pt x="179" y="128"/>
                  </a:cubicBezTo>
                  <a:cubicBezTo>
                    <a:pt x="179" y="133"/>
                    <a:pt x="184" y="138"/>
                    <a:pt x="188" y="142"/>
                  </a:cubicBezTo>
                  <a:cubicBezTo>
                    <a:pt x="190" y="148"/>
                    <a:pt x="191" y="152"/>
                    <a:pt x="194" y="156"/>
                  </a:cubicBezTo>
                  <a:cubicBezTo>
                    <a:pt x="197" y="160"/>
                    <a:pt x="199" y="166"/>
                    <a:pt x="204" y="165"/>
                  </a:cubicBezTo>
                  <a:cubicBezTo>
                    <a:pt x="206" y="166"/>
                    <a:pt x="209" y="163"/>
                    <a:pt x="210" y="163"/>
                  </a:cubicBezTo>
                  <a:cubicBezTo>
                    <a:pt x="214" y="160"/>
                    <a:pt x="218" y="159"/>
                    <a:pt x="222" y="158"/>
                  </a:cubicBezTo>
                  <a:cubicBezTo>
                    <a:pt x="229" y="156"/>
                    <a:pt x="244" y="153"/>
                    <a:pt x="248" y="144"/>
                  </a:cubicBezTo>
                  <a:cubicBezTo>
                    <a:pt x="254" y="140"/>
                    <a:pt x="254" y="140"/>
                    <a:pt x="254" y="140"/>
                  </a:cubicBezTo>
                  <a:cubicBezTo>
                    <a:pt x="257" y="127"/>
                    <a:pt x="256" y="114"/>
                    <a:pt x="257" y="100"/>
                  </a:cubicBezTo>
                  <a:cubicBezTo>
                    <a:pt x="257" y="85"/>
                    <a:pt x="253" y="70"/>
                    <a:pt x="234" y="67"/>
                  </a:cubicBezTo>
                  <a:cubicBezTo>
                    <a:pt x="226" y="66"/>
                    <a:pt x="215" y="67"/>
                    <a:pt x="206" y="67"/>
                  </a:cubicBezTo>
                  <a:cubicBezTo>
                    <a:pt x="199" y="67"/>
                    <a:pt x="188" y="66"/>
                    <a:pt x="184" y="72"/>
                  </a:cubicBezTo>
                  <a:cubicBezTo>
                    <a:pt x="178" y="80"/>
                    <a:pt x="179" y="93"/>
                    <a:pt x="179" y="102"/>
                  </a:cubicBezTo>
                  <a:cubicBezTo>
                    <a:pt x="178" y="107"/>
                    <a:pt x="178" y="115"/>
                    <a:pt x="177" y="121"/>
                  </a:cubicBezTo>
                  <a:close/>
                  <a:moveTo>
                    <a:pt x="145" y="152"/>
                  </a:moveTo>
                  <a:cubicBezTo>
                    <a:pt x="141" y="152"/>
                    <a:pt x="136" y="149"/>
                    <a:pt x="132" y="148"/>
                  </a:cubicBezTo>
                  <a:cubicBezTo>
                    <a:pt x="124" y="145"/>
                    <a:pt x="114" y="143"/>
                    <a:pt x="104" y="140"/>
                  </a:cubicBezTo>
                  <a:cubicBezTo>
                    <a:pt x="97" y="139"/>
                    <a:pt x="88" y="137"/>
                    <a:pt x="82" y="141"/>
                  </a:cubicBezTo>
                  <a:cubicBezTo>
                    <a:pt x="74" y="146"/>
                    <a:pt x="72" y="157"/>
                    <a:pt x="70" y="165"/>
                  </a:cubicBezTo>
                  <a:cubicBezTo>
                    <a:pt x="67" y="180"/>
                    <a:pt x="57" y="208"/>
                    <a:pt x="79" y="213"/>
                  </a:cubicBezTo>
                  <a:cubicBezTo>
                    <a:pt x="91" y="216"/>
                    <a:pt x="102" y="214"/>
                    <a:pt x="114" y="217"/>
                  </a:cubicBezTo>
                  <a:cubicBezTo>
                    <a:pt x="120" y="218"/>
                    <a:pt x="124" y="220"/>
                    <a:pt x="130" y="222"/>
                  </a:cubicBezTo>
                  <a:cubicBezTo>
                    <a:pt x="134" y="221"/>
                    <a:pt x="134" y="221"/>
                    <a:pt x="134" y="221"/>
                  </a:cubicBezTo>
                  <a:cubicBezTo>
                    <a:pt x="137" y="216"/>
                    <a:pt x="142" y="210"/>
                    <a:pt x="146" y="208"/>
                  </a:cubicBezTo>
                  <a:cubicBezTo>
                    <a:pt x="152" y="204"/>
                    <a:pt x="160" y="198"/>
                    <a:pt x="165" y="194"/>
                  </a:cubicBezTo>
                  <a:cubicBezTo>
                    <a:pt x="170" y="186"/>
                    <a:pt x="157" y="175"/>
                    <a:pt x="154" y="170"/>
                  </a:cubicBezTo>
                  <a:cubicBezTo>
                    <a:pt x="150" y="164"/>
                    <a:pt x="147" y="160"/>
                    <a:pt x="145" y="154"/>
                  </a:cubicBezTo>
                  <a:lnTo>
                    <a:pt x="145" y="152"/>
                  </a:lnTo>
                  <a:close/>
                  <a:moveTo>
                    <a:pt x="142" y="115"/>
                  </a:moveTo>
                  <a:cubicBezTo>
                    <a:pt x="145" y="109"/>
                    <a:pt x="146" y="101"/>
                    <a:pt x="147" y="95"/>
                  </a:cubicBezTo>
                  <a:cubicBezTo>
                    <a:pt x="148" y="81"/>
                    <a:pt x="151" y="69"/>
                    <a:pt x="155" y="56"/>
                  </a:cubicBezTo>
                  <a:cubicBezTo>
                    <a:pt x="158" y="42"/>
                    <a:pt x="160" y="23"/>
                    <a:pt x="170" y="11"/>
                  </a:cubicBezTo>
                  <a:cubicBezTo>
                    <a:pt x="178" y="0"/>
                    <a:pt x="193" y="4"/>
                    <a:pt x="205" y="3"/>
                  </a:cubicBezTo>
                  <a:cubicBezTo>
                    <a:pt x="223" y="3"/>
                    <a:pt x="242" y="5"/>
                    <a:pt x="258" y="11"/>
                  </a:cubicBezTo>
                  <a:cubicBezTo>
                    <a:pt x="269" y="13"/>
                    <a:pt x="277" y="16"/>
                    <a:pt x="285" y="18"/>
                  </a:cubicBezTo>
                  <a:cubicBezTo>
                    <a:pt x="292" y="19"/>
                    <a:pt x="299" y="19"/>
                    <a:pt x="305" y="22"/>
                  </a:cubicBezTo>
                  <a:cubicBezTo>
                    <a:pt x="307" y="23"/>
                    <a:pt x="307" y="24"/>
                    <a:pt x="308" y="25"/>
                  </a:cubicBezTo>
                  <a:cubicBezTo>
                    <a:pt x="310" y="29"/>
                    <a:pt x="310" y="34"/>
                    <a:pt x="309" y="39"/>
                  </a:cubicBezTo>
                  <a:cubicBezTo>
                    <a:pt x="308" y="51"/>
                    <a:pt x="304" y="64"/>
                    <a:pt x="301" y="78"/>
                  </a:cubicBezTo>
                  <a:cubicBezTo>
                    <a:pt x="297" y="95"/>
                    <a:pt x="292" y="113"/>
                    <a:pt x="289" y="132"/>
                  </a:cubicBezTo>
                  <a:cubicBezTo>
                    <a:pt x="289" y="134"/>
                    <a:pt x="289" y="134"/>
                    <a:pt x="289" y="134"/>
                  </a:cubicBezTo>
                  <a:cubicBezTo>
                    <a:pt x="288" y="139"/>
                    <a:pt x="293" y="140"/>
                    <a:pt x="296" y="141"/>
                  </a:cubicBezTo>
                  <a:cubicBezTo>
                    <a:pt x="309" y="141"/>
                    <a:pt x="321" y="142"/>
                    <a:pt x="333" y="145"/>
                  </a:cubicBezTo>
                  <a:cubicBezTo>
                    <a:pt x="349" y="148"/>
                    <a:pt x="368" y="151"/>
                    <a:pt x="384" y="159"/>
                  </a:cubicBezTo>
                  <a:cubicBezTo>
                    <a:pt x="404" y="169"/>
                    <a:pt x="398" y="189"/>
                    <a:pt x="392" y="207"/>
                  </a:cubicBezTo>
                  <a:cubicBezTo>
                    <a:pt x="386" y="225"/>
                    <a:pt x="384" y="244"/>
                    <a:pt x="380" y="264"/>
                  </a:cubicBezTo>
                  <a:cubicBezTo>
                    <a:pt x="378" y="274"/>
                    <a:pt x="378" y="298"/>
                    <a:pt x="365" y="300"/>
                  </a:cubicBezTo>
                  <a:cubicBezTo>
                    <a:pt x="358" y="302"/>
                    <a:pt x="348" y="298"/>
                    <a:pt x="341" y="297"/>
                  </a:cubicBezTo>
                  <a:cubicBezTo>
                    <a:pt x="329" y="294"/>
                    <a:pt x="317" y="293"/>
                    <a:pt x="305" y="291"/>
                  </a:cubicBezTo>
                  <a:cubicBezTo>
                    <a:pt x="304" y="291"/>
                    <a:pt x="302" y="291"/>
                    <a:pt x="301" y="290"/>
                  </a:cubicBezTo>
                  <a:cubicBezTo>
                    <a:pt x="304" y="262"/>
                    <a:pt x="304" y="262"/>
                    <a:pt x="304" y="262"/>
                  </a:cubicBezTo>
                  <a:cubicBezTo>
                    <a:pt x="311" y="264"/>
                    <a:pt x="313" y="261"/>
                    <a:pt x="316" y="254"/>
                  </a:cubicBezTo>
                  <a:cubicBezTo>
                    <a:pt x="317" y="253"/>
                    <a:pt x="317" y="253"/>
                    <a:pt x="317" y="253"/>
                  </a:cubicBezTo>
                  <a:cubicBezTo>
                    <a:pt x="322" y="236"/>
                    <a:pt x="326" y="219"/>
                    <a:pt x="328" y="202"/>
                  </a:cubicBezTo>
                  <a:cubicBezTo>
                    <a:pt x="329" y="195"/>
                    <a:pt x="331" y="187"/>
                    <a:pt x="325" y="182"/>
                  </a:cubicBezTo>
                  <a:cubicBezTo>
                    <a:pt x="321" y="176"/>
                    <a:pt x="310" y="177"/>
                    <a:pt x="303" y="177"/>
                  </a:cubicBezTo>
                  <a:cubicBezTo>
                    <a:pt x="287" y="176"/>
                    <a:pt x="267" y="170"/>
                    <a:pt x="252" y="182"/>
                  </a:cubicBezTo>
                  <a:cubicBezTo>
                    <a:pt x="244" y="189"/>
                    <a:pt x="237" y="202"/>
                    <a:pt x="227" y="209"/>
                  </a:cubicBezTo>
                  <a:cubicBezTo>
                    <a:pt x="230" y="210"/>
                    <a:pt x="230" y="210"/>
                    <a:pt x="230" y="210"/>
                  </a:cubicBezTo>
                  <a:cubicBezTo>
                    <a:pt x="235" y="214"/>
                    <a:pt x="235" y="221"/>
                    <a:pt x="238" y="225"/>
                  </a:cubicBezTo>
                  <a:cubicBezTo>
                    <a:pt x="240" y="231"/>
                    <a:pt x="242" y="240"/>
                    <a:pt x="244" y="246"/>
                  </a:cubicBezTo>
                  <a:cubicBezTo>
                    <a:pt x="246" y="250"/>
                    <a:pt x="250" y="252"/>
                    <a:pt x="253" y="253"/>
                  </a:cubicBezTo>
                  <a:cubicBezTo>
                    <a:pt x="227" y="260"/>
                    <a:pt x="227" y="260"/>
                    <a:pt x="227" y="260"/>
                  </a:cubicBezTo>
                  <a:cubicBezTo>
                    <a:pt x="227" y="261"/>
                    <a:pt x="226" y="262"/>
                    <a:pt x="226" y="264"/>
                  </a:cubicBezTo>
                  <a:cubicBezTo>
                    <a:pt x="223" y="263"/>
                    <a:pt x="223" y="263"/>
                    <a:pt x="223" y="263"/>
                  </a:cubicBezTo>
                  <a:cubicBezTo>
                    <a:pt x="221" y="254"/>
                    <a:pt x="207" y="244"/>
                    <a:pt x="200" y="239"/>
                  </a:cubicBezTo>
                  <a:cubicBezTo>
                    <a:pt x="196" y="236"/>
                    <a:pt x="192" y="233"/>
                    <a:pt x="190" y="233"/>
                  </a:cubicBezTo>
                  <a:cubicBezTo>
                    <a:pt x="185" y="232"/>
                    <a:pt x="181" y="236"/>
                    <a:pt x="176" y="239"/>
                  </a:cubicBezTo>
                  <a:cubicBezTo>
                    <a:pt x="169" y="243"/>
                    <a:pt x="159" y="247"/>
                    <a:pt x="151" y="253"/>
                  </a:cubicBezTo>
                  <a:cubicBezTo>
                    <a:pt x="146" y="257"/>
                    <a:pt x="143" y="261"/>
                    <a:pt x="141" y="266"/>
                  </a:cubicBezTo>
                  <a:cubicBezTo>
                    <a:pt x="114" y="263"/>
                    <a:pt x="114" y="263"/>
                    <a:pt x="114" y="263"/>
                  </a:cubicBezTo>
                  <a:cubicBezTo>
                    <a:pt x="114" y="262"/>
                    <a:pt x="115" y="260"/>
                    <a:pt x="116" y="258"/>
                  </a:cubicBezTo>
                  <a:cubicBezTo>
                    <a:pt x="109" y="256"/>
                    <a:pt x="104" y="255"/>
                    <a:pt x="97" y="254"/>
                  </a:cubicBezTo>
                  <a:cubicBezTo>
                    <a:pt x="80" y="250"/>
                    <a:pt x="63" y="247"/>
                    <a:pt x="47" y="243"/>
                  </a:cubicBezTo>
                  <a:cubicBezTo>
                    <a:pt x="33" y="240"/>
                    <a:pt x="16" y="238"/>
                    <a:pt x="8" y="226"/>
                  </a:cubicBezTo>
                  <a:cubicBezTo>
                    <a:pt x="0" y="214"/>
                    <a:pt x="3" y="197"/>
                    <a:pt x="7" y="182"/>
                  </a:cubicBezTo>
                  <a:cubicBezTo>
                    <a:pt x="9" y="170"/>
                    <a:pt x="12" y="156"/>
                    <a:pt x="14" y="144"/>
                  </a:cubicBezTo>
                  <a:cubicBezTo>
                    <a:pt x="17" y="131"/>
                    <a:pt x="20" y="117"/>
                    <a:pt x="26" y="106"/>
                  </a:cubicBezTo>
                  <a:cubicBezTo>
                    <a:pt x="35" y="87"/>
                    <a:pt x="52" y="92"/>
                    <a:pt x="69" y="98"/>
                  </a:cubicBezTo>
                  <a:cubicBezTo>
                    <a:pt x="83" y="102"/>
                    <a:pt x="99" y="102"/>
                    <a:pt x="115" y="106"/>
                  </a:cubicBezTo>
                  <a:cubicBezTo>
                    <a:pt x="124" y="109"/>
                    <a:pt x="132" y="113"/>
                    <a:pt x="142" y="115"/>
                  </a:cubicBezTo>
                  <a:close/>
                </a:path>
              </a:pathLst>
            </a:custGeom>
            <a:solidFill>
              <a:srgbClr val="21AAD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6" name="Freeform 423">
              <a:extLst>
                <a:ext uri="{FF2B5EF4-FFF2-40B4-BE49-F238E27FC236}">
                  <a16:creationId xmlns:a16="http://schemas.microsoft.com/office/drawing/2014/main" id="{1D896B36-8DFD-421B-BF0C-33F98B2F1449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096000" y="3014663"/>
              <a:ext cx="682625" cy="649288"/>
            </a:xfrm>
            <a:custGeom>
              <a:avLst/>
              <a:gdLst>
                <a:gd name="T0" fmla="*/ 246 w 406"/>
                <a:gd name="T1" fmla="*/ 56 h 386"/>
                <a:gd name="T2" fmla="*/ 215 w 406"/>
                <a:gd name="T3" fmla="*/ 110 h 386"/>
                <a:gd name="T4" fmla="*/ 265 w 406"/>
                <a:gd name="T5" fmla="*/ 74 h 386"/>
                <a:gd name="T6" fmla="*/ 200 w 406"/>
                <a:gd name="T7" fmla="*/ 382 h 386"/>
                <a:gd name="T8" fmla="*/ 105 w 406"/>
                <a:gd name="T9" fmla="*/ 348 h 386"/>
                <a:gd name="T10" fmla="*/ 111 w 406"/>
                <a:gd name="T11" fmla="*/ 268 h 386"/>
                <a:gd name="T12" fmla="*/ 98 w 406"/>
                <a:gd name="T13" fmla="*/ 257 h 386"/>
                <a:gd name="T14" fmla="*/ 10 w 406"/>
                <a:gd name="T15" fmla="*/ 218 h 386"/>
                <a:gd name="T16" fmla="*/ 27 w 406"/>
                <a:gd name="T17" fmla="*/ 114 h 386"/>
                <a:gd name="T18" fmla="*/ 73 w 406"/>
                <a:gd name="T19" fmla="*/ 92 h 386"/>
                <a:gd name="T20" fmla="*/ 142 w 406"/>
                <a:gd name="T21" fmla="*/ 108 h 386"/>
                <a:gd name="T22" fmla="*/ 155 w 406"/>
                <a:gd name="T23" fmla="*/ 111 h 386"/>
                <a:gd name="T24" fmla="*/ 169 w 406"/>
                <a:gd name="T25" fmla="*/ 31 h 386"/>
                <a:gd name="T26" fmla="*/ 225 w 406"/>
                <a:gd name="T27" fmla="*/ 0 h 386"/>
                <a:gd name="T28" fmla="*/ 297 w 406"/>
                <a:gd name="T29" fmla="*/ 26 h 386"/>
                <a:gd name="T30" fmla="*/ 299 w 406"/>
                <a:gd name="T31" fmla="*/ 134 h 386"/>
                <a:gd name="T32" fmla="*/ 345 w 406"/>
                <a:gd name="T33" fmla="*/ 149 h 386"/>
                <a:gd name="T34" fmla="*/ 404 w 406"/>
                <a:gd name="T35" fmla="*/ 194 h 386"/>
                <a:gd name="T36" fmla="*/ 389 w 406"/>
                <a:gd name="T37" fmla="*/ 275 h 386"/>
                <a:gd name="T38" fmla="*/ 320 w 406"/>
                <a:gd name="T39" fmla="*/ 298 h 386"/>
                <a:gd name="T40" fmla="*/ 264 w 406"/>
                <a:gd name="T41" fmla="*/ 294 h 386"/>
                <a:gd name="T42" fmla="*/ 237 w 406"/>
                <a:gd name="T43" fmla="*/ 374 h 386"/>
                <a:gd name="T44" fmla="*/ 195 w 406"/>
                <a:gd name="T45" fmla="*/ 268 h 386"/>
                <a:gd name="T46" fmla="*/ 148 w 406"/>
                <a:gd name="T47" fmla="*/ 309 h 386"/>
                <a:gd name="T48" fmla="*/ 175 w 406"/>
                <a:gd name="T49" fmla="*/ 349 h 386"/>
                <a:gd name="T50" fmla="*/ 218 w 406"/>
                <a:gd name="T51" fmla="*/ 333 h 386"/>
                <a:gd name="T52" fmla="*/ 195 w 406"/>
                <a:gd name="T53" fmla="*/ 268 h 386"/>
                <a:gd name="T54" fmla="*/ 105 w 406"/>
                <a:gd name="T55" fmla="*/ 137 h 386"/>
                <a:gd name="T56" fmla="*/ 65 w 406"/>
                <a:gd name="T57" fmla="*/ 201 h 386"/>
                <a:gd name="T58" fmla="*/ 126 w 406"/>
                <a:gd name="T59" fmla="*/ 156 h 386"/>
                <a:gd name="T60" fmla="*/ 360 w 406"/>
                <a:gd name="T61" fmla="*/ 245 h 386"/>
                <a:gd name="T62" fmla="*/ 342 w 406"/>
                <a:gd name="T63" fmla="*/ 189 h 386"/>
                <a:gd name="T64" fmla="*/ 289 w 406"/>
                <a:gd name="T65" fmla="*/ 205 h 386"/>
                <a:gd name="T66" fmla="*/ 360 w 406"/>
                <a:gd name="T67" fmla="*/ 245 h 3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406" h="386">
                  <a:moveTo>
                    <a:pt x="253" y="55"/>
                  </a:moveTo>
                  <a:cubicBezTo>
                    <a:pt x="246" y="56"/>
                    <a:pt x="246" y="56"/>
                    <a:pt x="246" y="56"/>
                  </a:cubicBezTo>
                  <a:cubicBezTo>
                    <a:pt x="233" y="50"/>
                    <a:pt x="217" y="53"/>
                    <a:pt x="207" y="64"/>
                  </a:cubicBezTo>
                  <a:cubicBezTo>
                    <a:pt x="194" y="77"/>
                    <a:pt x="198" y="101"/>
                    <a:pt x="215" y="110"/>
                  </a:cubicBezTo>
                  <a:cubicBezTo>
                    <a:pt x="230" y="118"/>
                    <a:pt x="255" y="113"/>
                    <a:pt x="262" y="97"/>
                  </a:cubicBezTo>
                  <a:cubicBezTo>
                    <a:pt x="265" y="90"/>
                    <a:pt x="267" y="82"/>
                    <a:pt x="265" y="74"/>
                  </a:cubicBezTo>
                  <a:cubicBezTo>
                    <a:pt x="264" y="66"/>
                    <a:pt x="258" y="60"/>
                    <a:pt x="253" y="55"/>
                  </a:cubicBezTo>
                  <a:close/>
                  <a:moveTo>
                    <a:pt x="200" y="382"/>
                  </a:moveTo>
                  <a:cubicBezTo>
                    <a:pt x="179" y="381"/>
                    <a:pt x="156" y="380"/>
                    <a:pt x="136" y="374"/>
                  </a:cubicBezTo>
                  <a:cubicBezTo>
                    <a:pt x="121" y="371"/>
                    <a:pt x="107" y="364"/>
                    <a:pt x="105" y="348"/>
                  </a:cubicBezTo>
                  <a:cubicBezTo>
                    <a:pt x="102" y="335"/>
                    <a:pt x="105" y="320"/>
                    <a:pt x="108" y="308"/>
                  </a:cubicBezTo>
                  <a:cubicBezTo>
                    <a:pt x="111" y="294"/>
                    <a:pt x="114" y="281"/>
                    <a:pt x="111" y="268"/>
                  </a:cubicBezTo>
                  <a:cubicBezTo>
                    <a:pt x="110" y="259"/>
                    <a:pt x="105" y="256"/>
                    <a:pt x="98" y="256"/>
                  </a:cubicBezTo>
                  <a:cubicBezTo>
                    <a:pt x="98" y="257"/>
                    <a:pt x="98" y="257"/>
                    <a:pt x="98" y="257"/>
                  </a:cubicBezTo>
                  <a:cubicBezTo>
                    <a:pt x="78" y="250"/>
                    <a:pt x="59" y="244"/>
                    <a:pt x="40" y="237"/>
                  </a:cubicBezTo>
                  <a:cubicBezTo>
                    <a:pt x="28" y="233"/>
                    <a:pt x="19" y="227"/>
                    <a:pt x="10" y="218"/>
                  </a:cubicBezTo>
                  <a:cubicBezTo>
                    <a:pt x="0" y="207"/>
                    <a:pt x="5" y="196"/>
                    <a:pt x="9" y="182"/>
                  </a:cubicBezTo>
                  <a:cubicBezTo>
                    <a:pt x="14" y="160"/>
                    <a:pt x="16" y="134"/>
                    <a:pt x="27" y="114"/>
                  </a:cubicBezTo>
                  <a:cubicBezTo>
                    <a:pt x="31" y="104"/>
                    <a:pt x="38" y="95"/>
                    <a:pt x="48" y="92"/>
                  </a:cubicBezTo>
                  <a:cubicBezTo>
                    <a:pt x="56" y="88"/>
                    <a:pt x="64" y="90"/>
                    <a:pt x="73" y="92"/>
                  </a:cubicBezTo>
                  <a:cubicBezTo>
                    <a:pt x="84" y="94"/>
                    <a:pt x="98" y="97"/>
                    <a:pt x="111" y="100"/>
                  </a:cubicBezTo>
                  <a:cubicBezTo>
                    <a:pt x="121" y="104"/>
                    <a:pt x="131" y="106"/>
                    <a:pt x="142" y="108"/>
                  </a:cubicBezTo>
                  <a:cubicBezTo>
                    <a:pt x="143" y="108"/>
                    <a:pt x="146" y="110"/>
                    <a:pt x="149" y="111"/>
                  </a:cubicBezTo>
                  <a:cubicBezTo>
                    <a:pt x="155" y="111"/>
                    <a:pt x="155" y="111"/>
                    <a:pt x="155" y="111"/>
                  </a:cubicBezTo>
                  <a:cubicBezTo>
                    <a:pt x="157" y="102"/>
                    <a:pt x="158" y="96"/>
                    <a:pt x="158" y="87"/>
                  </a:cubicBezTo>
                  <a:cubicBezTo>
                    <a:pt x="161" y="68"/>
                    <a:pt x="165" y="49"/>
                    <a:pt x="169" y="31"/>
                  </a:cubicBezTo>
                  <a:cubicBezTo>
                    <a:pt x="171" y="21"/>
                    <a:pt x="171" y="12"/>
                    <a:pt x="182" y="7"/>
                  </a:cubicBezTo>
                  <a:cubicBezTo>
                    <a:pt x="194" y="1"/>
                    <a:pt x="210" y="1"/>
                    <a:pt x="225" y="0"/>
                  </a:cubicBezTo>
                  <a:cubicBezTo>
                    <a:pt x="240" y="2"/>
                    <a:pt x="256" y="3"/>
                    <a:pt x="268" y="9"/>
                  </a:cubicBezTo>
                  <a:cubicBezTo>
                    <a:pt x="278" y="15"/>
                    <a:pt x="289" y="21"/>
                    <a:pt x="297" y="26"/>
                  </a:cubicBezTo>
                  <a:cubicBezTo>
                    <a:pt x="312" y="36"/>
                    <a:pt x="309" y="60"/>
                    <a:pt x="307" y="76"/>
                  </a:cubicBezTo>
                  <a:cubicBezTo>
                    <a:pt x="305" y="95"/>
                    <a:pt x="301" y="115"/>
                    <a:pt x="299" y="134"/>
                  </a:cubicBezTo>
                  <a:cubicBezTo>
                    <a:pt x="298" y="138"/>
                    <a:pt x="298" y="138"/>
                    <a:pt x="298" y="138"/>
                  </a:cubicBezTo>
                  <a:cubicBezTo>
                    <a:pt x="312" y="144"/>
                    <a:pt x="328" y="146"/>
                    <a:pt x="345" y="149"/>
                  </a:cubicBezTo>
                  <a:cubicBezTo>
                    <a:pt x="360" y="153"/>
                    <a:pt x="384" y="154"/>
                    <a:pt x="398" y="166"/>
                  </a:cubicBezTo>
                  <a:cubicBezTo>
                    <a:pt x="405" y="175"/>
                    <a:pt x="404" y="185"/>
                    <a:pt x="404" y="194"/>
                  </a:cubicBezTo>
                  <a:cubicBezTo>
                    <a:pt x="405" y="208"/>
                    <a:pt x="406" y="221"/>
                    <a:pt x="402" y="236"/>
                  </a:cubicBezTo>
                  <a:cubicBezTo>
                    <a:pt x="400" y="249"/>
                    <a:pt x="393" y="262"/>
                    <a:pt x="389" y="275"/>
                  </a:cubicBezTo>
                  <a:cubicBezTo>
                    <a:pt x="385" y="285"/>
                    <a:pt x="380" y="293"/>
                    <a:pt x="369" y="296"/>
                  </a:cubicBezTo>
                  <a:cubicBezTo>
                    <a:pt x="353" y="301"/>
                    <a:pt x="336" y="300"/>
                    <a:pt x="320" y="298"/>
                  </a:cubicBezTo>
                  <a:cubicBezTo>
                    <a:pt x="303" y="298"/>
                    <a:pt x="287" y="296"/>
                    <a:pt x="270" y="296"/>
                  </a:cubicBezTo>
                  <a:cubicBezTo>
                    <a:pt x="264" y="294"/>
                    <a:pt x="264" y="294"/>
                    <a:pt x="264" y="294"/>
                  </a:cubicBezTo>
                  <a:cubicBezTo>
                    <a:pt x="260" y="307"/>
                    <a:pt x="256" y="319"/>
                    <a:pt x="253" y="331"/>
                  </a:cubicBezTo>
                  <a:cubicBezTo>
                    <a:pt x="249" y="345"/>
                    <a:pt x="245" y="363"/>
                    <a:pt x="237" y="374"/>
                  </a:cubicBezTo>
                  <a:cubicBezTo>
                    <a:pt x="227" y="386"/>
                    <a:pt x="212" y="383"/>
                    <a:pt x="200" y="382"/>
                  </a:cubicBezTo>
                  <a:close/>
                  <a:moveTo>
                    <a:pt x="195" y="268"/>
                  </a:moveTo>
                  <a:cubicBezTo>
                    <a:pt x="193" y="273"/>
                    <a:pt x="193" y="273"/>
                    <a:pt x="193" y="273"/>
                  </a:cubicBezTo>
                  <a:cubicBezTo>
                    <a:pt x="172" y="272"/>
                    <a:pt x="149" y="288"/>
                    <a:pt x="148" y="309"/>
                  </a:cubicBezTo>
                  <a:cubicBezTo>
                    <a:pt x="147" y="318"/>
                    <a:pt x="149" y="329"/>
                    <a:pt x="155" y="337"/>
                  </a:cubicBezTo>
                  <a:cubicBezTo>
                    <a:pt x="159" y="343"/>
                    <a:pt x="167" y="347"/>
                    <a:pt x="175" y="349"/>
                  </a:cubicBezTo>
                  <a:cubicBezTo>
                    <a:pt x="182" y="350"/>
                    <a:pt x="191" y="352"/>
                    <a:pt x="198" y="350"/>
                  </a:cubicBezTo>
                  <a:cubicBezTo>
                    <a:pt x="206" y="348"/>
                    <a:pt x="212" y="340"/>
                    <a:pt x="218" y="333"/>
                  </a:cubicBezTo>
                  <a:cubicBezTo>
                    <a:pt x="226" y="320"/>
                    <a:pt x="227" y="306"/>
                    <a:pt x="222" y="295"/>
                  </a:cubicBezTo>
                  <a:cubicBezTo>
                    <a:pt x="218" y="281"/>
                    <a:pt x="208" y="273"/>
                    <a:pt x="195" y="268"/>
                  </a:cubicBezTo>
                  <a:close/>
                  <a:moveTo>
                    <a:pt x="114" y="136"/>
                  </a:moveTo>
                  <a:cubicBezTo>
                    <a:pt x="105" y="137"/>
                    <a:pt x="105" y="137"/>
                    <a:pt x="105" y="137"/>
                  </a:cubicBezTo>
                  <a:cubicBezTo>
                    <a:pt x="91" y="129"/>
                    <a:pt x="71" y="130"/>
                    <a:pt x="58" y="142"/>
                  </a:cubicBezTo>
                  <a:cubicBezTo>
                    <a:pt x="39" y="157"/>
                    <a:pt x="43" y="190"/>
                    <a:pt x="65" y="201"/>
                  </a:cubicBezTo>
                  <a:cubicBezTo>
                    <a:pt x="84" y="211"/>
                    <a:pt x="109" y="202"/>
                    <a:pt x="119" y="183"/>
                  </a:cubicBezTo>
                  <a:cubicBezTo>
                    <a:pt x="124" y="175"/>
                    <a:pt x="128" y="165"/>
                    <a:pt x="126" y="156"/>
                  </a:cubicBezTo>
                  <a:cubicBezTo>
                    <a:pt x="124" y="148"/>
                    <a:pt x="119" y="142"/>
                    <a:pt x="114" y="136"/>
                  </a:cubicBezTo>
                  <a:close/>
                  <a:moveTo>
                    <a:pt x="360" y="245"/>
                  </a:moveTo>
                  <a:cubicBezTo>
                    <a:pt x="367" y="235"/>
                    <a:pt x="371" y="224"/>
                    <a:pt x="369" y="213"/>
                  </a:cubicBezTo>
                  <a:cubicBezTo>
                    <a:pt x="364" y="201"/>
                    <a:pt x="351" y="195"/>
                    <a:pt x="342" y="189"/>
                  </a:cubicBezTo>
                  <a:cubicBezTo>
                    <a:pt x="341" y="190"/>
                    <a:pt x="341" y="190"/>
                    <a:pt x="341" y="190"/>
                  </a:cubicBezTo>
                  <a:cubicBezTo>
                    <a:pt x="324" y="176"/>
                    <a:pt x="300" y="186"/>
                    <a:pt x="289" y="205"/>
                  </a:cubicBezTo>
                  <a:cubicBezTo>
                    <a:pt x="278" y="222"/>
                    <a:pt x="283" y="249"/>
                    <a:pt x="301" y="262"/>
                  </a:cubicBezTo>
                  <a:cubicBezTo>
                    <a:pt x="320" y="273"/>
                    <a:pt x="348" y="261"/>
                    <a:pt x="360" y="245"/>
                  </a:cubicBezTo>
                  <a:close/>
                </a:path>
              </a:pathLst>
            </a:custGeom>
            <a:solidFill>
              <a:srgbClr val="21AAD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7" name="Freeform 424">
              <a:extLst>
                <a:ext uri="{FF2B5EF4-FFF2-40B4-BE49-F238E27FC236}">
                  <a16:creationId xmlns:a16="http://schemas.microsoft.com/office/drawing/2014/main" id="{BE8A81B9-B3C0-4954-AFC0-CA4CD995864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113338" y="2674938"/>
              <a:ext cx="1171575" cy="325438"/>
            </a:xfrm>
            <a:custGeom>
              <a:avLst/>
              <a:gdLst>
                <a:gd name="T0" fmla="*/ 2 w 696"/>
                <a:gd name="T1" fmla="*/ 13 h 193"/>
                <a:gd name="T2" fmla="*/ 0 w 696"/>
                <a:gd name="T3" fmla="*/ 0 h 193"/>
                <a:gd name="T4" fmla="*/ 16 w 696"/>
                <a:gd name="T5" fmla="*/ 4 h 193"/>
                <a:gd name="T6" fmla="*/ 52 w 696"/>
                <a:gd name="T7" fmla="*/ 11 h 193"/>
                <a:gd name="T8" fmla="*/ 104 w 696"/>
                <a:gd name="T9" fmla="*/ 23 h 193"/>
                <a:gd name="T10" fmla="*/ 156 w 696"/>
                <a:gd name="T11" fmla="*/ 35 h 193"/>
                <a:gd name="T12" fmla="*/ 186 w 696"/>
                <a:gd name="T13" fmla="*/ 43 h 193"/>
                <a:gd name="T14" fmla="*/ 254 w 696"/>
                <a:gd name="T15" fmla="*/ 56 h 193"/>
                <a:gd name="T16" fmla="*/ 289 w 696"/>
                <a:gd name="T17" fmla="*/ 69 h 193"/>
                <a:gd name="T18" fmla="*/ 316 w 696"/>
                <a:gd name="T19" fmla="*/ 83 h 193"/>
                <a:gd name="T20" fmla="*/ 380 w 696"/>
                <a:gd name="T21" fmla="*/ 97 h 193"/>
                <a:gd name="T22" fmla="*/ 397 w 696"/>
                <a:gd name="T23" fmla="*/ 99 h 193"/>
                <a:gd name="T24" fmla="*/ 408 w 696"/>
                <a:gd name="T25" fmla="*/ 92 h 193"/>
                <a:gd name="T26" fmla="*/ 437 w 696"/>
                <a:gd name="T27" fmla="*/ 95 h 193"/>
                <a:gd name="T28" fmla="*/ 473 w 696"/>
                <a:gd name="T29" fmla="*/ 101 h 193"/>
                <a:gd name="T30" fmla="*/ 517 w 696"/>
                <a:gd name="T31" fmla="*/ 110 h 193"/>
                <a:gd name="T32" fmla="*/ 586 w 696"/>
                <a:gd name="T33" fmla="*/ 125 h 193"/>
                <a:gd name="T34" fmla="*/ 648 w 696"/>
                <a:gd name="T35" fmla="*/ 140 h 193"/>
                <a:gd name="T36" fmla="*/ 696 w 696"/>
                <a:gd name="T37" fmla="*/ 150 h 193"/>
                <a:gd name="T38" fmla="*/ 691 w 696"/>
                <a:gd name="T39" fmla="*/ 159 h 193"/>
                <a:gd name="T40" fmla="*/ 635 w 696"/>
                <a:gd name="T41" fmla="*/ 193 h 193"/>
                <a:gd name="T42" fmla="*/ 632 w 696"/>
                <a:gd name="T43" fmla="*/ 186 h 193"/>
                <a:gd name="T44" fmla="*/ 623 w 696"/>
                <a:gd name="T45" fmla="*/ 186 h 193"/>
                <a:gd name="T46" fmla="*/ 613 w 696"/>
                <a:gd name="T47" fmla="*/ 184 h 193"/>
                <a:gd name="T48" fmla="*/ 586 w 696"/>
                <a:gd name="T49" fmla="*/ 178 h 193"/>
                <a:gd name="T50" fmla="*/ 528 w 696"/>
                <a:gd name="T51" fmla="*/ 166 h 193"/>
                <a:gd name="T52" fmla="*/ 411 w 696"/>
                <a:gd name="T53" fmla="*/ 141 h 193"/>
                <a:gd name="T54" fmla="*/ 340 w 696"/>
                <a:gd name="T55" fmla="*/ 126 h 193"/>
                <a:gd name="T56" fmla="*/ 312 w 696"/>
                <a:gd name="T57" fmla="*/ 120 h 193"/>
                <a:gd name="T58" fmla="*/ 282 w 696"/>
                <a:gd name="T59" fmla="*/ 115 h 193"/>
                <a:gd name="T60" fmla="*/ 247 w 696"/>
                <a:gd name="T61" fmla="*/ 108 h 193"/>
                <a:gd name="T62" fmla="*/ 208 w 696"/>
                <a:gd name="T63" fmla="*/ 99 h 193"/>
                <a:gd name="T64" fmla="*/ 131 w 696"/>
                <a:gd name="T65" fmla="*/ 81 h 193"/>
                <a:gd name="T66" fmla="*/ 67 w 696"/>
                <a:gd name="T67" fmla="*/ 66 h 193"/>
                <a:gd name="T68" fmla="*/ 43 w 696"/>
                <a:gd name="T69" fmla="*/ 63 h 193"/>
                <a:gd name="T70" fmla="*/ 35 w 696"/>
                <a:gd name="T71" fmla="*/ 59 h 193"/>
                <a:gd name="T72" fmla="*/ 34 w 696"/>
                <a:gd name="T73" fmla="*/ 59 h 193"/>
                <a:gd name="T74" fmla="*/ 0 w 696"/>
                <a:gd name="T75" fmla="*/ 17 h 193"/>
                <a:gd name="T76" fmla="*/ 3 w 696"/>
                <a:gd name="T77" fmla="*/ 14 h 193"/>
                <a:gd name="T78" fmla="*/ 2 w 696"/>
                <a:gd name="T79" fmla="*/ 13 h 1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696" h="193">
                  <a:moveTo>
                    <a:pt x="2" y="13"/>
                  </a:moveTo>
                  <a:cubicBezTo>
                    <a:pt x="1" y="9"/>
                    <a:pt x="0" y="5"/>
                    <a:pt x="0" y="0"/>
                  </a:cubicBezTo>
                  <a:cubicBezTo>
                    <a:pt x="5" y="3"/>
                    <a:pt x="12" y="3"/>
                    <a:pt x="16" y="4"/>
                  </a:cubicBezTo>
                  <a:cubicBezTo>
                    <a:pt x="28" y="6"/>
                    <a:pt x="40" y="9"/>
                    <a:pt x="52" y="11"/>
                  </a:cubicBezTo>
                  <a:cubicBezTo>
                    <a:pt x="69" y="13"/>
                    <a:pt x="87" y="19"/>
                    <a:pt x="104" y="23"/>
                  </a:cubicBezTo>
                  <a:cubicBezTo>
                    <a:pt x="121" y="28"/>
                    <a:pt x="138" y="30"/>
                    <a:pt x="156" y="35"/>
                  </a:cubicBezTo>
                  <a:cubicBezTo>
                    <a:pt x="166" y="39"/>
                    <a:pt x="176" y="41"/>
                    <a:pt x="186" y="43"/>
                  </a:cubicBezTo>
                  <a:cubicBezTo>
                    <a:pt x="208" y="48"/>
                    <a:pt x="231" y="51"/>
                    <a:pt x="254" y="56"/>
                  </a:cubicBezTo>
                  <a:cubicBezTo>
                    <a:pt x="266" y="59"/>
                    <a:pt x="278" y="61"/>
                    <a:pt x="289" y="69"/>
                  </a:cubicBezTo>
                  <a:cubicBezTo>
                    <a:pt x="298" y="76"/>
                    <a:pt x="306" y="81"/>
                    <a:pt x="316" y="83"/>
                  </a:cubicBezTo>
                  <a:cubicBezTo>
                    <a:pt x="337" y="90"/>
                    <a:pt x="360" y="91"/>
                    <a:pt x="380" y="97"/>
                  </a:cubicBezTo>
                  <a:cubicBezTo>
                    <a:pt x="387" y="98"/>
                    <a:pt x="392" y="101"/>
                    <a:pt x="397" y="99"/>
                  </a:cubicBezTo>
                  <a:cubicBezTo>
                    <a:pt x="401" y="98"/>
                    <a:pt x="404" y="93"/>
                    <a:pt x="408" y="92"/>
                  </a:cubicBezTo>
                  <a:cubicBezTo>
                    <a:pt x="415" y="89"/>
                    <a:pt x="430" y="94"/>
                    <a:pt x="437" y="95"/>
                  </a:cubicBezTo>
                  <a:cubicBezTo>
                    <a:pt x="449" y="98"/>
                    <a:pt x="461" y="98"/>
                    <a:pt x="473" y="101"/>
                  </a:cubicBezTo>
                  <a:cubicBezTo>
                    <a:pt x="486" y="104"/>
                    <a:pt x="502" y="107"/>
                    <a:pt x="517" y="110"/>
                  </a:cubicBezTo>
                  <a:cubicBezTo>
                    <a:pt x="541" y="115"/>
                    <a:pt x="563" y="120"/>
                    <a:pt x="586" y="125"/>
                  </a:cubicBezTo>
                  <a:cubicBezTo>
                    <a:pt x="607" y="129"/>
                    <a:pt x="626" y="135"/>
                    <a:pt x="648" y="140"/>
                  </a:cubicBezTo>
                  <a:cubicBezTo>
                    <a:pt x="663" y="143"/>
                    <a:pt x="679" y="146"/>
                    <a:pt x="696" y="150"/>
                  </a:cubicBezTo>
                  <a:cubicBezTo>
                    <a:pt x="694" y="153"/>
                    <a:pt x="692" y="156"/>
                    <a:pt x="691" y="159"/>
                  </a:cubicBezTo>
                  <a:cubicBezTo>
                    <a:pt x="671" y="168"/>
                    <a:pt x="652" y="180"/>
                    <a:pt x="635" y="193"/>
                  </a:cubicBezTo>
                  <a:cubicBezTo>
                    <a:pt x="632" y="186"/>
                    <a:pt x="632" y="186"/>
                    <a:pt x="632" y="186"/>
                  </a:cubicBezTo>
                  <a:cubicBezTo>
                    <a:pt x="628" y="185"/>
                    <a:pt x="625" y="186"/>
                    <a:pt x="623" y="186"/>
                  </a:cubicBezTo>
                  <a:cubicBezTo>
                    <a:pt x="619" y="185"/>
                    <a:pt x="616" y="184"/>
                    <a:pt x="613" y="184"/>
                  </a:cubicBezTo>
                  <a:cubicBezTo>
                    <a:pt x="604" y="182"/>
                    <a:pt x="594" y="180"/>
                    <a:pt x="586" y="178"/>
                  </a:cubicBezTo>
                  <a:cubicBezTo>
                    <a:pt x="567" y="174"/>
                    <a:pt x="547" y="170"/>
                    <a:pt x="528" y="166"/>
                  </a:cubicBezTo>
                  <a:cubicBezTo>
                    <a:pt x="489" y="157"/>
                    <a:pt x="450" y="149"/>
                    <a:pt x="411" y="141"/>
                  </a:cubicBezTo>
                  <a:cubicBezTo>
                    <a:pt x="388" y="136"/>
                    <a:pt x="364" y="129"/>
                    <a:pt x="340" y="126"/>
                  </a:cubicBezTo>
                  <a:cubicBezTo>
                    <a:pt x="330" y="125"/>
                    <a:pt x="321" y="123"/>
                    <a:pt x="312" y="120"/>
                  </a:cubicBezTo>
                  <a:cubicBezTo>
                    <a:pt x="301" y="117"/>
                    <a:pt x="293" y="116"/>
                    <a:pt x="282" y="115"/>
                  </a:cubicBezTo>
                  <a:cubicBezTo>
                    <a:pt x="270" y="114"/>
                    <a:pt x="259" y="110"/>
                    <a:pt x="247" y="108"/>
                  </a:cubicBezTo>
                  <a:cubicBezTo>
                    <a:pt x="233" y="105"/>
                    <a:pt x="222" y="102"/>
                    <a:pt x="208" y="99"/>
                  </a:cubicBezTo>
                  <a:cubicBezTo>
                    <a:pt x="183" y="94"/>
                    <a:pt x="158" y="87"/>
                    <a:pt x="131" y="81"/>
                  </a:cubicBezTo>
                  <a:cubicBezTo>
                    <a:pt x="110" y="77"/>
                    <a:pt x="89" y="71"/>
                    <a:pt x="67" y="66"/>
                  </a:cubicBezTo>
                  <a:cubicBezTo>
                    <a:pt x="60" y="64"/>
                    <a:pt x="51" y="64"/>
                    <a:pt x="43" y="63"/>
                  </a:cubicBezTo>
                  <a:cubicBezTo>
                    <a:pt x="39" y="62"/>
                    <a:pt x="36" y="61"/>
                    <a:pt x="35" y="59"/>
                  </a:cubicBezTo>
                  <a:cubicBezTo>
                    <a:pt x="34" y="59"/>
                    <a:pt x="34" y="59"/>
                    <a:pt x="34" y="59"/>
                  </a:cubicBezTo>
                  <a:cubicBezTo>
                    <a:pt x="24" y="44"/>
                    <a:pt x="12" y="30"/>
                    <a:pt x="0" y="17"/>
                  </a:cubicBezTo>
                  <a:cubicBezTo>
                    <a:pt x="3" y="14"/>
                    <a:pt x="3" y="14"/>
                    <a:pt x="3" y="14"/>
                  </a:cubicBezTo>
                  <a:lnTo>
                    <a:pt x="2" y="13"/>
                  </a:lnTo>
                  <a:close/>
                </a:path>
              </a:pathLst>
            </a:custGeom>
            <a:solidFill>
              <a:srgbClr val="21AAD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8" name="Freeform 425">
              <a:extLst>
                <a:ext uri="{FF2B5EF4-FFF2-40B4-BE49-F238E27FC236}">
                  <a16:creationId xmlns:a16="http://schemas.microsoft.com/office/drawing/2014/main" id="{34B55EC3-8130-43D2-B925-D7605D01F066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5656263" y="3384550"/>
              <a:ext cx="587375" cy="593725"/>
            </a:xfrm>
            <a:custGeom>
              <a:avLst/>
              <a:gdLst>
                <a:gd name="T0" fmla="*/ 210 w 349"/>
                <a:gd name="T1" fmla="*/ 12 h 353"/>
                <a:gd name="T2" fmla="*/ 231 w 349"/>
                <a:gd name="T3" fmla="*/ 20 h 353"/>
                <a:gd name="T4" fmla="*/ 232 w 349"/>
                <a:gd name="T5" fmla="*/ 19 h 353"/>
                <a:gd name="T6" fmla="*/ 320 w 349"/>
                <a:gd name="T7" fmla="*/ 102 h 353"/>
                <a:gd name="T8" fmla="*/ 340 w 349"/>
                <a:gd name="T9" fmla="*/ 208 h 353"/>
                <a:gd name="T10" fmla="*/ 339 w 349"/>
                <a:gd name="T11" fmla="*/ 210 h 353"/>
                <a:gd name="T12" fmla="*/ 290 w 349"/>
                <a:gd name="T13" fmla="*/ 295 h 353"/>
                <a:gd name="T14" fmla="*/ 174 w 349"/>
                <a:gd name="T15" fmla="*/ 349 h 353"/>
                <a:gd name="T16" fmla="*/ 82 w 349"/>
                <a:gd name="T17" fmla="*/ 333 h 353"/>
                <a:gd name="T18" fmla="*/ 19 w 349"/>
                <a:gd name="T19" fmla="*/ 261 h 353"/>
                <a:gd name="T20" fmla="*/ 4 w 349"/>
                <a:gd name="T21" fmla="*/ 216 h 353"/>
                <a:gd name="T22" fmla="*/ 0 w 349"/>
                <a:gd name="T23" fmla="*/ 184 h 353"/>
                <a:gd name="T24" fmla="*/ 1 w 349"/>
                <a:gd name="T25" fmla="*/ 163 h 353"/>
                <a:gd name="T26" fmla="*/ 37 w 349"/>
                <a:gd name="T27" fmla="*/ 77 h 353"/>
                <a:gd name="T28" fmla="*/ 126 w 349"/>
                <a:gd name="T29" fmla="*/ 10 h 353"/>
                <a:gd name="T30" fmla="*/ 210 w 349"/>
                <a:gd name="T31" fmla="*/ 12 h 353"/>
                <a:gd name="T32" fmla="*/ 303 w 349"/>
                <a:gd name="T33" fmla="*/ 201 h 353"/>
                <a:gd name="T34" fmla="*/ 283 w 349"/>
                <a:gd name="T35" fmla="*/ 110 h 353"/>
                <a:gd name="T36" fmla="*/ 250 w 349"/>
                <a:gd name="T37" fmla="*/ 71 h 353"/>
                <a:gd name="T38" fmla="*/ 210 w 349"/>
                <a:gd name="T39" fmla="*/ 52 h 353"/>
                <a:gd name="T40" fmla="*/ 209 w 349"/>
                <a:gd name="T41" fmla="*/ 55 h 353"/>
                <a:gd name="T42" fmla="*/ 148 w 349"/>
                <a:gd name="T43" fmla="*/ 44 h 353"/>
                <a:gd name="T44" fmla="*/ 68 w 349"/>
                <a:gd name="T45" fmla="*/ 88 h 353"/>
                <a:gd name="T46" fmla="*/ 41 w 349"/>
                <a:gd name="T47" fmla="*/ 227 h 353"/>
                <a:gd name="T48" fmla="*/ 170 w 349"/>
                <a:gd name="T49" fmla="*/ 309 h 353"/>
                <a:gd name="T50" fmla="*/ 258 w 349"/>
                <a:gd name="T51" fmla="*/ 269 h 353"/>
                <a:gd name="T52" fmla="*/ 303 w 349"/>
                <a:gd name="T53" fmla="*/ 201 h 3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349" h="353">
                  <a:moveTo>
                    <a:pt x="210" y="12"/>
                  </a:moveTo>
                  <a:cubicBezTo>
                    <a:pt x="217" y="15"/>
                    <a:pt x="224" y="17"/>
                    <a:pt x="231" y="20"/>
                  </a:cubicBezTo>
                  <a:cubicBezTo>
                    <a:pt x="232" y="19"/>
                    <a:pt x="232" y="19"/>
                    <a:pt x="232" y="19"/>
                  </a:cubicBezTo>
                  <a:cubicBezTo>
                    <a:pt x="264" y="43"/>
                    <a:pt x="299" y="67"/>
                    <a:pt x="320" y="102"/>
                  </a:cubicBezTo>
                  <a:cubicBezTo>
                    <a:pt x="341" y="134"/>
                    <a:pt x="349" y="172"/>
                    <a:pt x="340" y="208"/>
                  </a:cubicBezTo>
                  <a:cubicBezTo>
                    <a:pt x="340" y="209"/>
                    <a:pt x="340" y="210"/>
                    <a:pt x="339" y="210"/>
                  </a:cubicBezTo>
                  <a:cubicBezTo>
                    <a:pt x="332" y="244"/>
                    <a:pt x="314" y="272"/>
                    <a:pt x="290" y="295"/>
                  </a:cubicBezTo>
                  <a:cubicBezTo>
                    <a:pt x="258" y="324"/>
                    <a:pt x="216" y="344"/>
                    <a:pt x="174" y="349"/>
                  </a:cubicBezTo>
                  <a:cubicBezTo>
                    <a:pt x="143" y="353"/>
                    <a:pt x="111" y="348"/>
                    <a:pt x="82" y="333"/>
                  </a:cubicBezTo>
                  <a:cubicBezTo>
                    <a:pt x="54" y="316"/>
                    <a:pt x="33" y="290"/>
                    <a:pt x="19" y="261"/>
                  </a:cubicBezTo>
                  <a:cubicBezTo>
                    <a:pt x="12" y="247"/>
                    <a:pt x="7" y="231"/>
                    <a:pt x="4" y="216"/>
                  </a:cubicBezTo>
                  <a:cubicBezTo>
                    <a:pt x="2" y="205"/>
                    <a:pt x="0" y="194"/>
                    <a:pt x="0" y="184"/>
                  </a:cubicBezTo>
                  <a:cubicBezTo>
                    <a:pt x="0" y="177"/>
                    <a:pt x="0" y="170"/>
                    <a:pt x="1" y="163"/>
                  </a:cubicBezTo>
                  <a:cubicBezTo>
                    <a:pt x="3" y="132"/>
                    <a:pt x="16" y="101"/>
                    <a:pt x="37" y="77"/>
                  </a:cubicBezTo>
                  <a:cubicBezTo>
                    <a:pt x="59" y="47"/>
                    <a:pt x="90" y="21"/>
                    <a:pt x="126" y="10"/>
                  </a:cubicBezTo>
                  <a:cubicBezTo>
                    <a:pt x="154" y="0"/>
                    <a:pt x="182" y="4"/>
                    <a:pt x="210" y="12"/>
                  </a:cubicBezTo>
                  <a:close/>
                  <a:moveTo>
                    <a:pt x="303" y="201"/>
                  </a:moveTo>
                  <a:cubicBezTo>
                    <a:pt x="307" y="170"/>
                    <a:pt x="297" y="136"/>
                    <a:pt x="283" y="110"/>
                  </a:cubicBezTo>
                  <a:cubicBezTo>
                    <a:pt x="276" y="94"/>
                    <a:pt x="264" y="81"/>
                    <a:pt x="250" y="71"/>
                  </a:cubicBezTo>
                  <a:cubicBezTo>
                    <a:pt x="238" y="63"/>
                    <a:pt x="223" y="57"/>
                    <a:pt x="210" y="52"/>
                  </a:cubicBezTo>
                  <a:cubicBezTo>
                    <a:pt x="209" y="55"/>
                    <a:pt x="209" y="55"/>
                    <a:pt x="209" y="55"/>
                  </a:cubicBezTo>
                  <a:cubicBezTo>
                    <a:pt x="189" y="46"/>
                    <a:pt x="170" y="40"/>
                    <a:pt x="148" y="44"/>
                  </a:cubicBezTo>
                  <a:cubicBezTo>
                    <a:pt x="117" y="48"/>
                    <a:pt x="89" y="65"/>
                    <a:pt x="68" y="88"/>
                  </a:cubicBezTo>
                  <a:cubicBezTo>
                    <a:pt x="32" y="124"/>
                    <a:pt x="23" y="179"/>
                    <a:pt x="41" y="227"/>
                  </a:cubicBezTo>
                  <a:cubicBezTo>
                    <a:pt x="61" y="281"/>
                    <a:pt x="112" y="314"/>
                    <a:pt x="170" y="309"/>
                  </a:cubicBezTo>
                  <a:cubicBezTo>
                    <a:pt x="203" y="304"/>
                    <a:pt x="233" y="289"/>
                    <a:pt x="258" y="269"/>
                  </a:cubicBezTo>
                  <a:cubicBezTo>
                    <a:pt x="280" y="251"/>
                    <a:pt x="298" y="228"/>
                    <a:pt x="303" y="201"/>
                  </a:cubicBezTo>
                  <a:close/>
                </a:path>
              </a:pathLst>
            </a:custGeom>
            <a:solidFill>
              <a:srgbClr val="21AAD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9" name="Freeform 426">
              <a:extLst>
                <a:ext uri="{FF2B5EF4-FFF2-40B4-BE49-F238E27FC236}">
                  <a16:creationId xmlns:a16="http://schemas.microsoft.com/office/drawing/2014/main" id="{70C1AD39-3909-4E3A-A781-1255C6E4704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346700" y="3635375"/>
              <a:ext cx="317500" cy="112713"/>
            </a:xfrm>
            <a:custGeom>
              <a:avLst/>
              <a:gdLst>
                <a:gd name="T0" fmla="*/ 27 w 188"/>
                <a:gd name="T1" fmla="*/ 4 h 67"/>
                <a:gd name="T2" fmla="*/ 37 w 188"/>
                <a:gd name="T3" fmla="*/ 6 h 67"/>
                <a:gd name="T4" fmla="*/ 57 w 188"/>
                <a:gd name="T5" fmla="*/ 12 h 67"/>
                <a:gd name="T6" fmla="*/ 97 w 188"/>
                <a:gd name="T7" fmla="*/ 21 h 67"/>
                <a:gd name="T8" fmla="*/ 142 w 188"/>
                <a:gd name="T9" fmla="*/ 28 h 67"/>
                <a:gd name="T10" fmla="*/ 165 w 188"/>
                <a:gd name="T11" fmla="*/ 33 h 67"/>
                <a:gd name="T12" fmla="*/ 181 w 188"/>
                <a:gd name="T13" fmla="*/ 35 h 67"/>
                <a:gd name="T14" fmla="*/ 184 w 188"/>
                <a:gd name="T15" fmla="*/ 35 h 67"/>
                <a:gd name="T16" fmla="*/ 188 w 188"/>
                <a:gd name="T17" fmla="*/ 67 h 67"/>
                <a:gd name="T18" fmla="*/ 185 w 188"/>
                <a:gd name="T19" fmla="*/ 67 h 67"/>
                <a:gd name="T20" fmla="*/ 164 w 188"/>
                <a:gd name="T21" fmla="*/ 63 h 67"/>
                <a:gd name="T22" fmla="*/ 144 w 188"/>
                <a:gd name="T23" fmla="*/ 59 h 67"/>
                <a:gd name="T24" fmla="*/ 87 w 188"/>
                <a:gd name="T25" fmla="*/ 45 h 67"/>
                <a:gd name="T26" fmla="*/ 0 w 188"/>
                <a:gd name="T27" fmla="*/ 28 h 67"/>
                <a:gd name="T28" fmla="*/ 18 w 188"/>
                <a:gd name="T29" fmla="*/ 0 h 67"/>
                <a:gd name="T30" fmla="*/ 18 w 188"/>
                <a:gd name="T31" fmla="*/ 0 h 67"/>
                <a:gd name="T32" fmla="*/ 27 w 188"/>
                <a:gd name="T33" fmla="*/ 4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88" h="67">
                  <a:moveTo>
                    <a:pt x="27" y="4"/>
                  </a:moveTo>
                  <a:cubicBezTo>
                    <a:pt x="30" y="4"/>
                    <a:pt x="33" y="5"/>
                    <a:pt x="37" y="6"/>
                  </a:cubicBezTo>
                  <a:cubicBezTo>
                    <a:pt x="43" y="7"/>
                    <a:pt x="50" y="10"/>
                    <a:pt x="57" y="12"/>
                  </a:cubicBezTo>
                  <a:cubicBezTo>
                    <a:pt x="70" y="15"/>
                    <a:pt x="84" y="18"/>
                    <a:pt x="97" y="21"/>
                  </a:cubicBezTo>
                  <a:cubicBezTo>
                    <a:pt x="111" y="23"/>
                    <a:pt x="126" y="27"/>
                    <a:pt x="142" y="28"/>
                  </a:cubicBezTo>
                  <a:cubicBezTo>
                    <a:pt x="150" y="30"/>
                    <a:pt x="158" y="32"/>
                    <a:pt x="165" y="33"/>
                  </a:cubicBezTo>
                  <a:cubicBezTo>
                    <a:pt x="171" y="33"/>
                    <a:pt x="176" y="34"/>
                    <a:pt x="181" y="35"/>
                  </a:cubicBezTo>
                  <a:cubicBezTo>
                    <a:pt x="184" y="35"/>
                    <a:pt x="184" y="35"/>
                    <a:pt x="184" y="35"/>
                  </a:cubicBezTo>
                  <a:cubicBezTo>
                    <a:pt x="184" y="45"/>
                    <a:pt x="186" y="56"/>
                    <a:pt x="188" y="67"/>
                  </a:cubicBezTo>
                  <a:cubicBezTo>
                    <a:pt x="185" y="67"/>
                    <a:pt x="185" y="67"/>
                    <a:pt x="185" y="67"/>
                  </a:cubicBezTo>
                  <a:cubicBezTo>
                    <a:pt x="181" y="61"/>
                    <a:pt x="169" y="64"/>
                    <a:pt x="164" y="63"/>
                  </a:cubicBezTo>
                  <a:cubicBezTo>
                    <a:pt x="157" y="62"/>
                    <a:pt x="151" y="60"/>
                    <a:pt x="144" y="59"/>
                  </a:cubicBezTo>
                  <a:cubicBezTo>
                    <a:pt x="125" y="55"/>
                    <a:pt x="107" y="49"/>
                    <a:pt x="87" y="45"/>
                  </a:cubicBezTo>
                  <a:cubicBezTo>
                    <a:pt x="58" y="39"/>
                    <a:pt x="29" y="34"/>
                    <a:pt x="0" y="28"/>
                  </a:cubicBezTo>
                  <a:cubicBezTo>
                    <a:pt x="6" y="19"/>
                    <a:pt x="13" y="10"/>
                    <a:pt x="18" y="0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22" y="1"/>
                    <a:pt x="23" y="3"/>
                    <a:pt x="27" y="4"/>
                  </a:cubicBezTo>
                  <a:close/>
                </a:path>
              </a:pathLst>
            </a:custGeom>
            <a:solidFill>
              <a:srgbClr val="21AAD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0" name="Freeform 427">
              <a:extLst>
                <a:ext uri="{FF2B5EF4-FFF2-40B4-BE49-F238E27FC236}">
                  <a16:creationId xmlns:a16="http://schemas.microsoft.com/office/drawing/2014/main" id="{BDDBF14A-21F5-44AB-83EA-F6211CF54C23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827588" y="3221038"/>
              <a:ext cx="596900" cy="579438"/>
            </a:xfrm>
            <a:custGeom>
              <a:avLst/>
              <a:gdLst>
                <a:gd name="T0" fmla="*/ 273 w 355"/>
                <a:gd name="T1" fmla="*/ 309 h 345"/>
                <a:gd name="T2" fmla="*/ 173 w 355"/>
                <a:gd name="T3" fmla="*/ 342 h 345"/>
                <a:gd name="T4" fmla="*/ 85 w 355"/>
                <a:gd name="T5" fmla="*/ 322 h 345"/>
                <a:gd name="T6" fmla="*/ 19 w 355"/>
                <a:gd name="T7" fmla="*/ 251 h 345"/>
                <a:gd name="T8" fmla="*/ 10 w 355"/>
                <a:gd name="T9" fmla="*/ 238 h 345"/>
                <a:gd name="T10" fmla="*/ 1 w 355"/>
                <a:gd name="T11" fmla="*/ 209 h 345"/>
                <a:gd name="T12" fmla="*/ 7 w 355"/>
                <a:gd name="T13" fmla="*/ 155 h 345"/>
                <a:gd name="T14" fmla="*/ 13 w 355"/>
                <a:gd name="T15" fmla="*/ 134 h 345"/>
                <a:gd name="T16" fmla="*/ 25 w 355"/>
                <a:gd name="T17" fmla="*/ 96 h 345"/>
                <a:gd name="T18" fmla="*/ 28 w 355"/>
                <a:gd name="T19" fmla="*/ 89 h 345"/>
                <a:gd name="T20" fmla="*/ 52 w 355"/>
                <a:gd name="T21" fmla="*/ 45 h 345"/>
                <a:gd name="T22" fmla="*/ 167 w 355"/>
                <a:gd name="T23" fmla="*/ 0 h 345"/>
                <a:gd name="T24" fmla="*/ 213 w 355"/>
                <a:gd name="T25" fmla="*/ 3 h 345"/>
                <a:gd name="T26" fmla="*/ 232 w 355"/>
                <a:gd name="T27" fmla="*/ 7 h 345"/>
                <a:gd name="T28" fmla="*/ 276 w 355"/>
                <a:gd name="T29" fmla="*/ 30 h 345"/>
                <a:gd name="T30" fmla="*/ 277 w 355"/>
                <a:gd name="T31" fmla="*/ 29 h 345"/>
                <a:gd name="T32" fmla="*/ 347 w 355"/>
                <a:gd name="T33" fmla="*/ 120 h 345"/>
                <a:gd name="T34" fmla="*/ 341 w 355"/>
                <a:gd name="T35" fmla="*/ 214 h 345"/>
                <a:gd name="T36" fmla="*/ 327 w 355"/>
                <a:gd name="T37" fmla="*/ 246 h 345"/>
                <a:gd name="T38" fmla="*/ 309 w 355"/>
                <a:gd name="T39" fmla="*/ 274 h 345"/>
                <a:gd name="T40" fmla="*/ 273 w 355"/>
                <a:gd name="T41" fmla="*/ 309 h 345"/>
                <a:gd name="T42" fmla="*/ 155 w 355"/>
                <a:gd name="T43" fmla="*/ 307 h 345"/>
                <a:gd name="T44" fmla="*/ 236 w 355"/>
                <a:gd name="T45" fmla="*/ 292 h 345"/>
                <a:gd name="T46" fmla="*/ 292 w 355"/>
                <a:gd name="T47" fmla="*/ 223 h 345"/>
                <a:gd name="T48" fmla="*/ 307 w 355"/>
                <a:gd name="T49" fmla="*/ 125 h 345"/>
                <a:gd name="T50" fmla="*/ 245 w 355"/>
                <a:gd name="T51" fmla="*/ 61 h 345"/>
                <a:gd name="T52" fmla="*/ 236 w 355"/>
                <a:gd name="T53" fmla="*/ 61 h 345"/>
                <a:gd name="T54" fmla="*/ 185 w 355"/>
                <a:gd name="T55" fmla="*/ 45 h 345"/>
                <a:gd name="T56" fmla="*/ 105 w 355"/>
                <a:gd name="T57" fmla="*/ 70 h 345"/>
                <a:gd name="T58" fmla="*/ 57 w 355"/>
                <a:gd name="T59" fmla="*/ 129 h 345"/>
                <a:gd name="T60" fmla="*/ 52 w 355"/>
                <a:gd name="T61" fmla="*/ 197 h 345"/>
                <a:gd name="T62" fmla="*/ 155 w 355"/>
                <a:gd name="T63" fmla="*/ 307 h 3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355" h="345">
                  <a:moveTo>
                    <a:pt x="273" y="309"/>
                  </a:moveTo>
                  <a:cubicBezTo>
                    <a:pt x="244" y="331"/>
                    <a:pt x="209" y="340"/>
                    <a:pt x="173" y="342"/>
                  </a:cubicBezTo>
                  <a:cubicBezTo>
                    <a:pt x="142" y="345"/>
                    <a:pt x="111" y="342"/>
                    <a:pt x="85" y="322"/>
                  </a:cubicBezTo>
                  <a:cubicBezTo>
                    <a:pt x="59" y="304"/>
                    <a:pt x="36" y="278"/>
                    <a:pt x="19" y="251"/>
                  </a:cubicBezTo>
                  <a:cubicBezTo>
                    <a:pt x="16" y="247"/>
                    <a:pt x="13" y="243"/>
                    <a:pt x="10" y="238"/>
                  </a:cubicBezTo>
                  <a:cubicBezTo>
                    <a:pt x="6" y="229"/>
                    <a:pt x="3" y="220"/>
                    <a:pt x="1" y="209"/>
                  </a:cubicBezTo>
                  <a:cubicBezTo>
                    <a:pt x="0" y="191"/>
                    <a:pt x="3" y="174"/>
                    <a:pt x="7" y="155"/>
                  </a:cubicBezTo>
                  <a:cubicBezTo>
                    <a:pt x="9" y="148"/>
                    <a:pt x="11" y="141"/>
                    <a:pt x="13" y="134"/>
                  </a:cubicBezTo>
                  <a:cubicBezTo>
                    <a:pt x="16" y="121"/>
                    <a:pt x="20" y="108"/>
                    <a:pt x="25" y="96"/>
                  </a:cubicBezTo>
                  <a:cubicBezTo>
                    <a:pt x="26" y="93"/>
                    <a:pt x="27" y="91"/>
                    <a:pt x="28" y="89"/>
                  </a:cubicBezTo>
                  <a:cubicBezTo>
                    <a:pt x="33" y="73"/>
                    <a:pt x="41" y="58"/>
                    <a:pt x="52" y="45"/>
                  </a:cubicBezTo>
                  <a:cubicBezTo>
                    <a:pt x="80" y="13"/>
                    <a:pt x="126" y="4"/>
                    <a:pt x="167" y="0"/>
                  </a:cubicBezTo>
                  <a:cubicBezTo>
                    <a:pt x="183" y="0"/>
                    <a:pt x="198" y="0"/>
                    <a:pt x="213" y="3"/>
                  </a:cubicBezTo>
                  <a:cubicBezTo>
                    <a:pt x="219" y="4"/>
                    <a:pt x="226" y="5"/>
                    <a:pt x="232" y="7"/>
                  </a:cubicBezTo>
                  <a:cubicBezTo>
                    <a:pt x="248" y="12"/>
                    <a:pt x="262" y="20"/>
                    <a:pt x="276" y="30"/>
                  </a:cubicBezTo>
                  <a:cubicBezTo>
                    <a:pt x="277" y="29"/>
                    <a:pt x="277" y="29"/>
                    <a:pt x="277" y="29"/>
                  </a:cubicBezTo>
                  <a:cubicBezTo>
                    <a:pt x="306" y="54"/>
                    <a:pt x="336" y="81"/>
                    <a:pt x="347" y="120"/>
                  </a:cubicBezTo>
                  <a:cubicBezTo>
                    <a:pt x="355" y="151"/>
                    <a:pt x="351" y="184"/>
                    <a:pt x="341" y="214"/>
                  </a:cubicBezTo>
                  <a:cubicBezTo>
                    <a:pt x="338" y="225"/>
                    <a:pt x="333" y="236"/>
                    <a:pt x="327" y="246"/>
                  </a:cubicBezTo>
                  <a:cubicBezTo>
                    <a:pt x="322" y="256"/>
                    <a:pt x="315" y="265"/>
                    <a:pt x="309" y="274"/>
                  </a:cubicBezTo>
                  <a:cubicBezTo>
                    <a:pt x="298" y="287"/>
                    <a:pt x="287" y="299"/>
                    <a:pt x="273" y="309"/>
                  </a:cubicBezTo>
                  <a:close/>
                  <a:moveTo>
                    <a:pt x="155" y="307"/>
                  </a:moveTo>
                  <a:cubicBezTo>
                    <a:pt x="184" y="313"/>
                    <a:pt x="212" y="308"/>
                    <a:pt x="236" y="292"/>
                  </a:cubicBezTo>
                  <a:cubicBezTo>
                    <a:pt x="261" y="275"/>
                    <a:pt x="279" y="248"/>
                    <a:pt x="292" y="223"/>
                  </a:cubicBezTo>
                  <a:cubicBezTo>
                    <a:pt x="305" y="194"/>
                    <a:pt x="316" y="157"/>
                    <a:pt x="307" y="125"/>
                  </a:cubicBezTo>
                  <a:cubicBezTo>
                    <a:pt x="298" y="95"/>
                    <a:pt x="271" y="77"/>
                    <a:pt x="245" y="61"/>
                  </a:cubicBezTo>
                  <a:cubicBezTo>
                    <a:pt x="236" y="61"/>
                    <a:pt x="236" y="61"/>
                    <a:pt x="236" y="61"/>
                  </a:cubicBezTo>
                  <a:cubicBezTo>
                    <a:pt x="220" y="52"/>
                    <a:pt x="204" y="45"/>
                    <a:pt x="185" y="45"/>
                  </a:cubicBezTo>
                  <a:cubicBezTo>
                    <a:pt x="158" y="46"/>
                    <a:pt x="129" y="56"/>
                    <a:pt x="105" y="70"/>
                  </a:cubicBezTo>
                  <a:cubicBezTo>
                    <a:pt x="84" y="85"/>
                    <a:pt x="66" y="104"/>
                    <a:pt x="57" y="129"/>
                  </a:cubicBezTo>
                  <a:cubicBezTo>
                    <a:pt x="49" y="150"/>
                    <a:pt x="49" y="175"/>
                    <a:pt x="52" y="197"/>
                  </a:cubicBezTo>
                  <a:cubicBezTo>
                    <a:pt x="59" y="253"/>
                    <a:pt x="99" y="297"/>
                    <a:pt x="155" y="307"/>
                  </a:cubicBezTo>
                  <a:close/>
                </a:path>
              </a:pathLst>
            </a:custGeom>
            <a:solidFill>
              <a:srgbClr val="21AAD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1" name="Freeform 428">
              <a:extLst>
                <a:ext uri="{FF2B5EF4-FFF2-40B4-BE49-F238E27FC236}">
                  <a16:creationId xmlns:a16="http://schemas.microsoft.com/office/drawing/2014/main" id="{589BB592-9B58-4B43-813B-93CC95339D7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910138" y="3297238"/>
              <a:ext cx="449263" cy="450850"/>
            </a:xfrm>
            <a:custGeom>
              <a:avLst/>
              <a:gdLst>
                <a:gd name="T0" fmla="*/ 106 w 267"/>
                <a:gd name="T1" fmla="*/ 262 h 268"/>
                <a:gd name="T2" fmla="*/ 3 w 267"/>
                <a:gd name="T3" fmla="*/ 152 h 268"/>
                <a:gd name="T4" fmla="*/ 8 w 267"/>
                <a:gd name="T5" fmla="*/ 84 h 268"/>
                <a:gd name="T6" fmla="*/ 56 w 267"/>
                <a:gd name="T7" fmla="*/ 25 h 268"/>
                <a:gd name="T8" fmla="*/ 136 w 267"/>
                <a:gd name="T9" fmla="*/ 0 h 268"/>
                <a:gd name="T10" fmla="*/ 187 w 267"/>
                <a:gd name="T11" fmla="*/ 16 h 268"/>
                <a:gd name="T12" fmla="*/ 196 w 267"/>
                <a:gd name="T13" fmla="*/ 16 h 268"/>
                <a:gd name="T14" fmla="*/ 258 w 267"/>
                <a:gd name="T15" fmla="*/ 80 h 268"/>
                <a:gd name="T16" fmla="*/ 243 w 267"/>
                <a:gd name="T17" fmla="*/ 178 h 268"/>
                <a:gd name="T18" fmla="*/ 187 w 267"/>
                <a:gd name="T19" fmla="*/ 247 h 268"/>
                <a:gd name="T20" fmla="*/ 106 w 267"/>
                <a:gd name="T21" fmla="*/ 262 h 268"/>
                <a:gd name="T22" fmla="*/ 20 w 267"/>
                <a:gd name="T23" fmla="*/ 143 h 268"/>
                <a:gd name="T24" fmla="*/ 127 w 267"/>
                <a:gd name="T25" fmla="*/ 242 h 268"/>
                <a:gd name="T26" fmla="*/ 236 w 267"/>
                <a:gd name="T27" fmla="*/ 160 h 268"/>
                <a:gd name="T28" fmla="*/ 240 w 267"/>
                <a:gd name="T29" fmla="*/ 89 h 268"/>
                <a:gd name="T30" fmla="*/ 195 w 267"/>
                <a:gd name="T31" fmla="*/ 33 h 268"/>
                <a:gd name="T32" fmla="*/ 194 w 267"/>
                <a:gd name="T33" fmla="*/ 35 h 268"/>
                <a:gd name="T34" fmla="*/ 82 w 267"/>
                <a:gd name="T35" fmla="*/ 27 h 268"/>
                <a:gd name="T36" fmla="*/ 38 w 267"/>
                <a:gd name="T37" fmla="*/ 74 h 268"/>
                <a:gd name="T38" fmla="*/ 20 w 267"/>
                <a:gd name="T39" fmla="*/ 143 h 2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267" h="268">
                  <a:moveTo>
                    <a:pt x="106" y="262"/>
                  </a:moveTo>
                  <a:cubicBezTo>
                    <a:pt x="50" y="252"/>
                    <a:pt x="10" y="208"/>
                    <a:pt x="3" y="152"/>
                  </a:cubicBezTo>
                  <a:cubicBezTo>
                    <a:pt x="0" y="130"/>
                    <a:pt x="0" y="105"/>
                    <a:pt x="8" y="84"/>
                  </a:cubicBezTo>
                  <a:cubicBezTo>
                    <a:pt x="17" y="59"/>
                    <a:pt x="35" y="40"/>
                    <a:pt x="56" y="25"/>
                  </a:cubicBezTo>
                  <a:cubicBezTo>
                    <a:pt x="80" y="11"/>
                    <a:pt x="109" y="1"/>
                    <a:pt x="136" y="0"/>
                  </a:cubicBezTo>
                  <a:cubicBezTo>
                    <a:pt x="155" y="0"/>
                    <a:pt x="171" y="7"/>
                    <a:pt x="187" y="16"/>
                  </a:cubicBezTo>
                  <a:cubicBezTo>
                    <a:pt x="196" y="16"/>
                    <a:pt x="196" y="16"/>
                    <a:pt x="196" y="16"/>
                  </a:cubicBezTo>
                  <a:cubicBezTo>
                    <a:pt x="222" y="32"/>
                    <a:pt x="249" y="50"/>
                    <a:pt x="258" y="80"/>
                  </a:cubicBezTo>
                  <a:cubicBezTo>
                    <a:pt x="267" y="112"/>
                    <a:pt x="256" y="149"/>
                    <a:pt x="243" y="178"/>
                  </a:cubicBezTo>
                  <a:cubicBezTo>
                    <a:pt x="230" y="203"/>
                    <a:pt x="212" y="230"/>
                    <a:pt x="187" y="247"/>
                  </a:cubicBezTo>
                  <a:cubicBezTo>
                    <a:pt x="163" y="263"/>
                    <a:pt x="135" y="268"/>
                    <a:pt x="106" y="262"/>
                  </a:cubicBezTo>
                  <a:close/>
                  <a:moveTo>
                    <a:pt x="20" y="143"/>
                  </a:moveTo>
                  <a:cubicBezTo>
                    <a:pt x="23" y="195"/>
                    <a:pt x="76" y="241"/>
                    <a:pt x="127" y="242"/>
                  </a:cubicBezTo>
                  <a:cubicBezTo>
                    <a:pt x="173" y="241"/>
                    <a:pt x="220" y="201"/>
                    <a:pt x="236" y="160"/>
                  </a:cubicBezTo>
                  <a:cubicBezTo>
                    <a:pt x="246" y="138"/>
                    <a:pt x="248" y="112"/>
                    <a:pt x="240" y="89"/>
                  </a:cubicBezTo>
                  <a:cubicBezTo>
                    <a:pt x="232" y="65"/>
                    <a:pt x="215" y="48"/>
                    <a:pt x="195" y="33"/>
                  </a:cubicBezTo>
                  <a:cubicBezTo>
                    <a:pt x="194" y="35"/>
                    <a:pt x="194" y="35"/>
                    <a:pt x="194" y="35"/>
                  </a:cubicBezTo>
                  <a:cubicBezTo>
                    <a:pt x="160" y="19"/>
                    <a:pt x="118" y="10"/>
                    <a:pt x="82" y="27"/>
                  </a:cubicBezTo>
                  <a:cubicBezTo>
                    <a:pt x="62" y="37"/>
                    <a:pt x="48" y="55"/>
                    <a:pt x="38" y="74"/>
                  </a:cubicBezTo>
                  <a:cubicBezTo>
                    <a:pt x="27" y="95"/>
                    <a:pt x="18" y="120"/>
                    <a:pt x="20" y="143"/>
                  </a:cubicBezTo>
                  <a:close/>
                </a:path>
              </a:pathLst>
            </a:custGeom>
            <a:solidFill>
              <a:srgbClr val="F6B84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792" name="Freeform 429">
              <a:extLst>
                <a:ext uri="{FF2B5EF4-FFF2-40B4-BE49-F238E27FC236}">
                  <a16:creationId xmlns:a16="http://schemas.microsoft.com/office/drawing/2014/main" id="{E2A2CA1A-105B-4420-BBFB-7902B258D156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5695950" y="3451225"/>
              <a:ext cx="477838" cy="460375"/>
            </a:xfrm>
            <a:custGeom>
              <a:avLst/>
              <a:gdLst>
                <a:gd name="T0" fmla="*/ 31 w 284"/>
                <a:gd name="T1" fmla="*/ 166 h 274"/>
                <a:gd name="T2" fmla="*/ 128 w 284"/>
                <a:gd name="T3" fmla="*/ 252 h 274"/>
                <a:gd name="T4" fmla="*/ 252 w 284"/>
                <a:gd name="T5" fmla="*/ 166 h 274"/>
                <a:gd name="T6" fmla="*/ 248 w 284"/>
                <a:gd name="T7" fmla="*/ 99 h 274"/>
                <a:gd name="T8" fmla="*/ 225 w 284"/>
                <a:gd name="T9" fmla="*/ 59 h 274"/>
                <a:gd name="T10" fmla="*/ 184 w 284"/>
                <a:gd name="T11" fmla="*/ 31 h 274"/>
                <a:gd name="T12" fmla="*/ 183 w 284"/>
                <a:gd name="T13" fmla="*/ 33 h 274"/>
                <a:gd name="T14" fmla="*/ 140 w 284"/>
                <a:gd name="T15" fmla="*/ 25 h 274"/>
                <a:gd name="T16" fmla="*/ 78 w 284"/>
                <a:gd name="T17" fmla="*/ 44 h 274"/>
                <a:gd name="T18" fmla="*/ 34 w 284"/>
                <a:gd name="T19" fmla="*/ 100 h 274"/>
                <a:gd name="T20" fmla="*/ 31 w 284"/>
                <a:gd name="T21" fmla="*/ 166 h 274"/>
                <a:gd name="T22" fmla="*/ 45 w 284"/>
                <a:gd name="T23" fmla="*/ 48 h 274"/>
                <a:gd name="T24" fmla="*/ 125 w 284"/>
                <a:gd name="T25" fmla="*/ 4 h 274"/>
                <a:gd name="T26" fmla="*/ 186 w 284"/>
                <a:gd name="T27" fmla="*/ 15 h 274"/>
                <a:gd name="T28" fmla="*/ 187 w 284"/>
                <a:gd name="T29" fmla="*/ 12 h 274"/>
                <a:gd name="T30" fmla="*/ 227 w 284"/>
                <a:gd name="T31" fmla="*/ 31 h 274"/>
                <a:gd name="T32" fmla="*/ 260 w 284"/>
                <a:gd name="T33" fmla="*/ 70 h 274"/>
                <a:gd name="T34" fmla="*/ 280 w 284"/>
                <a:gd name="T35" fmla="*/ 161 h 274"/>
                <a:gd name="T36" fmla="*/ 235 w 284"/>
                <a:gd name="T37" fmla="*/ 229 h 274"/>
                <a:gd name="T38" fmla="*/ 147 w 284"/>
                <a:gd name="T39" fmla="*/ 269 h 274"/>
                <a:gd name="T40" fmla="*/ 18 w 284"/>
                <a:gd name="T41" fmla="*/ 187 h 274"/>
                <a:gd name="T42" fmla="*/ 45 w 284"/>
                <a:gd name="T43" fmla="*/ 48 h 2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84" h="274">
                  <a:moveTo>
                    <a:pt x="31" y="166"/>
                  </a:moveTo>
                  <a:cubicBezTo>
                    <a:pt x="37" y="214"/>
                    <a:pt x="82" y="250"/>
                    <a:pt x="128" y="252"/>
                  </a:cubicBezTo>
                  <a:cubicBezTo>
                    <a:pt x="180" y="256"/>
                    <a:pt x="238" y="216"/>
                    <a:pt x="252" y="166"/>
                  </a:cubicBezTo>
                  <a:cubicBezTo>
                    <a:pt x="257" y="144"/>
                    <a:pt x="255" y="120"/>
                    <a:pt x="248" y="99"/>
                  </a:cubicBezTo>
                  <a:cubicBezTo>
                    <a:pt x="244" y="84"/>
                    <a:pt x="237" y="71"/>
                    <a:pt x="225" y="59"/>
                  </a:cubicBezTo>
                  <a:cubicBezTo>
                    <a:pt x="213" y="48"/>
                    <a:pt x="199" y="40"/>
                    <a:pt x="184" y="31"/>
                  </a:cubicBezTo>
                  <a:cubicBezTo>
                    <a:pt x="183" y="33"/>
                    <a:pt x="183" y="33"/>
                    <a:pt x="183" y="33"/>
                  </a:cubicBezTo>
                  <a:cubicBezTo>
                    <a:pt x="170" y="30"/>
                    <a:pt x="155" y="25"/>
                    <a:pt x="140" y="25"/>
                  </a:cubicBezTo>
                  <a:cubicBezTo>
                    <a:pt x="118" y="24"/>
                    <a:pt x="97" y="30"/>
                    <a:pt x="78" y="44"/>
                  </a:cubicBezTo>
                  <a:cubicBezTo>
                    <a:pt x="58" y="57"/>
                    <a:pt x="43" y="77"/>
                    <a:pt x="34" y="100"/>
                  </a:cubicBezTo>
                  <a:cubicBezTo>
                    <a:pt x="28" y="120"/>
                    <a:pt x="28" y="145"/>
                    <a:pt x="31" y="166"/>
                  </a:cubicBezTo>
                  <a:close/>
                  <a:moveTo>
                    <a:pt x="45" y="48"/>
                  </a:moveTo>
                  <a:cubicBezTo>
                    <a:pt x="66" y="25"/>
                    <a:pt x="94" y="8"/>
                    <a:pt x="125" y="4"/>
                  </a:cubicBezTo>
                  <a:cubicBezTo>
                    <a:pt x="147" y="0"/>
                    <a:pt x="166" y="6"/>
                    <a:pt x="186" y="15"/>
                  </a:cubicBezTo>
                  <a:cubicBezTo>
                    <a:pt x="187" y="12"/>
                    <a:pt x="187" y="12"/>
                    <a:pt x="187" y="12"/>
                  </a:cubicBezTo>
                  <a:cubicBezTo>
                    <a:pt x="200" y="17"/>
                    <a:pt x="215" y="23"/>
                    <a:pt x="227" y="31"/>
                  </a:cubicBezTo>
                  <a:cubicBezTo>
                    <a:pt x="241" y="41"/>
                    <a:pt x="253" y="54"/>
                    <a:pt x="260" y="70"/>
                  </a:cubicBezTo>
                  <a:cubicBezTo>
                    <a:pt x="274" y="96"/>
                    <a:pt x="284" y="130"/>
                    <a:pt x="280" y="161"/>
                  </a:cubicBezTo>
                  <a:cubicBezTo>
                    <a:pt x="275" y="188"/>
                    <a:pt x="257" y="211"/>
                    <a:pt x="235" y="229"/>
                  </a:cubicBezTo>
                  <a:cubicBezTo>
                    <a:pt x="210" y="249"/>
                    <a:pt x="180" y="264"/>
                    <a:pt x="147" y="269"/>
                  </a:cubicBezTo>
                  <a:cubicBezTo>
                    <a:pt x="89" y="274"/>
                    <a:pt x="38" y="241"/>
                    <a:pt x="18" y="187"/>
                  </a:cubicBezTo>
                  <a:cubicBezTo>
                    <a:pt x="0" y="139"/>
                    <a:pt x="9" y="84"/>
                    <a:pt x="45" y="48"/>
                  </a:cubicBezTo>
                  <a:close/>
                </a:path>
              </a:pathLst>
            </a:custGeom>
            <a:solidFill>
              <a:srgbClr val="F6B84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793" name="Freeform 430">
              <a:extLst>
                <a:ext uri="{FF2B5EF4-FFF2-40B4-BE49-F238E27FC236}">
                  <a16:creationId xmlns:a16="http://schemas.microsoft.com/office/drawing/2014/main" id="{4CFFC335-0FDF-4FB7-A1FF-762B45874ED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741988" y="3492500"/>
              <a:ext cx="385763" cy="388938"/>
            </a:xfrm>
            <a:custGeom>
              <a:avLst/>
              <a:gdLst>
                <a:gd name="T0" fmla="*/ 220 w 229"/>
                <a:gd name="T1" fmla="*/ 75 h 232"/>
                <a:gd name="T2" fmla="*/ 224 w 229"/>
                <a:gd name="T3" fmla="*/ 142 h 232"/>
                <a:gd name="T4" fmla="*/ 100 w 229"/>
                <a:gd name="T5" fmla="*/ 228 h 232"/>
                <a:gd name="T6" fmla="*/ 3 w 229"/>
                <a:gd name="T7" fmla="*/ 142 h 232"/>
                <a:gd name="T8" fmla="*/ 6 w 229"/>
                <a:gd name="T9" fmla="*/ 76 h 232"/>
                <a:gd name="T10" fmla="*/ 50 w 229"/>
                <a:gd name="T11" fmla="*/ 20 h 232"/>
                <a:gd name="T12" fmla="*/ 112 w 229"/>
                <a:gd name="T13" fmla="*/ 1 h 232"/>
                <a:gd name="T14" fmla="*/ 155 w 229"/>
                <a:gd name="T15" fmla="*/ 9 h 232"/>
                <a:gd name="T16" fmla="*/ 156 w 229"/>
                <a:gd name="T17" fmla="*/ 7 h 232"/>
                <a:gd name="T18" fmla="*/ 197 w 229"/>
                <a:gd name="T19" fmla="*/ 35 h 232"/>
                <a:gd name="T20" fmla="*/ 220 w 229"/>
                <a:gd name="T21" fmla="*/ 75 h 2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29" h="232">
                  <a:moveTo>
                    <a:pt x="220" y="75"/>
                  </a:moveTo>
                  <a:cubicBezTo>
                    <a:pt x="227" y="96"/>
                    <a:pt x="229" y="120"/>
                    <a:pt x="224" y="142"/>
                  </a:cubicBezTo>
                  <a:cubicBezTo>
                    <a:pt x="210" y="192"/>
                    <a:pt x="152" y="232"/>
                    <a:pt x="100" y="228"/>
                  </a:cubicBezTo>
                  <a:cubicBezTo>
                    <a:pt x="54" y="226"/>
                    <a:pt x="9" y="190"/>
                    <a:pt x="3" y="142"/>
                  </a:cubicBezTo>
                  <a:cubicBezTo>
                    <a:pt x="0" y="121"/>
                    <a:pt x="0" y="96"/>
                    <a:pt x="6" y="76"/>
                  </a:cubicBezTo>
                  <a:cubicBezTo>
                    <a:pt x="15" y="53"/>
                    <a:pt x="30" y="33"/>
                    <a:pt x="50" y="20"/>
                  </a:cubicBezTo>
                  <a:cubicBezTo>
                    <a:pt x="69" y="6"/>
                    <a:pt x="90" y="0"/>
                    <a:pt x="112" y="1"/>
                  </a:cubicBezTo>
                  <a:cubicBezTo>
                    <a:pt x="127" y="1"/>
                    <a:pt x="142" y="6"/>
                    <a:pt x="155" y="9"/>
                  </a:cubicBezTo>
                  <a:cubicBezTo>
                    <a:pt x="156" y="7"/>
                    <a:pt x="156" y="7"/>
                    <a:pt x="156" y="7"/>
                  </a:cubicBezTo>
                  <a:cubicBezTo>
                    <a:pt x="171" y="16"/>
                    <a:pt x="185" y="24"/>
                    <a:pt x="197" y="35"/>
                  </a:cubicBezTo>
                  <a:cubicBezTo>
                    <a:pt x="209" y="47"/>
                    <a:pt x="216" y="60"/>
                    <a:pt x="220" y="75"/>
                  </a:cubicBezTo>
                  <a:close/>
                </a:path>
              </a:pathLst>
            </a:custGeom>
            <a:solidFill>
              <a:srgbClr val="F6B84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794" name="Freeform 431">
              <a:extLst>
                <a:ext uri="{FF2B5EF4-FFF2-40B4-BE49-F238E27FC236}">
                  <a16:creationId xmlns:a16="http://schemas.microsoft.com/office/drawing/2014/main" id="{63A635E2-9471-4C7A-BFEB-04B653316BE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40300" y="3313113"/>
              <a:ext cx="387350" cy="390525"/>
            </a:xfrm>
            <a:custGeom>
              <a:avLst/>
              <a:gdLst>
                <a:gd name="T0" fmla="*/ 222 w 230"/>
                <a:gd name="T1" fmla="*/ 79 h 232"/>
                <a:gd name="T2" fmla="*/ 218 w 230"/>
                <a:gd name="T3" fmla="*/ 150 h 232"/>
                <a:gd name="T4" fmla="*/ 109 w 230"/>
                <a:gd name="T5" fmla="*/ 232 h 232"/>
                <a:gd name="T6" fmla="*/ 2 w 230"/>
                <a:gd name="T7" fmla="*/ 133 h 232"/>
                <a:gd name="T8" fmla="*/ 20 w 230"/>
                <a:gd name="T9" fmla="*/ 64 h 232"/>
                <a:gd name="T10" fmla="*/ 64 w 230"/>
                <a:gd name="T11" fmla="*/ 17 h 232"/>
                <a:gd name="T12" fmla="*/ 176 w 230"/>
                <a:gd name="T13" fmla="*/ 25 h 232"/>
                <a:gd name="T14" fmla="*/ 177 w 230"/>
                <a:gd name="T15" fmla="*/ 23 h 232"/>
                <a:gd name="T16" fmla="*/ 222 w 230"/>
                <a:gd name="T17" fmla="*/ 79 h 2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30" h="232">
                  <a:moveTo>
                    <a:pt x="222" y="79"/>
                  </a:moveTo>
                  <a:cubicBezTo>
                    <a:pt x="230" y="102"/>
                    <a:pt x="228" y="128"/>
                    <a:pt x="218" y="150"/>
                  </a:cubicBezTo>
                  <a:cubicBezTo>
                    <a:pt x="202" y="191"/>
                    <a:pt x="155" y="231"/>
                    <a:pt x="109" y="232"/>
                  </a:cubicBezTo>
                  <a:cubicBezTo>
                    <a:pt x="58" y="231"/>
                    <a:pt x="5" y="185"/>
                    <a:pt x="2" y="133"/>
                  </a:cubicBezTo>
                  <a:cubicBezTo>
                    <a:pt x="0" y="110"/>
                    <a:pt x="9" y="85"/>
                    <a:pt x="20" y="64"/>
                  </a:cubicBezTo>
                  <a:cubicBezTo>
                    <a:pt x="30" y="45"/>
                    <a:pt x="44" y="27"/>
                    <a:pt x="64" y="17"/>
                  </a:cubicBezTo>
                  <a:cubicBezTo>
                    <a:pt x="100" y="0"/>
                    <a:pt x="142" y="9"/>
                    <a:pt x="176" y="25"/>
                  </a:cubicBezTo>
                  <a:cubicBezTo>
                    <a:pt x="177" y="23"/>
                    <a:pt x="177" y="23"/>
                    <a:pt x="177" y="23"/>
                  </a:cubicBezTo>
                  <a:cubicBezTo>
                    <a:pt x="197" y="38"/>
                    <a:pt x="214" y="55"/>
                    <a:pt x="222" y="79"/>
                  </a:cubicBezTo>
                  <a:close/>
                </a:path>
              </a:pathLst>
            </a:custGeom>
            <a:solidFill>
              <a:srgbClr val="F6B84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795" name="Freeform 432">
              <a:extLst>
                <a:ext uri="{FF2B5EF4-FFF2-40B4-BE49-F238E27FC236}">
                  <a16:creationId xmlns:a16="http://schemas.microsoft.com/office/drawing/2014/main" id="{FCE3ADF4-F6AA-4B41-9994-4D8393A81D0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337050" y="2544763"/>
              <a:ext cx="708025" cy="911225"/>
            </a:xfrm>
            <a:custGeom>
              <a:avLst/>
              <a:gdLst>
                <a:gd name="T0" fmla="*/ 10 w 421"/>
                <a:gd name="T1" fmla="*/ 230 h 543"/>
                <a:gd name="T2" fmla="*/ 183 w 421"/>
                <a:gd name="T3" fmla="*/ 19 h 543"/>
                <a:gd name="T4" fmla="*/ 238 w 421"/>
                <a:gd name="T5" fmla="*/ 6 h 543"/>
                <a:gd name="T6" fmla="*/ 421 w 421"/>
                <a:gd name="T7" fmla="*/ 60 h 543"/>
                <a:gd name="T8" fmla="*/ 403 w 421"/>
                <a:gd name="T9" fmla="*/ 85 h 543"/>
                <a:gd name="T10" fmla="*/ 408 w 421"/>
                <a:gd name="T11" fmla="*/ 92 h 543"/>
                <a:gd name="T12" fmla="*/ 387 w 421"/>
                <a:gd name="T13" fmla="*/ 93 h 543"/>
                <a:gd name="T14" fmla="*/ 384 w 421"/>
                <a:gd name="T15" fmla="*/ 90 h 543"/>
                <a:gd name="T16" fmla="*/ 364 w 421"/>
                <a:gd name="T17" fmla="*/ 86 h 543"/>
                <a:gd name="T18" fmla="*/ 337 w 421"/>
                <a:gd name="T19" fmla="*/ 79 h 543"/>
                <a:gd name="T20" fmla="*/ 284 w 421"/>
                <a:gd name="T21" fmla="*/ 71 h 543"/>
                <a:gd name="T22" fmla="*/ 249 w 421"/>
                <a:gd name="T23" fmla="*/ 79 h 543"/>
                <a:gd name="T24" fmla="*/ 234 w 421"/>
                <a:gd name="T25" fmla="*/ 124 h 543"/>
                <a:gd name="T26" fmla="*/ 226 w 421"/>
                <a:gd name="T27" fmla="*/ 163 h 543"/>
                <a:gd name="T28" fmla="*/ 221 w 421"/>
                <a:gd name="T29" fmla="*/ 183 h 543"/>
                <a:gd name="T30" fmla="*/ 194 w 421"/>
                <a:gd name="T31" fmla="*/ 174 h 543"/>
                <a:gd name="T32" fmla="*/ 148 w 421"/>
                <a:gd name="T33" fmla="*/ 166 h 543"/>
                <a:gd name="T34" fmla="*/ 105 w 421"/>
                <a:gd name="T35" fmla="*/ 174 h 543"/>
                <a:gd name="T36" fmla="*/ 93 w 421"/>
                <a:gd name="T37" fmla="*/ 212 h 543"/>
                <a:gd name="T38" fmla="*/ 86 w 421"/>
                <a:gd name="T39" fmla="*/ 250 h 543"/>
                <a:gd name="T40" fmla="*/ 87 w 421"/>
                <a:gd name="T41" fmla="*/ 294 h 543"/>
                <a:gd name="T42" fmla="*/ 126 w 421"/>
                <a:gd name="T43" fmla="*/ 311 h 543"/>
                <a:gd name="T44" fmla="*/ 176 w 421"/>
                <a:gd name="T45" fmla="*/ 322 h 543"/>
                <a:gd name="T46" fmla="*/ 195 w 421"/>
                <a:gd name="T47" fmla="*/ 326 h 543"/>
                <a:gd name="T48" fmla="*/ 193 w 421"/>
                <a:gd name="T49" fmla="*/ 331 h 543"/>
                <a:gd name="T50" fmla="*/ 187 w 421"/>
                <a:gd name="T51" fmla="*/ 353 h 543"/>
                <a:gd name="T52" fmla="*/ 175 w 421"/>
                <a:gd name="T53" fmla="*/ 419 h 543"/>
                <a:gd name="T54" fmla="*/ 228 w 421"/>
                <a:gd name="T55" fmla="*/ 457 h 543"/>
                <a:gd name="T56" fmla="*/ 227 w 421"/>
                <a:gd name="T57" fmla="*/ 476 h 543"/>
                <a:gd name="T58" fmla="*/ 299 w 421"/>
                <a:gd name="T59" fmla="*/ 486 h 543"/>
                <a:gd name="T60" fmla="*/ 320 w 421"/>
                <a:gd name="T61" fmla="*/ 492 h 543"/>
                <a:gd name="T62" fmla="*/ 317 w 421"/>
                <a:gd name="T63" fmla="*/ 499 h 543"/>
                <a:gd name="T64" fmla="*/ 305 w 421"/>
                <a:gd name="T65" fmla="*/ 537 h 543"/>
                <a:gd name="T66" fmla="*/ 304 w 421"/>
                <a:gd name="T67" fmla="*/ 536 h 543"/>
                <a:gd name="T68" fmla="*/ 202 w 421"/>
                <a:gd name="T69" fmla="*/ 532 h 543"/>
                <a:gd name="T70" fmla="*/ 92 w 421"/>
                <a:gd name="T71" fmla="*/ 468 h 543"/>
                <a:gd name="T72" fmla="*/ 20 w 421"/>
                <a:gd name="T73" fmla="*/ 368 h 543"/>
                <a:gd name="T74" fmla="*/ 9 w 421"/>
                <a:gd name="T75" fmla="*/ 235 h 543"/>
                <a:gd name="T76" fmla="*/ 10 w 421"/>
                <a:gd name="T77" fmla="*/ 230 h 5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21" h="543">
                  <a:moveTo>
                    <a:pt x="10" y="230"/>
                  </a:moveTo>
                  <a:cubicBezTo>
                    <a:pt x="29" y="136"/>
                    <a:pt x="94" y="51"/>
                    <a:pt x="183" y="19"/>
                  </a:cubicBezTo>
                  <a:cubicBezTo>
                    <a:pt x="201" y="12"/>
                    <a:pt x="219" y="8"/>
                    <a:pt x="238" y="6"/>
                  </a:cubicBezTo>
                  <a:cubicBezTo>
                    <a:pt x="303" y="0"/>
                    <a:pt x="368" y="22"/>
                    <a:pt x="421" y="60"/>
                  </a:cubicBezTo>
                  <a:cubicBezTo>
                    <a:pt x="403" y="85"/>
                    <a:pt x="403" y="85"/>
                    <a:pt x="403" y="85"/>
                  </a:cubicBezTo>
                  <a:cubicBezTo>
                    <a:pt x="406" y="87"/>
                    <a:pt x="407" y="89"/>
                    <a:pt x="408" y="92"/>
                  </a:cubicBezTo>
                  <a:cubicBezTo>
                    <a:pt x="387" y="93"/>
                    <a:pt x="387" y="93"/>
                    <a:pt x="387" y="93"/>
                  </a:cubicBezTo>
                  <a:cubicBezTo>
                    <a:pt x="386" y="92"/>
                    <a:pt x="386" y="91"/>
                    <a:pt x="384" y="90"/>
                  </a:cubicBezTo>
                  <a:cubicBezTo>
                    <a:pt x="378" y="87"/>
                    <a:pt x="371" y="87"/>
                    <a:pt x="364" y="86"/>
                  </a:cubicBezTo>
                  <a:cubicBezTo>
                    <a:pt x="356" y="84"/>
                    <a:pt x="348" y="81"/>
                    <a:pt x="337" y="79"/>
                  </a:cubicBezTo>
                  <a:cubicBezTo>
                    <a:pt x="321" y="73"/>
                    <a:pt x="302" y="71"/>
                    <a:pt x="284" y="71"/>
                  </a:cubicBezTo>
                  <a:cubicBezTo>
                    <a:pt x="272" y="72"/>
                    <a:pt x="257" y="68"/>
                    <a:pt x="249" y="79"/>
                  </a:cubicBezTo>
                  <a:cubicBezTo>
                    <a:pt x="239" y="91"/>
                    <a:pt x="237" y="110"/>
                    <a:pt x="234" y="124"/>
                  </a:cubicBezTo>
                  <a:cubicBezTo>
                    <a:pt x="230" y="137"/>
                    <a:pt x="227" y="149"/>
                    <a:pt x="226" y="163"/>
                  </a:cubicBezTo>
                  <a:cubicBezTo>
                    <a:pt x="225" y="169"/>
                    <a:pt x="224" y="177"/>
                    <a:pt x="221" y="183"/>
                  </a:cubicBezTo>
                  <a:cubicBezTo>
                    <a:pt x="211" y="181"/>
                    <a:pt x="203" y="177"/>
                    <a:pt x="194" y="174"/>
                  </a:cubicBezTo>
                  <a:cubicBezTo>
                    <a:pt x="178" y="170"/>
                    <a:pt x="162" y="170"/>
                    <a:pt x="148" y="166"/>
                  </a:cubicBezTo>
                  <a:cubicBezTo>
                    <a:pt x="131" y="160"/>
                    <a:pt x="114" y="155"/>
                    <a:pt x="105" y="174"/>
                  </a:cubicBezTo>
                  <a:cubicBezTo>
                    <a:pt x="99" y="185"/>
                    <a:pt x="96" y="199"/>
                    <a:pt x="93" y="212"/>
                  </a:cubicBezTo>
                  <a:cubicBezTo>
                    <a:pt x="91" y="224"/>
                    <a:pt x="88" y="238"/>
                    <a:pt x="86" y="250"/>
                  </a:cubicBezTo>
                  <a:cubicBezTo>
                    <a:pt x="82" y="265"/>
                    <a:pt x="79" y="282"/>
                    <a:pt x="87" y="294"/>
                  </a:cubicBezTo>
                  <a:cubicBezTo>
                    <a:pt x="95" y="306"/>
                    <a:pt x="112" y="308"/>
                    <a:pt x="126" y="311"/>
                  </a:cubicBezTo>
                  <a:cubicBezTo>
                    <a:pt x="142" y="315"/>
                    <a:pt x="159" y="318"/>
                    <a:pt x="176" y="322"/>
                  </a:cubicBezTo>
                  <a:cubicBezTo>
                    <a:pt x="183" y="323"/>
                    <a:pt x="188" y="324"/>
                    <a:pt x="195" y="326"/>
                  </a:cubicBezTo>
                  <a:cubicBezTo>
                    <a:pt x="194" y="328"/>
                    <a:pt x="193" y="330"/>
                    <a:pt x="193" y="331"/>
                  </a:cubicBezTo>
                  <a:cubicBezTo>
                    <a:pt x="190" y="338"/>
                    <a:pt x="189" y="345"/>
                    <a:pt x="187" y="353"/>
                  </a:cubicBezTo>
                  <a:cubicBezTo>
                    <a:pt x="183" y="375"/>
                    <a:pt x="174" y="398"/>
                    <a:pt x="175" y="419"/>
                  </a:cubicBezTo>
                  <a:cubicBezTo>
                    <a:pt x="177" y="449"/>
                    <a:pt x="203" y="456"/>
                    <a:pt x="228" y="457"/>
                  </a:cubicBezTo>
                  <a:cubicBezTo>
                    <a:pt x="227" y="476"/>
                    <a:pt x="227" y="476"/>
                    <a:pt x="227" y="476"/>
                  </a:cubicBezTo>
                  <a:cubicBezTo>
                    <a:pt x="251" y="477"/>
                    <a:pt x="274" y="481"/>
                    <a:pt x="299" y="486"/>
                  </a:cubicBezTo>
                  <a:cubicBezTo>
                    <a:pt x="320" y="492"/>
                    <a:pt x="320" y="492"/>
                    <a:pt x="320" y="492"/>
                  </a:cubicBezTo>
                  <a:cubicBezTo>
                    <a:pt x="319" y="494"/>
                    <a:pt x="318" y="496"/>
                    <a:pt x="317" y="499"/>
                  </a:cubicBezTo>
                  <a:cubicBezTo>
                    <a:pt x="312" y="511"/>
                    <a:pt x="308" y="524"/>
                    <a:pt x="305" y="537"/>
                  </a:cubicBezTo>
                  <a:cubicBezTo>
                    <a:pt x="304" y="536"/>
                    <a:pt x="304" y="536"/>
                    <a:pt x="304" y="536"/>
                  </a:cubicBezTo>
                  <a:cubicBezTo>
                    <a:pt x="269" y="541"/>
                    <a:pt x="235" y="543"/>
                    <a:pt x="202" y="532"/>
                  </a:cubicBezTo>
                  <a:cubicBezTo>
                    <a:pt x="161" y="520"/>
                    <a:pt x="123" y="496"/>
                    <a:pt x="92" y="468"/>
                  </a:cubicBezTo>
                  <a:cubicBezTo>
                    <a:pt x="61" y="441"/>
                    <a:pt x="35" y="407"/>
                    <a:pt x="20" y="368"/>
                  </a:cubicBezTo>
                  <a:cubicBezTo>
                    <a:pt x="2" y="326"/>
                    <a:pt x="0" y="279"/>
                    <a:pt x="9" y="235"/>
                  </a:cubicBezTo>
                  <a:cubicBezTo>
                    <a:pt x="9" y="234"/>
                    <a:pt x="10" y="232"/>
                    <a:pt x="10" y="230"/>
                  </a:cubicBezTo>
                  <a:close/>
                </a:path>
              </a:pathLst>
            </a:custGeom>
            <a:solidFill>
              <a:srgbClr val="F6B84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796" name="Freeform 433">
              <a:extLst>
                <a:ext uri="{FF2B5EF4-FFF2-40B4-BE49-F238E27FC236}">
                  <a16:creationId xmlns:a16="http://schemas.microsoft.com/office/drawing/2014/main" id="{FAE18C95-5A56-4653-B681-6F8EB116392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718050" y="2644775"/>
              <a:ext cx="536575" cy="725488"/>
            </a:xfrm>
            <a:custGeom>
              <a:avLst/>
              <a:gdLst>
                <a:gd name="T0" fmla="*/ 33 w 319"/>
                <a:gd name="T1" fmla="*/ 398 h 432"/>
                <a:gd name="T2" fmla="*/ 76 w 319"/>
                <a:gd name="T3" fmla="*/ 400 h 432"/>
                <a:gd name="T4" fmla="*/ 91 w 319"/>
                <a:gd name="T5" fmla="*/ 384 h 432"/>
                <a:gd name="T6" fmla="*/ 102 w 319"/>
                <a:gd name="T7" fmla="*/ 332 h 432"/>
                <a:gd name="T8" fmla="*/ 107 w 319"/>
                <a:gd name="T9" fmla="*/ 295 h 432"/>
                <a:gd name="T10" fmla="*/ 153 w 319"/>
                <a:gd name="T11" fmla="*/ 298 h 432"/>
                <a:gd name="T12" fmla="*/ 157 w 319"/>
                <a:gd name="T13" fmla="*/ 299 h 432"/>
                <a:gd name="T14" fmla="*/ 193 w 319"/>
                <a:gd name="T15" fmla="*/ 305 h 432"/>
                <a:gd name="T16" fmla="*/ 217 w 319"/>
                <a:gd name="T17" fmla="*/ 308 h 432"/>
                <a:gd name="T18" fmla="*/ 232 w 319"/>
                <a:gd name="T19" fmla="*/ 272 h 432"/>
                <a:gd name="T20" fmla="*/ 244 w 319"/>
                <a:gd name="T21" fmla="*/ 215 h 432"/>
                <a:gd name="T22" fmla="*/ 236 w 319"/>
                <a:gd name="T23" fmla="*/ 167 h 432"/>
                <a:gd name="T24" fmla="*/ 185 w 319"/>
                <a:gd name="T25" fmla="*/ 153 h 432"/>
                <a:gd name="T26" fmla="*/ 148 w 319"/>
                <a:gd name="T27" fmla="*/ 149 h 432"/>
                <a:gd name="T28" fmla="*/ 141 w 319"/>
                <a:gd name="T29" fmla="*/ 142 h 432"/>
                <a:gd name="T30" fmla="*/ 141 w 319"/>
                <a:gd name="T31" fmla="*/ 140 h 432"/>
                <a:gd name="T32" fmla="*/ 153 w 319"/>
                <a:gd name="T33" fmla="*/ 86 h 432"/>
                <a:gd name="T34" fmla="*/ 161 w 319"/>
                <a:gd name="T35" fmla="*/ 47 h 432"/>
                <a:gd name="T36" fmla="*/ 160 w 319"/>
                <a:gd name="T37" fmla="*/ 33 h 432"/>
                <a:gd name="T38" fmla="*/ 181 w 319"/>
                <a:gd name="T39" fmla="*/ 32 h 432"/>
                <a:gd name="T40" fmla="*/ 176 w 319"/>
                <a:gd name="T41" fmla="*/ 25 h 432"/>
                <a:gd name="T42" fmla="*/ 194 w 319"/>
                <a:gd name="T43" fmla="*/ 0 h 432"/>
                <a:gd name="T44" fmla="*/ 235 w 319"/>
                <a:gd name="T45" fmla="*/ 35 h 432"/>
                <a:gd name="T46" fmla="*/ 269 w 319"/>
                <a:gd name="T47" fmla="*/ 77 h 432"/>
                <a:gd name="T48" fmla="*/ 296 w 319"/>
                <a:gd name="T49" fmla="*/ 127 h 432"/>
                <a:gd name="T50" fmla="*/ 312 w 319"/>
                <a:gd name="T51" fmla="*/ 251 h 432"/>
                <a:gd name="T52" fmla="*/ 277 w 319"/>
                <a:gd name="T53" fmla="*/ 340 h 432"/>
                <a:gd name="T54" fmla="*/ 279 w 319"/>
                <a:gd name="T55" fmla="*/ 341 h 432"/>
                <a:gd name="T56" fmla="*/ 278 w 319"/>
                <a:gd name="T57" fmla="*/ 346 h 432"/>
                <a:gd name="T58" fmla="*/ 232 w 319"/>
                <a:gd name="T59" fmla="*/ 343 h 432"/>
                <a:gd name="T60" fmla="*/ 117 w 319"/>
                <a:gd name="T61" fmla="*/ 388 h 432"/>
                <a:gd name="T62" fmla="*/ 93 w 319"/>
                <a:gd name="T63" fmla="*/ 432 h 432"/>
                <a:gd name="T64" fmla="*/ 72 w 319"/>
                <a:gd name="T65" fmla="*/ 426 h 432"/>
                <a:gd name="T66" fmla="*/ 0 w 319"/>
                <a:gd name="T67" fmla="*/ 416 h 432"/>
                <a:gd name="T68" fmla="*/ 1 w 319"/>
                <a:gd name="T69" fmla="*/ 397 h 432"/>
                <a:gd name="T70" fmla="*/ 33 w 319"/>
                <a:gd name="T71" fmla="*/ 398 h 4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319" h="432">
                  <a:moveTo>
                    <a:pt x="33" y="398"/>
                  </a:moveTo>
                  <a:cubicBezTo>
                    <a:pt x="48" y="398"/>
                    <a:pt x="61" y="401"/>
                    <a:pt x="76" y="400"/>
                  </a:cubicBezTo>
                  <a:cubicBezTo>
                    <a:pt x="88" y="401"/>
                    <a:pt x="89" y="394"/>
                    <a:pt x="91" y="384"/>
                  </a:cubicBezTo>
                  <a:cubicBezTo>
                    <a:pt x="95" y="365"/>
                    <a:pt x="99" y="348"/>
                    <a:pt x="102" y="332"/>
                  </a:cubicBezTo>
                  <a:cubicBezTo>
                    <a:pt x="105" y="319"/>
                    <a:pt x="106" y="307"/>
                    <a:pt x="107" y="295"/>
                  </a:cubicBezTo>
                  <a:cubicBezTo>
                    <a:pt x="122" y="295"/>
                    <a:pt x="137" y="297"/>
                    <a:pt x="153" y="298"/>
                  </a:cubicBezTo>
                  <a:cubicBezTo>
                    <a:pt x="154" y="299"/>
                    <a:pt x="156" y="299"/>
                    <a:pt x="157" y="299"/>
                  </a:cubicBezTo>
                  <a:cubicBezTo>
                    <a:pt x="169" y="301"/>
                    <a:pt x="181" y="302"/>
                    <a:pt x="193" y="305"/>
                  </a:cubicBezTo>
                  <a:cubicBezTo>
                    <a:pt x="200" y="306"/>
                    <a:pt x="210" y="310"/>
                    <a:pt x="217" y="308"/>
                  </a:cubicBezTo>
                  <a:cubicBezTo>
                    <a:pt x="230" y="306"/>
                    <a:pt x="230" y="282"/>
                    <a:pt x="232" y="272"/>
                  </a:cubicBezTo>
                  <a:cubicBezTo>
                    <a:pt x="236" y="252"/>
                    <a:pt x="238" y="233"/>
                    <a:pt x="244" y="215"/>
                  </a:cubicBezTo>
                  <a:cubicBezTo>
                    <a:pt x="250" y="197"/>
                    <a:pt x="256" y="177"/>
                    <a:pt x="236" y="167"/>
                  </a:cubicBezTo>
                  <a:cubicBezTo>
                    <a:pt x="220" y="159"/>
                    <a:pt x="201" y="156"/>
                    <a:pt x="185" y="153"/>
                  </a:cubicBezTo>
                  <a:cubicBezTo>
                    <a:pt x="173" y="150"/>
                    <a:pt x="161" y="149"/>
                    <a:pt x="148" y="149"/>
                  </a:cubicBezTo>
                  <a:cubicBezTo>
                    <a:pt x="145" y="148"/>
                    <a:pt x="140" y="147"/>
                    <a:pt x="141" y="142"/>
                  </a:cubicBezTo>
                  <a:cubicBezTo>
                    <a:pt x="141" y="140"/>
                    <a:pt x="141" y="140"/>
                    <a:pt x="141" y="140"/>
                  </a:cubicBezTo>
                  <a:cubicBezTo>
                    <a:pt x="144" y="121"/>
                    <a:pt x="149" y="103"/>
                    <a:pt x="153" y="86"/>
                  </a:cubicBezTo>
                  <a:cubicBezTo>
                    <a:pt x="156" y="72"/>
                    <a:pt x="160" y="59"/>
                    <a:pt x="161" y="47"/>
                  </a:cubicBezTo>
                  <a:cubicBezTo>
                    <a:pt x="162" y="42"/>
                    <a:pt x="162" y="37"/>
                    <a:pt x="160" y="33"/>
                  </a:cubicBezTo>
                  <a:cubicBezTo>
                    <a:pt x="181" y="32"/>
                    <a:pt x="181" y="32"/>
                    <a:pt x="181" y="32"/>
                  </a:cubicBezTo>
                  <a:cubicBezTo>
                    <a:pt x="180" y="29"/>
                    <a:pt x="179" y="27"/>
                    <a:pt x="176" y="25"/>
                  </a:cubicBezTo>
                  <a:cubicBezTo>
                    <a:pt x="194" y="0"/>
                    <a:pt x="194" y="0"/>
                    <a:pt x="194" y="0"/>
                  </a:cubicBezTo>
                  <a:cubicBezTo>
                    <a:pt x="208" y="10"/>
                    <a:pt x="222" y="22"/>
                    <a:pt x="235" y="35"/>
                  </a:cubicBezTo>
                  <a:cubicBezTo>
                    <a:pt x="247" y="48"/>
                    <a:pt x="259" y="62"/>
                    <a:pt x="269" y="77"/>
                  </a:cubicBezTo>
                  <a:cubicBezTo>
                    <a:pt x="280" y="93"/>
                    <a:pt x="289" y="109"/>
                    <a:pt x="296" y="127"/>
                  </a:cubicBezTo>
                  <a:cubicBezTo>
                    <a:pt x="313" y="166"/>
                    <a:pt x="319" y="210"/>
                    <a:pt x="312" y="251"/>
                  </a:cubicBezTo>
                  <a:cubicBezTo>
                    <a:pt x="307" y="283"/>
                    <a:pt x="292" y="312"/>
                    <a:pt x="277" y="340"/>
                  </a:cubicBezTo>
                  <a:cubicBezTo>
                    <a:pt x="277" y="340"/>
                    <a:pt x="277" y="340"/>
                    <a:pt x="279" y="341"/>
                  </a:cubicBezTo>
                  <a:cubicBezTo>
                    <a:pt x="278" y="346"/>
                    <a:pt x="278" y="346"/>
                    <a:pt x="278" y="346"/>
                  </a:cubicBezTo>
                  <a:cubicBezTo>
                    <a:pt x="263" y="343"/>
                    <a:pt x="248" y="343"/>
                    <a:pt x="232" y="343"/>
                  </a:cubicBezTo>
                  <a:cubicBezTo>
                    <a:pt x="191" y="347"/>
                    <a:pt x="145" y="356"/>
                    <a:pt x="117" y="388"/>
                  </a:cubicBezTo>
                  <a:cubicBezTo>
                    <a:pt x="106" y="401"/>
                    <a:pt x="98" y="416"/>
                    <a:pt x="93" y="432"/>
                  </a:cubicBezTo>
                  <a:cubicBezTo>
                    <a:pt x="72" y="426"/>
                    <a:pt x="72" y="426"/>
                    <a:pt x="72" y="426"/>
                  </a:cubicBezTo>
                  <a:cubicBezTo>
                    <a:pt x="47" y="421"/>
                    <a:pt x="24" y="417"/>
                    <a:pt x="0" y="416"/>
                  </a:cubicBezTo>
                  <a:cubicBezTo>
                    <a:pt x="1" y="397"/>
                    <a:pt x="1" y="397"/>
                    <a:pt x="1" y="397"/>
                  </a:cubicBezTo>
                  <a:cubicBezTo>
                    <a:pt x="13" y="398"/>
                    <a:pt x="24" y="398"/>
                    <a:pt x="33" y="398"/>
                  </a:cubicBezTo>
                  <a:close/>
                </a:path>
              </a:pathLst>
            </a:custGeom>
            <a:solidFill>
              <a:srgbClr val="F6B84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797" name="Freeform 434">
              <a:extLst>
                <a:ext uri="{FF2B5EF4-FFF2-40B4-BE49-F238E27FC236}">
                  <a16:creationId xmlns:a16="http://schemas.microsoft.com/office/drawing/2014/main" id="{CFB76892-5A84-4460-AD7B-CDEB9D9B2369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5170488" y="2774950"/>
              <a:ext cx="1011238" cy="919163"/>
            </a:xfrm>
            <a:custGeom>
              <a:avLst/>
              <a:gdLst>
                <a:gd name="T0" fmla="*/ 440 w 601"/>
                <a:gd name="T1" fmla="*/ 304 h 547"/>
                <a:gd name="T2" fmla="*/ 379 w 601"/>
                <a:gd name="T3" fmla="*/ 259 h 547"/>
                <a:gd name="T4" fmla="*/ 371 w 601"/>
                <a:gd name="T5" fmla="*/ 312 h 547"/>
                <a:gd name="T6" fmla="*/ 414 w 601"/>
                <a:gd name="T7" fmla="*/ 310 h 547"/>
                <a:gd name="T8" fmla="*/ 262 w 601"/>
                <a:gd name="T9" fmla="*/ 328 h 547"/>
                <a:gd name="T10" fmla="*/ 197 w 601"/>
                <a:gd name="T11" fmla="*/ 358 h 547"/>
                <a:gd name="T12" fmla="*/ 200 w 601"/>
                <a:gd name="T13" fmla="*/ 417 h 547"/>
                <a:gd name="T14" fmla="*/ 299 w 601"/>
                <a:gd name="T15" fmla="*/ 383 h 547"/>
                <a:gd name="T16" fmla="*/ 262 w 601"/>
                <a:gd name="T17" fmla="*/ 328 h 547"/>
                <a:gd name="T18" fmla="*/ 64 w 601"/>
                <a:gd name="T19" fmla="*/ 224 h 547"/>
                <a:gd name="T20" fmla="*/ 108 w 601"/>
                <a:gd name="T21" fmla="*/ 251 h 547"/>
                <a:gd name="T22" fmla="*/ 145 w 601"/>
                <a:gd name="T23" fmla="*/ 211 h 547"/>
                <a:gd name="T24" fmla="*/ 72 w 601"/>
                <a:gd name="T25" fmla="*/ 204 h 547"/>
                <a:gd name="T26" fmla="*/ 72 w 601"/>
                <a:gd name="T27" fmla="*/ 296 h 547"/>
                <a:gd name="T28" fmla="*/ 9 w 601"/>
                <a:gd name="T29" fmla="*/ 269 h 547"/>
                <a:gd name="T30" fmla="*/ 8 w 601"/>
                <a:gd name="T31" fmla="*/ 263 h 547"/>
                <a:gd name="T32" fmla="*/ 27 w 601"/>
                <a:gd name="T33" fmla="*/ 50 h 547"/>
                <a:gd name="T34" fmla="*/ 1 w 601"/>
                <a:gd name="T35" fmla="*/ 0 h 547"/>
                <a:gd name="T36" fmla="*/ 33 w 601"/>
                <a:gd name="T37" fmla="*/ 7 h 547"/>
                <a:gd name="T38" fmla="*/ 174 w 601"/>
                <a:gd name="T39" fmla="*/ 40 h 547"/>
                <a:gd name="T40" fmla="*/ 248 w 601"/>
                <a:gd name="T41" fmla="*/ 56 h 547"/>
                <a:gd name="T42" fmla="*/ 306 w 601"/>
                <a:gd name="T43" fmla="*/ 67 h 547"/>
                <a:gd name="T44" fmla="*/ 494 w 601"/>
                <a:gd name="T45" fmla="*/ 107 h 547"/>
                <a:gd name="T46" fmla="*/ 579 w 601"/>
                <a:gd name="T47" fmla="*/ 125 h 547"/>
                <a:gd name="T48" fmla="*/ 598 w 601"/>
                <a:gd name="T49" fmla="*/ 127 h 547"/>
                <a:gd name="T50" fmla="*/ 591 w 601"/>
                <a:gd name="T51" fmla="*/ 141 h 547"/>
                <a:gd name="T52" fmla="*/ 499 w 601"/>
                <a:gd name="T53" fmla="*/ 375 h 547"/>
                <a:gd name="T54" fmla="*/ 326 w 601"/>
                <a:gd name="T55" fmla="*/ 440 h 547"/>
                <a:gd name="T56" fmla="*/ 289 w 601"/>
                <a:gd name="T57" fmla="*/ 547 h 547"/>
                <a:gd name="T58" fmla="*/ 270 w 601"/>
                <a:gd name="T59" fmla="*/ 545 h 547"/>
                <a:gd name="T60" fmla="*/ 202 w 601"/>
                <a:gd name="T61" fmla="*/ 533 h 547"/>
                <a:gd name="T62" fmla="*/ 142 w 601"/>
                <a:gd name="T63" fmla="*/ 518 h 547"/>
                <a:gd name="T64" fmla="*/ 123 w 601"/>
                <a:gd name="T65" fmla="*/ 512 h 547"/>
                <a:gd name="T66" fmla="*/ 137 w 601"/>
                <a:gd name="T67" fmla="*/ 480 h 547"/>
                <a:gd name="T68" fmla="*/ 73 w 601"/>
                <a:gd name="T69" fmla="*/ 295 h 5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601" h="547">
                  <a:moveTo>
                    <a:pt x="440" y="310"/>
                  </a:moveTo>
                  <a:cubicBezTo>
                    <a:pt x="440" y="304"/>
                    <a:pt x="440" y="304"/>
                    <a:pt x="440" y="304"/>
                  </a:cubicBezTo>
                  <a:cubicBezTo>
                    <a:pt x="425" y="297"/>
                    <a:pt x="412" y="284"/>
                    <a:pt x="400" y="274"/>
                  </a:cubicBezTo>
                  <a:cubicBezTo>
                    <a:pt x="396" y="269"/>
                    <a:pt x="387" y="260"/>
                    <a:pt x="379" y="259"/>
                  </a:cubicBezTo>
                  <a:cubicBezTo>
                    <a:pt x="375" y="267"/>
                    <a:pt x="372" y="273"/>
                    <a:pt x="370" y="282"/>
                  </a:cubicBezTo>
                  <a:cubicBezTo>
                    <a:pt x="369" y="290"/>
                    <a:pt x="358" y="307"/>
                    <a:pt x="371" y="312"/>
                  </a:cubicBezTo>
                  <a:cubicBezTo>
                    <a:pt x="376" y="313"/>
                    <a:pt x="385" y="312"/>
                    <a:pt x="390" y="313"/>
                  </a:cubicBezTo>
                  <a:cubicBezTo>
                    <a:pt x="397" y="312"/>
                    <a:pt x="407" y="311"/>
                    <a:pt x="414" y="310"/>
                  </a:cubicBezTo>
                  <a:cubicBezTo>
                    <a:pt x="423" y="311"/>
                    <a:pt x="432" y="310"/>
                    <a:pt x="440" y="310"/>
                  </a:cubicBezTo>
                  <a:close/>
                  <a:moveTo>
                    <a:pt x="262" y="328"/>
                  </a:moveTo>
                  <a:cubicBezTo>
                    <a:pt x="256" y="328"/>
                    <a:pt x="256" y="328"/>
                    <a:pt x="256" y="328"/>
                  </a:cubicBezTo>
                  <a:cubicBezTo>
                    <a:pt x="231" y="323"/>
                    <a:pt x="209" y="336"/>
                    <a:pt x="197" y="358"/>
                  </a:cubicBezTo>
                  <a:cubicBezTo>
                    <a:pt x="193" y="366"/>
                    <a:pt x="189" y="378"/>
                    <a:pt x="189" y="387"/>
                  </a:cubicBezTo>
                  <a:cubicBezTo>
                    <a:pt x="187" y="398"/>
                    <a:pt x="193" y="409"/>
                    <a:pt x="200" y="417"/>
                  </a:cubicBezTo>
                  <a:cubicBezTo>
                    <a:pt x="216" y="435"/>
                    <a:pt x="238" y="448"/>
                    <a:pt x="261" y="441"/>
                  </a:cubicBezTo>
                  <a:cubicBezTo>
                    <a:pt x="285" y="432"/>
                    <a:pt x="301" y="409"/>
                    <a:pt x="299" y="383"/>
                  </a:cubicBezTo>
                  <a:cubicBezTo>
                    <a:pt x="300" y="371"/>
                    <a:pt x="297" y="360"/>
                    <a:pt x="292" y="352"/>
                  </a:cubicBezTo>
                  <a:cubicBezTo>
                    <a:pt x="286" y="339"/>
                    <a:pt x="275" y="333"/>
                    <a:pt x="262" y="328"/>
                  </a:cubicBezTo>
                  <a:close/>
                  <a:moveTo>
                    <a:pt x="72" y="204"/>
                  </a:moveTo>
                  <a:cubicBezTo>
                    <a:pt x="69" y="210"/>
                    <a:pt x="64" y="217"/>
                    <a:pt x="64" y="224"/>
                  </a:cubicBezTo>
                  <a:cubicBezTo>
                    <a:pt x="64" y="233"/>
                    <a:pt x="72" y="240"/>
                    <a:pt x="80" y="243"/>
                  </a:cubicBezTo>
                  <a:cubicBezTo>
                    <a:pt x="88" y="247"/>
                    <a:pt x="98" y="249"/>
                    <a:pt x="108" y="251"/>
                  </a:cubicBezTo>
                  <a:cubicBezTo>
                    <a:pt x="117" y="253"/>
                    <a:pt x="126" y="257"/>
                    <a:pt x="136" y="255"/>
                  </a:cubicBezTo>
                  <a:cubicBezTo>
                    <a:pt x="156" y="250"/>
                    <a:pt x="168" y="221"/>
                    <a:pt x="145" y="211"/>
                  </a:cubicBezTo>
                  <a:cubicBezTo>
                    <a:pt x="132" y="206"/>
                    <a:pt x="118" y="205"/>
                    <a:pt x="104" y="204"/>
                  </a:cubicBezTo>
                  <a:cubicBezTo>
                    <a:pt x="93" y="203"/>
                    <a:pt x="83" y="203"/>
                    <a:pt x="72" y="204"/>
                  </a:cubicBezTo>
                  <a:close/>
                  <a:moveTo>
                    <a:pt x="73" y="295"/>
                  </a:moveTo>
                  <a:cubicBezTo>
                    <a:pt x="72" y="296"/>
                    <a:pt x="72" y="296"/>
                    <a:pt x="72" y="296"/>
                  </a:cubicBezTo>
                  <a:cubicBezTo>
                    <a:pt x="58" y="286"/>
                    <a:pt x="44" y="278"/>
                    <a:pt x="28" y="273"/>
                  </a:cubicBezTo>
                  <a:cubicBezTo>
                    <a:pt x="22" y="271"/>
                    <a:pt x="15" y="270"/>
                    <a:pt x="9" y="269"/>
                  </a:cubicBezTo>
                  <a:cubicBezTo>
                    <a:pt x="10" y="264"/>
                    <a:pt x="10" y="264"/>
                    <a:pt x="10" y="264"/>
                  </a:cubicBezTo>
                  <a:cubicBezTo>
                    <a:pt x="8" y="263"/>
                    <a:pt x="8" y="263"/>
                    <a:pt x="8" y="263"/>
                  </a:cubicBezTo>
                  <a:cubicBezTo>
                    <a:pt x="23" y="235"/>
                    <a:pt x="38" y="206"/>
                    <a:pt x="43" y="174"/>
                  </a:cubicBezTo>
                  <a:cubicBezTo>
                    <a:pt x="50" y="133"/>
                    <a:pt x="44" y="89"/>
                    <a:pt x="27" y="50"/>
                  </a:cubicBezTo>
                  <a:cubicBezTo>
                    <a:pt x="20" y="32"/>
                    <a:pt x="11" y="16"/>
                    <a:pt x="0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2" y="2"/>
                    <a:pt x="5" y="3"/>
                    <a:pt x="9" y="4"/>
                  </a:cubicBezTo>
                  <a:cubicBezTo>
                    <a:pt x="17" y="5"/>
                    <a:pt x="26" y="5"/>
                    <a:pt x="33" y="7"/>
                  </a:cubicBezTo>
                  <a:cubicBezTo>
                    <a:pt x="55" y="12"/>
                    <a:pt x="76" y="18"/>
                    <a:pt x="97" y="22"/>
                  </a:cubicBezTo>
                  <a:cubicBezTo>
                    <a:pt x="124" y="28"/>
                    <a:pt x="149" y="35"/>
                    <a:pt x="174" y="40"/>
                  </a:cubicBezTo>
                  <a:cubicBezTo>
                    <a:pt x="188" y="43"/>
                    <a:pt x="199" y="46"/>
                    <a:pt x="213" y="49"/>
                  </a:cubicBezTo>
                  <a:cubicBezTo>
                    <a:pt x="225" y="51"/>
                    <a:pt x="236" y="55"/>
                    <a:pt x="248" y="56"/>
                  </a:cubicBezTo>
                  <a:cubicBezTo>
                    <a:pt x="259" y="57"/>
                    <a:pt x="267" y="58"/>
                    <a:pt x="278" y="61"/>
                  </a:cubicBezTo>
                  <a:cubicBezTo>
                    <a:pt x="287" y="64"/>
                    <a:pt x="296" y="66"/>
                    <a:pt x="306" y="67"/>
                  </a:cubicBezTo>
                  <a:cubicBezTo>
                    <a:pt x="330" y="70"/>
                    <a:pt x="354" y="77"/>
                    <a:pt x="377" y="82"/>
                  </a:cubicBezTo>
                  <a:cubicBezTo>
                    <a:pt x="416" y="90"/>
                    <a:pt x="455" y="98"/>
                    <a:pt x="494" y="107"/>
                  </a:cubicBezTo>
                  <a:cubicBezTo>
                    <a:pt x="513" y="111"/>
                    <a:pt x="533" y="115"/>
                    <a:pt x="552" y="119"/>
                  </a:cubicBezTo>
                  <a:cubicBezTo>
                    <a:pt x="560" y="121"/>
                    <a:pt x="570" y="123"/>
                    <a:pt x="579" y="125"/>
                  </a:cubicBezTo>
                  <a:cubicBezTo>
                    <a:pt x="582" y="125"/>
                    <a:pt x="585" y="126"/>
                    <a:pt x="589" y="127"/>
                  </a:cubicBezTo>
                  <a:cubicBezTo>
                    <a:pt x="591" y="127"/>
                    <a:pt x="594" y="126"/>
                    <a:pt x="598" y="127"/>
                  </a:cubicBezTo>
                  <a:cubicBezTo>
                    <a:pt x="601" y="134"/>
                    <a:pt x="601" y="134"/>
                    <a:pt x="601" y="134"/>
                  </a:cubicBezTo>
                  <a:cubicBezTo>
                    <a:pt x="597" y="136"/>
                    <a:pt x="594" y="139"/>
                    <a:pt x="591" y="141"/>
                  </a:cubicBezTo>
                  <a:cubicBezTo>
                    <a:pt x="551" y="173"/>
                    <a:pt x="520" y="218"/>
                    <a:pt x="506" y="268"/>
                  </a:cubicBezTo>
                  <a:cubicBezTo>
                    <a:pt x="495" y="303"/>
                    <a:pt x="496" y="340"/>
                    <a:pt x="499" y="375"/>
                  </a:cubicBezTo>
                  <a:cubicBezTo>
                    <a:pt x="471" y="367"/>
                    <a:pt x="443" y="363"/>
                    <a:pt x="415" y="373"/>
                  </a:cubicBezTo>
                  <a:cubicBezTo>
                    <a:pt x="379" y="384"/>
                    <a:pt x="348" y="410"/>
                    <a:pt x="326" y="440"/>
                  </a:cubicBezTo>
                  <a:cubicBezTo>
                    <a:pt x="305" y="464"/>
                    <a:pt x="292" y="495"/>
                    <a:pt x="290" y="526"/>
                  </a:cubicBezTo>
                  <a:cubicBezTo>
                    <a:pt x="289" y="533"/>
                    <a:pt x="289" y="540"/>
                    <a:pt x="289" y="547"/>
                  </a:cubicBezTo>
                  <a:cubicBezTo>
                    <a:pt x="286" y="547"/>
                    <a:pt x="286" y="547"/>
                    <a:pt x="286" y="547"/>
                  </a:cubicBezTo>
                  <a:cubicBezTo>
                    <a:pt x="281" y="546"/>
                    <a:pt x="276" y="545"/>
                    <a:pt x="270" y="545"/>
                  </a:cubicBezTo>
                  <a:cubicBezTo>
                    <a:pt x="263" y="544"/>
                    <a:pt x="255" y="542"/>
                    <a:pt x="247" y="540"/>
                  </a:cubicBezTo>
                  <a:cubicBezTo>
                    <a:pt x="231" y="539"/>
                    <a:pt x="216" y="535"/>
                    <a:pt x="202" y="533"/>
                  </a:cubicBezTo>
                  <a:cubicBezTo>
                    <a:pt x="189" y="530"/>
                    <a:pt x="175" y="527"/>
                    <a:pt x="162" y="524"/>
                  </a:cubicBezTo>
                  <a:cubicBezTo>
                    <a:pt x="155" y="522"/>
                    <a:pt x="148" y="519"/>
                    <a:pt x="142" y="518"/>
                  </a:cubicBezTo>
                  <a:cubicBezTo>
                    <a:pt x="138" y="517"/>
                    <a:pt x="135" y="516"/>
                    <a:pt x="132" y="516"/>
                  </a:cubicBezTo>
                  <a:cubicBezTo>
                    <a:pt x="128" y="515"/>
                    <a:pt x="127" y="513"/>
                    <a:pt x="123" y="512"/>
                  </a:cubicBezTo>
                  <a:cubicBezTo>
                    <a:pt x="123" y="512"/>
                    <a:pt x="123" y="512"/>
                    <a:pt x="123" y="512"/>
                  </a:cubicBezTo>
                  <a:cubicBezTo>
                    <a:pt x="129" y="502"/>
                    <a:pt x="134" y="491"/>
                    <a:pt x="137" y="480"/>
                  </a:cubicBezTo>
                  <a:cubicBezTo>
                    <a:pt x="147" y="450"/>
                    <a:pt x="151" y="417"/>
                    <a:pt x="143" y="386"/>
                  </a:cubicBezTo>
                  <a:cubicBezTo>
                    <a:pt x="132" y="347"/>
                    <a:pt x="102" y="320"/>
                    <a:pt x="73" y="295"/>
                  </a:cubicBezTo>
                  <a:close/>
                </a:path>
              </a:pathLst>
            </a:custGeom>
            <a:solidFill>
              <a:srgbClr val="3C3C3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798" name="Freeform 435">
              <a:extLst>
                <a:ext uri="{FF2B5EF4-FFF2-40B4-BE49-F238E27FC236}">
                  <a16:creationId xmlns:a16="http://schemas.microsoft.com/office/drawing/2014/main" id="{24A68997-3E76-4774-BA32-A5F1EB70BF3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44950" y="2930525"/>
              <a:ext cx="804863" cy="1116013"/>
            </a:xfrm>
            <a:custGeom>
              <a:avLst/>
              <a:gdLst>
                <a:gd name="T0" fmla="*/ 182 w 478"/>
                <a:gd name="T1" fmla="*/ 5 h 664"/>
                <a:gd name="T2" fmla="*/ 193 w 478"/>
                <a:gd name="T3" fmla="*/ 138 h 664"/>
                <a:gd name="T4" fmla="*/ 265 w 478"/>
                <a:gd name="T5" fmla="*/ 238 h 664"/>
                <a:gd name="T6" fmla="*/ 375 w 478"/>
                <a:gd name="T7" fmla="*/ 302 h 664"/>
                <a:gd name="T8" fmla="*/ 477 w 478"/>
                <a:gd name="T9" fmla="*/ 306 h 664"/>
                <a:gd name="T10" fmla="*/ 478 w 478"/>
                <a:gd name="T11" fmla="*/ 307 h 664"/>
                <a:gd name="T12" fmla="*/ 472 w 478"/>
                <a:gd name="T13" fmla="*/ 328 h 664"/>
                <a:gd name="T14" fmla="*/ 466 w 478"/>
                <a:gd name="T15" fmla="*/ 382 h 664"/>
                <a:gd name="T16" fmla="*/ 475 w 478"/>
                <a:gd name="T17" fmla="*/ 411 h 664"/>
                <a:gd name="T18" fmla="*/ 472 w 478"/>
                <a:gd name="T19" fmla="*/ 413 h 664"/>
                <a:gd name="T20" fmla="*/ 304 w 478"/>
                <a:gd name="T21" fmla="*/ 614 h 664"/>
                <a:gd name="T22" fmla="*/ 187 w 478"/>
                <a:gd name="T23" fmla="*/ 664 h 664"/>
                <a:gd name="T24" fmla="*/ 82 w 478"/>
                <a:gd name="T25" fmla="*/ 626 h 664"/>
                <a:gd name="T26" fmla="*/ 15 w 478"/>
                <a:gd name="T27" fmla="*/ 550 h 664"/>
                <a:gd name="T28" fmla="*/ 4 w 478"/>
                <a:gd name="T29" fmla="*/ 461 h 664"/>
                <a:gd name="T30" fmla="*/ 40 w 478"/>
                <a:gd name="T31" fmla="*/ 357 h 664"/>
                <a:gd name="T32" fmla="*/ 95 w 478"/>
                <a:gd name="T33" fmla="*/ 231 h 664"/>
                <a:gd name="T34" fmla="*/ 183 w 478"/>
                <a:gd name="T35" fmla="*/ 0 h 664"/>
                <a:gd name="T36" fmla="*/ 182 w 478"/>
                <a:gd name="T37" fmla="*/ 5 h 6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78" h="664">
                  <a:moveTo>
                    <a:pt x="182" y="5"/>
                  </a:moveTo>
                  <a:cubicBezTo>
                    <a:pt x="173" y="49"/>
                    <a:pt x="175" y="96"/>
                    <a:pt x="193" y="138"/>
                  </a:cubicBezTo>
                  <a:cubicBezTo>
                    <a:pt x="208" y="177"/>
                    <a:pt x="234" y="211"/>
                    <a:pt x="265" y="238"/>
                  </a:cubicBezTo>
                  <a:cubicBezTo>
                    <a:pt x="296" y="266"/>
                    <a:pt x="334" y="290"/>
                    <a:pt x="375" y="302"/>
                  </a:cubicBezTo>
                  <a:cubicBezTo>
                    <a:pt x="408" y="313"/>
                    <a:pt x="442" y="311"/>
                    <a:pt x="477" y="306"/>
                  </a:cubicBezTo>
                  <a:cubicBezTo>
                    <a:pt x="478" y="307"/>
                    <a:pt x="478" y="307"/>
                    <a:pt x="478" y="307"/>
                  </a:cubicBezTo>
                  <a:cubicBezTo>
                    <a:pt x="476" y="314"/>
                    <a:pt x="474" y="321"/>
                    <a:pt x="472" y="328"/>
                  </a:cubicBezTo>
                  <a:cubicBezTo>
                    <a:pt x="468" y="347"/>
                    <a:pt x="465" y="364"/>
                    <a:pt x="466" y="382"/>
                  </a:cubicBezTo>
                  <a:cubicBezTo>
                    <a:pt x="468" y="393"/>
                    <a:pt x="471" y="402"/>
                    <a:pt x="475" y="411"/>
                  </a:cubicBezTo>
                  <a:cubicBezTo>
                    <a:pt x="472" y="413"/>
                    <a:pt x="472" y="413"/>
                    <a:pt x="472" y="413"/>
                  </a:cubicBezTo>
                  <a:cubicBezTo>
                    <a:pt x="420" y="483"/>
                    <a:pt x="372" y="558"/>
                    <a:pt x="304" y="614"/>
                  </a:cubicBezTo>
                  <a:cubicBezTo>
                    <a:pt x="272" y="641"/>
                    <a:pt x="231" y="664"/>
                    <a:pt x="187" y="664"/>
                  </a:cubicBezTo>
                  <a:cubicBezTo>
                    <a:pt x="148" y="664"/>
                    <a:pt x="113" y="648"/>
                    <a:pt x="82" y="626"/>
                  </a:cubicBezTo>
                  <a:cubicBezTo>
                    <a:pt x="55" y="606"/>
                    <a:pt x="30" y="581"/>
                    <a:pt x="15" y="550"/>
                  </a:cubicBezTo>
                  <a:cubicBezTo>
                    <a:pt x="2" y="522"/>
                    <a:pt x="0" y="490"/>
                    <a:pt x="4" y="461"/>
                  </a:cubicBezTo>
                  <a:cubicBezTo>
                    <a:pt x="10" y="425"/>
                    <a:pt x="26" y="391"/>
                    <a:pt x="40" y="357"/>
                  </a:cubicBezTo>
                  <a:cubicBezTo>
                    <a:pt x="58" y="315"/>
                    <a:pt x="78" y="273"/>
                    <a:pt x="95" y="231"/>
                  </a:cubicBezTo>
                  <a:cubicBezTo>
                    <a:pt x="127" y="155"/>
                    <a:pt x="156" y="78"/>
                    <a:pt x="183" y="0"/>
                  </a:cubicBezTo>
                  <a:cubicBezTo>
                    <a:pt x="183" y="2"/>
                    <a:pt x="182" y="4"/>
                    <a:pt x="182" y="5"/>
                  </a:cubicBezTo>
                  <a:close/>
                </a:path>
              </a:pathLst>
            </a:custGeom>
            <a:solidFill>
              <a:srgbClr val="3C3C3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799" name="Freeform 436">
              <a:extLst>
                <a:ext uri="{FF2B5EF4-FFF2-40B4-BE49-F238E27FC236}">
                  <a16:creationId xmlns:a16="http://schemas.microsoft.com/office/drawing/2014/main" id="{E36995D4-482B-4C8A-9526-C1148248AA4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643438" y="2373313"/>
              <a:ext cx="482600" cy="330200"/>
            </a:xfrm>
            <a:custGeom>
              <a:avLst/>
              <a:gdLst>
                <a:gd name="T0" fmla="*/ 279 w 286"/>
                <a:gd name="T1" fmla="*/ 197 h 197"/>
                <a:gd name="T2" fmla="*/ 238 w 286"/>
                <a:gd name="T3" fmla="*/ 162 h 197"/>
                <a:gd name="T4" fmla="*/ 55 w 286"/>
                <a:gd name="T5" fmla="*/ 108 h 197"/>
                <a:gd name="T6" fmla="*/ 0 w 286"/>
                <a:gd name="T7" fmla="*/ 121 h 197"/>
                <a:gd name="T8" fmla="*/ 45 w 286"/>
                <a:gd name="T9" fmla="*/ 28 h 197"/>
                <a:gd name="T10" fmla="*/ 77 w 286"/>
                <a:gd name="T11" fmla="*/ 5 h 197"/>
                <a:gd name="T12" fmla="*/ 133 w 286"/>
                <a:gd name="T13" fmla="*/ 6 h 197"/>
                <a:gd name="T14" fmla="*/ 206 w 286"/>
                <a:gd name="T15" fmla="*/ 22 h 197"/>
                <a:gd name="T16" fmla="*/ 256 w 286"/>
                <a:gd name="T17" fmla="*/ 45 h 197"/>
                <a:gd name="T18" fmla="*/ 280 w 286"/>
                <a:gd name="T19" fmla="*/ 78 h 197"/>
                <a:gd name="T20" fmla="*/ 283 w 286"/>
                <a:gd name="T21" fmla="*/ 126 h 197"/>
                <a:gd name="T22" fmla="*/ 279 w 286"/>
                <a:gd name="T23" fmla="*/ 180 h 197"/>
                <a:gd name="T24" fmla="*/ 281 w 286"/>
                <a:gd name="T25" fmla="*/ 193 h 197"/>
                <a:gd name="T26" fmla="*/ 282 w 286"/>
                <a:gd name="T27" fmla="*/ 194 h 197"/>
                <a:gd name="T28" fmla="*/ 279 w 286"/>
                <a:gd name="T29" fmla="*/ 197 h 1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86" h="197">
                  <a:moveTo>
                    <a:pt x="279" y="197"/>
                  </a:moveTo>
                  <a:cubicBezTo>
                    <a:pt x="266" y="184"/>
                    <a:pt x="252" y="172"/>
                    <a:pt x="238" y="162"/>
                  </a:cubicBezTo>
                  <a:cubicBezTo>
                    <a:pt x="185" y="124"/>
                    <a:pt x="120" y="102"/>
                    <a:pt x="55" y="108"/>
                  </a:cubicBezTo>
                  <a:cubicBezTo>
                    <a:pt x="36" y="110"/>
                    <a:pt x="18" y="114"/>
                    <a:pt x="0" y="121"/>
                  </a:cubicBezTo>
                  <a:cubicBezTo>
                    <a:pt x="15" y="90"/>
                    <a:pt x="25" y="54"/>
                    <a:pt x="45" y="28"/>
                  </a:cubicBezTo>
                  <a:cubicBezTo>
                    <a:pt x="53" y="18"/>
                    <a:pt x="64" y="9"/>
                    <a:pt x="77" y="5"/>
                  </a:cubicBezTo>
                  <a:cubicBezTo>
                    <a:pt x="96" y="0"/>
                    <a:pt x="116" y="4"/>
                    <a:pt x="133" y="6"/>
                  </a:cubicBezTo>
                  <a:cubicBezTo>
                    <a:pt x="159" y="10"/>
                    <a:pt x="183" y="15"/>
                    <a:pt x="206" y="22"/>
                  </a:cubicBezTo>
                  <a:cubicBezTo>
                    <a:pt x="224" y="27"/>
                    <a:pt x="241" y="33"/>
                    <a:pt x="256" y="45"/>
                  </a:cubicBezTo>
                  <a:cubicBezTo>
                    <a:pt x="268" y="53"/>
                    <a:pt x="277" y="63"/>
                    <a:pt x="280" y="78"/>
                  </a:cubicBezTo>
                  <a:cubicBezTo>
                    <a:pt x="286" y="94"/>
                    <a:pt x="284" y="111"/>
                    <a:pt x="283" y="126"/>
                  </a:cubicBezTo>
                  <a:cubicBezTo>
                    <a:pt x="281" y="143"/>
                    <a:pt x="278" y="163"/>
                    <a:pt x="279" y="180"/>
                  </a:cubicBezTo>
                  <a:cubicBezTo>
                    <a:pt x="279" y="185"/>
                    <a:pt x="280" y="189"/>
                    <a:pt x="281" y="193"/>
                  </a:cubicBezTo>
                  <a:cubicBezTo>
                    <a:pt x="282" y="194"/>
                    <a:pt x="282" y="194"/>
                    <a:pt x="282" y="194"/>
                  </a:cubicBezTo>
                  <a:lnTo>
                    <a:pt x="279" y="197"/>
                  </a:lnTo>
                  <a:close/>
                </a:path>
              </a:pathLst>
            </a:custGeom>
            <a:solidFill>
              <a:srgbClr val="3C3C3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800" name="Freeform 437">
              <a:extLst>
                <a:ext uri="{FF2B5EF4-FFF2-40B4-BE49-F238E27FC236}">
                  <a16:creationId xmlns:a16="http://schemas.microsoft.com/office/drawing/2014/main" id="{8E7ECA1B-B0B9-4838-A3F6-CD9689917C2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145213" y="3482975"/>
              <a:ext cx="735013" cy="1009650"/>
            </a:xfrm>
            <a:custGeom>
              <a:avLst/>
              <a:gdLst>
                <a:gd name="T0" fmla="*/ 433 w 437"/>
                <a:gd name="T1" fmla="*/ 125 h 600"/>
                <a:gd name="T2" fmla="*/ 431 w 437"/>
                <a:gd name="T3" fmla="*/ 271 h 600"/>
                <a:gd name="T4" fmla="*/ 429 w 437"/>
                <a:gd name="T5" fmla="*/ 352 h 600"/>
                <a:gd name="T6" fmla="*/ 429 w 437"/>
                <a:gd name="T7" fmla="*/ 414 h 600"/>
                <a:gd name="T8" fmla="*/ 400 w 437"/>
                <a:gd name="T9" fmla="*/ 516 h 600"/>
                <a:gd name="T10" fmla="*/ 343 w 437"/>
                <a:gd name="T11" fmla="*/ 583 h 600"/>
                <a:gd name="T12" fmla="*/ 300 w 437"/>
                <a:gd name="T13" fmla="*/ 594 h 600"/>
                <a:gd name="T14" fmla="*/ 241 w 437"/>
                <a:gd name="T15" fmla="*/ 599 h 600"/>
                <a:gd name="T16" fmla="*/ 137 w 437"/>
                <a:gd name="T17" fmla="*/ 571 h 600"/>
                <a:gd name="T18" fmla="*/ 73 w 437"/>
                <a:gd name="T19" fmla="*/ 491 h 600"/>
                <a:gd name="T20" fmla="*/ 40 w 437"/>
                <a:gd name="T21" fmla="*/ 370 h 600"/>
                <a:gd name="T22" fmla="*/ 0 w 437"/>
                <a:gd name="T23" fmla="*/ 236 h 600"/>
                <a:gd name="T24" fmla="*/ 49 w 437"/>
                <a:gd name="T25" fmla="*/ 151 h 600"/>
                <a:gd name="T26" fmla="*/ 50 w 437"/>
                <a:gd name="T27" fmla="*/ 149 h 600"/>
                <a:gd name="T28" fmla="*/ 113 w 437"/>
                <a:gd name="T29" fmla="*/ 176 h 600"/>
                <a:gd name="T30" fmla="*/ 193 w 437"/>
                <a:gd name="T31" fmla="*/ 184 h 600"/>
                <a:gd name="T32" fmla="*/ 353 w 437"/>
                <a:gd name="T33" fmla="*/ 120 h 600"/>
                <a:gd name="T34" fmla="*/ 436 w 437"/>
                <a:gd name="T35" fmla="*/ 0 h 600"/>
                <a:gd name="T36" fmla="*/ 433 w 437"/>
                <a:gd name="T37" fmla="*/ 125 h 6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37" h="600">
                  <a:moveTo>
                    <a:pt x="433" y="125"/>
                  </a:moveTo>
                  <a:cubicBezTo>
                    <a:pt x="437" y="174"/>
                    <a:pt x="432" y="222"/>
                    <a:pt x="431" y="271"/>
                  </a:cubicBezTo>
                  <a:cubicBezTo>
                    <a:pt x="429" y="297"/>
                    <a:pt x="428" y="325"/>
                    <a:pt x="429" y="352"/>
                  </a:cubicBezTo>
                  <a:cubicBezTo>
                    <a:pt x="429" y="372"/>
                    <a:pt x="429" y="393"/>
                    <a:pt x="429" y="414"/>
                  </a:cubicBezTo>
                  <a:cubicBezTo>
                    <a:pt x="426" y="449"/>
                    <a:pt x="414" y="483"/>
                    <a:pt x="400" y="516"/>
                  </a:cubicBezTo>
                  <a:cubicBezTo>
                    <a:pt x="387" y="541"/>
                    <a:pt x="372" y="572"/>
                    <a:pt x="343" y="583"/>
                  </a:cubicBezTo>
                  <a:cubicBezTo>
                    <a:pt x="329" y="589"/>
                    <a:pt x="315" y="591"/>
                    <a:pt x="300" y="594"/>
                  </a:cubicBezTo>
                  <a:cubicBezTo>
                    <a:pt x="280" y="596"/>
                    <a:pt x="261" y="598"/>
                    <a:pt x="241" y="599"/>
                  </a:cubicBezTo>
                  <a:cubicBezTo>
                    <a:pt x="204" y="600"/>
                    <a:pt x="167" y="595"/>
                    <a:pt x="137" y="571"/>
                  </a:cubicBezTo>
                  <a:cubicBezTo>
                    <a:pt x="109" y="551"/>
                    <a:pt x="89" y="521"/>
                    <a:pt x="73" y="491"/>
                  </a:cubicBezTo>
                  <a:cubicBezTo>
                    <a:pt x="54" y="453"/>
                    <a:pt x="49" y="411"/>
                    <a:pt x="40" y="370"/>
                  </a:cubicBezTo>
                  <a:cubicBezTo>
                    <a:pt x="33" y="324"/>
                    <a:pt x="18" y="279"/>
                    <a:pt x="0" y="236"/>
                  </a:cubicBezTo>
                  <a:cubicBezTo>
                    <a:pt x="24" y="213"/>
                    <a:pt x="42" y="185"/>
                    <a:pt x="49" y="151"/>
                  </a:cubicBezTo>
                  <a:cubicBezTo>
                    <a:pt x="50" y="151"/>
                    <a:pt x="50" y="150"/>
                    <a:pt x="50" y="149"/>
                  </a:cubicBezTo>
                  <a:cubicBezTo>
                    <a:pt x="70" y="160"/>
                    <a:pt x="91" y="169"/>
                    <a:pt x="113" y="176"/>
                  </a:cubicBezTo>
                  <a:cubicBezTo>
                    <a:pt x="140" y="183"/>
                    <a:pt x="166" y="185"/>
                    <a:pt x="193" y="184"/>
                  </a:cubicBezTo>
                  <a:cubicBezTo>
                    <a:pt x="251" y="178"/>
                    <a:pt x="308" y="157"/>
                    <a:pt x="353" y="120"/>
                  </a:cubicBezTo>
                  <a:cubicBezTo>
                    <a:pt x="392" y="90"/>
                    <a:pt x="420" y="47"/>
                    <a:pt x="436" y="0"/>
                  </a:cubicBezTo>
                  <a:cubicBezTo>
                    <a:pt x="432" y="41"/>
                    <a:pt x="432" y="84"/>
                    <a:pt x="433" y="125"/>
                  </a:cubicBezTo>
                  <a:close/>
                </a:path>
              </a:pathLst>
            </a:custGeom>
            <a:solidFill>
              <a:srgbClr val="3C3C3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803" name="Freeform 438">
              <a:extLst>
                <a:ext uri="{FF2B5EF4-FFF2-40B4-BE49-F238E27FC236}">
                  <a16:creationId xmlns:a16="http://schemas.microsoft.com/office/drawing/2014/main" id="{3B7A6961-6297-436C-A571-4CF6C2E1E4E3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003925" y="2878138"/>
              <a:ext cx="904875" cy="915988"/>
            </a:xfrm>
            <a:custGeom>
              <a:avLst/>
              <a:gdLst>
                <a:gd name="T0" fmla="*/ 153 w 538"/>
                <a:gd name="T1" fmla="*/ 337 h 545"/>
                <a:gd name="T2" fmla="*/ 166 w 538"/>
                <a:gd name="T3" fmla="*/ 349 h 545"/>
                <a:gd name="T4" fmla="*/ 163 w 538"/>
                <a:gd name="T5" fmla="*/ 389 h 545"/>
                <a:gd name="T6" fmla="*/ 160 w 538"/>
                <a:gd name="T7" fmla="*/ 429 h 545"/>
                <a:gd name="T8" fmla="*/ 191 w 538"/>
                <a:gd name="T9" fmla="*/ 455 h 545"/>
                <a:gd name="T10" fmla="*/ 255 w 538"/>
                <a:gd name="T11" fmla="*/ 463 h 545"/>
                <a:gd name="T12" fmla="*/ 292 w 538"/>
                <a:gd name="T13" fmla="*/ 455 h 545"/>
                <a:gd name="T14" fmla="*/ 308 w 538"/>
                <a:gd name="T15" fmla="*/ 412 h 545"/>
                <a:gd name="T16" fmla="*/ 319 w 538"/>
                <a:gd name="T17" fmla="*/ 375 h 545"/>
                <a:gd name="T18" fmla="*/ 325 w 538"/>
                <a:gd name="T19" fmla="*/ 377 h 545"/>
                <a:gd name="T20" fmla="*/ 375 w 538"/>
                <a:gd name="T21" fmla="*/ 379 h 545"/>
                <a:gd name="T22" fmla="*/ 424 w 538"/>
                <a:gd name="T23" fmla="*/ 377 h 545"/>
                <a:gd name="T24" fmla="*/ 444 w 538"/>
                <a:gd name="T25" fmla="*/ 356 h 545"/>
                <a:gd name="T26" fmla="*/ 457 w 538"/>
                <a:gd name="T27" fmla="*/ 317 h 545"/>
                <a:gd name="T28" fmla="*/ 459 w 538"/>
                <a:gd name="T29" fmla="*/ 275 h 545"/>
                <a:gd name="T30" fmla="*/ 453 w 538"/>
                <a:gd name="T31" fmla="*/ 247 h 545"/>
                <a:gd name="T32" fmla="*/ 400 w 538"/>
                <a:gd name="T33" fmla="*/ 230 h 545"/>
                <a:gd name="T34" fmla="*/ 353 w 538"/>
                <a:gd name="T35" fmla="*/ 219 h 545"/>
                <a:gd name="T36" fmla="*/ 354 w 538"/>
                <a:gd name="T37" fmla="*/ 215 h 545"/>
                <a:gd name="T38" fmla="*/ 362 w 538"/>
                <a:gd name="T39" fmla="*/ 157 h 545"/>
                <a:gd name="T40" fmla="*/ 352 w 538"/>
                <a:gd name="T41" fmla="*/ 107 h 545"/>
                <a:gd name="T42" fmla="*/ 323 w 538"/>
                <a:gd name="T43" fmla="*/ 90 h 545"/>
                <a:gd name="T44" fmla="*/ 280 w 538"/>
                <a:gd name="T45" fmla="*/ 81 h 545"/>
                <a:gd name="T46" fmla="*/ 237 w 538"/>
                <a:gd name="T47" fmla="*/ 88 h 545"/>
                <a:gd name="T48" fmla="*/ 224 w 538"/>
                <a:gd name="T49" fmla="*/ 112 h 545"/>
                <a:gd name="T50" fmla="*/ 213 w 538"/>
                <a:gd name="T51" fmla="*/ 168 h 545"/>
                <a:gd name="T52" fmla="*/ 210 w 538"/>
                <a:gd name="T53" fmla="*/ 192 h 545"/>
                <a:gd name="T54" fmla="*/ 204 w 538"/>
                <a:gd name="T55" fmla="*/ 192 h 545"/>
                <a:gd name="T56" fmla="*/ 197 w 538"/>
                <a:gd name="T57" fmla="*/ 189 h 545"/>
                <a:gd name="T58" fmla="*/ 166 w 538"/>
                <a:gd name="T59" fmla="*/ 181 h 545"/>
                <a:gd name="T60" fmla="*/ 128 w 538"/>
                <a:gd name="T61" fmla="*/ 173 h 545"/>
                <a:gd name="T62" fmla="*/ 103 w 538"/>
                <a:gd name="T63" fmla="*/ 173 h 545"/>
                <a:gd name="T64" fmla="*/ 82 w 538"/>
                <a:gd name="T65" fmla="*/ 195 h 545"/>
                <a:gd name="T66" fmla="*/ 64 w 538"/>
                <a:gd name="T67" fmla="*/ 263 h 545"/>
                <a:gd name="T68" fmla="*/ 65 w 538"/>
                <a:gd name="T69" fmla="*/ 299 h 545"/>
                <a:gd name="T70" fmla="*/ 95 w 538"/>
                <a:gd name="T71" fmla="*/ 318 h 545"/>
                <a:gd name="T72" fmla="*/ 153 w 538"/>
                <a:gd name="T73" fmla="*/ 338 h 545"/>
                <a:gd name="T74" fmla="*/ 153 w 538"/>
                <a:gd name="T75" fmla="*/ 337 h 545"/>
                <a:gd name="T76" fmla="*/ 26 w 538"/>
                <a:gd name="T77" fmla="*/ 320 h 545"/>
                <a:gd name="T78" fmla="*/ 25 w 538"/>
                <a:gd name="T79" fmla="*/ 321 h 545"/>
                <a:gd name="T80" fmla="*/ 4 w 538"/>
                <a:gd name="T81" fmla="*/ 313 h 545"/>
                <a:gd name="T82" fmla="*/ 11 w 538"/>
                <a:gd name="T83" fmla="*/ 206 h 545"/>
                <a:gd name="T84" fmla="*/ 96 w 538"/>
                <a:gd name="T85" fmla="*/ 79 h 545"/>
                <a:gd name="T86" fmla="*/ 106 w 538"/>
                <a:gd name="T87" fmla="*/ 72 h 545"/>
                <a:gd name="T88" fmla="*/ 162 w 538"/>
                <a:gd name="T89" fmla="*/ 38 h 545"/>
                <a:gd name="T90" fmla="*/ 367 w 538"/>
                <a:gd name="T91" fmla="*/ 25 h 545"/>
                <a:gd name="T92" fmla="*/ 434 w 538"/>
                <a:gd name="T93" fmla="*/ 63 h 545"/>
                <a:gd name="T94" fmla="*/ 531 w 538"/>
                <a:gd name="T95" fmla="*/ 228 h 545"/>
                <a:gd name="T96" fmla="*/ 520 w 538"/>
                <a:gd name="T97" fmla="*/ 360 h 545"/>
                <a:gd name="T98" fmla="*/ 437 w 538"/>
                <a:gd name="T99" fmla="*/ 480 h 545"/>
                <a:gd name="T100" fmla="*/ 277 w 538"/>
                <a:gd name="T101" fmla="*/ 544 h 545"/>
                <a:gd name="T102" fmla="*/ 197 w 538"/>
                <a:gd name="T103" fmla="*/ 536 h 545"/>
                <a:gd name="T104" fmla="*/ 134 w 538"/>
                <a:gd name="T105" fmla="*/ 509 h 545"/>
                <a:gd name="T106" fmla="*/ 114 w 538"/>
                <a:gd name="T107" fmla="*/ 403 h 545"/>
                <a:gd name="T108" fmla="*/ 26 w 538"/>
                <a:gd name="T109" fmla="*/ 320 h 5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538" h="545">
                  <a:moveTo>
                    <a:pt x="153" y="337"/>
                  </a:moveTo>
                  <a:cubicBezTo>
                    <a:pt x="160" y="337"/>
                    <a:pt x="165" y="340"/>
                    <a:pt x="166" y="349"/>
                  </a:cubicBezTo>
                  <a:cubicBezTo>
                    <a:pt x="169" y="362"/>
                    <a:pt x="166" y="375"/>
                    <a:pt x="163" y="389"/>
                  </a:cubicBezTo>
                  <a:cubicBezTo>
                    <a:pt x="160" y="401"/>
                    <a:pt x="157" y="416"/>
                    <a:pt x="160" y="429"/>
                  </a:cubicBezTo>
                  <a:cubicBezTo>
                    <a:pt x="162" y="445"/>
                    <a:pt x="176" y="452"/>
                    <a:pt x="191" y="455"/>
                  </a:cubicBezTo>
                  <a:cubicBezTo>
                    <a:pt x="211" y="461"/>
                    <a:pt x="234" y="462"/>
                    <a:pt x="255" y="463"/>
                  </a:cubicBezTo>
                  <a:cubicBezTo>
                    <a:pt x="267" y="464"/>
                    <a:pt x="282" y="467"/>
                    <a:pt x="292" y="455"/>
                  </a:cubicBezTo>
                  <a:cubicBezTo>
                    <a:pt x="300" y="444"/>
                    <a:pt x="304" y="426"/>
                    <a:pt x="308" y="412"/>
                  </a:cubicBezTo>
                  <a:cubicBezTo>
                    <a:pt x="311" y="400"/>
                    <a:pt x="315" y="388"/>
                    <a:pt x="319" y="375"/>
                  </a:cubicBezTo>
                  <a:cubicBezTo>
                    <a:pt x="325" y="377"/>
                    <a:pt x="325" y="377"/>
                    <a:pt x="325" y="377"/>
                  </a:cubicBezTo>
                  <a:cubicBezTo>
                    <a:pt x="342" y="377"/>
                    <a:pt x="358" y="379"/>
                    <a:pt x="375" y="379"/>
                  </a:cubicBezTo>
                  <a:cubicBezTo>
                    <a:pt x="391" y="381"/>
                    <a:pt x="408" y="382"/>
                    <a:pt x="424" y="377"/>
                  </a:cubicBezTo>
                  <a:cubicBezTo>
                    <a:pt x="435" y="374"/>
                    <a:pt x="440" y="366"/>
                    <a:pt x="444" y="356"/>
                  </a:cubicBezTo>
                  <a:cubicBezTo>
                    <a:pt x="448" y="343"/>
                    <a:pt x="455" y="330"/>
                    <a:pt x="457" y="317"/>
                  </a:cubicBezTo>
                  <a:cubicBezTo>
                    <a:pt x="461" y="302"/>
                    <a:pt x="460" y="289"/>
                    <a:pt x="459" y="275"/>
                  </a:cubicBezTo>
                  <a:cubicBezTo>
                    <a:pt x="459" y="266"/>
                    <a:pt x="460" y="256"/>
                    <a:pt x="453" y="247"/>
                  </a:cubicBezTo>
                  <a:cubicBezTo>
                    <a:pt x="439" y="235"/>
                    <a:pt x="415" y="234"/>
                    <a:pt x="400" y="230"/>
                  </a:cubicBezTo>
                  <a:cubicBezTo>
                    <a:pt x="383" y="227"/>
                    <a:pt x="367" y="225"/>
                    <a:pt x="353" y="219"/>
                  </a:cubicBezTo>
                  <a:cubicBezTo>
                    <a:pt x="354" y="215"/>
                    <a:pt x="354" y="215"/>
                    <a:pt x="354" y="215"/>
                  </a:cubicBezTo>
                  <a:cubicBezTo>
                    <a:pt x="356" y="196"/>
                    <a:pt x="360" y="176"/>
                    <a:pt x="362" y="157"/>
                  </a:cubicBezTo>
                  <a:cubicBezTo>
                    <a:pt x="364" y="141"/>
                    <a:pt x="367" y="117"/>
                    <a:pt x="352" y="107"/>
                  </a:cubicBezTo>
                  <a:cubicBezTo>
                    <a:pt x="344" y="102"/>
                    <a:pt x="333" y="96"/>
                    <a:pt x="323" y="90"/>
                  </a:cubicBezTo>
                  <a:cubicBezTo>
                    <a:pt x="311" y="84"/>
                    <a:pt x="295" y="83"/>
                    <a:pt x="280" y="81"/>
                  </a:cubicBezTo>
                  <a:cubicBezTo>
                    <a:pt x="265" y="82"/>
                    <a:pt x="249" y="82"/>
                    <a:pt x="237" y="88"/>
                  </a:cubicBezTo>
                  <a:cubicBezTo>
                    <a:pt x="226" y="93"/>
                    <a:pt x="226" y="102"/>
                    <a:pt x="224" y="112"/>
                  </a:cubicBezTo>
                  <a:cubicBezTo>
                    <a:pt x="220" y="130"/>
                    <a:pt x="216" y="149"/>
                    <a:pt x="213" y="168"/>
                  </a:cubicBezTo>
                  <a:cubicBezTo>
                    <a:pt x="213" y="177"/>
                    <a:pt x="212" y="183"/>
                    <a:pt x="210" y="192"/>
                  </a:cubicBezTo>
                  <a:cubicBezTo>
                    <a:pt x="204" y="192"/>
                    <a:pt x="204" y="192"/>
                    <a:pt x="204" y="192"/>
                  </a:cubicBezTo>
                  <a:cubicBezTo>
                    <a:pt x="201" y="191"/>
                    <a:pt x="198" y="189"/>
                    <a:pt x="197" y="189"/>
                  </a:cubicBezTo>
                  <a:cubicBezTo>
                    <a:pt x="186" y="187"/>
                    <a:pt x="176" y="185"/>
                    <a:pt x="166" y="181"/>
                  </a:cubicBezTo>
                  <a:cubicBezTo>
                    <a:pt x="153" y="178"/>
                    <a:pt x="139" y="175"/>
                    <a:pt x="128" y="173"/>
                  </a:cubicBezTo>
                  <a:cubicBezTo>
                    <a:pt x="119" y="171"/>
                    <a:pt x="111" y="169"/>
                    <a:pt x="103" y="173"/>
                  </a:cubicBezTo>
                  <a:cubicBezTo>
                    <a:pt x="93" y="176"/>
                    <a:pt x="86" y="185"/>
                    <a:pt x="82" y="195"/>
                  </a:cubicBezTo>
                  <a:cubicBezTo>
                    <a:pt x="71" y="215"/>
                    <a:pt x="69" y="241"/>
                    <a:pt x="64" y="263"/>
                  </a:cubicBezTo>
                  <a:cubicBezTo>
                    <a:pt x="60" y="277"/>
                    <a:pt x="55" y="288"/>
                    <a:pt x="65" y="299"/>
                  </a:cubicBezTo>
                  <a:cubicBezTo>
                    <a:pt x="74" y="308"/>
                    <a:pt x="83" y="314"/>
                    <a:pt x="95" y="318"/>
                  </a:cubicBezTo>
                  <a:cubicBezTo>
                    <a:pt x="114" y="325"/>
                    <a:pt x="133" y="331"/>
                    <a:pt x="153" y="338"/>
                  </a:cubicBezTo>
                  <a:lnTo>
                    <a:pt x="153" y="337"/>
                  </a:lnTo>
                  <a:close/>
                  <a:moveTo>
                    <a:pt x="26" y="320"/>
                  </a:moveTo>
                  <a:cubicBezTo>
                    <a:pt x="25" y="321"/>
                    <a:pt x="25" y="321"/>
                    <a:pt x="25" y="321"/>
                  </a:cubicBezTo>
                  <a:cubicBezTo>
                    <a:pt x="18" y="318"/>
                    <a:pt x="11" y="316"/>
                    <a:pt x="4" y="313"/>
                  </a:cubicBezTo>
                  <a:cubicBezTo>
                    <a:pt x="1" y="278"/>
                    <a:pt x="0" y="241"/>
                    <a:pt x="11" y="206"/>
                  </a:cubicBezTo>
                  <a:cubicBezTo>
                    <a:pt x="25" y="156"/>
                    <a:pt x="56" y="111"/>
                    <a:pt x="96" y="79"/>
                  </a:cubicBezTo>
                  <a:cubicBezTo>
                    <a:pt x="99" y="77"/>
                    <a:pt x="102" y="74"/>
                    <a:pt x="106" y="72"/>
                  </a:cubicBezTo>
                  <a:cubicBezTo>
                    <a:pt x="123" y="59"/>
                    <a:pt x="142" y="47"/>
                    <a:pt x="162" y="38"/>
                  </a:cubicBezTo>
                  <a:cubicBezTo>
                    <a:pt x="226" y="8"/>
                    <a:pt x="301" y="0"/>
                    <a:pt x="367" y="25"/>
                  </a:cubicBezTo>
                  <a:cubicBezTo>
                    <a:pt x="391" y="35"/>
                    <a:pt x="414" y="47"/>
                    <a:pt x="434" y="63"/>
                  </a:cubicBezTo>
                  <a:cubicBezTo>
                    <a:pt x="485" y="103"/>
                    <a:pt x="521" y="162"/>
                    <a:pt x="531" y="228"/>
                  </a:cubicBezTo>
                  <a:cubicBezTo>
                    <a:pt x="538" y="272"/>
                    <a:pt x="534" y="317"/>
                    <a:pt x="520" y="360"/>
                  </a:cubicBezTo>
                  <a:cubicBezTo>
                    <a:pt x="504" y="407"/>
                    <a:pt x="476" y="450"/>
                    <a:pt x="437" y="480"/>
                  </a:cubicBezTo>
                  <a:cubicBezTo>
                    <a:pt x="392" y="517"/>
                    <a:pt x="335" y="538"/>
                    <a:pt x="277" y="544"/>
                  </a:cubicBezTo>
                  <a:cubicBezTo>
                    <a:pt x="250" y="545"/>
                    <a:pt x="224" y="543"/>
                    <a:pt x="197" y="536"/>
                  </a:cubicBezTo>
                  <a:cubicBezTo>
                    <a:pt x="175" y="529"/>
                    <a:pt x="154" y="520"/>
                    <a:pt x="134" y="509"/>
                  </a:cubicBezTo>
                  <a:cubicBezTo>
                    <a:pt x="143" y="473"/>
                    <a:pt x="135" y="435"/>
                    <a:pt x="114" y="403"/>
                  </a:cubicBezTo>
                  <a:cubicBezTo>
                    <a:pt x="93" y="368"/>
                    <a:pt x="58" y="344"/>
                    <a:pt x="26" y="320"/>
                  </a:cubicBezTo>
                  <a:close/>
                </a:path>
              </a:pathLst>
            </a:custGeom>
            <a:solidFill>
              <a:srgbClr val="F6B84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804" name="Freeform 439">
              <a:extLst>
                <a:ext uri="{FF2B5EF4-FFF2-40B4-BE49-F238E27FC236}">
                  <a16:creationId xmlns:a16="http://schemas.microsoft.com/office/drawing/2014/main" id="{F3558063-8050-44F7-81D6-364CE4C9E9D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275388" y="2693988"/>
              <a:ext cx="468313" cy="290513"/>
            </a:xfrm>
            <a:custGeom>
              <a:avLst/>
              <a:gdLst>
                <a:gd name="T0" fmla="*/ 205 w 278"/>
                <a:gd name="T1" fmla="*/ 135 h 173"/>
                <a:gd name="T2" fmla="*/ 0 w 278"/>
                <a:gd name="T3" fmla="*/ 148 h 173"/>
                <a:gd name="T4" fmla="*/ 5 w 278"/>
                <a:gd name="T5" fmla="*/ 139 h 173"/>
                <a:gd name="T6" fmla="*/ 19 w 278"/>
                <a:gd name="T7" fmla="*/ 98 h 173"/>
                <a:gd name="T8" fmla="*/ 44 w 278"/>
                <a:gd name="T9" fmla="*/ 39 h 173"/>
                <a:gd name="T10" fmla="*/ 69 w 278"/>
                <a:gd name="T11" fmla="*/ 25 h 173"/>
                <a:gd name="T12" fmla="*/ 68 w 278"/>
                <a:gd name="T13" fmla="*/ 23 h 173"/>
                <a:gd name="T14" fmla="*/ 119 w 278"/>
                <a:gd name="T15" fmla="*/ 2 h 173"/>
                <a:gd name="T16" fmla="*/ 164 w 278"/>
                <a:gd name="T17" fmla="*/ 6 h 173"/>
                <a:gd name="T18" fmla="*/ 213 w 278"/>
                <a:gd name="T19" fmla="*/ 15 h 173"/>
                <a:gd name="T20" fmla="*/ 255 w 278"/>
                <a:gd name="T21" fmla="*/ 50 h 173"/>
                <a:gd name="T22" fmla="*/ 269 w 278"/>
                <a:gd name="T23" fmla="*/ 62 h 173"/>
                <a:gd name="T24" fmla="*/ 272 w 278"/>
                <a:gd name="T25" fmla="*/ 111 h 173"/>
                <a:gd name="T26" fmla="*/ 274 w 278"/>
                <a:gd name="T27" fmla="*/ 170 h 173"/>
                <a:gd name="T28" fmla="*/ 272 w 278"/>
                <a:gd name="T29" fmla="*/ 173 h 173"/>
                <a:gd name="T30" fmla="*/ 205 w 278"/>
                <a:gd name="T31" fmla="*/ 135 h 1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78" h="173">
                  <a:moveTo>
                    <a:pt x="205" y="135"/>
                  </a:moveTo>
                  <a:cubicBezTo>
                    <a:pt x="139" y="110"/>
                    <a:pt x="64" y="118"/>
                    <a:pt x="0" y="148"/>
                  </a:cubicBezTo>
                  <a:cubicBezTo>
                    <a:pt x="1" y="145"/>
                    <a:pt x="3" y="142"/>
                    <a:pt x="5" y="139"/>
                  </a:cubicBezTo>
                  <a:cubicBezTo>
                    <a:pt x="11" y="126"/>
                    <a:pt x="16" y="112"/>
                    <a:pt x="19" y="98"/>
                  </a:cubicBezTo>
                  <a:cubicBezTo>
                    <a:pt x="23" y="77"/>
                    <a:pt x="28" y="54"/>
                    <a:pt x="44" y="39"/>
                  </a:cubicBezTo>
                  <a:cubicBezTo>
                    <a:pt x="51" y="33"/>
                    <a:pt x="60" y="28"/>
                    <a:pt x="69" y="25"/>
                  </a:cubicBezTo>
                  <a:cubicBezTo>
                    <a:pt x="68" y="23"/>
                    <a:pt x="68" y="23"/>
                    <a:pt x="68" y="23"/>
                  </a:cubicBezTo>
                  <a:cubicBezTo>
                    <a:pt x="85" y="13"/>
                    <a:pt x="100" y="5"/>
                    <a:pt x="119" y="2"/>
                  </a:cubicBezTo>
                  <a:cubicBezTo>
                    <a:pt x="135" y="0"/>
                    <a:pt x="148" y="5"/>
                    <a:pt x="164" y="6"/>
                  </a:cubicBezTo>
                  <a:cubicBezTo>
                    <a:pt x="181" y="7"/>
                    <a:pt x="198" y="10"/>
                    <a:pt x="213" y="15"/>
                  </a:cubicBezTo>
                  <a:cubicBezTo>
                    <a:pt x="233" y="21"/>
                    <a:pt x="248" y="33"/>
                    <a:pt x="255" y="50"/>
                  </a:cubicBezTo>
                  <a:cubicBezTo>
                    <a:pt x="260" y="53"/>
                    <a:pt x="266" y="56"/>
                    <a:pt x="269" y="62"/>
                  </a:cubicBezTo>
                  <a:cubicBezTo>
                    <a:pt x="278" y="78"/>
                    <a:pt x="274" y="94"/>
                    <a:pt x="272" y="111"/>
                  </a:cubicBezTo>
                  <a:cubicBezTo>
                    <a:pt x="270" y="130"/>
                    <a:pt x="266" y="150"/>
                    <a:pt x="274" y="170"/>
                  </a:cubicBezTo>
                  <a:cubicBezTo>
                    <a:pt x="272" y="173"/>
                    <a:pt x="272" y="173"/>
                    <a:pt x="272" y="173"/>
                  </a:cubicBezTo>
                  <a:cubicBezTo>
                    <a:pt x="252" y="157"/>
                    <a:pt x="229" y="145"/>
                    <a:pt x="205" y="135"/>
                  </a:cubicBezTo>
                  <a:close/>
                </a:path>
              </a:pathLst>
            </a:custGeom>
            <a:solidFill>
              <a:srgbClr val="3C3C3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805" name="Freeform 440">
              <a:extLst>
                <a:ext uri="{FF2B5EF4-FFF2-40B4-BE49-F238E27FC236}">
                  <a16:creationId xmlns:a16="http://schemas.microsoft.com/office/drawing/2014/main" id="{439534E2-FF77-4B86-9D06-02B07254436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741988" y="3498850"/>
              <a:ext cx="414338" cy="455613"/>
            </a:xfrm>
            <a:custGeom>
              <a:avLst/>
              <a:gdLst>
                <a:gd name="T0" fmla="*/ 166 w 246"/>
                <a:gd name="T1" fmla="*/ 14 h 271"/>
                <a:gd name="T2" fmla="*/ 86 w 246"/>
                <a:gd name="T3" fmla="*/ 9 h 271"/>
                <a:gd name="T4" fmla="*/ 29 w 246"/>
                <a:gd name="T5" fmla="*/ 54 h 271"/>
                <a:gd name="T6" fmla="*/ 27 w 246"/>
                <a:gd name="T7" fmla="*/ 192 h 271"/>
                <a:gd name="T8" fmla="*/ 239 w 246"/>
                <a:gd name="T9" fmla="*/ 149 h 271"/>
                <a:gd name="T10" fmla="*/ 230 w 246"/>
                <a:gd name="T11" fmla="*/ 66 h 271"/>
                <a:gd name="T12" fmla="*/ 168 w 246"/>
                <a:gd name="T13" fmla="*/ 9 h 271"/>
                <a:gd name="T14" fmla="*/ 164 w 246"/>
                <a:gd name="T15" fmla="*/ 17 h 271"/>
                <a:gd name="T16" fmla="*/ 223 w 246"/>
                <a:gd name="T17" fmla="*/ 73 h 271"/>
                <a:gd name="T18" fmla="*/ 225 w 246"/>
                <a:gd name="T19" fmla="*/ 161 h 271"/>
                <a:gd name="T20" fmla="*/ 100 w 246"/>
                <a:gd name="T21" fmla="*/ 229 h 271"/>
                <a:gd name="T22" fmla="*/ 17 w 246"/>
                <a:gd name="T23" fmla="*/ 89 h 271"/>
                <a:gd name="T24" fmla="*/ 68 w 246"/>
                <a:gd name="T25" fmla="*/ 25 h 271"/>
                <a:gd name="T26" fmla="*/ 165 w 246"/>
                <a:gd name="T27" fmla="*/ 16 h 271"/>
                <a:gd name="T28" fmla="*/ 166 w 246"/>
                <a:gd name="T29" fmla="*/ 14 h 2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46" h="271">
                  <a:moveTo>
                    <a:pt x="166" y="14"/>
                  </a:moveTo>
                  <a:cubicBezTo>
                    <a:pt x="139" y="5"/>
                    <a:pt x="114" y="0"/>
                    <a:pt x="86" y="9"/>
                  </a:cubicBezTo>
                  <a:cubicBezTo>
                    <a:pt x="63" y="17"/>
                    <a:pt x="41" y="33"/>
                    <a:pt x="29" y="54"/>
                  </a:cubicBezTo>
                  <a:cubicBezTo>
                    <a:pt x="5" y="93"/>
                    <a:pt x="0" y="153"/>
                    <a:pt x="27" y="192"/>
                  </a:cubicBezTo>
                  <a:cubicBezTo>
                    <a:pt x="82" y="271"/>
                    <a:pt x="215" y="240"/>
                    <a:pt x="239" y="149"/>
                  </a:cubicBezTo>
                  <a:cubicBezTo>
                    <a:pt x="246" y="123"/>
                    <a:pt x="241" y="90"/>
                    <a:pt x="230" y="66"/>
                  </a:cubicBezTo>
                  <a:cubicBezTo>
                    <a:pt x="218" y="39"/>
                    <a:pt x="193" y="22"/>
                    <a:pt x="168" y="9"/>
                  </a:cubicBezTo>
                  <a:cubicBezTo>
                    <a:pt x="163" y="7"/>
                    <a:pt x="159" y="14"/>
                    <a:pt x="164" y="17"/>
                  </a:cubicBezTo>
                  <a:cubicBezTo>
                    <a:pt x="188" y="31"/>
                    <a:pt x="212" y="45"/>
                    <a:pt x="223" y="73"/>
                  </a:cubicBezTo>
                  <a:cubicBezTo>
                    <a:pt x="234" y="99"/>
                    <a:pt x="238" y="134"/>
                    <a:pt x="225" y="161"/>
                  </a:cubicBezTo>
                  <a:cubicBezTo>
                    <a:pt x="204" y="206"/>
                    <a:pt x="150" y="237"/>
                    <a:pt x="100" y="229"/>
                  </a:cubicBezTo>
                  <a:cubicBezTo>
                    <a:pt x="35" y="218"/>
                    <a:pt x="2" y="150"/>
                    <a:pt x="17" y="89"/>
                  </a:cubicBezTo>
                  <a:cubicBezTo>
                    <a:pt x="23" y="62"/>
                    <a:pt x="45" y="39"/>
                    <a:pt x="68" y="25"/>
                  </a:cubicBezTo>
                  <a:cubicBezTo>
                    <a:pt x="100" y="6"/>
                    <a:pt x="131" y="11"/>
                    <a:pt x="165" y="16"/>
                  </a:cubicBezTo>
                  <a:cubicBezTo>
                    <a:pt x="167" y="16"/>
                    <a:pt x="167" y="14"/>
                    <a:pt x="166" y="14"/>
                  </a:cubicBezTo>
                  <a:close/>
                </a:path>
              </a:pathLst>
            </a:custGeom>
            <a:solidFill>
              <a:srgbClr val="1C1D1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806" name="Freeform 441">
              <a:extLst>
                <a:ext uri="{FF2B5EF4-FFF2-40B4-BE49-F238E27FC236}">
                  <a16:creationId xmlns:a16="http://schemas.microsoft.com/office/drawing/2014/main" id="{17FF897F-0661-408B-9856-053CEA8A9BD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708650" y="3438525"/>
              <a:ext cx="490538" cy="508000"/>
            </a:xfrm>
            <a:custGeom>
              <a:avLst/>
              <a:gdLst>
                <a:gd name="T0" fmla="*/ 192 w 291"/>
                <a:gd name="T1" fmla="*/ 33 h 302"/>
                <a:gd name="T2" fmla="*/ 34 w 291"/>
                <a:gd name="T3" fmla="*/ 78 h 302"/>
                <a:gd name="T4" fmla="*/ 33 w 291"/>
                <a:gd name="T5" fmla="*/ 234 h 302"/>
                <a:gd name="T6" fmla="*/ 160 w 291"/>
                <a:gd name="T7" fmla="*/ 288 h 302"/>
                <a:gd name="T8" fmla="*/ 284 w 291"/>
                <a:gd name="T9" fmla="*/ 183 h 302"/>
                <a:gd name="T10" fmla="*/ 266 w 291"/>
                <a:gd name="T11" fmla="*/ 86 h 302"/>
                <a:gd name="T12" fmla="*/ 191 w 291"/>
                <a:gd name="T13" fmla="*/ 26 h 302"/>
                <a:gd name="T14" fmla="*/ 189 w 291"/>
                <a:gd name="T15" fmla="*/ 35 h 302"/>
                <a:gd name="T16" fmla="*/ 267 w 291"/>
                <a:gd name="T17" fmla="*/ 108 h 302"/>
                <a:gd name="T18" fmla="*/ 260 w 291"/>
                <a:gd name="T19" fmla="*/ 220 h 302"/>
                <a:gd name="T20" fmla="*/ 84 w 291"/>
                <a:gd name="T21" fmla="*/ 272 h 302"/>
                <a:gd name="T22" fmla="*/ 22 w 291"/>
                <a:gd name="T23" fmla="*/ 112 h 302"/>
                <a:gd name="T24" fmla="*/ 88 w 291"/>
                <a:gd name="T25" fmla="*/ 38 h 302"/>
                <a:gd name="T26" fmla="*/ 141 w 291"/>
                <a:gd name="T27" fmla="*/ 23 h 302"/>
                <a:gd name="T28" fmla="*/ 190 w 291"/>
                <a:gd name="T29" fmla="*/ 35 h 302"/>
                <a:gd name="T30" fmla="*/ 192 w 291"/>
                <a:gd name="T31" fmla="*/ 33 h 3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91" h="302">
                  <a:moveTo>
                    <a:pt x="192" y="33"/>
                  </a:moveTo>
                  <a:cubicBezTo>
                    <a:pt x="138" y="0"/>
                    <a:pt x="68" y="32"/>
                    <a:pt x="34" y="78"/>
                  </a:cubicBezTo>
                  <a:cubicBezTo>
                    <a:pt x="0" y="124"/>
                    <a:pt x="1" y="187"/>
                    <a:pt x="33" y="234"/>
                  </a:cubicBezTo>
                  <a:cubicBezTo>
                    <a:pt x="60" y="274"/>
                    <a:pt x="111" y="299"/>
                    <a:pt x="160" y="288"/>
                  </a:cubicBezTo>
                  <a:cubicBezTo>
                    <a:pt x="211" y="276"/>
                    <a:pt x="273" y="238"/>
                    <a:pt x="284" y="183"/>
                  </a:cubicBezTo>
                  <a:cubicBezTo>
                    <a:pt x="291" y="150"/>
                    <a:pt x="281" y="115"/>
                    <a:pt x="266" y="86"/>
                  </a:cubicBezTo>
                  <a:cubicBezTo>
                    <a:pt x="250" y="55"/>
                    <a:pt x="224" y="38"/>
                    <a:pt x="191" y="26"/>
                  </a:cubicBezTo>
                  <a:cubicBezTo>
                    <a:pt x="186" y="24"/>
                    <a:pt x="184" y="33"/>
                    <a:pt x="189" y="35"/>
                  </a:cubicBezTo>
                  <a:cubicBezTo>
                    <a:pt x="227" y="49"/>
                    <a:pt x="251" y="70"/>
                    <a:pt x="267" y="108"/>
                  </a:cubicBezTo>
                  <a:cubicBezTo>
                    <a:pt x="283" y="146"/>
                    <a:pt x="286" y="186"/>
                    <a:pt x="260" y="220"/>
                  </a:cubicBezTo>
                  <a:cubicBezTo>
                    <a:pt x="221" y="271"/>
                    <a:pt x="144" y="302"/>
                    <a:pt x="84" y="272"/>
                  </a:cubicBezTo>
                  <a:cubicBezTo>
                    <a:pt x="26" y="244"/>
                    <a:pt x="1" y="172"/>
                    <a:pt x="22" y="112"/>
                  </a:cubicBezTo>
                  <a:cubicBezTo>
                    <a:pt x="34" y="80"/>
                    <a:pt x="58" y="54"/>
                    <a:pt x="88" y="38"/>
                  </a:cubicBezTo>
                  <a:cubicBezTo>
                    <a:pt x="104" y="29"/>
                    <a:pt x="122" y="23"/>
                    <a:pt x="141" y="23"/>
                  </a:cubicBezTo>
                  <a:cubicBezTo>
                    <a:pt x="158" y="24"/>
                    <a:pt x="174" y="31"/>
                    <a:pt x="190" y="35"/>
                  </a:cubicBezTo>
                  <a:cubicBezTo>
                    <a:pt x="192" y="36"/>
                    <a:pt x="193" y="34"/>
                    <a:pt x="192" y="33"/>
                  </a:cubicBezTo>
                  <a:close/>
                </a:path>
              </a:pathLst>
            </a:custGeom>
            <a:solidFill>
              <a:srgbClr val="1C1D1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807" name="Freeform 442">
              <a:extLst>
                <a:ext uri="{FF2B5EF4-FFF2-40B4-BE49-F238E27FC236}">
                  <a16:creationId xmlns:a16="http://schemas.microsoft.com/office/drawing/2014/main" id="{D6F2C363-5866-449B-81B4-E9EA8987A7E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654675" y="3389313"/>
              <a:ext cx="635000" cy="700088"/>
            </a:xfrm>
            <a:custGeom>
              <a:avLst/>
              <a:gdLst>
                <a:gd name="T0" fmla="*/ 243 w 377"/>
                <a:gd name="T1" fmla="*/ 25 h 416"/>
                <a:gd name="T2" fmla="*/ 130 w 377"/>
                <a:gd name="T3" fmla="*/ 15 h 416"/>
                <a:gd name="T4" fmla="*/ 47 w 377"/>
                <a:gd name="T5" fmla="*/ 79 h 416"/>
                <a:gd name="T6" fmla="*/ 8 w 377"/>
                <a:gd name="T7" fmla="*/ 171 h 416"/>
                <a:gd name="T8" fmla="*/ 36 w 377"/>
                <a:gd name="T9" fmla="*/ 286 h 416"/>
                <a:gd name="T10" fmla="*/ 353 w 377"/>
                <a:gd name="T11" fmla="*/ 224 h 416"/>
                <a:gd name="T12" fmla="*/ 241 w 377"/>
                <a:gd name="T13" fmla="*/ 19 h 416"/>
                <a:gd name="T14" fmla="*/ 236 w 377"/>
                <a:gd name="T15" fmla="*/ 25 h 416"/>
                <a:gd name="T16" fmla="*/ 305 w 377"/>
                <a:gd name="T17" fmla="*/ 83 h 416"/>
                <a:gd name="T18" fmla="*/ 351 w 377"/>
                <a:gd name="T19" fmla="*/ 194 h 416"/>
                <a:gd name="T20" fmla="*/ 243 w 377"/>
                <a:gd name="T21" fmla="*/ 336 h 416"/>
                <a:gd name="T22" fmla="*/ 59 w 377"/>
                <a:gd name="T23" fmla="*/ 307 h 416"/>
                <a:gd name="T24" fmla="*/ 36 w 377"/>
                <a:gd name="T25" fmla="*/ 110 h 416"/>
                <a:gd name="T26" fmla="*/ 114 w 377"/>
                <a:gd name="T27" fmla="*/ 32 h 416"/>
                <a:gd name="T28" fmla="*/ 242 w 377"/>
                <a:gd name="T29" fmla="*/ 28 h 416"/>
                <a:gd name="T30" fmla="*/ 243 w 377"/>
                <a:gd name="T31" fmla="*/ 25 h 4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77" h="416">
                  <a:moveTo>
                    <a:pt x="243" y="25"/>
                  </a:moveTo>
                  <a:cubicBezTo>
                    <a:pt x="207" y="10"/>
                    <a:pt x="168" y="0"/>
                    <a:pt x="130" y="15"/>
                  </a:cubicBezTo>
                  <a:cubicBezTo>
                    <a:pt x="96" y="27"/>
                    <a:pt x="69" y="51"/>
                    <a:pt x="47" y="79"/>
                  </a:cubicBezTo>
                  <a:cubicBezTo>
                    <a:pt x="25" y="107"/>
                    <a:pt x="11" y="135"/>
                    <a:pt x="8" y="171"/>
                  </a:cubicBezTo>
                  <a:cubicBezTo>
                    <a:pt x="5" y="212"/>
                    <a:pt x="15" y="251"/>
                    <a:pt x="36" y="286"/>
                  </a:cubicBezTo>
                  <a:cubicBezTo>
                    <a:pt x="113" y="416"/>
                    <a:pt x="318" y="358"/>
                    <a:pt x="353" y="224"/>
                  </a:cubicBezTo>
                  <a:cubicBezTo>
                    <a:pt x="377" y="132"/>
                    <a:pt x="311" y="66"/>
                    <a:pt x="241" y="19"/>
                  </a:cubicBezTo>
                  <a:cubicBezTo>
                    <a:pt x="237" y="16"/>
                    <a:pt x="232" y="22"/>
                    <a:pt x="236" y="25"/>
                  </a:cubicBezTo>
                  <a:cubicBezTo>
                    <a:pt x="259" y="44"/>
                    <a:pt x="284" y="61"/>
                    <a:pt x="305" y="83"/>
                  </a:cubicBezTo>
                  <a:cubicBezTo>
                    <a:pt x="334" y="113"/>
                    <a:pt x="353" y="152"/>
                    <a:pt x="351" y="194"/>
                  </a:cubicBezTo>
                  <a:cubicBezTo>
                    <a:pt x="348" y="258"/>
                    <a:pt x="299" y="311"/>
                    <a:pt x="243" y="336"/>
                  </a:cubicBezTo>
                  <a:cubicBezTo>
                    <a:pt x="182" y="364"/>
                    <a:pt x="105" y="361"/>
                    <a:pt x="59" y="307"/>
                  </a:cubicBezTo>
                  <a:cubicBezTo>
                    <a:pt x="15" y="254"/>
                    <a:pt x="0" y="171"/>
                    <a:pt x="36" y="110"/>
                  </a:cubicBezTo>
                  <a:cubicBezTo>
                    <a:pt x="54" y="79"/>
                    <a:pt x="82" y="49"/>
                    <a:pt x="114" y="32"/>
                  </a:cubicBezTo>
                  <a:cubicBezTo>
                    <a:pt x="156" y="9"/>
                    <a:pt x="198" y="16"/>
                    <a:pt x="242" y="28"/>
                  </a:cubicBezTo>
                  <a:cubicBezTo>
                    <a:pt x="244" y="29"/>
                    <a:pt x="245" y="26"/>
                    <a:pt x="243" y="25"/>
                  </a:cubicBezTo>
                  <a:close/>
                </a:path>
              </a:pathLst>
            </a:custGeom>
            <a:solidFill>
              <a:srgbClr val="1C1D1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808" name="Freeform 443">
              <a:extLst>
                <a:ext uri="{FF2B5EF4-FFF2-40B4-BE49-F238E27FC236}">
                  <a16:creationId xmlns:a16="http://schemas.microsoft.com/office/drawing/2014/main" id="{62F75765-B5EE-4C17-9527-C87133A1DB3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832350" y="3211513"/>
              <a:ext cx="625475" cy="617538"/>
            </a:xfrm>
            <a:custGeom>
              <a:avLst/>
              <a:gdLst>
                <a:gd name="T0" fmla="*/ 285 w 372"/>
                <a:gd name="T1" fmla="*/ 44 h 368"/>
                <a:gd name="T2" fmla="*/ 83 w 372"/>
                <a:gd name="T3" fmla="*/ 37 h 368"/>
                <a:gd name="T4" fmla="*/ 26 w 372"/>
                <a:gd name="T5" fmla="*/ 117 h 368"/>
                <a:gd name="T6" fmla="*/ 5 w 372"/>
                <a:gd name="T7" fmla="*/ 229 h 368"/>
                <a:gd name="T8" fmla="*/ 60 w 372"/>
                <a:gd name="T9" fmla="*/ 316 h 368"/>
                <a:gd name="T10" fmla="*/ 154 w 372"/>
                <a:gd name="T11" fmla="*/ 363 h 368"/>
                <a:gd name="T12" fmla="*/ 339 w 372"/>
                <a:gd name="T13" fmla="*/ 261 h 368"/>
                <a:gd name="T14" fmla="*/ 357 w 372"/>
                <a:gd name="T15" fmla="*/ 128 h 368"/>
                <a:gd name="T16" fmla="*/ 281 w 372"/>
                <a:gd name="T17" fmla="*/ 36 h 368"/>
                <a:gd name="T18" fmla="*/ 275 w 372"/>
                <a:gd name="T19" fmla="*/ 44 h 368"/>
                <a:gd name="T20" fmla="*/ 338 w 372"/>
                <a:gd name="T21" fmla="*/ 110 h 368"/>
                <a:gd name="T22" fmla="*/ 346 w 372"/>
                <a:gd name="T23" fmla="*/ 229 h 368"/>
                <a:gd name="T24" fmla="*/ 291 w 372"/>
                <a:gd name="T25" fmla="*/ 313 h 368"/>
                <a:gd name="T26" fmla="*/ 196 w 372"/>
                <a:gd name="T27" fmla="*/ 353 h 368"/>
                <a:gd name="T28" fmla="*/ 92 w 372"/>
                <a:gd name="T29" fmla="*/ 333 h 368"/>
                <a:gd name="T30" fmla="*/ 26 w 372"/>
                <a:gd name="T31" fmla="*/ 260 h 368"/>
                <a:gd name="T32" fmla="*/ 24 w 372"/>
                <a:gd name="T33" fmla="*/ 153 h 368"/>
                <a:gd name="T34" fmla="*/ 67 w 372"/>
                <a:gd name="T35" fmla="*/ 60 h 368"/>
                <a:gd name="T36" fmla="*/ 161 w 372"/>
                <a:gd name="T37" fmla="*/ 22 h 368"/>
                <a:gd name="T38" fmla="*/ 282 w 372"/>
                <a:gd name="T39" fmla="*/ 49 h 368"/>
                <a:gd name="T40" fmla="*/ 285 w 372"/>
                <a:gd name="T41" fmla="*/ 44 h 3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372" h="368">
                  <a:moveTo>
                    <a:pt x="285" y="44"/>
                  </a:moveTo>
                  <a:cubicBezTo>
                    <a:pt x="231" y="0"/>
                    <a:pt x="142" y="2"/>
                    <a:pt x="83" y="37"/>
                  </a:cubicBezTo>
                  <a:cubicBezTo>
                    <a:pt x="52" y="55"/>
                    <a:pt x="38" y="85"/>
                    <a:pt x="26" y="117"/>
                  </a:cubicBezTo>
                  <a:cubicBezTo>
                    <a:pt x="14" y="151"/>
                    <a:pt x="0" y="193"/>
                    <a:pt x="5" y="229"/>
                  </a:cubicBezTo>
                  <a:cubicBezTo>
                    <a:pt x="10" y="262"/>
                    <a:pt x="37" y="293"/>
                    <a:pt x="60" y="316"/>
                  </a:cubicBezTo>
                  <a:cubicBezTo>
                    <a:pt x="86" y="342"/>
                    <a:pt x="116" y="361"/>
                    <a:pt x="154" y="363"/>
                  </a:cubicBezTo>
                  <a:cubicBezTo>
                    <a:pt x="232" y="368"/>
                    <a:pt x="302" y="330"/>
                    <a:pt x="339" y="261"/>
                  </a:cubicBezTo>
                  <a:cubicBezTo>
                    <a:pt x="360" y="223"/>
                    <a:pt x="372" y="171"/>
                    <a:pt x="357" y="128"/>
                  </a:cubicBezTo>
                  <a:cubicBezTo>
                    <a:pt x="344" y="89"/>
                    <a:pt x="311" y="61"/>
                    <a:pt x="281" y="36"/>
                  </a:cubicBezTo>
                  <a:cubicBezTo>
                    <a:pt x="276" y="32"/>
                    <a:pt x="270" y="40"/>
                    <a:pt x="275" y="44"/>
                  </a:cubicBezTo>
                  <a:cubicBezTo>
                    <a:pt x="298" y="63"/>
                    <a:pt x="322" y="83"/>
                    <a:pt x="338" y="110"/>
                  </a:cubicBezTo>
                  <a:cubicBezTo>
                    <a:pt x="359" y="146"/>
                    <a:pt x="358" y="190"/>
                    <a:pt x="346" y="229"/>
                  </a:cubicBezTo>
                  <a:cubicBezTo>
                    <a:pt x="335" y="260"/>
                    <a:pt x="316" y="291"/>
                    <a:pt x="291" y="313"/>
                  </a:cubicBezTo>
                  <a:cubicBezTo>
                    <a:pt x="265" y="337"/>
                    <a:pt x="231" y="348"/>
                    <a:pt x="196" y="353"/>
                  </a:cubicBezTo>
                  <a:cubicBezTo>
                    <a:pt x="159" y="358"/>
                    <a:pt x="123" y="356"/>
                    <a:pt x="92" y="333"/>
                  </a:cubicBezTo>
                  <a:cubicBezTo>
                    <a:pt x="66" y="314"/>
                    <a:pt x="44" y="288"/>
                    <a:pt x="26" y="260"/>
                  </a:cubicBezTo>
                  <a:cubicBezTo>
                    <a:pt x="5" y="227"/>
                    <a:pt x="14" y="189"/>
                    <a:pt x="24" y="153"/>
                  </a:cubicBezTo>
                  <a:cubicBezTo>
                    <a:pt x="32" y="121"/>
                    <a:pt x="43" y="83"/>
                    <a:pt x="67" y="60"/>
                  </a:cubicBezTo>
                  <a:cubicBezTo>
                    <a:pt x="91" y="35"/>
                    <a:pt x="128" y="26"/>
                    <a:pt x="161" y="22"/>
                  </a:cubicBezTo>
                  <a:cubicBezTo>
                    <a:pt x="206" y="16"/>
                    <a:pt x="244" y="26"/>
                    <a:pt x="282" y="49"/>
                  </a:cubicBezTo>
                  <a:cubicBezTo>
                    <a:pt x="285" y="51"/>
                    <a:pt x="288" y="46"/>
                    <a:pt x="285" y="44"/>
                  </a:cubicBezTo>
                  <a:close/>
                </a:path>
              </a:pathLst>
            </a:custGeom>
            <a:solidFill>
              <a:srgbClr val="1C1D1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809" name="Freeform 444">
              <a:extLst>
                <a:ext uri="{FF2B5EF4-FFF2-40B4-BE49-F238E27FC236}">
                  <a16:creationId xmlns:a16="http://schemas.microsoft.com/office/drawing/2014/main" id="{6BDB56E9-83AB-4706-A874-AA161C95CBA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06963" y="3300413"/>
              <a:ext cx="477838" cy="469900"/>
            </a:xfrm>
            <a:custGeom>
              <a:avLst/>
              <a:gdLst>
                <a:gd name="T0" fmla="*/ 203 w 284"/>
                <a:gd name="T1" fmla="*/ 25 h 280"/>
                <a:gd name="T2" fmla="*/ 127 w 284"/>
                <a:gd name="T3" fmla="*/ 6 h 280"/>
                <a:gd name="T4" fmla="*/ 47 w 284"/>
                <a:gd name="T5" fmla="*/ 45 h 280"/>
                <a:gd name="T6" fmla="*/ 21 w 284"/>
                <a:gd name="T7" fmla="*/ 196 h 280"/>
                <a:gd name="T8" fmla="*/ 135 w 284"/>
                <a:gd name="T9" fmla="*/ 276 h 280"/>
                <a:gd name="T10" fmla="*/ 261 w 284"/>
                <a:gd name="T11" fmla="*/ 182 h 280"/>
                <a:gd name="T12" fmla="*/ 272 w 284"/>
                <a:gd name="T13" fmla="*/ 82 h 280"/>
                <a:gd name="T14" fmla="*/ 210 w 284"/>
                <a:gd name="T15" fmla="*/ 21 h 280"/>
                <a:gd name="T16" fmla="*/ 206 w 284"/>
                <a:gd name="T17" fmla="*/ 27 h 280"/>
                <a:gd name="T18" fmla="*/ 271 w 284"/>
                <a:gd name="T19" fmla="*/ 108 h 280"/>
                <a:gd name="T20" fmla="*/ 247 w 284"/>
                <a:gd name="T21" fmla="*/ 195 h 280"/>
                <a:gd name="T22" fmla="*/ 176 w 284"/>
                <a:gd name="T23" fmla="*/ 264 h 280"/>
                <a:gd name="T24" fmla="*/ 82 w 284"/>
                <a:gd name="T25" fmla="*/ 254 h 280"/>
                <a:gd name="T26" fmla="*/ 22 w 284"/>
                <a:gd name="T27" fmla="*/ 100 h 280"/>
                <a:gd name="T28" fmla="*/ 83 w 284"/>
                <a:gd name="T29" fmla="*/ 30 h 280"/>
                <a:gd name="T30" fmla="*/ 202 w 284"/>
                <a:gd name="T31" fmla="*/ 28 h 280"/>
                <a:gd name="T32" fmla="*/ 203 w 284"/>
                <a:gd name="T33" fmla="*/ 25 h 2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84" h="280">
                  <a:moveTo>
                    <a:pt x="203" y="25"/>
                  </a:moveTo>
                  <a:cubicBezTo>
                    <a:pt x="179" y="8"/>
                    <a:pt x="157" y="0"/>
                    <a:pt x="127" y="6"/>
                  </a:cubicBezTo>
                  <a:cubicBezTo>
                    <a:pt x="98" y="12"/>
                    <a:pt x="69" y="25"/>
                    <a:pt x="47" y="45"/>
                  </a:cubicBezTo>
                  <a:cubicBezTo>
                    <a:pt x="7" y="84"/>
                    <a:pt x="0" y="145"/>
                    <a:pt x="21" y="196"/>
                  </a:cubicBezTo>
                  <a:cubicBezTo>
                    <a:pt x="41" y="242"/>
                    <a:pt x="85" y="272"/>
                    <a:pt x="135" y="276"/>
                  </a:cubicBezTo>
                  <a:cubicBezTo>
                    <a:pt x="195" y="280"/>
                    <a:pt x="239" y="233"/>
                    <a:pt x="261" y="182"/>
                  </a:cubicBezTo>
                  <a:cubicBezTo>
                    <a:pt x="274" y="152"/>
                    <a:pt x="284" y="114"/>
                    <a:pt x="272" y="82"/>
                  </a:cubicBezTo>
                  <a:cubicBezTo>
                    <a:pt x="261" y="54"/>
                    <a:pt x="235" y="35"/>
                    <a:pt x="210" y="21"/>
                  </a:cubicBezTo>
                  <a:cubicBezTo>
                    <a:pt x="206" y="19"/>
                    <a:pt x="203" y="25"/>
                    <a:pt x="206" y="27"/>
                  </a:cubicBezTo>
                  <a:cubicBezTo>
                    <a:pt x="237" y="48"/>
                    <a:pt x="268" y="67"/>
                    <a:pt x="271" y="108"/>
                  </a:cubicBezTo>
                  <a:cubicBezTo>
                    <a:pt x="273" y="138"/>
                    <a:pt x="261" y="170"/>
                    <a:pt x="247" y="195"/>
                  </a:cubicBezTo>
                  <a:cubicBezTo>
                    <a:pt x="231" y="225"/>
                    <a:pt x="208" y="253"/>
                    <a:pt x="176" y="264"/>
                  </a:cubicBezTo>
                  <a:cubicBezTo>
                    <a:pt x="145" y="275"/>
                    <a:pt x="110" y="269"/>
                    <a:pt x="82" y="254"/>
                  </a:cubicBezTo>
                  <a:cubicBezTo>
                    <a:pt x="29" y="225"/>
                    <a:pt x="5" y="157"/>
                    <a:pt x="22" y="100"/>
                  </a:cubicBezTo>
                  <a:cubicBezTo>
                    <a:pt x="32" y="70"/>
                    <a:pt x="55" y="44"/>
                    <a:pt x="83" y="30"/>
                  </a:cubicBezTo>
                  <a:cubicBezTo>
                    <a:pt x="122" y="11"/>
                    <a:pt x="162" y="7"/>
                    <a:pt x="202" y="28"/>
                  </a:cubicBezTo>
                  <a:cubicBezTo>
                    <a:pt x="203" y="28"/>
                    <a:pt x="205" y="26"/>
                    <a:pt x="203" y="25"/>
                  </a:cubicBezTo>
                  <a:close/>
                </a:path>
              </a:pathLst>
            </a:custGeom>
            <a:solidFill>
              <a:srgbClr val="1C1D1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810" name="Freeform 445">
              <a:extLst>
                <a:ext uri="{FF2B5EF4-FFF2-40B4-BE49-F238E27FC236}">
                  <a16:creationId xmlns:a16="http://schemas.microsoft.com/office/drawing/2014/main" id="{13214919-F92D-47A1-8CB9-793EA6D9933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38713" y="3324225"/>
              <a:ext cx="430213" cy="415925"/>
            </a:xfrm>
            <a:custGeom>
              <a:avLst/>
              <a:gdLst>
                <a:gd name="T0" fmla="*/ 188 w 256"/>
                <a:gd name="T1" fmla="*/ 28 h 248"/>
                <a:gd name="T2" fmla="*/ 49 w 256"/>
                <a:gd name="T3" fmla="*/ 37 h 248"/>
                <a:gd name="T4" fmla="*/ 20 w 256"/>
                <a:gd name="T5" fmla="*/ 170 h 248"/>
                <a:gd name="T6" fmla="*/ 123 w 256"/>
                <a:gd name="T7" fmla="*/ 239 h 248"/>
                <a:gd name="T8" fmla="*/ 229 w 256"/>
                <a:gd name="T9" fmla="*/ 164 h 248"/>
                <a:gd name="T10" fmla="*/ 188 w 256"/>
                <a:gd name="T11" fmla="*/ 22 h 248"/>
                <a:gd name="T12" fmla="*/ 184 w 256"/>
                <a:gd name="T13" fmla="*/ 29 h 248"/>
                <a:gd name="T14" fmla="*/ 234 w 256"/>
                <a:gd name="T15" fmla="*/ 109 h 248"/>
                <a:gd name="T16" fmla="*/ 206 w 256"/>
                <a:gd name="T17" fmla="*/ 187 h 248"/>
                <a:gd name="T18" fmla="*/ 57 w 256"/>
                <a:gd name="T19" fmla="*/ 209 h 248"/>
                <a:gd name="T20" fmla="*/ 17 w 256"/>
                <a:gd name="T21" fmla="*/ 145 h 248"/>
                <a:gd name="T22" fmla="*/ 38 w 256"/>
                <a:gd name="T23" fmla="*/ 65 h 248"/>
                <a:gd name="T24" fmla="*/ 113 w 256"/>
                <a:gd name="T25" fmla="*/ 15 h 248"/>
                <a:gd name="T26" fmla="*/ 187 w 256"/>
                <a:gd name="T27" fmla="*/ 30 h 248"/>
                <a:gd name="T28" fmla="*/ 188 w 256"/>
                <a:gd name="T29" fmla="*/ 28 h 2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56" h="248">
                  <a:moveTo>
                    <a:pt x="188" y="28"/>
                  </a:moveTo>
                  <a:cubicBezTo>
                    <a:pt x="147" y="2"/>
                    <a:pt x="85" y="0"/>
                    <a:pt x="49" y="37"/>
                  </a:cubicBezTo>
                  <a:cubicBezTo>
                    <a:pt x="17" y="71"/>
                    <a:pt x="0" y="126"/>
                    <a:pt x="20" y="170"/>
                  </a:cubicBezTo>
                  <a:cubicBezTo>
                    <a:pt x="37" y="209"/>
                    <a:pt x="80" y="240"/>
                    <a:pt x="123" y="239"/>
                  </a:cubicBezTo>
                  <a:cubicBezTo>
                    <a:pt x="168" y="237"/>
                    <a:pt x="210" y="203"/>
                    <a:pt x="229" y="164"/>
                  </a:cubicBezTo>
                  <a:cubicBezTo>
                    <a:pt x="256" y="108"/>
                    <a:pt x="236" y="56"/>
                    <a:pt x="188" y="22"/>
                  </a:cubicBezTo>
                  <a:cubicBezTo>
                    <a:pt x="184" y="19"/>
                    <a:pt x="180" y="26"/>
                    <a:pt x="184" y="29"/>
                  </a:cubicBezTo>
                  <a:cubicBezTo>
                    <a:pt x="211" y="49"/>
                    <a:pt x="233" y="74"/>
                    <a:pt x="234" y="109"/>
                  </a:cubicBezTo>
                  <a:cubicBezTo>
                    <a:pt x="236" y="137"/>
                    <a:pt x="224" y="165"/>
                    <a:pt x="206" y="187"/>
                  </a:cubicBezTo>
                  <a:cubicBezTo>
                    <a:pt x="167" y="232"/>
                    <a:pt x="106" y="248"/>
                    <a:pt x="57" y="209"/>
                  </a:cubicBezTo>
                  <a:cubicBezTo>
                    <a:pt x="37" y="193"/>
                    <a:pt x="21" y="171"/>
                    <a:pt x="17" y="145"/>
                  </a:cubicBezTo>
                  <a:cubicBezTo>
                    <a:pt x="13" y="117"/>
                    <a:pt x="24" y="89"/>
                    <a:pt x="38" y="65"/>
                  </a:cubicBezTo>
                  <a:cubicBezTo>
                    <a:pt x="54" y="36"/>
                    <a:pt x="79" y="18"/>
                    <a:pt x="113" y="15"/>
                  </a:cubicBezTo>
                  <a:cubicBezTo>
                    <a:pt x="139" y="13"/>
                    <a:pt x="162" y="23"/>
                    <a:pt x="187" y="30"/>
                  </a:cubicBezTo>
                  <a:cubicBezTo>
                    <a:pt x="188" y="31"/>
                    <a:pt x="189" y="29"/>
                    <a:pt x="188" y="28"/>
                  </a:cubicBezTo>
                  <a:close/>
                </a:path>
              </a:pathLst>
            </a:custGeom>
            <a:solidFill>
              <a:srgbClr val="1C1D1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811" name="Freeform 446">
              <a:extLst>
                <a:ext uri="{FF2B5EF4-FFF2-40B4-BE49-F238E27FC236}">
                  <a16:creationId xmlns:a16="http://schemas.microsoft.com/office/drawing/2014/main" id="{23E56193-BAB7-4E76-B7D5-206587B7E98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487988" y="3330575"/>
              <a:ext cx="222250" cy="225425"/>
            </a:xfrm>
            <a:custGeom>
              <a:avLst/>
              <a:gdLst>
                <a:gd name="T0" fmla="*/ 78 w 132"/>
                <a:gd name="T1" fmla="*/ 6 h 134"/>
                <a:gd name="T2" fmla="*/ 11 w 132"/>
                <a:gd name="T3" fmla="*/ 48 h 134"/>
                <a:gd name="T4" fmla="*/ 50 w 132"/>
                <a:gd name="T5" fmla="*/ 122 h 134"/>
                <a:gd name="T6" fmla="*/ 122 w 132"/>
                <a:gd name="T7" fmla="*/ 85 h 134"/>
                <a:gd name="T8" fmla="*/ 82 w 132"/>
                <a:gd name="T9" fmla="*/ 3 h 134"/>
                <a:gd name="T10" fmla="*/ 80 w 132"/>
                <a:gd name="T11" fmla="*/ 9 h 134"/>
                <a:gd name="T12" fmla="*/ 117 w 132"/>
                <a:gd name="T13" fmla="*/ 73 h 134"/>
                <a:gd name="T14" fmla="*/ 51 w 132"/>
                <a:gd name="T15" fmla="*/ 113 h 134"/>
                <a:gd name="T16" fmla="*/ 18 w 132"/>
                <a:gd name="T17" fmla="*/ 49 h 134"/>
                <a:gd name="T18" fmla="*/ 78 w 132"/>
                <a:gd name="T19" fmla="*/ 9 h 134"/>
                <a:gd name="T20" fmla="*/ 78 w 132"/>
                <a:gd name="T21" fmla="*/ 6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32" h="134">
                  <a:moveTo>
                    <a:pt x="78" y="6"/>
                  </a:moveTo>
                  <a:cubicBezTo>
                    <a:pt x="46" y="0"/>
                    <a:pt x="20" y="18"/>
                    <a:pt x="11" y="48"/>
                  </a:cubicBezTo>
                  <a:cubicBezTo>
                    <a:pt x="0" y="81"/>
                    <a:pt x="18" y="110"/>
                    <a:pt x="50" y="122"/>
                  </a:cubicBezTo>
                  <a:cubicBezTo>
                    <a:pt x="80" y="134"/>
                    <a:pt x="113" y="114"/>
                    <a:pt x="122" y="85"/>
                  </a:cubicBezTo>
                  <a:cubicBezTo>
                    <a:pt x="132" y="50"/>
                    <a:pt x="117" y="14"/>
                    <a:pt x="82" y="3"/>
                  </a:cubicBezTo>
                  <a:cubicBezTo>
                    <a:pt x="79" y="2"/>
                    <a:pt x="77" y="8"/>
                    <a:pt x="80" y="9"/>
                  </a:cubicBezTo>
                  <a:cubicBezTo>
                    <a:pt x="107" y="21"/>
                    <a:pt x="122" y="42"/>
                    <a:pt x="117" y="73"/>
                  </a:cubicBezTo>
                  <a:cubicBezTo>
                    <a:pt x="112" y="103"/>
                    <a:pt x="81" y="126"/>
                    <a:pt x="51" y="113"/>
                  </a:cubicBezTo>
                  <a:cubicBezTo>
                    <a:pt x="25" y="101"/>
                    <a:pt x="8" y="78"/>
                    <a:pt x="18" y="49"/>
                  </a:cubicBezTo>
                  <a:cubicBezTo>
                    <a:pt x="26" y="23"/>
                    <a:pt x="49" y="6"/>
                    <a:pt x="78" y="9"/>
                  </a:cubicBezTo>
                  <a:cubicBezTo>
                    <a:pt x="79" y="9"/>
                    <a:pt x="80" y="6"/>
                    <a:pt x="78" y="6"/>
                  </a:cubicBezTo>
                  <a:close/>
                </a:path>
              </a:pathLst>
            </a:custGeom>
            <a:solidFill>
              <a:srgbClr val="1C1D1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812" name="Freeform 447">
              <a:extLst>
                <a:ext uri="{FF2B5EF4-FFF2-40B4-BE49-F238E27FC236}">
                  <a16:creationId xmlns:a16="http://schemas.microsoft.com/office/drawing/2014/main" id="{56AF0466-0271-4259-A7FF-0FE50FA1D47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513388" y="3355975"/>
              <a:ext cx="101600" cy="117475"/>
            </a:xfrm>
            <a:custGeom>
              <a:avLst/>
              <a:gdLst>
                <a:gd name="T0" fmla="*/ 58 w 60"/>
                <a:gd name="T1" fmla="*/ 6 h 70"/>
                <a:gd name="T2" fmla="*/ 15 w 60"/>
                <a:gd name="T3" fmla="*/ 30 h 70"/>
                <a:gd name="T4" fmla="*/ 21 w 60"/>
                <a:gd name="T5" fmla="*/ 68 h 70"/>
                <a:gd name="T6" fmla="*/ 23 w 60"/>
                <a:gd name="T7" fmla="*/ 66 h 70"/>
                <a:gd name="T8" fmla="*/ 58 w 60"/>
                <a:gd name="T9" fmla="*/ 9 h 70"/>
                <a:gd name="T10" fmla="*/ 58 w 60"/>
                <a:gd name="T11" fmla="*/ 6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0" h="70">
                  <a:moveTo>
                    <a:pt x="58" y="6"/>
                  </a:moveTo>
                  <a:cubicBezTo>
                    <a:pt x="40" y="0"/>
                    <a:pt x="23" y="15"/>
                    <a:pt x="15" y="30"/>
                  </a:cubicBezTo>
                  <a:cubicBezTo>
                    <a:pt x="9" y="43"/>
                    <a:pt x="11" y="58"/>
                    <a:pt x="21" y="68"/>
                  </a:cubicBezTo>
                  <a:cubicBezTo>
                    <a:pt x="22" y="70"/>
                    <a:pt x="25" y="67"/>
                    <a:pt x="23" y="66"/>
                  </a:cubicBezTo>
                  <a:cubicBezTo>
                    <a:pt x="0" y="43"/>
                    <a:pt x="29" y="4"/>
                    <a:pt x="58" y="9"/>
                  </a:cubicBezTo>
                  <a:cubicBezTo>
                    <a:pt x="59" y="9"/>
                    <a:pt x="60" y="7"/>
                    <a:pt x="58" y="6"/>
                  </a:cubicBezTo>
                  <a:close/>
                </a:path>
              </a:pathLst>
            </a:custGeom>
            <a:solidFill>
              <a:srgbClr val="1C1D1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813" name="Freeform 448">
              <a:extLst>
                <a:ext uri="{FF2B5EF4-FFF2-40B4-BE49-F238E27FC236}">
                  <a16:creationId xmlns:a16="http://schemas.microsoft.com/office/drawing/2014/main" id="{BCBC84C3-6103-48A8-8B0A-7436E82F9B6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576888" y="3481388"/>
              <a:ext cx="4763" cy="6350"/>
            </a:xfrm>
            <a:custGeom>
              <a:avLst/>
              <a:gdLst>
                <a:gd name="T0" fmla="*/ 0 w 3"/>
                <a:gd name="T1" fmla="*/ 1 h 3"/>
                <a:gd name="T2" fmla="*/ 2 w 3"/>
                <a:gd name="T3" fmla="*/ 3 h 3"/>
                <a:gd name="T4" fmla="*/ 2 w 3"/>
                <a:gd name="T5" fmla="*/ 2 h 3"/>
                <a:gd name="T6" fmla="*/ 2 w 3"/>
                <a:gd name="T7" fmla="*/ 1 h 3"/>
                <a:gd name="T8" fmla="*/ 0 w 3"/>
                <a:gd name="T9" fmla="*/ 1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3">
                  <a:moveTo>
                    <a:pt x="0" y="1"/>
                  </a:moveTo>
                  <a:cubicBezTo>
                    <a:pt x="0" y="2"/>
                    <a:pt x="1" y="3"/>
                    <a:pt x="2" y="3"/>
                  </a:cubicBezTo>
                  <a:cubicBezTo>
                    <a:pt x="3" y="3"/>
                    <a:pt x="3" y="2"/>
                    <a:pt x="2" y="2"/>
                  </a:cubicBezTo>
                  <a:cubicBezTo>
                    <a:pt x="2" y="2"/>
                    <a:pt x="1" y="1"/>
                    <a:pt x="2" y="1"/>
                  </a:cubicBezTo>
                  <a:cubicBezTo>
                    <a:pt x="2" y="0"/>
                    <a:pt x="1" y="0"/>
                    <a:pt x="0" y="1"/>
                  </a:cubicBezTo>
                  <a:close/>
                </a:path>
              </a:pathLst>
            </a:custGeom>
            <a:solidFill>
              <a:srgbClr val="1C1D1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814" name="Freeform 449">
              <a:extLst>
                <a:ext uri="{FF2B5EF4-FFF2-40B4-BE49-F238E27FC236}">
                  <a16:creationId xmlns:a16="http://schemas.microsoft.com/office/drawing/2014/main" id="{2AC23215-E2EF-44F2-805C-F9756825AC5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564188" y="3475038"/>
              <a:ext cx="15875" cy="25400"/>
            </a:xfrm>
            <a:custGeom>
              <a:avLst/>
              <a:gdLst>
                <a:gd name="T0" fmla="*/ 1 w 9"/>
                <a:gd name="T1" fmla="*/ 4 h 15"/>
                <a:gd name="T2" fmla="*/ 5 w 9"/>
                <a:gd name="T3" fmla="*/ 14 h 15"/>
                <a:gd name="T4" fmla="*/ 8 w 9"/>
                <a:gd name="T5" fmla="*/ 14 h 15"/>
                <a:gd name="T6" fmla="*/ 5 w 9"/>
                <a:gd name="T7" fmla="*/ 3 h 15"/>
                <a:gd name="T8" fmla="*/ 1 w 9"/>
                <a:gd name="T9" fmla="*/ 4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" h="15">
                  <a:moveTo>
                    <a:pt x="1" y="4"/>
                  </a:moveTo>
                  <a:cubicBezTo>
                    <a:pt x="1" y="8"/>
                    <a:pt x="2" y="12"/>
                    <a:pt x="5" y="14"/>
                  </a:cubicBezTo>
                  <a:cubicBezTo>
                    <a:pt x="6" y="15"/>
                    <a:pt x="8" y="15"/>
                    <a:pt x="8" y="14"/>
                  </a:cubicBezTo>
                  <a:cubicBezTo>
                    <a:pt x="9" y="10"/>
                    <a:pt x="6" y="6"/>
                    <a:pt x="5" y="3"/>
                  </a:cubicBezTo>
                  <a:cubicBezTo>
                    <a:pt x="4" y="0"/>
                    <a:pt x="0" y="1"/>
                    <a:pt x="1" y="4"/>
                  </a:cubicBezTo>
                  <a:close/>
                </a:path>
              </a:pathLst>
            </a:custGeom>
            <a:solidFill>
              <a:srgbClr val="1C1D1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815" name="Freeform 450">
              <a:extLst>
                <a:ext uri="{FF2B5EF4-FFF2-40B4-BE49-F238E27FC236}">
                  <a16:creationId xmlns:a16="http://schemas.microsoft.com/office/drawing/2014/main" id="{1F9EC787-1052-4890-B7C6-BFF0912B84C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588000" y="3487738"/>
              <a:ext cx="17463" cy="15875"/>
            </a:xfrm>
            <a:custGeom>
              <a:avLst/>
              <a:gdLst>
                <a:gd name="T0" fmla="*/ 3 w 10"/>
                <a:gd name="T1" fmla="*/ 5 h 10"/>
                <a:gd name="T2" fmla="*/ 7 w 10"/>
                <a:gd name="T3" fmla="*/ 9 h 10"/>
                <a:gd name="T4" fmla="*/ 10 w 10"/>
                <a:gd name="T5" fmla="*/ 7 h 10"/>
                <a:gd name="T6" fmla="*/ 4 w 10"/>
                <a:gd name="T7" fmla="*/ 1 h 10"/>
                <a:gd name="T8" fmla="*/ 3 w 10"/>
                <a:gd name="T9" fmla="*/ 5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" h="10">
                  <a:moveTo>
                    <a:pt x="3" y="5"/>
                  </a:moveTo>
                  <a:cubicBezTo>
                    <a:pt x="5" y="6"/>
                    <a:pt x="5" y="8"/>
                    <a:pt x="7" y="9"/>
                  </a:cubicBezTo>
                  <a:cubicBezTo>
                    <a:pt x="8" y="10"/>
                    <a:pt x="10" y="9"/>
                    <a:pt x="10" y="7"/>
                  </a:cubicBezTo>
                  <a:cubicBezTo>
                    <a:pt x="9" y="5"/>
                    <a:pt x="6" y="2"/>
                    <a:pt x="4" y="1"/>
                  </a:cubicBezTo>
                  <a:cubicBezTo>
                    <a:pt x="1" y="0"/>
                    <a:pt x="0" y="4"/>
                    <a:pt x="3" y="5"/>
                  </a:cubicBezTo>
                  <a:close/>
                </a:path>
              </a:pathLst>
            </a:custGeom>
            <a:solidFill>
              <a:srgbClr val="1C1D1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816" name="Freeform 451">
              <a:extLst>
                <a:ext uri="{FF2B5EF4-FFF2-40B4-BE49-F238E27FC236}">
                  <a16:creationId xmlns:a16="http://schemas.microsoft.com/office/drawing/2014/main" id="{6637FB0F-C5AB-428E-9EDC-382C76C9B6B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616575" y="3494088"/>
              <a:ext cx="9525" cy="9525"/>
            </a:xfrm>
            <a:custGeom>
              <a:avLst/>
              <a:gdLst>
                <a:gd name="T0" fmla="*/ 1 w 6"/>
                <a:gd name="T1" fmla="*/ 3 h 6"/>
                <a:gd name="T2" fmla="*/ 4 w 6"/>
                <a:gd name="T3" fmla="*/ 6 h 6"/>
                <a:gd name="T4" fmla="*/ 5 w 6"/>
                <a:gd name="T5" fmla="*/ 4 h 6"/>
                <a:gd name="T6" fmla="*/ 3 w 6"/>
                <a:gd name="T7" fmla="*/ 2 h 6"/>
                <a:gd name="T8" fmla="*/ 1 w 6"/>
                <a:gd name="T9" fmla="*/ 3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6">
                  <a:moveTo>
                    <a:pt x="1" y="3"/>
                  </a:moveTo>
                  <a:cubicBezTo>
                    <a:pt x="2" y="4"/>
                    <a:pt x="3" y="5"/>
                    <a:pt x="4" y="6"/>
                  </a:cubicBezTo>
                  <a:cubicBezTo>
                    <a:pt x="5" y="6"/>
                    <a:pt x="6" y="4"/>
                    <a:pt x="5" y="4"/>
                  </a:cubicBezTo>
                  <a:cubicBezTo>
                    <a:pt x="4" y="4"/>
                    <a:pt x="3" y="3"/>
                    <a:pt x="3" y="2"/>
                  </a:cubicBezTo>
                  <a:cubicBezTo>
                    <a:pt x="2" y="0"/>
                    <a:pt x="0" y="2"/>
                    <a:pt x="1" y="3"/>
                  </a:cubicBezTo>
                  <a:close/>
                </a:path>
              </a:pathLst>
            </a:custGeom>
            <a:solidFill>
              <a:srgbClr val="1C1D1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817" name="Freeform 452">
              <a:extLst>
                <a:ext uri="{FF2B5EF4-FFF2-40B4-BE49-F238E27FC236}">
                  <a16:creationId xmlns:a16="http://schemas.microsoft.com/office/drawing/2014/main" id="{7D763B3C-5299-459A-86E2-6C6B3D9B683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637213" y="3386138"/>
              <a:ext cx="30163" cy="68263"/>
            </a:xfrm>
            <a:custGeom>
              <a:avLst/>
              <a:gdLst>
                <a:gd name="T0" fmla="*/ 1 w 18"/>
                <a:gd name="T1" fmla="*/ 3 h 41"/>
                <a:gd name="T2" fmla="*/ 9 w 18"/>
                <a:gd name="T3" fmla="*/ 38 h 41"/>
                <a:gd name="T4" fmla="*/ 14 w 18"/>
                <a:gd name="T5" fmla="*/ 38 h 41"/>
                <a:gd name="T6" fmla="*/ 2 w 18"/>
                <a:gd name="T7" fmla="*/ 1 h 41"/>
                <a:gd name="T8" fmla="*/ 1 w 18"/>
                <a:gd name="T9" fmla="*/ 3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" h="41">
                  <a:moveTo>
                    <a:pt x="1" y="3"/>
                  </a:moveTo>
                  <a:cubicBezTo>
                    <a:pt x="10" y="11"/>
                    <a:pt x="7" y="27"/>
                    <a:pt x="9" y="38"/>
                  </a:cubicBezTo>
                  <a:cubicBezTo>
                    <a:pt x="10" y="40"/>
                    <a:pt x="13" y="41"/>
                    <a:pt x="14" y="38"/>
                  </a:cubicBezTo>
                  <a:cubicBezTo>
                    <a:pt x="18" y="24"/>
                    <a:pt x="15" y="9"/>
                    <a:pt x="2" y="1"/>
                  </a:cubicBezTo>
                  <a:cubicBezTo>
                    <a:pt x="1" y="0"/>
                    <a:pt x="0" y="2"/>
                    <a:pt x="1" y="3"/>
                  </a:cubicBezTo>
                  <a:close/>
                </a:path>
              </a:pathLst>
            </a:custGeom>
            <a:solidFill>
              <a:srgbClr val="1C1D1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818" name="Freeform 453">
              <a:extLst>
                <a:ext uri="{FF2B5EF4-FFF2-40B4-BE49-F238E27FC236}">
                  <a16:creationId xmlns:a16="http://schemas.microsoft.com/office/drawing/2014/main" id="{4FEC0629-AE01-45AF-AB30-F60A4CA2244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386388" y="3644900"/>
              <a:ext cx="292100" cy="73025"/>
            </a:xfrm>
            <a:custGeom>
              <a:avLst/>
              <a:gdLst>
                <a:gd name="T0" fmla="*/ 4 w 174"/>
                <a:gd name="T1" fmla="*/ 8 h 43"/>
                <a:gd name="T2" fmla="*/ 78 w 174"/>
                <a:gd name="T3" fmla="*/ 27 h 43"/>
                <a:gd name="T4" fmla="*/ 168 w 174"/>
                <a:gd name="T5" fmla="*/ 42 h 43"/>
                <a:gd name="T6" fmla="*/ 170 w 174"/>
                <a:gd name="T7" fmla="*/ 36 h 43"/>
                <a:gd name="T8" fmla="*/ 89 w 174"/>
                <a:gd name="T9" fmla="*/ 22 h 43"/>
                <a:gd name="T10" fmla="*/ 7 w 174"/>
                <a:gd name="T11" fmla="*/ 1 h 43"/>
                <a:gd name="T12" fmla="*/ 4 w 174"/>
                <a:gd name="T13" fmla="*/ 8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74" h="43">
                  <a:moveTo>
                    <a:pt x="4" y="8"/>
                  </a:moveTo>
                  <a:cubicBezTo>
                    <a:pt x="27" y="18"/>
                    <a:pt x="53" y="22"/>
                    <a:pt x="78" y="27"/>
                  </a:cubicBezTo>
                  <a:cubicBezTo>
                    <a:pt x="107" y="33"/>
                    <a:pt x="138" y="40"/>
                    <a:pt x="168" y="42"/>
                  </a:cubicBezTo>
                  <a:cubicBezTo>
                    <a:pt x="172" y="43"/>
                    <a:pt x="174" y="37"/>
                    <a:pt x="170" y="36"/>
                  </a:cubicBezTo>
                  <a:cubicBezTo>
                    <a:pt x="144" y="28"/>
                    <a:pt x="115" y="27"/>
                    <a:pt x="89" y="22"/>
                  </a:cubicBezTo>
                  <a:cubicBezTo>
                    <a:pt x="62" y="16"/>
                    <a:pt x="33" y="12"/>
                    <a:pt x="7" y="1"/>
                  </a:cubicBezTo>
                  <a:cubicBezTo>
                    <a:pt x="3" y="0"/>
                    <a:pt x="0" y="6"/>
                    <a:pt x="4" y="8"/>
                  </a:cubicBezTo>
                  <a:close/>
                </a:path>
              </a:pathLst>
            </a:custGeom>
            <a:solidFill>
              <a:srgbClr val="1C1D1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819" name="Freeform 454">
              <a:extLst>
                <a:ext uri="{FF2B5EF4-FFF2-40B4-BE49-F238E27FC236}">
                  <a16:creationId xmlns:a16="http://schemas.microsoft.com/office/drawing/2014/main" id="{8E224305-78BC-45F8-A156-6881CAE2EDF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353050" y="3694113"/>
              <a:ext cx="336550" cy="84138"/>
            </a:xfrm>
            <a:custGeom>
              <a:avLst/>
              <a:gdLst>
                <a:gd name="T0" fmla="*/ 2 w 200"/>
                <a:gd name="T1" fmla="*/ 4 h 50"/>
                <a:gd name="T2" fmla="*/ 101 w 200"/>
                <a:gd name="T3" fmla="*/ 26 h 50"/>
                <a:gd name="T4" fmla="*/ 150 w 200"/>
                <a:gd name="T5" fmla="*/ 38 h 50"/>
                <a:gd name="T6" fmla="*/ 189 w 200"/>
                <a:gd name="T7" fmla="*/ 46 h 50"/>
                <a:gd name="T8" fmla="*/ 195 w 200"/>
                <a:gd name="T9" fmla="*/ 39 h 50"/>
                <a:gd name="T10" fmla="*/ 166 w 200"/>
                <a:gd name="T11" fmla="*/ 33 h 50"/>
                <a:gd name="T12" fmla="*/ 114 w 200"/>
                <a:gd name="T13" fmla="*/ 20 h 50"/>
                <a:gd name="T14" fmla="*/ 3 w 200"/>
                <a:gd name="T15" fmla="*/ 1 h 50"/>
                <a:gd name="T16" fmla="*/ 2 w 200"/>
                <a:gd name="T17" fmla="*/ 4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00" h="50">
                  <a:moveTo>
                    <a:pt x="2" y="4"/>
                  </a:moveTo>
                  <a:cubicBezTo>
                    <a:pt x="34" y="14"/>
                    <a:pt x="68" y="18"/>
                    <a:pt x="101" y="26"/>
                  </a:cubicBezTo>
                  <a:cubicBezTo>
                    <a:pt x="117" y="30"/>
                    <a:pt x="134" y="34"/>
                    <a:pt x="150" y="38"/>
                  </a:cubicBezTo>
                  <a:cubicBezTo>
                    <a:pt x="159" y="40"/>
                    <a:pt x="183" y="40"/>
                    <a:pt x="189" y="46"/>
                  </a:cubicBezTo>
                  <a:cubicBezTo>
                    <a:pt x="193" y="50"/>
                    <a:pt x="200" y="43"/>
                    <a:pt x="195" y="39"/>
                  </a:cubicBezTo>
                  <a:cubicBezTo>
                    <a:pt x="187" y="32"/>
                    <a:pt x="176" y="34"/>
                    <a:pt x="166" y="33"/>
                  </a:cubicBezTo>
                  <a:cubicBezTo>
                    <a:pt x="148" y="29"/>
                    <a:pt x="131" y="24"/>
                    <a:pt x="114" y="20"/>
                  </a:cubicBezTo>
                  <a:cubicBezTo>
                    <a:pt x="78" y="12"/>
                    <a:pt x="40" y="4"/>
                    <a:pt x="3" y="1"/>
                  </a:cubicBezTo>
                  <a:cubicBezTo>
                    <a:pt x="1" y="0"/>
                    <a:pt x="0" y="3"/>
                    <a:pt x="2" y="4"/>
                  </a:cubicBezTo>
                  <a:close/>
                </a:path>
              </a:pathLst>
            </a:custGeom>
            <a:solidFill>
              <a:srgbClr val="1C1D1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820" name="Freeform 455">
              <a:extLst>
                <a:ext uri="{FF2B5EF4-FFF2-40B4-BE49-F238E27FC236}">
                  <a16:creationId xmlns:a16="http://schemas.microsoft.com/office/drawing/2014/main" id="{EF0E1DC0-7AFD-4FB8-BFC4-B623DC9A0BD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013450" y="2886075"/>
              <a:ext cx="919163" cy="939800"/>
            </a:xfrm>
            <a:custGeom>
              <a:avLst/>
              <a:gdLst>
                <a:gd name="T0" fmla="*/ 11 w 546"/>
                <a:gd name="T1" fmla="*/ 321 h 560"/>
                <a:gd name="T2" fmla="*/ 35 w 546"/>
                <a:gd name="T3" fmla="*/ 173 h 560"/>
                <a:gd name="T4" fmla="*/ 123 w 546"/>
                <a:gd name="T5" fmla="*/ 74 h 560"/>
                <a:gd name="T6" fmla="*/ 381 w 546"/>
                <a:gd name="T7" fmla="*/ 40 h 560"/>
                <a:gd name="T8" fmla="*/ 531 w 546"/>
                <a:gd name="T9" fmla="*/ 229 h 560"/>
                <a:gd name="T10" fmla="*/ 456 w 546"/>
                <a:gd name="T11" fmla="*/ 468 h 560"/>
                <a:gd name="T12" fmla="*/ 313 w 546"/>
                <a:gd name="T13" fmla="*/ 541 h 560"/>
                <a:gd name="T14" fmla="*/ 139 w 546"/>
                <a:gd name="T15" fmla="*/ 510 h 560"/>
                <a:gd name="T16" fmla="*/ 135 w 546"/>
                <a:gd name="T17" fmla="*/ 518 h 560"/>
                <a:gd name="T18" fmla="*/ 295 w 546"/>
                <a:gd name="T19" fmla="*/ 553 h 560"/>
                <a:gd name="T20" fmla="*/ 433 w 546"/>
                <a:gd name="T21" fmla="*/ 499 h 560"/>
                <a:gd name="T22" fmla="*/ 543 w 546"/>
                <a:gd name="T23" fmla="*/ 269 h 560"/>
                <a:gd name="T24" fmla="*/ 416 w 546"/>
                <a:gd name="T25" fmla="*/ 49 h 560"/>
                <a:gd name="T26" fmla="*/ 155 w 546"/>
                <a:gd name="T27" fmla="*/ 45 h 560"/>
                <a:gd name="T28" fmla="*/ 40 w 546"/>
                <a:gd name="T29" fmla="*/ 148 h 560"/>
                <a:gd name="T30" fmla="*/ 5 w 546"/>
                <a:gd name="T31" fmla="*/ 320 h 560"/>
                <a:gd name="T32" fmla="*/ 11 w 546"/>
                <a:gd name="T33" fmla="*/ 321 h 5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546" h="560">
                  <a:moveTo>
                    <a:pt x="11" y="321"/>
                  </a:moveTo>
                  <a:cubicBezTo>
                    <a:pt x="8" y="269"/>
                    <a:pt x="11" y="220"/>
                    <a:pt x="35" y="173"/>
                  </a:cubicBezTo>
                  <a:cubicBezTo>
                    <a:pt x="55" y="133"/>
                    <a:pt x="86" y="99"/>
                    <a:pt x="123" y="74"/>
                  </a:cubicBezTo>
                  <a:cubicBezTo>
                    <a:pt x="197" y="22"/>
                    <a:pt x="296" y="3"/>
                    <a:pt x="381" y="40"/>
                  </a:cubicBezTo>
                  <a:cubicBezTo>
                    <a:pt x="458" y="74"/>
                    <a:pt x="516" y="147"/>
                    <a:pt x="531" y="229"/>
                  </a:cubicBezTo>
                  <a:cubicBezTo>
                    <a:pt x="546" y="314"/>
                    <a:pt x="519" y="408"/>
                    <a:pt x="456" y="468"/>
                  </a:cubicBezTo>
                  <a:cubicBezTo>
                    <a:pt x="417" y="506"/>
                    <a:pt x="366" y="530"/>
                    <a:pt x="313" y="541"/>
                  </a:cubicBezTo>
                  <a:cubicBezTo>
                    <a:pt x="251" y="553"/>
                    <a:pt x="194" y="540"/>
                    <a:pt x="139" y="510"/>
                  </a:cubicBezTo>
                  <a:cubicBezTo>
                    <a:pt x="134" y="507"/>
                    <a:pt x="130" y="515"/>
                    <a:pt x="135" y="518"/>
                  </a:cubicBezTo>
                  <a:cubicBezTo>
                    <a:pt x="184" y="545"/>
                    <a:pt x="238" y="560"/>
                    <a:pt x="295" y="553"/>
                  </a:cubicBezTo>
                  <a:cubicBezTo>
                    <a:pt x="344" y="546"/>
                    <a:pt x="393" y="528"/>
                    <a:pt x="433" y="499"/>
                  </a:cubicBezTo>
                  <a:cubicBezTo>
                    <a:pt x="505" y="446"/>
                    <a:pt x="545" y="358"/>
                    <a:pt x="543" y="269"/>
                  </a:cubicBezTo>
                  <a:cubicBezTo>
                    <a:pt x="541" y="180"/>
                    <a:pt x="492" y="95"/>
                    <a:pt x="416" y="49"/>
                  </a:cubicBezTo>
                  <a:cubicBezTo>
                    <a:pt x="336" y="0"/>
                    <a:pt x="237" y="3"/>
                    <a:pt x="155" y="45"/>
                  </a:cubicBezTo>
                  <a:cubicBezTo>
                    <a:pt x="109" y="69"/>
                    <a:pt x="67" y="104"/>
                    <a:pt x="40" y="148"/>
                  </a:cubicBezTo>
                  <a:cubicBezTo>
                    <a:pt x="7" y="201"/>
                    <a:pt x="0" y="259"/>
                    <a:pt x="5" y="320"/>
                  </a:cubicBezTo>
                  <a:cubicBezTo>
                    <a:pt x="6" y="324"/>
                    <a:pt x="12" y="324"/>
                    <a:pt x="11" y="321"/>
                  </a:cubicBezTo>
                  <a:close/>
                </a:path>
              </a:pathLst>
            </a:custGeom>
            <a:solidFill>
              <a:srgbClr val="1C1D1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821" name="Freeform 456">
              <a:extLst>
                <a:ext uri="{FF2B5EF4-FFF2-40B4-BE49-F238E27FC236}">
                  <a16:creationId xmlns:a16="http://schemas.microsoft.com/office/drawing/2014/main" id="{CDB493B2-B203-4B45-8EB9-6AB74B790E7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260850" y="2552700"/>
              <a:ext cx="1019175" cy="931863"/>
            </a:xfrm>
            <a:custGeom>
              <a:avLst/>
              <a:gdLst>
                <a:gd name="T0" fmla="*/ 563 w 606"/>
                <a:gd name="T1" fmla="*/ 402 h 555"/>
                <a:gd name="T2" fmla="*/ 561 w 606"/>
                <a:gd name="T3" fmla="*/ 402 h 555"/>
                <a:gd name="T4" fmla="*/ 563 w 606"/>
                <a:gd name="T5" fmla="*/ 408 h 555"/>
                <a:gd name="T6" fmla="*/ 602 w 606"/>
                <a:gd name="T7" fmla="*/ 266 h 555"/>
                <a:gd name="T8" fmla="*/ 551 w 606"/>
                <a:gd name="T9" fmla="*/ 133 h 555"/>
                <a:gd name="T10" fmla="*/ 324 w 606"/>
                <a:gd name="T11" fmla="*/ 6 h 555"/>
                <a:gd name="T12" fmla="*/ 76 w 606"/>
                <a:gd name="T13" fmla="*/ 387 h 555"/>
                <a:gd name="T14" fmla="*/ 187 w 606"/>
                <a:gd name="T15" fmla="*/ 510 h 555"/>
                <a:gd name="T16" fmla="*/ 360 w 606"/>
                <a:gd name="T17" fmla="*/ 546 h 555"/>
                <a:gd name="T18" fmla="*/ 359 w 606"/>
                <a:gd name="T19" fmla="*/ 537 h 555"/>
                <a:gd name="T20" fmla="*/ 210 w 606"/>
                <a:gd name="T21" fmla="*/ 512 h 555"/>
                <a:gd name="T22" fmla="*/ 104 w 606"/>
                <a:gd name="T23" fmla="*/ 417 h 555"/>
                <a:gd name="T24" fmla="*/ 101 w 606"/>
                <a:gd name="T25" fmla="*/ 153 h 555"/>
                <a:gd name="T26" fmla="*/ 288 w 606"/>
                <a:gd name="T27" fmla="*/ 17 h 555"/>
                <a:gd name="T28" fmla="*/ 517 w 606"/>
                <a:gd name="T29" fmla="*/ 107 h 555"/>
                <a:gd name="T30" fmla="*/ 587 w 606"/>
                <a:gd name="T31" fmla="*/ 233 h 555"/>
                <a:gd name="T32" fmla="*/ 557 w 606"/>
                <a:gd name="T33" fmla="*/ 403 h 555"/>
                <a:gd name="T34" fmla="*/ 559 w 606"/>
                <a:gd name="T35" fmla="*/ 409 h 555"/>
                <a:gd name="T36" fmla="*/ 560 w 606"/>
                <a:gd name="T37" fmla="*/ 410 h 555"/>
                <a:gd name="T38" fmla="*/ 563 w 606"/>
                <a:gd name="T39" fmla="*/ 402 h 5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606" h="555">
                  <a:moveTo>
                    <a:pt x="563" y="402"/>
                  </a:moveTo>
                  <a:cubicBezTo>
                    <a:pt x="562" y="402"/>
                    <a:pt x="562" y="402"/>
                    <a:pt x="561" y="402"/>
                  </a:cubicBezTo>
                  <a:cubicBezTo>
                    <a:pt x="562" y="404"/>
                    <a:pt x="563" y="406"/>
                    <a:pt x="563" y="408"/>
                  </a:cubicBezTo>
                  <a:cubicBezTo>
                    <a:pt x="587" y="363"/>
                    <a:pt x="606" y="318"/>
                    <a:pt x="602" y="266"/>
                  </a:cubicBezTo>
                  <a:cubicBezTo>
                    <a:pt x="599" y="218"/>
                    <a:pt x="579" y="172"/>
                    <a:pt x="551" y="133"/>
                  </a:cubicBezTo>
                  <a:cubicBezTo>
                    <a:pt x="499" y="61"/>
                    <a:pt x="414" y="8"/>
                    <a:pt x="324" y="6"/>
                  </a:cubicBezTo>
                  <a:cubicBezTo>
                    <a:pt x="139" y="0"/>
                    <a:pt x="0" y="221"/>
                    <a:pt x="76" y="387"/>
                  </a:cubicBezTo>
                  <a:cubicBezTo>
                    <a:pt x="99" y="438"/>
                    <a:pt x="141" y="480"/>
                    <a:pt x="187" y="510"/>
                  </a:cubicBezTo>
                  <a:cubicBezTo>
                    <a:pt x="241" y="545"/>
                    <a:pt x="297" y="555"/>
                    <a:pt x="360" y="546"/>
                  </a:cubicBezTo>
                  <a:cubicBezTo>
                    <a:pt x="366" y="546"/>
                    <a:pt x="365" y="536"/>
                    <a:pt x="359" y="537"/>
                  </a:cubicBezTo>
                  <a:cubicBezTo>
                    <a:pt x="306" y="544"/>
                    <a:pt x="257" y="538"/>
                    <a:pt x="210" y="512"/>
                  </a:cubicBezTo>
                  <a:cubicBezTo>
                    <a:pt x="168" y="489"/>
                    <a:pt x="130" y="456"/>
                    <a:pt x="104" y="417"/>
                  </a:cubicBezTo>
                  <a:cubicBezTo>
                    <a:pt x="49" y="337"/>
                    <a:pt x="56" y="235"/>
                    <a:pt x="101" y="153"/>
                  </a:cubicBezTo>
                  <a:cubicBezTo>
                    <a:pt x="139" y="82"/>
                    <a:pt x="207" y="27"/>
                    <a:pt x="288" y="17"/>
                  </a:cubicBezTo>
                  <a:cubicBezTo>
                    <a:pt x="374" y="7"/>
                    <a:pt x="459" y="46"/>
                    <a:pt x="517" y="107"/>
                  </a:cubicBezTo>
                  <a:cubicBezTo>
                    <a:pt x="550" y="143"/>
                    <a:pt x="576" y="186"/>
                    <a:pt x="587" y="233"/>
                  </a:cubicBezTo>
                  <a:cubicBezTo>
                    <a:pt x="601" y="295"/>
                    <a:pt x="585" y="348"/>
                    <a:pt x="557" y="403"/>
                  </a:cubicBezTo>
                  <a:cubicBezTo>
                    <a:pt x="555" y="405"/>
                    <a:pt x="556" y="409"/>
                    <a:pt x="559" y="409"/>
                  </a:cubicBezTo>
                  <a:cubicBezTo>
                    <a:pt x="559" y="409"/>
                    <a:pt x="560" y="410"/>
                    <a:pt x="560" y="410"/>
                  </a:cubicBezTo>
                  <a:cubicBezTo>
                    <a:pt x="565" y="411"/>
                    <a:pt x="568" y="403"/>
                    <a:pt x="563" y="402"/>
                  </a:cubicBezTo>
                  <a:close/>
                </a:path>
              </a:pathLst>
            </a:custGeom>
            <a:solidFill>
              <a:srgbClr val="1C1D1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822" name="Freeform 457">
              <a:extLst>
                <a:ext uri="{FF2B5EF4-FFF2-40B4-BE49-F238E27FC236}">
                  <a16:creationId xmlns:a16="http://schemas.microsoft.com/office/drawing/2014/main" id="{A5EDF40C-D214-471C-AA39-4D964BDCCC1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57650" y="2943225"/>
              <a:ext cx="811213" cy="1155700"/>
            </a:xfrm>
            <a:custGeom>
              <a:avLst/>
              <a:gdLst>
                <a:gd name="T0" fmla="*/ 185 w 483"/>
                <a:gd name="T1" fmla="*/ 2 h 688"/>
                <a:gd name="T2" fmla="*/ 84 w 483"/>
                <a:gd name="T3" fmla="*/ 257 h 688"/>
                <a:gd name="T4" fmla="*/ 30 w 483"/>
                <a:gd name="T5" fmla="*/ 379 h 688"/>
                <a:gd name="T6" fmla="*/ 1 w 483"/>
                <a:gd name="T7" fmla="*/ 495 h 688"/>
                <a:gd name="T8" fmla="*/ 115 w 483"/>
                <a:gd name="T9" fmla="*/ 653 h 688"/>
                <a:gd name="T10" fmla="*/ 310 w 483"/>
                <a:gd name="T11" fmla="*/ 621 h 688"/>
                <a:gd name="T12" fmla="*/ 479 w 483"/>
                <a:gd name="T13" fmla="*/ 419 h 688"/>
                <a:gd name="T14" fmla="*/ 472 w 483"/>
                <a:gd name="T15" fmla="*/ 413 h 688"/>
                <a:gd name="T16" fmla="*/ 343 w 483"/>
                <a:gd name="T17" fmla="*/ 578 h 688"/>
                <a:gd name="T18" fmla="*/ 137 w 483"/>
                <a:gd name="T19" fmla="*/ 652 h 688"/>
                <a:gd name="T20" fmla="*/ 11 w 483"/>
                <a:gd name="T21" fmla="*/ 480 h 688"/>
                <a:gd name="T22" fmla="*/ 46 w 483"/>
                <a:gd name="T23" fmla="*/ 369 h 688"/>
                <a:gd name="T24" fmla="*/ 93 w 483"/>
                <a:gd name="T25" fmla="*/ 260 h 688"/>
                <a:gd name="T26" fmla="*/ 189 w 483"/>
                <a:gd name="T27" fmla="*/ 4 h 688"/>
                <a:gd name="T28" fmla="*/ 185 w 483"/>
                <a:gd name="T29" fmla="*/ 2 h 6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83" h="688">
                  <a:moveTo>
                    <a:pt x="185" y="2"/>
                  </a:moveTo>
                  <a:cubicBezTo>
                    <a:pt x="149" y="86"/>
                    <a:pt x="120" y="173"/>
                    <a:pt x="84" y="257"/>
                  </a:cubicBezTo>
                  <a:cubicBezTo>
                    <a:pt x="66" y="297"/>
                    <a:pt x="48" y="338"/>
                    <a:pt x="30" y="379"/>
                  </a:cubicBezTo>
                  <a:cubicBezTo>
                    <a:pt x="15" y="416"/>
                    <a:pt x="0" y="454"/>
                    <a:pt x="1" y="495"/>
                  </a:cubicBezTo>
                  <a:cubicBezTo>
                    <a:pt x="2" y="566"/>
                    <a:pt x="55" y="622"/>
                    <a:pt x="115" y="653"/>
                  </a:cubicBezTo>
                  <a:cubicBezTo>
                    <a:pt x="184" y="688"/>
                    <a:pt x="253" y="668"/>
                    <a:pt x="310" y="621"/>
                  </a:cubicBezTo>
                  <a:cubicBezTo>
                    <a:pt x="379" y="565"/>
                    <a:pt x="426" y="490"/>
                    <a:pt x="479" y="419"/>
                  </a:cubicBezTo>
                  <a:cubicBezTo>
                    <a:pt x="483" y="414"/>
                    <a:pt x="475" y="408"/>
                    <a:pt x="472" y="413"/>
                  </a:cubicBezTo>
                  <a:cubicBezTo>
                    <a:pt x="431" y="470"/>
                    <a:pt x="392" y="528"/>
                    <a:pt x="343" y="578"/>
                  </a:cubicBezTo>
                  <a:cubicBezTo>
                    <a:pt x="289" y="634"/>
                    <a:pt x="218" y="683"/>
                    <a:pt x="137" y="652"/>
                  </a:cubicBezTo>
                  <a:cubicBezTo>
                    <a:pt x="67" y="625"/>
                    <a:pt x="6" y="559"/>
                    <a:pt x="11" y="480"/>
                  </a:cubicBezTo>
                  <a:cubicBezTo>
                    <a:pt x="14" y="441"/>
                    <a:pt x="31" y="404"/>
                    <a:pt x="46" y="369"/>
                  </a:cubicBezTo>
                  <a:cubicBezTo>
                    <a:pt x="61" y="332"/>
                    <a:pt x="77" y="296"/>
                    <a:pt x="93" y="260"/>
                  </a:cubicBezTo>
                  <a:cubicBezTo>
                    <a:pt x="129" y="177"/>
                    <a:pt x="165" y="91"/>
                    <a:pt x="189" y="4"/>
                  </a:cubicBezTo>
                  <a:cubicBezTo>
                    <a:pt x="190" y="1"/>
                    <a:pt x="186" y="0"/>
                    <a:pt x="185" y="2"/>
                  </a:cubicBezTo>
                  <a:close/>
                </a:path>
              </a:pathLst>
            </a:custGeom>
            <a:solidFill>
              <a:srgbClr val="1C1D1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823" name="Freeform 458">
              <a:extLst>
                <a:ext uri="{FF2B5EF4-FFF2-40B4-BE49-F238E27FC236}">
                  <a16:creationId xmlns:a16="http://schemas.microsoft.com/office/drawing/2014/main" id="{976E419A-9224-4FA7-BCED-31D4348DCF2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154738" y="3484563"/>
              <a:ext cx="746125" cy="1031875"/>
            </a:xfrm>
            <a:custGeom>
              <a:avLst/>
              <a:gdLst>
                <a:gd name="T0" fmla="*/ 1 w 444"/>
                <a:gd name="T1" fmla="*/ 243 h 614"/>
                <a:gd name="T2" fmla="*/ 40 w 444"/>
                <a:gd name="T3" fmla="*/ 373 h 614"/>
                <a:gd name="T4" fmla="*/ 68 w 444"/>
                <a:gd name="T5" fmla="*/ 489 h 614"/>
                <a:gd name="T6" fmla="*/ 129 w 444"/>
                <a:gd name="T7" fmla="*/ 576 h 614"/>
                <a:gd name="T8" fmla="*/ 225 w 444"/>
                <a:gd name="T9" fmla="*/ 613 h 614"/>
                <a:gd name="T10" fmla="*/ 336 w 444"/>
                <a:gd name="T11" fmla="*/ 602 h 614"/>
                <a:gd name="T12" fmla="*/ 400 w 444"/>
                <a:gd name="T13" fmla="*/ 544 h 614"/>
                <a:gd name="T14" fmla="*/ 437 w 444"/>
                <a:gd name="T15" fmla="*/ 434 h 614"/>
                <a:gd name="T16" fmla="*/ 438 w 444"/>
                <a:gd name="T17" fmla="*/ 310 h 614"/>
                <a:gd name="T18" fmla="*/ 444 w 444"/>
                <a:gd name="T19" fmla="*/ 168 h 614"/>
                <a:gd name="T20" fmla="*/ 442 w 444"/>
                <a:gd name="T21" fmla="*/ 92 h 614"/>
                <a:gd name="T22" fmla="*/ 444 w 444"/>
                <a:gd name="T23" fmla="*/ 6 h 614"/>
                <a:gd name="T24" fmla="*/ 436 w 444"/>
                <a:gd name="T25" fmla="*/ 6 h 614"/>
                <a:gd name="T26" fmla="*/ 433 w 444"/>
                <a:gd name="T27" fmla="*/ 120 h 614"/>
                <a:gd name="T28" fmla="*/ 432 w 444"/>
                <a:gd name="T29" fmla="*/ 249 h 614"/>
                <a:gd name="T30" fmla="*/ 429 w 444"/>
                <a:gd name="T31" fmla="*/ 362 h 614"/>
                <a:gd name="T32" fmla="*/ 417 w 444"/>
                <a:gd name="T33" fmla="*/ 480 h 614"/>
                <a:gd name="T34" fmla="*/ 368 w 444"/>
                <a:gd name="T35" fmla="*/ 573 h 614"/>
                <a:gd name="T36" fmla="*/ 252 w 444"/>
                <a:gd name="T37" fmla="*/ 603 h 614"/>
                <a:gd name="T38" fmla="*/ 140 w 444"/>
                <a:gd name="T39" fmla="*/ 573 h 614"/>
                <a:gd name="T40" fmla="*/ 71 w 444"/>
                <a:gd name="T41" fmla="*/ 473 h 614"/>
                <a:gd name="T42" fmla="*/ 43 w 444"/>
                <a:gd name="T43" fmla="*/ 351 h 614"/>
                <a:gd name="T44" fmla="*/ 5 w 444"/>
                <a:gd name="T45" fmla="*/ 241 h 614"/>
                <a:gd name="T46" fmla="*/ 1 w 444"/>
                <a:gd name="T47" fmla="*/ 243 h 6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444" h="614">
                  <a:moveTo>
                    <a:pt x="1" y="243"/>
                  </a:moveTo>
                  <a:cubicBezTo>
                    <a:pt x="16" y="286"/>
                    <a:pt x="31" y="328"/>
                    <a:pt x="40" y="373"/>
                  </a:cubicBezTo>
                  <a:cubicBezTo>
                    <a:pt x="47" y="412"/>
                    <a:pt x="53" y="452"/>
                    <a:pt x="68" y="489"/>
                  </a:cubicBezTo>
                  <a:cubicBezTo>
                    <a:pt x="81" y="521"/>
                    <a:pt x="102" y="553"/>
                    <a:pt x="129" y="576"/>
                  </a:cubicBezTo>
                  <a:cubicBezTo>
                    <a:pt x="156" y="601"/>
                    <a:pt x="189" y="611"/>
                    <a:pt x="225" y="613"/>
                  </a:cubicBezTo>
                  <a:cubicBezTo>
                    <a:pt x="261" y="614"/>
                    <a:pt x="301" y="612"/>
                    <a:pt x="336" y="602"/>
                  </a:cubicBezTo>
                  <a:cubicBezTo>
                    <a:pt x="367" y="593"/>
                    <a:pt x="385" y="572"/>
                    <a:pt x="400" y="544"/>
                  </a:cubicBezTo>
                  <a:cubicBezTo>
                    <a:pt x="418" y="511"/>
                    <a:pt x="432" y="472"/>
                    <a:pt x="437" y="434"/>
                  </a:cubicBezTo>
                  <a:cubicBezTo>
                    <a:pt x="442" y="393"/>
                    <a:pt x="437" y="351"/>
                    <a:pt x="438" y="310"/>
                  </a:cubicBezTo>
                  <a:cubicBezTo>
                    <a:pt x="440" y="263"/>
                    <a:pt x="444" y="216"/>
                    <a:pt x="444" y="168"/>
                  </a:cubicBezTo>
                  <a:cubicBezTo>
                    <a:pt x="444" y="143"/>
                    <a:pt x="442" y="117"/>
                    <a:pt x="442" y="92"/>
                  </a:cubicBezTo>
                  <a:cubicBezTo>
                    <a:pt x="442" y="63"/>
                    <a:pt x="444" y="35"/>
                    <a:pt x="444" y="6"/>
                  </a:cubicBezTo>
                  <a:cubicBezTo>
                    <a:pt x="444" y="1"/>
                    <a:pt x="437" y="0"/>
                    <a:pt x="436" y="6"/>
                  </a:cubicBezTo>
                  <a:cubicBezTo>
                    <a:pt x="431" y="43"/>
                    <a:pt x="432" y="82"/>
                    <a:pt x="433" y="120"/>
                  </a:cubicBezTo>
                  <a:cubicBezTo>
                    <a:pt x="434" y="163"/>
                    <a:pt x="434" y="205"/>
                    <a:pt x="432" y="249"/>
                  </a:cubicBezTo>
                  <a:cubicBezTo>
                    <a:pt x="430" y="287"/>
                    <a:pt x="429" y="324"/>
                    <a:pt x="429" y="362"/>
                  </a:cubicBezTo>
                  <a:cubicBezTo>
                    <a:pt x="429" y="402"/>
                    <a:pt x="429" y="441"/>
                    <a:pt x="417" y="480"/>
                  </a:cubicBezTo>
                  <a:cubicBezTo>
                    <a:pt x="406" y="512"/>
                    <a:pt x="392" y="549"/>
                    <a:pt x="368" y="573"/>
                  </a:cubicBezTo>
                  <a:cubicBezTo>
                    <a:pt x="339" y="601"/>
                    <a:pt x="289" y="601"/>
                    <a:pt x="252" y="603"/>
                  </a:cubicBezTo>
                  <a:cubicBezTo>
                    <a:pt x="211" y="605"/>
                    <a:pt x="172" y="599"/>
                    <a:pt x="140" y="573"/>
                  </a:cubicBezTo>
                  <a:cubicBezTo>
                    <a:pt x="109" y="548"/>
                    <a:pt x="85" y="510"/>
                    <a:pt x="71" y="473"/>
                  </a:cubicBezTo>
                  <a:cubicBezTo>
                    <a:pt x="56" y="434"/>
                    <a:pt x="52" y="392"/>
                    <a:pt x="43" y="351"/>
                  </a:cubicBezTo>
                  <a:cubicBezTo>
                    <a:pt x="34" y="314"/>
                    <a:pt x="23" y="275"/>
                    <a:pt x="5" y="241"/>
                  </a:cubicBezTo>
                  <a:cubicBezTo>
                    <a:pt x="4" y="239"/>
                    <a:pt x="0" y="240"/>
                    <a:pt x="1" y="243"/>
                  </a:cubicBezTo>
                  <a:close/>
                </a:path>
              </a:pathLst>
            </a:custGeom>
            <a:solidFill>
              <a:srgbClr val="1C1D1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824" name="Freeform 459">
              <a:extLst>
                <a:ext uri="{FF2B5EF4-FFF2-40B4-BE49-F238E27FC236}">
                  <a16:creationId xmlns:a16="http://schemas.microsoft.com/office/drawing/2014/main" id="{C2CEA141-4CC0-49B0-9CB3-640E4326A4D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723063" y="3722688"/>
              <a:ext cx="111125" cy="168275"/>
            </a:xfrm>
            <a:custGeom>
              <a:avLst/>
              <a:gdLst>
                <a:gd name="T0" fmla="*/ 63 w 66"/>
                <a:gd name="T1" fmla="*/ 1 h 100"/>
                <a:gd name="T2" fmla="*/ 35 w 66"/>
                <a:gd name="T3" fmla="*/ 52 h 100"/>
                <a:gd name="T4" fmla="*/ 2 w 66"/>
                <a:gd name="T5" fmla="*/ 95 h 100"/>
                <a:gd name="T6" fmla="*/ 5 w 66"/>
                <a:gd name="T7" fmla="*/ 98 h 100"/>
                <a:gd name="T8" fmla="*/ 42 w 66"/>
                <a:gd name="T9" fmla="*/ 50 h 100"/>
                <a:gd name="T10" fmla="*/ 66 w 66"/>
                <a:gd name="T11" fmla="*/ 2 h 100"/>
                <a:gd name="T12" fmla="*/ 63 w 66"/>
                <a:gd name="T13" fmla="*/ 1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6" h="100">
                  <a:moveTo>
                    <a:pt x="63" y="1"/>
                  </a:moveTo>
                  <a:cubicBezTo>
                    <a:pt x="55" y="19"/>
                    <a:pt x="45" y="35"/>
                    <a:pt x="35" y="52"/>
                  </a:cubicBezTo>
                  <a:cubicBezTo>
                    <a:pt x="25" y="67"/>
                    <a:pt x="12" y="80"/>
                    <a:pt x="2" y="95"/>
                  </a:cubicBezTo>
                  <a:cubicBezTo>
                    <a:pt x="0" y="98"/>
                    <a:pt x="4" y="100"/>
                    <a:pt x="5" y="98"/>
                  </a:cubicBezTo>
                  <a:cubicBezTo>
                    <a:pt x="18" y="82"/>
                    <a:pt x="32" y="68"/>
                    <a:pt x="42" y="50"/>
                  </a:cubicBezTo>
                  <a:cubicBezTo>
                    <a:pt x="52" y="34"/>
                    <a:pt x="59" y="19"/>
                    <a:pt x="66" y="2"/>
                  </a:cubicBezTo>
                  <a:cubicBezTo>
                    <a:pt x="66" y="1"/>
                    <a:pt x="64" y="0"/>
                    <a:pt x="63" y="1"/>
                  </a:cubicBezTo>
                  <a:close/>
                </a:path>
              </a:pathLst>
            </a:custGeom>
            <a:solidFill>
              <a:srgbClr val="1C1D1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825" name="Freeform 460">
              <a:extLst>
                <a:ext uri="{FF2B5EF4-FFF2-40B4-BE49-F238E27FC236}">
                  <a16:creationId xmlns:a16="http://schemas.microsoft.com/office/drawing/2014/main" id="{E49D6E8B-8648-4D6C-B6D4-DD569BEF3B6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713538" y="3803650"/>
              <a:ext cx="107950" cy="138113"/>
            </a:xfrm>
            <a:custGeom>
              <a:avLst/>
              <a:gdLst>
                <a:gd name="T0" fmla="*/ 60 w 64"/>
                <a:gd name="T1" fmla="*/ 2 h 83"/>
                <a:gd name="T2" fmla="*/ 2 w 64"/>
                <a:gd name="T3" fmla="*/ 80 h 83"/>
                <a:gd name="T4" fmla="*/ 4 w 64"/>
                <a:gd name="T5" fmla="*/ 82 h 83"/>
                <a:gd name="T6" fmla="*/ 63 w 64"/>
                <a:gd name="T7" fmla="*/ 4 h 83"/>
                <a:gd name="T8" fmla="*/ 60 w 64"/>
                <a:gd name="T9" fmla="*/ 2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4" h="83">
                  <a:moveTo>
                    <a:pt x="60" y="2"/>
                  </a:moveTo>
                  <a:cubicBezTo>
                    <a:pt x="47" y="32"/>
                    <a:pt x="24" y="57"/>
                    <a:pt x="2" y="80"/>
                  </a:cubicBezTo>
                  <a:cubicBezTo>
                    <a:pt x="0" y="81"/>
                    <a:pt x="2" y="83"/>
                    <a:pt x="4" y="82"/>
                  </a:cubicBezTo>
                  <a:cubicBezTo>
                    <a:pt x="27" y="60"/>
                    <a:pt x="51" y="34"/>
                    <a:pt x="63" y="4"/>
                  </a:cubicBezTo>
                  <a:cubicBezTo>
                    <a:pt x="64" y="2"/>
                    <a:pt x="61" y="0"/>
                    <a:pt x="60" y="2"/>
                  </a:cubicBezTo>
                  <a:close/>
                </a:path>
              </a:pathLst>
            </a:custGeom>
            <a:solidFill>
              <a:srgbClr val="1C1D1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826" name="Freeform 461">
              <a:extLst>
                <a:ext uri="{FF2B5EF4-FFF2-40B4-BE49-F238E27FC236}">
                  <a16:creationId xmlns:a16="http://schemas.microsoft.com/office/drawing/2014/main" id="{5041DD88-F7B2-4C85-B54C-DE857B53BC0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792913" y="3892550"/>
              <a:ext cx="7938" cy="12700"/>
            </a:xfrm>
            <a:custGeom>
              <a:avLst/>
              <a:gdLst>
                <a:gd name="T0" fmla="*/ 4 w 5"/>
                <a:gd name="T1" fmla="*/ 1 h 8"/>
                <a:gd name="T2" fmla="*/ 1 w 5"/>
                <a:gd name="T3" fmla="*/ 7 h 8"/>
                <a:gd name="T4" fmla="*/ 1 w 5"/>
                <a:gd name="T5" fmla="*/ 7 h 8"/>
                <a:gd name="T6" fmla="*/ 4 w 5"/>
                <a:gd name="T7" fmla="*/ 1 h 8"/>
                <a:gd name="T8" fmla="*/ 4 w 5"/>
                <a:gd name="T9" fmla="*/ 1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8">
                  <a:moveTo>
                    <a:pt x="4" y="1"/>
                  </a:moveTo>
                  <a:cubicBezTo>
                    <a:pt x="3" y="3"/>
                    <a:pt x="1" y="5"/>
                    <a:pt x="1" y="7"/>
                  </a:cubicBezTo>
                  <a:cubicBezTo>
                    <a:pt x="0" y="8"/>
                    <a:pt x="1" y="8"/>
                    <a:pt x="1" y="7"/>
                  </a:cubicBezTo>
                  <a:cubicBezTo>
                    <a:pt x="2" y="5"/>
                    <a:pt x="4" y="3"/>
                    <a:pt x="4" y="1"/>
                  </a:cubicBezTo>
                  <a:cubicBezTo>
                    <a:pt x="5" y="0"/>
                    <a:pt x="4" y="0"/>
                    <a:pt x="4" y="1"/>
                  </a:cubicBezTo>
                  <a:close/>
                </a:path>
              </a:pathLst>
            </a:custGeom>
            <a:solidFill>
              <a:srgbClr val="1C1D1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827" name="Freeform 462">
              <a:extLst>
                <a:ext uri="{FF2B5EF4-FFF2-40B4-BE49-F238E27FC236}">
                  <a16:creationId xmlns:a16="http://schemas.microsoft.com/office/drawing/2014/main" id="{6F7FDD32-BE34-4444-A3F6-E023D1F2795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746875" y="3956050"/>
              <a:ext cx="11113" cy="15875"/>
            </a:xfrm>
            <a:custGeom>
              <a:avLst/>
              <a:gdLst>
                <a:gd name="T0" fmla="*/ 4 w 7"/>
                <a:gd name="T1" fmla="*/ 1 h 10"/>
                <a:gd name="T2" fmla="*/ 1 w 7"/>
                <a:gd name="T3" fmla="*/ 7 h 10"/>
                <a:gd name="T4" fmla="*/ 3 w 7"/>
                <a:gd name="T5" fmla="*/ 9 h 10"/>
                <a:gd name="T6" fmla="*/ 6 w 7"/>
                <a:gd name="T7" fmla="*/ 2 h 10"/>
                <a:gd name="T8" fmla="*/ 4 w 7"/>
                <a:gd name="T9" fmla="*/ 1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10">
                  <a:moveTo>
                    <a:pt x="4" y="1"/>
                  </a:moveTo>
                  <a:cubicBezTo>
                    <a:pt x="3" y="3"/>
                    <a:pt x="3" y="6"/>
                    <a:pt x="1" y="7"/>
                  </a:cubicBezTo>
                  <a:cubicBezTo>
                    <a:pt x="0" y="8"/>
                    <a:pt x="1" y="10"/>
                    <a:pt x="3" y="9"/>
                  </a:cubicBezTo>
                  <a:cubicBezTo>
                    <a:pt x="5" y="7"/>
                    <a:pt x="6" y="4"/>
                    <a:pt x="6" y="2"/>
                  </a:cubicBezTo>
                  <a:cubicBezTo>
                    <a:pt x="7" y="0"/>
                    <a:pt x="4" y="0"/>
                    <a:pt x="4" y="1"/>
                  </a:cubicBezTo>
                  <a:close/>
                </a:path>
              </a:pathLst>
            </a:custGeom>
            <a:solidFill>
              <a:srgbClr val="1C1D1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828" name="Freeform 463">
              <a:extLst>
                <a:ext uri="{FF2B5EF4-FFF2-40B4-BE49-F238E27FC236}">
                  <a16:creationId xmlns:a16="http://schemas.microsoft.com/office/drawing/2014/main" id="{55BB56B7-E38D-43F8-BE88-2400D0361BC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781800" y="3930650"/>
              <a:ext cx="39688" cy="65088"/>
            </a:xfrm>
            <a:custGeom>
              <a:avLst/>
              <a:gdLst>
                <a:gd name="T0" fmla="*/ 15 w 23"/>
                <a:gd name="T1" fmla="*/ 4 h 39"/>
                <a:gd name="T2" fmla="*/ 1 w 23"/>
                <a:gd name="T3" fmla="*/ 34 h 39"/>
                <a:gd name="T4" fmla="*/ 5 w 23"/>
                <a:gd name="T5" fmla="*/ 36 h 39"/>
                <a:gd name="T6" fmla="*/ 21 w 23"/>
                <a:gd name="T7" fmla="*/ 5 h 39"/>
                <a:gd name="T8" fmla="*/ 15 w 23"/>
                <a:gd name="T9" fmla="*/ 4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" h="39">
                  <a:moveTo>
                    <a:pt x="15" y="4"/>
                  </a:moveTo>
                  <a:cubicBezTo>
                    <a:pt x="11" y="14"/>
                    <a:pt x="6" y="24"/>
                    <a:pt x="1" y="34"/>
                  </a:cubicBezTo>
                  <a:cubicBezTo>
                    <a:pt x="0" y="36"/>
                    <a:pt x="4" y="39"/>
                    <a:pt x="5" y="36"/>
                  </a:cubicBezTo>
                  <a:cubicBezTo>
                    <a:pt x="12" y="26"/>
                    <a:pt x="17" y="16"/>
                    <a:pt x="21" y="5"/>
                  </a:cubicBezTo>
                  <a:cubicBezTo>
                    <a:pt x="23" y="1"/>
                    <a:pt x="17" y="0"/>
                    <a:pt x="15" y="4"/>
                  </a:cubicBezTo>
                  <a:close/>
                </a:path>
              </a:pathLst>
            </a:custGeom>
            <a:solidFill>
              <a:srgbClr val="1C1D1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829" name="Freeform 464">
              <a:extLst>
                <a:ext uri="{FF2B5EF4-FFF2-40B4-BE49-F238E27FC236}">
                  <a16:creationId xmlns:a16="http://schemas.microsoft.com/office/drawing/2014/main" id="{C2AB39FE-D9FE-487A-87E4-DD51DD40D1C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319588" y="3994150"/>
              <a:ext cx="115888" cy="28575"/>
            </a:xfrm>
            <a:custGeom>
              <a:avLst/>
              <a:gdLst>
                <a:gd name="T0" fmla="*/ 2 w 69"/>
                <a:gd name="T1" fmla="*/ 4 h 17"/>
                <a:gd name="T2" fmla="*/ 65 w 69"/>
                <a:gd name="T3" fmla="*/ 7 h 17"/>
                <a:gd name="T4" fmla="*/ 62 w 69"/>
                <a:gd name="T5" fmla="*/ 2 h 17"/>
                <a:gd name="T6" fmla="*/ 3 w 69"/>
                <a:gd name="T7" fmla="*/ 1 h 17"/>
                <a:gd name="T8" fmla="*/ 2 w 69"/>
                <a:gd name="T9" fmla="*/ 4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9" h="17">
                  <a:moveTo>
                    <a:pt x="2" y="4"/>
                  </a:moveTo>
                  <a:cubicBezTo>
                    <a:pt x="20" y="10"/>
                    <a:pt x="48" y="17"/>
                    <a:pt x="65" y="7"/>
                  </a:cubicBezTo>
                  <a:cubicBezTo>
                    <a:pt x="69" y="6"/>
                    <a:pt x="66" y="0"/>
                    <a:pt x="62" y="2"/>
                  </a:cubicBezTo>
                  <a:cubicBezTo>
                    <a:pt x="45" y="11"/>
                    <a:pt x="20" y="6"/>
                    <a:pt x="3" y="1"/>
                  </a:cubicBezTo>
                  <a:cubicBezTo>
                    <a:pt x="1" y="0"/>
                    <a:pt x="0" y="3"/>
                    <a:pt x="2" y="4"/>
                  </a:cubicBezTo>
                  <a:close/>
                </a:path>
              </a:pathLst>
            </a:custGeom>
            <a:solidFill>
              <a:srgbClr val="1C1D1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830" name="Freeform 465">
              <a:extLst>
                <a:ext uri="{FF2B5EF4-FFF2-40B4-BE49-F238E27FC236}">
                  <a16:creationId xmlns:a16="http://schemas.microsoft.com/office/drawing/2014/main" id="{F39A2000-7AF1-4FE9-8CE0-8ABFC4DCF20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379913" y="3968750"/>
              <a:ext cx="69850" cy="14288"/>
            </a:xfrm>
            <a:custGeom>
              <a:avLst/>
              <a:gdLst>
                <a:gd name="T0" fmla="*/ 3 w 41"/>
                <a:gd name="T1" fmla="*/ 8 h 8"/>
                <a:gd name="T2" fmla="*/ 39 w 41"/>
                <a:gd name="T3" fmla="*/ 4 h 8"/>
                <a:gd name="T4" fmla="*/ 38 w 41"/>
                <a:gd name="T5" fmla="*/ 1 h 8"/>
                <a:gd name="T6" fmla="*/ 2 w 41"/>
                <a:gd name="T7" fmla="*/ 4 h 8"/>
                <a:gd name="T8" fmla="*/ 3 w 41"/>
                <a:gd name="T9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1" h="8">
                  <a:moveTo>
                    <a:pt x="3" y="8"/>
                  </a:moveTo>
                  <a:cubicBezTo>
                    <a:pt x="15" y="7"/>
                    <a:pt x="27" y="8"/>
                    <a:pt x="39" y="4"/>
                  </a:cubicBezTo>
                  <a:cubicBezTo>
                    <a:pt x="41" y="4"/>
                    <a:pt x="40" y="0"/>
                    <a:pt x="38" y="1"/>
                  </a:cubicBezTo>
                  <a:cubicBezTo>
                    <a:pt x="26" y="3"/>
                    <a:pt x="14" y="3"/>
                    <a:pt x="2" y="4"/>
                  </a:cubicBezTo>
                  <a:cubicBezTo>
                    <a:pt x="0" y="4"/>
                    <a:pt x="0" y="8"/>
                    <a:pt x="3" y="8"/>
                  </a:cubicBezTo>
                  <a:close/>
                </a:path>
              </a:pathLst>
            </a:custGeom>
            <a:solidFill>
              <a:srgbClr val="1C1D1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831" name="Freeform 466">
              <a:extLst>
                <a:ext uri="{FF2B5EF4-FFF2-40B4-BE49-F238E27FC236}">
                  <a16:creationId xmlns:a16="http://schemas.microsoft.com/office/drawing/2014/main" id="{7FB35074-C466-47CA-83FD-C47A257228B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408488" y="3917950"/>
              <a:ext cx="84138" cy="28575"/>
            </a:xfrm>
            <a:custGeom>
              <a:avLst/>
              <a:gdLst>
                <a:gd name="T0" fmla="*/ 5 w 50"/>
                <a:gd name="T1" fmla="*/ 14 h 17"/>
                <a:gd name="T2" fmla="*/ 47 w 50"/>
                <a:gd name="T3" fmla="*/ 8 h 17"/>
                <a:gd name="T4" fmla="*/ 44 w 50"/>
                <a:gd name="T5" fmla="*/ 2 h 17"/>
                <a:gd name="T6" fmla="*/ 6 w 50"/>
                <a:gd name="T7" fmla="*/ 7 h 17"/>
                <a:gd name="T8" fmla="*/ 5 w 50"/>
                <a:gd name="T9" fmla="*/ 14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0" h="17">
                  <a:moveTo>
                    <a:pt x="5" y="14"/>
                  </a:moveTo>
                  <a:cubicBezTo>
                    <a:pt x="19" y="17"/>
                    <a:pt x="35" y="15"/>
                    <a:pt x="47" y="8"/>
                  </a:cubicBezTo>
                  <a:cubicBezTo>
                    <a:pt x="50" y="6"/>
                    <a:pt x="48" y="0"/>
                    <a:pt x="44" y="2"/>
                  </a:cubicBezTo>
                  <a:cubicBezTo>
                    <a:pt x="32" y="6"/>
                    <a:pt x="18" y="9"/>
                    <a:pt x="6" y="7"/>
                  </a:cubicBezTo>
                  <a:cubicBezTo>
                    <a:pt x="1" y="6"/>
                    <a:pt x="0" y="14"/>
                    <a:pt x="5" y="14"/>
                  </a:cubicBezTo>
                  <a:close/>
                </a:path>
              </a:pathLst>
            </a:custGeom>
            <a:solidFill>
              <a:srgbClr val="1C1D1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832" name="Freeform 467">
              <a:extLst>
                <a:ext uri="{FF2B5EF4-FFF2-40B4-BE49-F238E27FC236}">
                  <a16:creationId xmlns:a16="http://schemas.microsoft.com/office/drawing/2014/main" id="{FB6F6DD2-838A-4B0A-B4C3-FEFF5BEA1B7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470400" y="3875088"/>
              <a:ext cx="47625" cy="17463"/>
            </a:xfrm>
            <a:custGeom>
              <a:avLst/>
              <a:gdLst>
                <a:gd name="T0" fmla="*/ 4 w 28"/>
                <a:gd name="T1" fmla="*/ 8 h 10"/>
                <a:gd name="T2" fmla="*/ 26 w 28"/>
                <a:gd name="T3" fmla="*/ 5 h 10"/>
                <a:gd name="T4" fmla="*/ 24 w 28"/>
                <a:gd name="T5" fmla="*/ 1 h 10"/>
                <a:gd name="T6" fmla="*/ 5 w 28"/>
                <a:gd name="T7" fmla="*/ 1 h 10"/>
                <a:gd name="T8" fmla="*/ 4 w 28"/>
                <a:gd name="T9" fmla="*/ 8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8" h="10">
                  <a:moveTo>
                    <a:pt x="4" y="8"/>
                  </a:moveTo>
                  <a:cubicBezTo>
                    <a:pt x="11" y="9"/>
                    <a:pt x="19" y="10"/>
                    <a:pt x="26" y="5"/>
                  </a:cubicBezTo>
                  <a:cubicBezTo>
                    <a:pt x="28" y="4"/>
                    <a:pt x="26" y="1"/>
                    <a:pt x="24" y="1"/>
                  </a:cubicBezTo>
                  <a:cubicBezTo>
                    <a:pt x="18" y="2"/>
                    <a:pt x="12" y="2"/>
                    <a:pt x="5" y="1"/>
                  </a:cubicBezTo>
                  <a:cubicBezTo>
                    <a:pt x="1" y="0"/>
                    <a:pt x="0" y="7"/>
                    <a:pt x="4" y="8"/>
                  </a:cubicBezTo>
                  <a:close/>
                </a:path>
              </a:pathLst>
            </a:custGeom>
            <a:solidFill>
              <a:srgbClr val="1C1D1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833" name="Freeform 468">
              <a:extLst>
                <a:ext uri="{FF2B5EF4-FFF2-40B4-BE49-F238E27FC236}">
                  <a16:creationId xmlns:a16="http://schemas.microsoft.com/office/drawing/2014/main" id="{13E90475-D50B-4A77-8AAF-6E89AD40C18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522788" y="3798888"/>
              <a:ext cx="23813" cy="14288"/>
            </a:xfrm>
            <a:custGeom>
              <a:avLst/>
              <a:gdLst>
                <a:gd name="T0" fmla="*/ 3 w 14"/>
                <a:gd name="T1" fmla="*/ 7 h 8"/>
                <a:gd name="T2" fmla="*/ 13 w 14"/>
                <a:gd name="T3" fmla="*/ 2 h 8"/>
                <a:gd name="T4" fmla="*/ 12 w 14"/>
                <a:gd name="T5" fmla="*/ 1 h 8"/>
                <a:gd name="T6" fmla="*/ 2 w 14"/>
                <a:gd name="T7" fmla="*/ 5 h 8"/>
                <a:gd name="T8" fmla="*/ 3 w 14"/>
                <a:gd name="T9" fmla="*/ 7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" h="8">
                  <a:moveTo>
                    <a:pt x="3" y="7"/>
                  </a:moveTo>
                  <a:cubicBezTo>
                    <a:pt x="7" y="6"/>
                    <a:pt x="10" y="5"/>
                    <a:pt x="13" y="2"/>
                  </a:cubicBezTo>
                  <a:cubicBezTo>
                    <a:pt x="14" y="1"/>
                    <a:pt x="12" y="0"/>
                    <a:pt x="12" y="1"/>
                  </a:cubicBezTo>
                  <a:cubicBezTo>
                    <a:pt x="9" y="3"/>
                    <a:pt x="6" y="4"/>
                    <a:pt x="2" y="5"/>
                  </a:cubicBezTo>
                  <a:cubicBezTo>
                    <a:pt x="0" y="5"/>
                    <a:pt x="1" y="8"/>
                    <a:pt x="3" y="7"/>
                  </a:cubicBezTo>
                  <a:close/>
                </a:path>
              </a:pathLst>
            </a:custGeom>
            <a:solidFill>
              <a:srgbClr val="1C1D1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834" name="Freeform 469">
              <a:extLst>
                <a:ext uri="{FF2B5EF4-FFF2-40B4-BE49-F238E27FC236}">
                  <a16:creationId xmlns:a16="http://schemas.microsoft.com/office/drawing/2014/main" id="{DBD29E0D-4304-4D8A-94C7-70DABB7B004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776788" y="2774950"/>
              <a:ext cx="155575" cy="146050"/>
            </a:xfrm>
            <a:custGeom>
              <a:avLst/>
              <a:gdLst>
                <a:gd name="T0" fmla="*/ 5 w 92"/>
                <a:gd name="T1" fmla="*/ 65 h 87"/>
                <a:gd name="T2" fmla="*/ 10 w 92"/>
                <a:gd name="T3" fmla="*/ 34 h 87"/>
                <a:gd name="T4" fmla="*/ 26 w 92"/>
                <a:gd name="T5" fmla="*/ 12 h 87"/>
                <a:gd name="T6" fmla="*/ 43 w 92"/>
                <a:gd name="T7" fmla="*/ 11 h 87"/>
                <a:gd name="T8" fmla="*/ 81 w 92"/>
                <a:gd name="T9" fmla="*/ 34 h 87"/>
                <a:gd name="T10" fmla="*/ 78 w 92"/>
                <a:gd name="T11" fmla="*/ 81 h 87"/>
                <a:gd name="T12" fmla="*/ 85 w 92"/>
                <a:gd name="T13" fmla="*/ 82 h 87"/>
                <a:gd name="T14" fmla="*/ 85 w 92"/>
                <a:gd name="T15" fmla="*/ 22 h 87"/>
                <a:gd name="T16" fmla="*/ 48 w 92"/>
                <a:gd name="T17" fmla="*/ 4 h 87"/>
                <a:gd name="T18" fmla="*/ 6 w 92"/>
                <a:gd name="T19" fmla="*/ 16 h 87"/>
                <a:gd name="T20" fmla="*/ 2 w 92"/>
                <a:gd name="T21" fmla="*/ 65 h 87"/>
                <a:gd name="T22" fmla="*/ 5 w 92"/>
                <a:gd name="T23" fmla="*/ 65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2" h="87">
                  <a:moveTo>
                    <a:pt x="5" y="65"/>
                  </a:moveTo>
                  <a:cubicBezTo>
                    <a:pt x="8" y="55"/>
                    <a:pt x="9" y="45"/>
                    <a:pt x="10" y="34"/>
                  </a:cubicBezTo>
                  <a:cubicBezTo>
                    <a:pt x="11" y="24"/>
                    <a:pt x="15" y="14"/>
                    <a:pt x="26" y="12"/>
                  </a:cubicBezTo>
                  <a:cubicBezTo>
                    <a:pt x="31" y="11"/>
                    <a:pt x="38" y="11"/>
                    <a:pt x="43" y="11"/>
                  </a:cubicBezTo>
                  <a:cubicBezTo>
                    <a:pt x="61" y="10"/>
                    <a:pt x="78" y="13"/>
                    <a:pt x="81" y="34"/>
                  </a:cubicBezTo>
                  <a:cubicBezTo>
                    <a:pt x="82" y="49"/>
                    <a:pt x="80" y="66"/>
                    <a:pt x="78" y="81"/>
                  </a:cubicBezTo>
                  <a:cubicBezTo>
                    <a:pt x="77" y="86"/>
                    <a:pt x="84" y="87"/>
                    <a:pt x="85" y="82"/>
                  </a:cubicBezTo>
                  <a:cubicBezTo>
                    <a:pt x="88" y="65"/>
                    <a:pt x="92" y="39"/>
                    <a:pt x="85" y="22"/>
                  </a:cubicBezTo>
                  <a:cubicBezTo>
                    <a:pt x="78" y="6"/>
                    <a:pt x="63" y="5"/>
                    <a:pt x="48" y="4"/>
                  </a:cubicBezTo>
                  <a:cubicBezTo>
                    <a:pt x="34" y="4"/>
                    <a:pt x="13" y="0"/>
                    <a:pt x="6" y="16"/>
                  </a:cubicBezTo>
                  <a:cubicBezTo>
                    <a:pt x="0" y="30"/>
                    <a:pt x="4" y="50"/>
                    <a:pt x="2" y="65"/>
                  </a:cubicBezTo>
                  <a:cubicBezTo>
                    <a:pt x="2" y="67"/>
                    <a:pt x="5" y="67"/>
                    <a:pt x="5" y="65"/>
                  </a:cubicBezTo>
                  <a:close/>
                </a:path>
              </a:pathLst>
            </a:custGeom>
            <a:solidFill>
              <a:srgbClr val="1C1D1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835" name="Freeform 470">
              <a:extLst>
                <a:ext uri="{FF2B5EF4-FFF2-40B4-BE49-F238E27FC236}">
                  <a16:creationId xmlns:a16="http://schemas.microsoft.com/office/drawing/2014/main" id="{6E959325-3905-401B-8ACF-499A627E809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778375" y="2871788"/>
              <a:ext cx="131763" cy="87313"/>
            </a:xfrm>
            <a:custGeom>
              <a:avLst/>
              <a:gdLst>
                <a:gd name="T0" fmla="*/ 4 w 78"/>
                <a:gd name="T1" fmla="*/ 2 h 52"/>
                <a:gd name="T2" fmla="*/ 15 w 78"/>
                <a:gd name="T3" fmla="*/ 34 h 52"/>
                <a:gd name="T4" fmla="*/ 29 w 78"/>
                <a:gd name="T5" fmla="*/ 51 h 52"/>
                <a:gd name="T6" fmla="*/ 38 w 78"/>
                <a:gd name="T7" fmla="*/ 49 h 52"/>
                <a:gd name="T8" fmla="*/ 57 w 78"/>
                <a:gd name="T9" fmla="*/ 42 h 52"/>
                <a:gd name="T10" fmla="*/ 77 w 78"/>
                <a:gd name="T11" fmla="*/ 29 h 52"/>
                <a:gd name="T12" fmla="*/ 72 w 78"/>
                <a:gd name="T13" fmla="*/ 26 h 52"/>
                <a:gd name="T14" fmla="*/ 40 w 78"/>
                <a:gd name="T15" fmla="*/ 42 h 52"/>
                <a:gd name="T16" fmla="*/ 21 w 78"/>
                <a:gd name="T17" fmla="*/ 35 h 52"/>
                <a:gd name="T18" fmla="*/ 7 w 78"/>
                <a:gd name="T19" fmla="*/ 3 h 52"/>
                <a:gd name="T20" fmla="*/ 4 w 78"/>
                <a:gd name="T21" fmla="*/ 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78" h="52">
                  <a:moveTo>
                    <a:pt x="4" y="2"/>
                  </a:moveTo>
                  <a:cubicBezTo>
                    <a:pt x="0" y="16"/>
                    <a:pt x="9" y="23"/>
                    <a:pt x="15" y="34"/>
                  </a:cubicBezTo>
                  <a:cubicBezTo>
                    <a:pt x="18" y="41"/>
                    <a:pt x="22" y="50"/>
                    <a:pt x="29" y="51"/>
                  </a:cubicBezTo>
                  <a:cubicBezTo>
                    <a:pt x="33" y="52"/>
                    <a:pt x="35" y="50"/>
                    <a:pt x="38" y="49"/>
                  </a:cubicBezTo>
                  <a:cubicBezTo>
                    <a:pt x="44" y="46"/>
                    <a:pt x="51" y="44"/>
                    <a:pt x="57" y="42"/>
                  </a:cubicBezTo>
                  <a:cubicBezTo>
                    <a:pt x="65" y="40"/>
                    <a:pt x="74" y="37"/>
                    <a:pt x="77" y="29"/>
                  </a:cubicBezTo>
                  <a:cubicBezTo>
                    <a:pt x="78" y="26"/>
                    <a:pt x="74" y="24"/>
                    <a:pt x="72" y="26"/>
                  </a:cubicBezTo>
                  <a:cubicBezTo>
                    <a:pt x="64" y="36"/>
                    <a:pt x="51" y="37"/>
                    <a:pt x="40" y="42"/>
                  </a:cubicBezTo>
                  <a:cubicBezTo>
                    <a:pt x="32" y="45"/>
                    <a:pt x="26" y="43"/>
                    <a:pt x="21" y="35"/>
                  </a:cubicBezTo>
                  <a:cubicBezTo>
                    <a:pt x="18" y="27"/>
                    <a:pt x="6" y="7"/>
                    <a:pt x="7" y="3"/>
                  </a:cubicBezTo>
                  <a:cubicBezTo>
                    <a:pt x="7" y="1"/>
                    <a:pt x="5" y="0"/>
                    <a:pt x="4" y="2"/>
                  </a:cubicBezTo>
                  <a:close/>
                </a:path>
              </a:pathLst>
            </a:custGeom>
            <a:solidFill>
              <a:srgbClr val="1C1D1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836" name="Freeform 471">
              <a:extLst>
                <a:ext uri="{FF2B5EF4-FFF2-40B4-BE49-F238E27FC236}">
                  <a16:creationId xmlns:a16="http://schemas.microsoft.com/office/drawing/2014/main" id="{441610D8-CEED-4754-9517-B872ACF643E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860925" y="2957513"/>
              <a:ext cx="188913" cy="152400"/>
            </a:xfrm>
            <a:custGeom>
              <a:avLst/>
              <a:gdLst>
                <a:gd name="T0" fmla="*/ 6 w 112"/>
                <a:gd name="T1" fmla="*/ 44 h 91"/>
                <a:gd name="T2" fmla="*/ 29 w 112"/>
                <a:gd name="T3" fmla="*/ 21 h 91"/>
                <a:gd name="T4" fmla="*/ 72 w 112"/>
                <a:gd name="T5" fmla="*/ 12 h 91"/>
                <a:gd name="T6" fmla="*/ 81 w 112"/>
                <a:gd name="T7" fmla="*/ 13 h 91"/>
                <a:gd name="T8" fmla="*/ 101 w 112"/>
                <a:gd name="T9" fmla="*/ 34 h 91"/>
                <a:gd name="T10" fmla="*/ 90 w 112"/>
                <a:gd name="T11" fmla="*/ 84 h 91"/>
                <a:gd name="T12" fmla="*/ 98 w 112"/>
                <a:gd name="T13" fmla="*/ 86 h 91"/>
                <a:gd name="T14" fmla="*/ 110 w 112"/>
                <a:gd name="T15" fmla="*/ 24 h 91"/>
                <a:gd name="T16" fmla="*/ 93 w 112"/>
                <a:gd name="T17" fmla="*/ 6 h 91"/>
                <a:gd name="T18" fmla="*/ 39 w 112"/>
                <a:gd name="T19" fmla="*/ 5 h 91"/>
                <a:gd name="T20" fmla="*/ 2 w 112"/>
                <a:gd name="T21" fmla="*/ 39 h 91"/>
                <a:gd name="T22" fmla="*/ 6 w 112"/>
                <a:gd name="T23" fmla="*/ 44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12" h="91">
                  <a:moveTo>
                    <a:pt x="6" y="44"/>
                  </a:moveTo>
                  <a:cubicBezTo>
                    <a:pt x="16" y="37"/>
                    <a:pt x="21" y="29"/>
                    <a:pt x="29" y="21"/>
                  </a:cubicBezTo>
                  <a:cubicBezTo>
                    <a:pt x="42" y="9"/>
                    <a:pt x="56" y="10"/>
                    <a:pt x="72" y="12"/>
                  </a:cubicBezTo>
                  <a:cubicBezTo>
                    <a:pt x="75" y="13"/>
                    <a:pt x="78" y="13"/>
                    <a:pt x="81" y="13"/>
                  </a:cubicBezTo>
                  <a:cubicBezTo>
                    <a:pt x="94" y="14"/>
                    <a:pt x="100" y="22"/>
                    <a:pt x="101" y="34"/>
                  </a:cubicBezTo>
                  <a:cubicBezTo>
                    <a:pt x="103" y="49"/>
                    <a:pt x="95" y="69"/>
                    <a:pt x="90" y="84"/>
                  </a:cubicBezTo>
                  <a:cubicBezTo>
                    <a:pt x="89" y="89"/>
                    <a:pt x="97" y="91"/>
                    <a:pt x="98" y="86"/>
                  </a:cubicBezTo>
                  <a:cubicBezTo>
                    <a:pt x="104" y="67"/>
                    <a:pt x="112" y="44"/>
                    <a:pt x="110" y="24"/>
                  </a:cubicBezTo>
                  <a:cubicBezTo>
                    <a:pt x="110" y="14"/>
                    <a:pt x="102" y="7"/>
                    <a:pt x="93" y="6"/>
                  </a:cubicBezTo>
                  <a:cubicBezTo>
                    <a:pt x="77" y="3"/>
                    <a:pt x="54" y="0"/>
                    <a:pt x="39" y="5"/>
                  </a:cubicBezTo>
                  <a:cubicBezTo>
                    <a:pt x="22" y="11"/>
                    <a:pt x="15" y="28"/>
                    <a:pt x="2" y="39"/>
                  </a:cubicBezTo>
                  <a:cubicBezTo>
                    <a:pt x="0" y="41"/>
                    <a:pt x="3" y="46"/>
                    <a:pt x="6" y="44"/>
                  </a:cubicBezTo>
                  <a:close/>
                </a:path>
              </a:pathLst>
            </a:custGeom>
            <a:solidFill>
              <a:srgbClr val="1C1D1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837" name="Freeform 472">
              <a:extLst>
                <a:ext uri="{FF2B5EF4-FFF2-40B4-BE49-F238E27FC236}">
                  <a16:creationId xmlns:a16="http://schemas.microsoft.com/office/drawing/2014/main" id="{5837BF8E-4807-4703-97DA-025A9F2AA77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868863" y="3022600"/>
              <a:ext cx="157163" cy="117475"/>
            </a:xfrm>
            <a:custGeom>
              <a:avLst/>
              <a:gdLst>
                <a:gd name="T0" fmla="*/ 1 w 93"/>
                <a:gd name="T1" fmla="*/ 4 h 70"/>
                <a:gd name="T2" fmla="*/ 14 w 93"/>
                <a:gd name="T3" fmla="*/ 41 h 70"/>
                <a:gd name="T4" fmla="*/ 40 w 93"/>
                <a:gd name="T5" fmla="*/ 52 h 70"/>
                <a:gd name="T6" fmla="*/ 92 w 93"/>
                <a:gd name="T7" fmla="*/ 49 h 70"/>
                <a:gd name="T8" fmla="*/ 86 w 93"/>
                <a:gd name="T9" fmla="*/ 46 h 70"/>
                <a:gd name="T10" fmla="*/ 41 w 93"/>
                <a:gd name="T11" fmla="*/ 45 h 70"/>
                <a:gd name="T12" fmla="*/ 22 w 93"/>
                <a:gd name="T13" fmla="*/ 37 h 70"/>
                <a:gd name="T14" fmla="*/ 15 w 93"/>
                <a:gd name="T15" fmla="*/ 24 h 70"/>
                <a:gd name="T16" fmla="*/ 4 w 93"/>
                <a:gd name="T17" fmla="*/ 2 h 70"/>
                <a:gd name="T18" fmla="*/ 1 w 93"/>
                <a:gd name="T19" fmla="*/ 4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3" h="70">
                  <a:moveTo>
                    <a:pt x="1" y="4"/>
                  </a:moveTo>
                  <a:cubicBezTo>
                    <a:pt x="9" y="15"/>
                    <a:pt x="7" y="30"/>
                    <a:pt x="14" y="41"/>
                  </a:cubicBezTo>
                  <a:cubicBezTo>
                    <a:pt x="19" y="50"/>
                    <a:pt x="30" y="51"/>
                    <a:pt x="40" y="52"/>
                  </a:cubicBezTo>
                  <a:cubicBezTo>
                    <a:pt x="56" y="54"/>
                    <a:pt x="84" y="70"/>
                    <a:pt x="92" y="49"/>
                  </a:cubicBezTo>
                  <a:cubicBezTo>
                    <a:pt x="93" y="45"/>
                    <a:pt x="88" y="44"/>
                    <a:pt x="86" y="46"/>
                  </a:cubicBezTo>
                  <a:cubicBezTo>
                    <a:pt x="78" y="57"/>
                    <a:pt x="53" y="46"/>
                    <a:pt x="41" y="45"/>
                  </a:cubicBezTo>
                  <a:cubicBezTo>
                    <a:pt x="31" y="44"/>
                    <a:pt x="29" y="45"/>
                    <a:pt x="22" y="37"/>
                  </a:cubicBezTo>
                  <a:cubicBezTo>
                    <a:pt x="17" y="31"/>
                    <a:pt x="17" y="30"/>
                    <a:pt x="15" y="24"/>
                  </a:cubicBezTo>
                  <a:cubicBezTo>
                    <a:pt x="12" y="16"/>
                    <a:pt x="9" y="8"/>
                    <a:pt x="4" y="2"/>
                  </a:cubicBezTo>
                  <a:cubicBezTo>
                    <a:pt x="3" y="0"/>
                    <a:pt x="0" y="2"/>
                    <a:pt x="1" y="4"/>
                  </a:cubicBezTo>
                  <a:close/>
                </a:path>
              </a:pathLst>
            </a:custGeom>
            <a:solidFill>
              <a:srgbClr val="1C1D1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838" name="Freeform 473">
              <a:extLst>
                <a:ext uri="{FF2B5EF4-FFF2-40B4-BE49-F238E27FC236}">
                  <a16:creationId xmlns:a16="http://schemas.microsoft.com/office/drawing/2014/main" id="{530DF39D-1565-4522-8DCA-E056BCADDD1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706938" y="2930525"/>
              <a:ext cx="63500" cy="122238"/>
            </a:xfrm>
            <a:custGeom>
              <a:avLst/>
              <a:gdLst>
                <a:gd name="T0" fmla="*/ 13 w 38"/>
                <a:gd name="T1" fmla="*/ 3 h 73"/>
                <a:gd name="T2" fmla="*/ 22 w 38"/>
                <a:gd name="T3" fmla="*/ 21 h 73"/>
                <a:gd name="T4" fmla="*/ 30 w 38"/>
                <a:gd name="T5" fmla="*/ 42 h 73"/>
                <a:gd name="T6" fmla="*/ 11 w 38"/>
                <a:gd name="T7" fmla="*/ 55 h 73"/>
                <a:gd name="T8" fmla="*/ 1 w 38"/>
                <a:gd name="T9" fmla="*/ 68 h 73"/>
                <a:gd name="T10" fmla="*/ 6 w 38"/>
                <a:gd name="T11" fmla="*/ 71 h 73"/>
                <a:gd name="T12" fmla="*/ 27 w 38"/>
                <a:gd name="T13" fmla="*/ 52 h 73"/>
                <a:gd name="T14" fmla="*/ 38 w 38"/>
                <a:gd name="T15" fmla="*/ 38 h 73"/>
                <a:gd name="T16" fmla="*/ 30 w 38"/>
                <a:gd name="T17" fmla="*/ 23 h 73"/>
                <a:gd name="T18" fmla="*/ 16 w 38"/>
                <a:gd name="T19" fmla="*/ 2 h 73"/>
                <a:gd name="T20" fmla="*/ 13 w 38"/>
                <a:gd name="T21" fmla="*/ 3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8" h="73">
                  <a:moveTo>
                    <a:pt x="13" y="3"/>
                  </a:moveTo>
                  <a:cubicBezTo>
                    <a:pt x="16" y="10"/>
                    <a:pt x="18" y="16"/>
                    <a:pt x="22" y="21"/>
                  </a:cubicBezTo>
                  <a:cubicBezTo>
                    <a:pt x="27" y="27"/>
                    <a:pt x="36" y="34"/>
                    <a:pt x="30" y="42"/>
                  </a:cubicBezTo>
                  <a:cubicBezTo>
                    <a:pt x="26" y="48"/>
                    <a:pt x="16" y="51"/>
                    <a:pt x="11" y="55"/>
                  </a:cubicBezTo>
                  <a:cubicBezTo>
                    <a:pt x="6" y="59"/>
                    <a:pt x="3" y="63"/>
                    <a:pt x="1" y="68"/>
                  </a:cubicBezTo>
                  <a:cubicBezTo>
                    <a:pt x="0" y="71"/>
                    <a:pt x="4" y="73"/>
                    <a:pt x="6" y="71"/>
                  </a:cubicBezTo>
                  <a:cubicBezTo>
                    <a:pt x="13" y="65"/>
                    <a:pt x="19" y="58"/>
                    <a:pt x="27" y="52"/>
                  </a:cubicBezTo>
                  <a:cubicBezTo>
                    <a:pt x="32" y="48"/>
                    <a:pt x="38" y="45"/>
                    <a:pt x="38" y="38"/>
                  </a:cubicBezTo>
                  <a:cubicBezTo>
                    <a:pt x="38" y="32"/>
                    <a:pt x="34" y="27"/>
                    <a:pt x="30" y="23"/>
                  </a:cubicBezTo>
                  <a:cubicBezTo>
                    <a:pt x="25" y="16"/>
                    <a:pt x="20" y="10"/>
                    <a:pt x="16" y="2"/>
                  </a:cubicBezTo>
                  <a:cubicBezTo>
                    <a:pt x="15" y="0"/>
                    <a:pt x="13" y="2"/>
                    <a:pt x="13" y="3"/>
                  </a:cubicBezTo>
                  <a:close/>
                </a:path>
              </a:pathLst>
            </a:custGeom>
            <a:solidFill>
              <a:srgbClr val="1C1D1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839" name="Freeform 474">
              <a:extLst>
                <a:ext uri="{FF2B5EF4-FFF2-40B4-BE49-F238E27FC236}">
                  <a16:creationId xmlns:a16="http://schemas.microsoft.com/office/drawing/2014/main" id="{5B7F6AFE-8903-4278-A8D2-4694FFCA442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735513" y="2935288"/>
              <a:ext cx="3175" cy="1588"/>
            </a:xfrm>
            <a:custGeom>
              <a:avLst/>
              <a:gdLst>
                <a:gd name="T0" fmla="*/ 1 w 2"/>
                <a:gd name="T1" fmla="*/ 1 h 1"/>
                <a:gd name="T2" fmla="*/ 1 w 2"/>
                <a:gd name="T3" fmla="*/ 0 h 1"/>
                <a:gd name="T4" fmla="*/ 1 w 2"/>
                <a:gd name="T5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" h="1">
                  <a:moveTo>
                    <a:pt x="1" y="1"/>
                  </a:moveTo>
                  <a:cubicBezTo>
                    <a:pt x="2" y="1"/>
                    <a:pt x="2" y="0"/>
                    <a:pt x="1" y="0"/>
                  </a:cubicBezTo>
                  <a:cubicBezTo>
                    <a:pt x="0" y="0"/>
                    <a:pt x="0" y="1"/>
                    <a:pt x="1" y="1"/>
                  </a:cubicBezTo>
                  <a:close/>
                </a:path>
              </a:pathLst>
            </a:custGeom>
            <a:solidFill>
              <a:srgbClr val="1C1D1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840" name="Freeform 475">
              <a:extLst>
                <a:ext uri="{FF2B5EF4-FFF2-40B4-BE49-F238E27FC236}">
                  <a16:creationId xmlns:a16="http://schemas.microsoft.com/office/drawing/2014/main" id="{D66D9A42-3CE7-47B2-927C-708BF215894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589463" y="2887663"/>
              <a:ext cx="150813" cy="169863"/>
            </a:xfrm>
            <a:custGeom>
              <a:avLst/>
              <a:gdLst>
                <a:gd name="T0" fmla="*/ 89 w 90"/>
                <a:gd name="T1" fmla="*/ 25 h 101"/>
                <a:gd name="T2" fmla="*/ 21 w 90"/>
                <a:gd name="T3" fmla="*/ 12 h 101"/>
                <a:gd name="T4" fmla="*/ 4 w 90"/>
                <a:gd name="T5" fmla="*/ 51 h 101"/>
                <a:gd name="T6" fmla="*/ 9 w 90"/>
                <a:gd name="T7" fmla="*/ 85 h 101"/>
                <a:gd name="T8" fmla="*/ 30 w 90"/>
                <a:gd name="T9" fmla="*/ 92 h 101"/>
                <a:gd name="T10" fmla="*/ 70 w 90"/>
                <a:gd name="T11" fmla="*/ 100 h 101"/>
                <a:gd name="T12" fmla="*/ 73 w 90"/>
                <a:gd name="T13" fmla="*/ 93 h 101"/>
                <a:gd name="T14" fmla="*/ 30 w 90"/>
                <a:gd name="T15" fmla="*/ 85 h 101"/>
                <a:gd name="T16" fmla="*/ 7 w 90"/>
                <a:gd name="T17" fmla="*/ 70 h 101"/>
                <a:gd name="T18" fmla="*/ 9 w 90"/>
                <a:gd name="T19" fmla="*/ 53 h 101"/>
                <a:gd name="T20" fmla="*/ 41 w 90"/>
                <a:gd name="T21" fmla="*/ 18 h 101"/>
                <a:gd name="T22" fmla="*/ 66 w 90"/>
                <a:gd name="T23" fmla="*/ 23 h 101"/>
                <a:gd name="T24" fmla="*/ 89 w 90"/>
                <a:gd name="T25" fmla="*/ 27 h 101"/>
                <a:gd name="T26" fmla="*/ 89 w 90"/>
                <a:gd name="T27" fmla="*/ 25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1">
                  <a:moveTo>
                    <a:pt x="89" y="25"/>
                  </a:moveTo>
                  <a:cubicBezTo>
                    <a:pt x="68" y="24"/>
                    <a:pt x="42" y="0"/>
                    <a:pt x="21" y="12"/>
                  </a:cubicBezTo>
                  <a:cubicBezTo>
                    <a:pt x="7" y="19"/>
                    <a:pt x="7" y="38"/>
                    <a:pt x="4" y="51"/>
                  </a:cubicBezTo>
                  <a:cubicBezTo>
                    <a:pt x="2" y="62"/>
                    <a:pt x="0" y="76"/>
                    <a:pt x="9" y="85"/>
                  </a:cubicBezTo>
                  <a:cubicBezTo>
                    <a:pt x="14" y="90"/>
                    <a:pt x="22" y="91"/>
                    <a:pt x="30" y="92"/>
                  </a:cubicBezTo>
                  <a:cubicBezTo>
                    <a:pt x="44" y="94"/>
                    <a:pt x="57" y="97"/>
                    <a:pt x="70" y="100"/>
                  </a:cubicBezTo>
                  <a:cubicBezTo>
                    <a:pt x="75" y="101"/>
                    <a:pt x="78" y="94"/>
                    <a:pt x="73" y="93"/>
                  </a:cubicBezTo>
                  <a:cubicBezTo>
                    <a:pt x="58" y="89"/>
                    <a:pt x="46" y="87"/>
                    <a:pt x="30" y="85"/>
                  </a:cubicBezTo>
                  <a:cubicBezTo>
                    <a:pt x="19" y="85"/>
                    <a:pt x="9" y="84"/>
                    <a:pt x="7" y="70"/>
                  </a:cubicBezTo>
                  <a:cubicBezTo>
                    <a:pt x="7" y="64"/>
                    <a:pt x="8" y="58"/>
                    <a:pt x="9" y="53"/>
                  </a:cubicBezTo>
                  <a:cubicBezTo>
                    <a:pt x="13" y="36"/>
                    <a:pt x="19" y="14"/>
                    <a:pt x="41" y="18"/>
                  </a:cubicBezTo>
                  <a:cubicBezTo>
                    <a:pt x="49" y="19"/>
                    <a:pt x="57" y="21"/>
                    <a:pt x="66" y="23"/>
                  </a:cubicBezTo>
                  <a:cubicBezTo>
                    <a:pt x="74" y="26"/>
                    <a:pt x="80" y="29"/>
                    <a:pt x="89" y="27"/>
                  </a:cubicBezTo>
                  <a:cubicBezTo>
                    <a:pt x="90" y="26"/>
                    <a:pt x="89" y="25"/>
                    <a:pt x="89" y="25"/>
                  </a:cubicBezTo>
                  <a:close/>
                </a:path>
              </a:pathLst>
            </a:custGeom>
            <a:solidFill>
              <a:srgbClr val="1C1D1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841" name="Freeform 476">
              <a:extLst>
                <a:ext uri="{FF2B5EF4-FFF2-40B4-BE49-F238E27FC236}">
                  <a16:creationId xmlns:a16="http://schemas.microsoft.com/office/drawing/2014/main" id="{3D5CF9F9-2389-4875-9573-7B296C66607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708525" y="3059113"/>
              <a:ext cx="163513" cy="155575"/>
            </a:xfrm>
            <a:custGeom>
              <a:avLst/>
              <a:gdLst>
                <a:gd name="T0" fmla="*/ 5 w 97"/>
                <a:gd name="T1" fmla="*/ 91 h 93"/>
                <a:gd name="T2" fmla="*/ 21 w 97"/>
                <a:gd name="T3" fmla="*/ 27 h 93"/>
                <a:gd name="T4" fmla="*/ 60 w 97"/>
                <a:gd name="T5" fmla="*/ 9 h 93"/>
                <a:gd name="T6" fmla="*/ 87 w 97"/>
                <a:gd name="T7" fmla="*/ 37 h 93"/>
                <a:gd name="T8" fmla="*/ 96 w 97"/>
                <a:gd name="T9" fmla="*/ 34 h 93"/>
                <a:gd name="T10" fmla="*/ 70 w 97"/>
                <a:gd name="T11" fmla="*/ 8 h 93"/>
                <a:gd name="T12" fmla="*/ 39 w 97"/>
                <a:gd name="T13" fmla="*/ 11 h 93"/>
                <a:gd name="T14" fmla="*/ 7 w 97"/>
                <a:gd name="T15" fmla="*/ 39 h 93"/>
                <a:gd name="T16" fmla="*/ 3 w 97"/>
                <a:gd name="T17" fmla="*/ 67 h 93"/>
                <a:gd name="T18" fmla="*/ 2 w 97"/>
                <a:gd name="T19" fmla="*/ 91 h 93"/>
                <a:gd name="T20" fmla="*/ 5 w 97"/>
                <a:gd name="T21" fmla="*/ 91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97" h="93">
                  <a:moveTo>
                    <a:pt x="5" y="91"/>
                  </a:moveTo>
                  <a:cubicBezTo>
                    <a:pt x="8" y="71"/>
                    <a:pt x="6" y="40"/>
                    <a:pt x="21" y="27"/>
                  </a:cubicBezTo>
                  <a:cubicBezTo>
                    <a:pt x="25" y="23"/>
                    <a:pt x="52" y="6"/>
                    <a:pt x="60" y="9"/>
                  </a:cubicBezTo>
                  <a:cubicBezTo>
                    <a:pt x="69" y="12"/>
                    <a:pt x="84" y="28"/>
                    <a:pt x="87" y="37"/>
                  </a:cubicBezTo>
                  <a:cubicBezTo>
                    <a:pt x="89" y="42"/>
                    <a:pt x="97" y="39"/>
                    <a:pt x="96" y="34"/>
                  </a:cubicBezTo>
                  <a:cubicBezTo>
                    <a:pt x="92" y="22"/>
                    <a:pt x="80" y="14"/>
                    <a:pt x="70" y="8"/>
                  </a:cubicBezTo>
                  <a:cubicBezTo>
                    <a:pt x="57" y="0"/>
                    <a:pt x="52" y="4"/>
                    <a:pt x="39" y="11"/>
                  </a:cubicBezTo>
                  <a:cubicBezTo>
                    <a:pt x="26" y="18"/>
                    <a:pt x="12" y="24"/>
                    <a:pt x="7" y="39"/>
                  </a:cubicBezTo>
                  <a:cubicBezTo>
                    <a:pt x="4" y="48"/>
                    <a:pt x="5" y="58"/>
                    <a:pt x="3" y="67"/>
                  </a:cubicBezTo>
                  <a:cubicBezTo>
                    <a:pt x="2" y="75"/>
                    <a:pt x="0" y="83"/>
                    <a:pt x="2" y="91"/>
                  </a:cubicBezTo>
                  <a:cubicBezTo>
                    <a:pt x="2" y="93"/>
                    <a:pt x="5" y="93"/>
                    <a:pt x="5" y="91"/>
                  </a:cubicBezTo>
                  <a:close/>
                </a:path>
              </a:pathLst>
            </a:custGeom>
            <a:solidFill>
              <a:srgbClr val="1C1D1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842" name="Freeform 477">
              <a:extLst>
                <a:ext uri="{FF2B5EF4-FFF2-40B4-BE49-F238E27FC236}">
                  <a16:creationId xmlns:a16="http://schemas.microsoft.com/office/drawing/2014/main" id="{2CB08ACA-777F-4879-84E5-CCAED9D1282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719638" y="3103563"/>
              <a:ext cx="157163" cy="152400"/>
            </a:xfrm>
            <a:custGeom>
              <a:avLst/>
              <a:gdLst>
                <a:gd name="T0" fmla="*/ 1 w 93"/>
                <a:gd name="T1" fmla="*/ 64 h 91"/>
                <a:gd name="T2" fmla="*/ 73 w 93"/>
                <a:gd name="T3" fmla="*/ 71 h 91"/>
                <a:gd name="T4" fmla="*/ 92 w 93"/>
                <a:gd name="T5" fmla="*/ 6 h 91"/>
                <a:gd name="T6" fmla="*/ 85 w 93"/>
                <a:gd name="T7" fmla="*/ 5 h 91"/>
                <a:gd name="T8" fmla="*/ 75 w 93"/>
                <a:gd name="T9" fmla="*/ 49 h 91"/>
                <a:gd name="T10" fmla="*/ 72 w 93"/>
                <a:gd name="T11" fmla="*/ 58 h 91"/>
                <a:gd name="T12" fmla="*/ 43 w 93"/>
                <a:gd name="T13" fmla="*/ 73 h 91"/>
                <a:gd name="T14" fmla="*/ 37 w 93"/>
                <a:gd name="T15" fmla="*/ 72 h 91"/>
                <a:gd name="T16" fmla="*/ 2 w 93"/>
                <a:gd name="T17" fmla="*/ 62 h 91"/>
                <a:gd name="T18" fmla="*/ 1 w 93"/>
                <a:gd name="T19" fmla="*/ 64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3" h="91">
                  <a:moveTo>
                    <a:pt x="1" y="64"/>
                  </a:moveTo>
                  <a:cubicBezTo>
                    <a:pt x="19" y="71"/>
                    <a:pt x="57" y="91"/>
                    <a:pt x="73" y="71"/>
                  </a:cubicBezTo>
                  <a:cubicBezTo>
                    <a:pt x="86" y="55"/>
                    <a:pt x="88" y="25"/>
                    <a:pt x="92" y="6"/>
                  </a:cubicBezTo>
                  <a:cubicBezTo>
                    <a:pt x="93" y="1"/>
                    <a:pt x="86" y="0"/>
                    <a:pt x="85" y="5"/>
                  </a:cubicBezTo>
                  <a:cubicBezTo>
                    <a:pt x="81" y="20"/>
                    <a:pt x="79" y="35"/>
                    <a:pt x="75" y="49"/>
                  </a:cubicBezTo>
                  <a:cubicBezTo>
                    <a:pt x="74" y="52"/>
                    <a:pt x="73" y="56"/>
                    <a:pt x="72" y="58"/>
                  </a:cubicBezTo>
                  <a:cubicBezTo>
                    <a:pt x="62" y="63"/>
                    <a:pt x="53" y="68"/>
                    <a:pt x="43" y="73"/>
                  </a:cubicBezTo>
                  <a:cubicBezTo>
                    <a:pt x="41" y="73"/>
                    <a:pt x="39" y="73"/>
                    <a:pt x="37" y="72"/>
                  </a:cubicBezTo>
                  <a:cubicBezTo>
                    <a:pt x="26" y="72"/>
                    <a:pt x="13" y="66"/>
                    <a:pt x="2" y="62"/>
                  </a:cubicBezTo>
                  <a:cubicBezTo>
                    <a:pt x="1" y="62"/>
                    <a:pt x="0" y="63"/>
                    <a:pt x="1" y="64"/>
                  </a:cubicBezTo>
                  <a:close/>
                </a:path>
              </a:pathLst>
            </a:custGeom>
            <a:solidFill>
              <a:srgbClr val="1C1D1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843" name="Freeform 478">
              <a:extLst>
                <a:ext uri="{FF2B5EF4-FFF2-40B4-BE49-F238E27FC236}">
                  <a16:creationId xmlns:a16="http://schemas.microsoft.com/office/drawing/2014/main" id="{D636FA09-77CA-4ED8-A5EE-4DBC9B53E65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718050" y="2663825"/>
              <a:ext cx="301625" cy="244475"/>
            </a:xfrm>
            <a:custGeom>
              <a:avLst/>
              <a:gdLst>
                <a:gd name="T0" fmla="*/ 5 w 179"/>
                <a:gd name="T1" fmla="*/ 125 h 146"/>
                <a:gd name="T2" fmla="*/ 15 w 179"/>
                <a:gd name="T3" fmla="*/ 92 h 146"/>
                <a:gd name="T4" fmla="*/ 24 w 179"/>
                <a:gd name="T5" fmla="*/ 50 h 146"/>
                <a:gd name="T6" fmla="*/ 57 w 179"/>
                <a:gd name="T7" fmla="*/ 13 h 146"/>
                <a:gd name="T8" fmla="*/ 101 w 179"/>
                <a:gd name="T9" fmla="*/ 16 h 146"/>
                <a:gd name="T10" fmla="*/ 142 w 179"/>
                <a:gd name="T11" fmla="*/ 27 h 146"/>
                <a:gd name="T12" fmla="*/ 161 w 179"/>
                <a:gd name="T13" fmla="*/ 30 h 146"/>
                <a:gd name="T14" fmla="*/ 166 w 179"/>
                <a:gd name="T15" fmla="*/ 58 h 146"/>
                <a:gd name="T16" fmla="*/ 147 w 179"/>
                <a:gd name="T17" fmla="*/ 138 h 146"/>
                <a:gd name="T18" fmla="*/ 157 w 179"/>
                <a:gd name="T19" fmla="*/ 140 h 146"/>
                <a:gd name="T20" fmla="*/ 166 w 179"/>
                <a:gd name="T21" fmla="*/ 89 h 146"/>
                <a:gd name="T22" fmla="*/ 175 w 179"/>
                <a:gd name="T23" fmla="*/ 36 h 146"/>
                <a:gd name="T24" fmla="*/ 158 w 179"/>
                <a:gd name="T25" fmla="*/ 24 h 146"/>
                <a:gd name="T26" fmla="*/ 108 w 179"/>
                <a:gd name="T27" fmla="*/ 12 h 146"/>
                <a:gd name="T28" fmla="*/ 33 w 179"/>
                <a:gd name="T29" fmla="*/ 15 h 146"/>
                <a:gd name="T30" fmla="*/ 15 w 179"/>
                <a:gd name="T31" fmla="*/ 57 h 146"/>
                <a:gd name="T32" fmla="*/ 8 w 179"/>
                <a:gd name="T33" fmla="*/ 85 h 146"/>
                <a:gd name="T34" fmla="*/ 1 w 179"/>
                <a:gd name="T35" fmla="*/ 123 h 146"/>
                <a:gd name="T36" fmla="*/ 5 w 179"/>
                <a:gd name="T37" fmla="*/ 125 h 1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79" h="146">
                  <a:moveTo>
                    <a:pt x="5" y="125"/>
                  </a:moveTo>
                  <a:cubicBezTo>
                    <a:pt x="12" y="115"/>
                    <a:pt x="13" y="104"/>
                    <a:pt x="15" y="92"/>
                  </a:cubicBezTo>
                  <a:cubicBezTo>
                    <a:pt x="17" y="78"/>
                    <a:pt x="21" y="64"/>
                    <a:pt x="24" y="50"/>
                  </a:cubicBezTo>
                  <a:cubicBezTo>
                    <a:pt x="27" y="28"/>
                    <a:pt x="32" y="16"/>
                    <a:pt x="57" y="13"/>
                  </a:cubicBezTo>
                  <a:cubicBezTo>
                    <a:pt x="71" y="11"/>
                    <a:pt x="87" y="13"/>
                    <a:pt x="101" y="16"/>
                  </a:cubicBezTo>
                  <a:cubicBezTo>
                    <a:pt x="115" y="18"/>
                    <a:pt x="128" y="23"/>
                    <a:pt x="142" y="27"/>
                  </a:cubicBezTo>
                  <a:cubicBezTo>
                    <a:pt x="147" y="28"/>
                    <a:pt x="157" y="28"/>
                    <a:pt x="161" y="30"/>
                  </a:cubicBezTo>
                  <a:cubicBezTo>
                    <a:pt x="172" y="37"/>
                    <a:pt x="168" y="49"/>
                    <a:pt x="166" y="58"/>
                  </a:cubicBezTo>
                  <a:cubicBezTo>
                    <a:pt x="161" y="85"/>
                    <a:pt x="151" y="111"/>
                    <a:pt x="147" y="138"/>
                  </a:cubicBezTo>
                  <a:cubicBezTo>
                    <a:pt x="146" y="144"/>
                    <a:pt x="156" y="146"/>
                    <a:pt x="157" y="140"/>
                  </a:cubicBezTo>
                  <a:cubicBezTo>
                    <a:pt x="159" y="123"/>
                    <a:pt x="163" y="106"/>
                    <a:pt x="166" y="89"/>
                  </a:cubicBezTo>
                  <a:cubicBezTo>
                    <a:pt x="170" y="74"/>
                    <a:pt x="179" y="51"/>
                    <a:pt x="175" y="36"/>
                  </a:cubicBezTo>
                  <a:cubicBezTo>
                    <a:pt x="173" y="27"/>
                    <a:pt x="168" y="26"/>
                    <a:pt x="158" y="24"/>
                  </a:cubicBezTo>
                  <a:cubicBezTo>
                    <a:pt x="142" y="20"/>
                    <a:pt x="125" y="15"/>
                    <a:pt x="108" y="12"/>
                  </a:cubicBezTo>
                  <a:cubicBezTo>
                    <a:pt x="89" y="8"/>
                    <a:pt x="49" y="0"/>
                    <a:pt x="33" y="15"/>
                  </a:cubicBezTo>
                  <a:cubicBezTo>
                    <a:pt x="21" y="26"/>
                    <a:pt x="19" y="43"/>
                    <a:pt x="15" y="57"/>
                  </a:cubicBezTo>
                  <a:cubicBezTo>
                    <a:pt x="13" y="66"/>
                    <a:pt x="10" y="76"/>
                    <a:pt x="8" y="85"/>
                  </a:cubicBezTo>
                  <a:cubicBezTo>
                    <a:pt x="6" y="97"/>
                    <a:pt x="7" y="111"/>
                    <a:pt x="1" y="123"/>
                  </a:cubicBezTo>
                  <a:cubicBezTo>
                    <a:pt x="0" y="125"/>
                    <a:pt x="3" y="127"/>
                    <a:pt x="5" y="125"/>
                  </a:cubicBezTo>
                  <a:close/>
                </a:path>
              </a:pathLst>
            </a:custGeom>
            <a:solidFill>
              <a:srgbClr val="1C1D1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844" name="Freeform 479">
              <a:extLst>
                <a:ext uri="{FF2B5EF4-FFF2-40B4-BE49-F238E27FC236}">
                  <a16:creationId xmlns:a16="http://schemas.microsoft.com/office/drawing/2014/main" id="{80F75AAD-5C82-4DA8-8BCB-84FEC039CE7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05375" y="2895600"/>
              <a:ext cx="273050" cy="300038"/>
            </a:xfrm>
            <a:custGeom>
              <a:avLst/>
              <a:gdLst>
                <a:gd name="T0" fmla="*/ 38 w 163"/>
                <a:gd name="T1" fmla="*/ 3 h 179"/>
                <a:gd name="T2" fmla="*/ 46 w 163"/>
                <a:gd name="T3" fmla="*/ 13 h 179"/>
                <a:gd name="T4" fmla="*/ 96 w 163"/>
                <a:gd name="T5" fmla="*/ 21 h 179"/>
                <a:gd name="T6" fmla="*/ 144 w 163"/>
                <a:gd name="T7" fmla="*/ 55 h 179"/>
                <a:gd name="T8" fmla="*/ 135 w 163"/>
                <a:gd name="T9" fmla="*/ 89 h 179"/>
                <a:gd name="T10" fmla="*/ 126 w 163"/>
                <a:gd name="T11" fmla="*/ 133 h 179"/>
                <a:gd name="T12" fmla="*/ 94 w 163"/>
                <a:gd name="T13" fmla="*/ 161 h 179"/>
                <a:gd name="T14" fmla="*/ 6 w 163"/>
                <a:gd name="T15" fmla="*/ 152 h 179"/>
                <a:gd name="T16" fmla="*/ 6 w 163"/>
                <a:gd name="T17" fmla="*/ 161 h 179"/>
                <a:gd name="T18" fmla="*/ 67 w 163"/>
                <a:gd name="T19" fmla="*/ 167 h 179"/>
                <a:gd name="T20" fmla="*/ 118 w 163"/>
                <a:gd name="T21" fmla="*/ 174 h 179"/>
                <a:gd name="T22" fmla="*/ 133 w 163"/>
                <a:gd name="T23" fmla="*/ 156 h 179"/>
                <a:gd name="T24" fmla="*/ 142 w 163"/>
                <a:gd name="T25" fmla="*/ 104 h 179"/>
                <a:gd name="T26" fmla="*/ 147 w 163"/>
                <a:gd name="T27" fmla="*/ 31 h 179"/>
                <a:gd name="T28" fmla="*/ 105 w 163"/>
                <a:gd name="T29" fmla="*/ 14 h 179"/>
                <a:gd name="T30" fmla="*/ 42 w 163"/>
                <a:gd name="T31" fmla="*/ 2 h 179"/>
                <a:gd name="T32" fmla="*/ 38 w 163"/>
                <a:gd name="T33" fmla="*/ 3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63" h="179">
                  <a:moveTo>
                    <a:pt x="38" y="3"/>
                  </a:moveTo>
                  <a:cubicBezTo>
                    <a:pt x="39" y="9"/>
                    <a:pt x="41" y="11"/>
                    <a:pt x="46" y="13"/>
                  </a:cubicBezTo>
                  <a:cubicBezTo>
                    <a:pt x="61" y="18"/>
                    <a:pt x="80" y="17"/>
                    <a:pt x="96" y="21"/>
                  </a:cubicBezTo>
                  <a:cubicBezTo>
                    <a:pt x="115" y="25"/>
                    <a:pt x="147" y="29"/>
                    <a:pt x="144" y="55"/>
                  </a:cubicBezTo>
                  <a:cubicBezTo>
                    <a:pt x="143" y="67"/>
                    <a:pt x="138" y="78"/>
                    <a:pt x="135" y="89"/>
                  </a:cubicBezTo>
                  <a:cubicBezTo>
                    <a:pt x="131" y="104"/>
                    <a:pt x="128" y="119"/>
                    <a:pt x="126" y="133"/>
                  </a:cubicBezTo>
                  <a:cubicBezTo>
                    <a:pt x="122" y="154"/>
                    <a:pt x="123" y="165"/>
                    <a:pt x="94" y="161"/>
                  </a:cubicBezTo>
                  <a:cubicBezTo>
                    <a:pt x="65" y="157"/>
                    <a:pt x="36" y="150"/>
                    <a:pt x="6" y="152"/>
                  </a:cubicBezTo>
                  <a:cubicBezTo>
                    <a:pt x="0" y="152"/>
                    <a:pt x="1" y="161"/>
                    <a:pt x="6" y="161"/>
                  </a:cubicBezTo>
                  <a:cubicBezTo>
                    <a:pt x="27" y="163"/>
                    <a:pt x="47" y="164"/>
                    <a:pt x="67" y="167"/>
                  </a:cubicBezTo>
                  <a:cubicBezTo>
                    <a:pt x="81" y="169"/>
                    <a:pt x="104" y="179"/>
                    <a:pt x="118" y="174"/>
                  </a:cubicBezTo>
                  <a:cubicBezTo>
                    <a:pt x="127" y="172"/>
                    <a:pt x="131" y="164"/>
                    <a:pt x="133" y="156"/>
                  </a:cubicBezTo>
                  <a:cubicBezTo>
                    <a:pt x="137" y="139"/>
                    <a:pt x="139" y="121"/>
                    <a:pt x="142" y="104"/>
                  </a:cubicBezTo>
                  <a:cubicBezTo>
                    <a:pt x="146" y="84"/>
                    <a:pt x="163" y="50"/>
                    <a:pt x="147" y="31"/>
                  </a:cubicBezTo>
                  <a:cubicBezTo>
                    <a:pt x="137" y="20"/>
                    <a:pt x="118" y="17"/>
                    <a:pt x="105" y="14"/>
                  </a:cubicBezTo>
                  <a:cubicBezTo>
                    <a:pt x="95" y="12"/>
                    <a:pt x="44" y="8"/>
                    <a:pt x="42" y="2"/>
                  </a:cubicBezTo>
                  <a:cubicBezTo>
                    <a:pt x="42" y="0"/>
                    <a:pt x="38" y="1"/>
                    <a:pt x="38" y="3"/>
                  </a:cubicBezTo>
                  <a:close/>
                </a:path>
              </a:pathLst>
            </a:custGeom>
            <a:solidFill>
              <a:srgbClr val="1C1D1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845" name="Freeform 480">
              <a:extLst>
                <a:ext uri="{FF2B5EF4-FFF2-40B4-BE49-F238E27FC236}">
                  <a16:creationId xmlns:a16="http://schemas.microsoft.com/office/drawing/2014/main" id="{9FE39E85-ACE3-490F-95F2-7EE1315653E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635500" y="3094038"/>
              <a:ext cx="285750" cy="254000"/>
            </a:xfrm>
            <a:custGeom>
              <a:avLst/>
              <a:gdLst>
                <a:gd name="T0" fmla="*/ 164 w 170"/>
                <a:gd name="T1" fmla="*/ 35 h 151"/>
                <a:gd name="T2" fmla="*/ 156 w 170"/>
                <a:gd name="T3" fmla="*/ 87 h 151"/>
                <a:gd name="T4" fmla="*/ 148 w 170"/>
                <a:gd name="T5" fmla="*/ 126 h 151"/>
                <a:gd name="T6" fmla="*/ 93 w 170"/>
                <a:gd name="T7" fmla="*/ 138 h 151"/>
                <a:gd name="T8" fmla="*/ 68 w 170"/>
                <a:gd name="T9" fmla="*/ 137 h 151"/>
                <a:gd name="T10" fmla="*/ 13 w 170"/>
                <a:gd name="T11" fmla="*/ 106 h 151"/>
                <a:gd name="T12" fmla="*/ 20 w 170"/>
                <a:gd name="T13" fmla="*/ 56 h 151"/>
                <a:gd name="T14" fmla="*/ 32 w 170"/>
                <a:gd name="T15" fmla="*/ 9 h 151"/>
                <a:gd name="T16" fmla="*/ 23 w 170"/>
                <a:gd name="T17" fmla="*/ 5 h 151"/>
                <a:gd name="T18" fmla="*/ 9 w 170"/>
                <a:gd name="T19" fmla="*/ 62 h 151"/>
                <a:gd name="T20" fmla="*/ 5 w 170"/>
                <a:gd name="T21" fmla="*/ 112 h 151"/>
                <a:gd name="T22" fmla="*/ 59 w 170"/>
                <a:gd name="T23" fmla="*/ 144 h 151"/>
                <a:gd name="T24" fmla="*/ 103 w 170"/>
                <a:gd name="T25" fmla="*/ 145 h 151"/>
                <a:gd name="T26" fmla="*/ 146 w 170"/>
                <a:gd name="T27" fmla="*/ 144 h 151"/>
                <a:gd name="T28" fmla="*/ 159 w 170"/>
                <a:gd name="T29" fmla="*/ 104 h 151"/>
                <a:gd name="T30" fmla="*/ 169 w 170"/>
                <a:gd name="T31" fmla="*/ 35 h 151"/>
                <a:gd name="T32" fmla="*/ 164 w 170"/>
                <a:gd name="T33" fmla="*/ 35 h 1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70" h="151">
                  <a:moveTo>
                    <a:pt x="164" y="35"/>
                  </a:moveTo>
                  <a:cubicBezTo>
                    <a:pt x="163" y="52"/>
                    <a:pt x="160" y="69"/>
                    <a:pt x="156" y="87"/>
                  </a:cubicBezTo>
                  <a:cubicBezTo>
                    <a:pt x="154" y="99"/>
                    <a:pt x="153" y="115"/>
                    <a:pt x="148" y="126"/>
                  </a:cubicBezTo>
                  <a:cubicBezTo>
                    <a:pt x="138" y="147"/>
                    <a:pt x="112" y="138"/>
                    <a:pt x="93" y="138"/>
                  </a:cubicBezTo>
                  <a:cubicBezTo>
                    <a:pt x="85" y="137"/>
                    <a:pt x="76" y="137"/>
                    <a:pt x="68" y="137"/>
                  </a:cubicBezTo>
                  <a:cubicBezTo>
                    <a:pt x="46" y="136"/>
                    <a:pt x="17" y="133"/>
                    <a:pt x="13" y="106"/>
                  </a:cubicBezTo>
                  <a:cubicBezTo>
                    <a:pt x="10" y="90"/>
                    <a:pt x="16" y="72"/>
                    <a:pt x="20" y="56"/>
                  </a:cubicBezTo>
                  <a:cubicBezTo>
                    <a:pt x="24" y="41"/>
                    <a:pt x="27" y="25"/>
                    <a:pt x="32" y="9"/>
                  </a:cubicBezTo>
                  <a:cubicBezTo>
                    <a:pt x="34" y="4"/>
                    <a:pt x="26" y="0"/>
                    <a:pt x="23" y="5"/>
                  </a:cubicBezTo>
                  <a:cubicBezTo>
                    <a:pt x="17" y="24"/>
                    <a:pt x="13" y="43"/>
                    <a:pt x="9" y="62"/>
                  </a:cubicBezTo>
                  <a:cubicBezTo>
                    <a:pt x="5" y="78"/>
                    <a:pt x="0" y="96"/>
                    <a:pt x="5" y="112"/>
                  </a:cubicBezTo>
                  <a:cubicBezTo>
                    <a:pt x="12" y="136"/>
                    <a:pt x="37" y="143"/>
                    <a:pt x="59" y="144"/>
                  </a:cubicBezTo>
                  <a:cubicBezTo>
                    <a:pt x="74" y="146"/>
                    <a:pt x="88" y="145"/>
                    <a:pt x="103" y="145"/>
                  </a:cubicBezTo>
                  <a:cubicBezTo>
                    <a:pt x="115" y="146"/>
                    <a:pt x="136" y="151"/>
                    <a:pt x="146" y="144"/>
                  </a:cubicBezTo>
                  <a:cubicBezTo>
                    <a:pt x="157" y="137"/>
                    <a:pt x="157" y="115"/>
                    <a:pt x="159" y="104"/>
                  </a:cubicBezTo>
                  <a:cubicBezTo>
                    <a:pt x="164" y="81"/>
                    <a:pt x="168" y="59"/>
                    <a:pt x="169" y="35"/>
                  </a:cubicBezTo>
                  <a:cubicBezTo>
                    <a:pt x="170" y="32"/>
                    <a:pt x="165" y="31"/>
                    <a:pt x="164" y="35"/>
                  </a:cubicBezTo>
                  <a:close/>
                </a:path>
              </a:pathLst>
            </a:custGeom>
            <a:solidFill>
              <a:srgbClr val="1C1D1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846" name="Freeform 481">
              <a:extLst>
                <a:ext uri="{FF2B5EF4-FFF2-40B4-BE49-F238E27FC236}">
                  <a16:creationId xmlns:a16="http://schemas.microsoft.com/office/drawing/2014/main" id="{9C287212-0D66-4B9F-87FE-67925A6F837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467225" y="2822575"/>
              <a:ext cx="271463" cy="292100"/>
            </a:xfrm>
            <a:custGeom>
              <a:avLst/>
              <a:gdLst>
                <a:gd name="T0" fmla="*/ 128 w 161"/>
                <a:gd name="T1" fmla="*/ 168 h 173"/>
                <a:gd name="T2" fmla="*/ 51 w 161"/>
                <a:gd name="T3" fmla="*/ 150 h 173"/>
                <a:gd name="T4" fmla="*/ 26 w 161"/>
                <a:gd name="T5" fmla="*/ 139 h 173"/>
                <a:gd name="T6" fmla="*/ 20 w 161"/>
                <a:gd name="T7" fmla="*/ 107 h 173"/>
                <a:gd name="T8" fmla="*/ 28 w 161"/>
                <a:gd name="T9" fmla="*/ 70 h 173"/>
                <a:gd name="T10" fmla="*/ 37 w 161"/>
                <a:gd name="T11" fmla="*/ 31 h 173"/>
                <a:gd name="T12" fmla="*/ 69 w 161"/>
                <a:gd name="T13" fmla="*/ 11 h 173"/>
                <a:gd name="T14" fmla="*/ 85 w 161"/>
                <a:gd name="T15" fmla="*/ 15 h 173"/>
                <a:gd name="T16" fmla="*/ 119 w 161"/>
                <a:gd name="T17" fmla="*/ 20 h 173"/>
                <a:gd name="T18" fmla="*/ 153 w 161"/>
                <a:gd name="T19" fmla="*/ 32 h 173"/>
                <a:gd name="T20" fmla="*/ 155 w 161"/>
                <a:gd name="T21" fmla="*/ 23 h 173"/>
                <a:gd name="T22" fmla="*/ 107 w 161"/>
                <a:gd name="T23" fmla="*/ 11 h 173"/>
                <a:gd name="T24" fmla="*/ 56 w 161"/>
                <a:gd name="T25" fmla="*/ 1 h 173"/>
                <a:gd name="T26" fmla="*/ 19 w 161"/>
                <a:gd name="T27" fmla="*/ 68 h 173"/>
                <a:gd name="T28" fmla="*/ 22 w 161"/>
                <a:gd name="T29" fmla="*/ 147 h 173"/>
                <a:gd name="T30" fmla="*/ 61 w 161"/>
                <a:gd name="T31" fmla="*/ 160 h 173"/>
                <a:gd name="T32" fmla="*/ 127 w 161"/>
                <a:gd name="T33" fmla="*/ 173 h 173"/>
                <a:gd name="T34" fmla="*/ 128 w 161"/>
                <a:gd name="T35" fmla="*/ 168 h 1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61" h="173">
                  <a:moveTo>
                    <a:pt x="128" y="168"/>
                  </a:moveTo>
                  <a:cubicBezTo>
                    <a:pt x="104" y="158"/>
                    <a:pt x="77" y="155"/>
                    <a:pt x="51" y="150"/>
                  </a:cubicBezTo>
                  <a:cubicBezTo>
                    <a:pt x="43" y="148"/>
                    <a:pt x="31" y="146"/>
                    <a:pt x="26" y="139"/>
                  </a:cubicBezTo>
                  <a:cubicBezTo>
                    <a:pt x="18" y="130"/>
                    <a:pt x="18" y="118"/>
                    <a:pt x="20" y="107"/>
                  </a:cubicBezTo>
                  <a:cubicBezTo>
                    <a:pt x="22" y="94"/>
                    <a:pt x="25" y="82"/>
                    <a:pt x="28" y="70"/>
                  </a:cubicBezTo>
                  <a:cubicBezTo>
                    <a:pt x="30" y="57"/>
                    <a:pt x="33" y="44"/>
                    <a:pt x="37" y="31"/>
                  </a:cubicBezTo>
                  <a:cubicBezTo>
                    <a:pt x="42" y="18"/>
                    <a:pt x="55" y="7"/>
                    <a:pt x="69" y="11"/>
                  </a:cubicBezTo>
                  <a:cubicBezTo>
                    <a:pt x="74" y="12"/>
                    <a:pt x="80" y="14"/>
                    <a:pt x="85" y="15"/>
                  </a:cubicBezTo>
                  <a:cubicBezTo>
                    <a:pt x="96" y="18"/>
                    <a:pt x="108" y="18"/>
                    <a:pt x="119" y="20"/>
                  </a:cubicBezTo>
                  <a:cubicBezTo>
                    <a:pt x="131" y="23"/>
                    <a:pt x="142" y="29"/>
                    <a:pt x="153" y="32"/>
                  </a:cubicBezTo>
                  <a:cubicBezTo>
                    <a:pt x="159" y="33"/>
                    <a:pt x="161" y="24"/>
                    <a:pt x="155" y="23"/>
                  </a:cubicBezTo>
                  <a:cubicBezTo>
                    <a:pt x="139" y="18"/>
                    <a:pt x="124" y="13"/>
                    <a:pt x="107" y="11"/>
                  </a:cubicBezTo>
                  <a:cubicBezTo>
                    <a:pt x="90" y="9"/>
                    <a:pt x="73" y="0"/>
                    <a:pt x="56" y="1"/>
                  </a:cubicBezTo>
                  <a:cubicBezTo>
                    <a:pt x="27" y="3"/>
                    <a:pt x="24" y="46"/>
                    <a:pt x="19" y="68"/>
                  </a:cubicBezTo>
                  <a:cubicBezTo>
                    <a:pt x="14" y="91"/>
                    <a:pt x="0" y="128"/>
                    <a:pt x="22" y="147"/>
                  </a:cubicBezTo>
                  <a:cubicBezTo>
                    <a:pt x="32" y="156"/>
                    <a:pt x="47" y="158"/>
                    <a:pt x="61" y="160"/>
                  </a:cubicBezTo>
                  <a:cubicBezTo>
                    <a:pt x="82" y="165"/>
                    <a:pt x="105" y="171"/>
                    <a:pt x="127" y="173"/>
                  </a:cubicBezTo>
                  <a:cubicBezTo>
                    <a:pt x="130" y="173"/>
                    <a:pt x="131" y="169"/>
                    <a:pt x="128" y="168"/>
                  </a:cubicBezTo>
                  <a:close/>
                </a:path>
              </a:pathLst>
            </a:custGeom>
            <a:solidFill>
              <a:srgbClr val="1C1D1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847" name="Freeform 482">
              <a:extLst>
                <a:ext uri="{FF2B5EF4-FFF2-40B4-BE49-F238E27FC236}">
                  <a16:creationId xmlns:a16="http://schemas.microsoft.com/office/drawing/2014/main" id="{814DF70A-D130-4138-B919-7D3C5559FDD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749800" y="2643188"/>
              <a:ext cx="31750" cy="19050"/>
            </a:xfrm>
            <a:custGeom>
              <a:avLst/>
              <a:gdLst>
                <a:gd name="T0" fmla="*/ 0 w 19"/>
                <a:gd name="T1" fmla="*/ 10 h 11"/>
                <a:gd name="T2" fmla="*/ 18 w 19"/>
                <a:gd name="T3" fmla="*/ 2 h 11"/>
                <a:gd name="T4" fmla="*/ 18 w 19"/>
                <a:gd name="T5" fmla="*/ 1 h 11"/>
                <a:gd name="T6" fmla="*/ 0 w 19"/>
                <a:gd name="T7" fmla="*/ 10 h 11"/>
                <a:gd name="T8" fmla="*/ 0 w 19"/>
                <a:gd name="T9" fmla="*/ 1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" h="11">
                  <a:moveTo>
                    <a:pt x="0" y="10"/>
                  </a:moveTo>
                  <a:cubicBezTo>
                    <a:pt x="5" y="5"/>
                    <a:pt x="11" y="2"/>
                    <a:pt x="18" y="2"/>
                  </a:cubicBezTo>
                  <a:cubicBezTo>
                    <a:pt x="19" y="2"/>
                    <a:pt x="19" y="0"/>
                    <a:pt x="18" y="1"/>
                  </a:cubicBezTo>
                  <a:cubicBezTo>
                    <a:pt x="11" y="1"/>
                    <a:pt x="4" y="4"/>
                    <a:pt x="0" y="10"/>
                  </a:cubicBezTo>
                  <a:cubicBezTo>
                    <a:pt x="0" y="10"/>
                    <a:pt x="0" y="11"/>
                    <a:pt x="0" y="10"/>
                  </a:cubicBezTo>
                  <a:close/>
                </a:path>
              </a:pathLst>
            </a:custGeom>
            <a:solidFill>
              <a:srgbClr val="1C1D1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848" name="Freeform 483">
              <a:extLst>
                <a:ext uri="{FF2B5EF4-FFF2-40B4-BE49-F238E27FC236}">
                  <a16:creationId xmlns:a16="http://schemas.microsoft.com/office/drawing/2014/main" id="{ADB00649-B275-4736-9A4B-5505BCEC63B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029200" y="2703513"/>
              <a:ext cx="39688" cy="125413"/>
            </a:xfrm>
            <a:custGeom>
              <a:avLst/>
              <a:gdLst>
                <a:gd name="T0" fmla="*/ 1 w 23"/>
                <a:gd name="T1" fmla="*/ 1 h 74"/>
                <a:gd name="T2" fmla="*/ 0 w 23"/>
                <a:gd name="T3" fmla="*/ 70 h 74"/>
                <a:gd name="T4" fmla="*/ 6 w 23"/>
                <a:gd name="T5" fmla="*/ 71 h 74"/>
                <a:gd name="T6" fmla="*/ 2 w 23"/>
                <a:gd name="T7" fmla="*/ 0 h 74"/>
                <a:gd name="T8" fmla="*/ 1 w 23"/>
                <a:gd name="T9" fmla="*/ 1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" h="74">
                  <a:moveTo>
                    <a:pt x="1" y="1"/>
                  </a:moveTo>
                  <a:cubicBezTo>
                    <a:pt x="16" y="19"/>
                    <a:pt x="3" y="49"/>
                    <a:pt x="0" y="70"/>
                  </a:cubicBezTo>
                  <a:cubicBezTo>
                    <a:pt x="0" y="73"/>
                    <a:pt x="5" y="74"/>
                    <a:pt x="6" y="71"/>
                  </a:cubicBezTo>
                  <a:cubicBezTo>
                    <a:pt x="12" y="50"/>
                    <a:pt x="23" y="16"/>
                    <a:pt x="2" y="0"/>
                  </a:cubicBezTo>
                  <a:cubicBezTo>
                    <a:pt x="2" y="0"/>
                    <a:pt x="0" y="0"/>
                    <a:pt x="1" y="1"/>
                  </a:cubicBezTo>
                  <a:close/>
                </a:path>
              </a:pathLst>
            </a:custGeom>
            <a:solidFill>
              <a:srgbClr val="1C1D1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849" name="Freeform 484">
              <a:extLst>
                <a:ext uri="{FF2B5EF4-FFF2-40B4-BE49-F238E27FC236}">
                  <a16:creationId xmlns:a16="http://schemas.microsoft.com/office/drawing/2014/main" id="{11521B7B-FB78-4C93-BE2F-E70980AC057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032375" y="2868613"/>
              <a:ext cx="138113" cy="53975"/>
            </a:xfrm>
            <a:custGeom>
              <a:avLst/>
              <a:gdLst>
                <a:gd name="T0" fmla="*/ 1 w 82"/>
                <a:gd name="T1" fmla="*/ 3 h 32"/>
                <a:gd name="T2" fmla="*/ 16 w 82"/>
                <a:gd name="T3" fmla="*/ 15 h 32"/>
                <a:gd name="T4" fmla="*/ 78 w 82"/>
                <a:gd name="T5" fmla="*/ 31 h 32"/>
                <a:gd name="T6" fmla="*/ 80 w 82"/>
                <a:gd name="T7" fmla="*/ 28 h 32"/>
                <a:gd name="T8" fmla="*/ 43 w 82"/>
                <a:gd name="T9" fmla="*/ 12 h 32"/>
                <a:gd name="T10" fmla="*/ 3 w 82"/>
                <a:gd name="T11" fmla="*/ 1 h 32"/>
                <a:gd name="T12" fmla="*/ 1 w 82"/>
                <a:gd name="T13" fmla="*/ 3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2" h="32">
                  <a:moveTo>
                    <a:pt x="1" y="3"/>
                  </a:moveTo>
                  <a:cubicBezTo>
                    <a:pt x="5" y="10"/>
                    <a:pt x="7" y="15"/>
                    <a:pt x="16" y="15"/>
                  </a:cubicBezTo>
                  <a:cubicBezTo>
                    <a:pt x="39" y="17"/>
                    <a:pt x="58" y="18"/>
                    <a:pt x="78" y="31"/>
                  </a:cubicBezTo>
                  <a:cubicBezTo>
                    <a:pt x="80" y="32"/>
                    <a:pt x="82" y="29"/>
                    <a:pt x="80" y="28"/>
                  </a:cubicBezTo>
                  <a:cubicBezTo>
                    <a:pt x="70" y="19"/>
                    <a:pt x="57" y="15"/>
                    <a:pt x="43" y="12"/>
                  </a:cubicBezTo>
                  <a:cubicBezTo>
                    <a:pt x="29" y="10"/>
                    <a:pt x="11" y="15"/>
                    <a:pt x="3" y="1"/>
                  </a:cubicBezTo>
                  <a:cubicBezTo>
                    <a:pt x="2" y="0"/>
                    <a:pt x="0" y="2"/>
                    <a:pt x="1" y="3"/>
                  </a:cubicBezTo>
                  <a:close/>
                </a:path>
              </a:pathLst>
            </a:custGeom>
            <a:solidFill>
              <a:srgbClr val="1C1D1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850" name="Freeform 485">
              <a:extLst>
                <a:ext uri="{FF2B5EF4-FFF2-40B4-BE49-F238E27FC236}">
                  <a16:creationId xmlns:a16="http://schemas.microsoft.com/office/drawing/2014/main" id="{6033570D-20A3-4CDE-B43A-D934FAC14CE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41888" y="3190875"/>
              <a:ext cx="60325" cy="41275"/>
            </a:xfrm>
            <a:custGeom>
              <a:avLst/>
              <a:gdLst>
                <a:gd name="T0" fmla="*/ 4 w 36"/>
                <a:gd name="T1" fmla="*/ 22 h 24"/>
                <a:gd name="T2" fmla="*/ 5 w 36"/>
                <a:gd name="T3" fmla="*/ 13 h 24"/>
                <a:gd name="T4" fmla="*/ 17 w 36"/>
                <a:gd name="T5" fmla="*/ 6 h 24"/>
                <a:gd name="T6" fmla="*/ 34 w 36"/>
                <a:gd name="T7" fmla="*/ 7 h 24"/>
                <a:gd name="T8" fmla="*/ 34 w 36"/>
                <a:gd name="T9" fmla="*/ 3 h 24"/>
                <a:gd name="T10" fmla="*/ 10 w 36"/>
                <a:gd name="T11" fmla="*/ 3 h 24"/>
                <a:gd name="T12" fmla="*/ 0 w 36"/>
                <a:gd name="T13" fmla="*/ 21 h 24"/>
                <a:gd name="T14" fmla="*/ 4 w 36"/>
                <a:gd name="T15" fmla="*/ 2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6" h="24">
                  <a:moveTo>
                    <a:pt x="4" y="22"/>
                  </a:moveTo>
                  <a:cubicBezTo>
                    <a:pt x="4" y="19"/>
                    <a:pt x="4" y="16"/>
                    <a:pt x="5" y="13"/>
                  </a:cubicBezTo>
                  <a:cubicBezTo>
                    <a:pt x="7" y="8"/>
                    <a:pt x="11" y="6"/>
                    <a:pt x="17" y="6"/>
                  </a:cubicBezTo>
                  <a:cubicBezTo>
                    <a:pt x="22" y="5"/>
                    <a:pt x="28" y="7"/>
                    <a:pt x="34" y="7"/>
                  </a:cubicBezTo>
                  <a:cubicBezTo>
                    <a:pt x="36" y="7"/>
                    <a:pt x="36" y="3"/>
                    <a:pt x="34" y="3"/>
                  </a:cubicBezTo>
                  <a:cubicBezTo>
                    <a:pt x="26" y="3"/>
                    <a:pt x="17" y="0"/>
                    <a:pt x="10" y="3"/>
                  </a:cubicBezTo>
                  <a:cubicBezTo>
                    <a:pt x="2" y="6"/>
                    <a:pt x="2" y="14"/>
                    <a:pt x="0" y="21"/>
                  </a:cubicBezTo>
                  <a:cubicBezTo>
                    <a:pt x="0" y="23"/>
                    <a:pt x="3" y="24"/>
                    <a:pt x="4" y="22"/>
                  </a:cubicBezTo>
                  <a:close/>
                </a:path>
              </a:pathLst>
            </a:custGeom>
            <a:solidFill>
              <a:srgbClr val="1C1D1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851" name="Freeform 486">
              <a:extLst>
                <a:ext uri="{FF2B5EF4-FFF2-40B4-BE49-F238E27FC236}">
                  <a16:creationId xmlns:a16="http://schemas.microsoft.com/office/drawing/2014/main" id="{3BB4A0A4-F0EE-4E99-B336-FF5DCC2A6AB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581525" y="3163888"/>
              <a:ext cx="68263" cy="163513"/>
            </a:xfrm>
            <a:custGeom>
              <a:avLst/>
              <a:gdLst>
                <a:gd name="T0" fmla="*/ 33 w 40"/>
                <a:gd name="T1" fmla="*/ 0 h 97"/>
                <a:gd name="T2" fmla="*/ 37 w 40"/>
                <a:gd name="T3" fmla="*/ 96 h 97"/>
                <a:gd name="T4" fmla="*/ 39 w 40"/>
                <a:gd name="T5" fmla="*/ 94 h 97"/>
                <a:gd name="T6" fmla="*/ 33 w 40"/>
                <a:gd name="T7" fmla="*/ 0 h 97"/>
                <a:gd name="T8" fmla="*/ 33 w 40"/>
                <a:gd name="T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0" h="97">
                  <a:moveTo>
                    <a:pt x="33" y="0"/>
                  </a:moveTo>
                  <a:cubicBezTo>
                    <a:pt x="26" y="30"/>
                    <a:pt x="0" y="74"/>
                    <a:pt x="37" y="96"/>
                  </a:cubicBezTo>
                  <a:cubicBezTo>
                    <a:pt x="38" y="97"/>
                    <a:pt x="40" y="95"/>
                    <a:pt x="39" y="94"/>
                  </a:cubicBezTo>
                  <a:cubicBezTo>
                    <a:pt x="8" y="67"/>
                    <a:pt x="26" y="33"/>
                    <a:pt x="33" y="0"/>
                  </a:cubicBezTo>
                  <a:cubicBezTo>
                    <a:pt x="33" y="0"/>
                    <a:pt x="33" y="0"/>
                    <a:pt x="33" y="0"/>
                  </a:cubicBezTo>
                  <a:close/>
                </a:path>
              </a:pathLst>
            </a:custGeom>
            <a:solidFill>
              <a:srgbClr val="1C1D1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852" name="Freeform 487">
              <a:extLst>
                <a:ext uri="{FF2B5EF4-FFF2-40B4-BE49-F238E27FC236}">
                  <a16:creationId xmlns:a16="http://schemas.microsoft.com/office/drawing/2014/main" id="{916C22F0-F24F-42D4-9E7F-B76D5D63D78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730750" y="3359150"/>
              <a:ext cx="131763" cy="23813"/>
            </a:xfrm>
            <a:custGeom>
              <a:avLst/>
              <a:gdLst>
                <a:gd name="T0" fmla="*/ 1 w 79"/>
                <a:gd name="T1" fmla="*/ 2 h 14"/>
                <a:gd name="T2" fmla="*/ 75 w 79"/>
                <a:gd name="T3" fmla="*/ 14 h 14"/>
                <a:gd name="T4" fmla="*/ 76 w 79"/>
                <a:gd name="T5" fmla="*/ 9 h 14"/>
                <a:gd name="T6" fmla="*/ 2 w 79"/>
                <a:gd name="T7" fmla="*/ 0 h 14"/>
                <a:gd name="T8" fmla="*/ 1 w 79"/>
                <a:gd name="T9" fmla="*/ 2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9" h="14">
                  <a:moveTo>
                    <a:pt x="1" y="2"/>
                  </a:moveTo>
                  <a:cubicBezTo>
                    <a:pt x="26" y="4"/>
                    <a:pt x="50" y="9"/>
                    <a:pt x="75" y="14"/>
                  </a:cubicBezTo>
                  <a:cubicBezTo>
                    <a:pt x="78" y="14"/>
                    <a:pt x="79" y="9"/>
                    <a:pt x="76" y="9"/>
                  </a:cubicBezTo>
                  <a:cubicBezTo>
                    <a:pt x="52" y="3"/>
                    <a:pt x="27" y="1"/>
                    <a:pt x="2" y="0"/>
                  </a:cubicBezTo>
                  <a:cubicBezTo>
                    <a:pt x="0" y="0"/>
                    <a:pt x="0" y="2"/>
                    <a:pt x="1" y="2"/>
                  </a:cubicBezTo>
                  <a:close/>
                </a:path>
              </a:pathLst>
            </a:custGeom>
            <a:solidFill>
              <a:srgbClr val="1C1D1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853" name="Freeform 488">
              <a:extLst>
                <a:ext uri="{FF2B5EF4-FFF2-40B4-BE49-F238E27FC236}">
                  <a16:creationId xmlns:a16="http://schemas.microsoft.com/office/drawing/2014/main" id="{FAF69DF8-A343-4B33-9515-B0AD36303BC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441825" y="2786063"/>
              <a:ext cx="119063" cy="328613"/>
            </a:xfrm>
            <a:custGeom>
              <a:avLst/>
              <a:gdLst>
                <a:gd name="T0" fmla="*/ 68 w 70"/>
                <a:gd name="T1" fmla="*/ 193 h 195"/>
                <a:gd name="T2" fmla="*/ 16 w 70"/>
                <a:gd name="T3" fmla="*/ 173 h 195"/>
                <a:gd name="T4" fmla="*/ 8 w 70"/>
                <a:gd name="T5" fmla="*/ 116 h 195"/>
                <a:gd name="T6" fmla="*/ 21 w 70"/>
                <a:gd name="T7" fmla="*/ 61 h 195"/>
                <a:gd name="T8" fmla="*/ 36 w 70"/>
                <a:gd name="T9" fmla="*/ 25 h 195"/>
                <a:gd name="T10" fmla="*/ 67 w 70"/>
                <a:gd name="T11" fmla="*/ 5 h 195"/>
                <a:gd name="T12" fmla="*/ 65 w 70"/>
                <a:gd name="T13" fmla="*/ 1 h 195"/>
                <a:gd name="T14" fmla="*/ 24 w 70"/>
                <a:gd name="T15" fmla="*/ 39 h 195"/>
                <a:gd name="T16" fmla="*/ 1 w 70"/>
                <a:gd name="T17" fmla="*/ 122 h 195"/>
                <a:gd name="T18" fmla="*/ 15 w 70"/>
                <a:gd name="T19" fmla="*/ 180 h 195"/>
                <a:gd name="T20" fmla="*/ 68 w 70"/>
                <a:gd name="T21" fmla="*/ 195 h 195"/>
                <a:gd name="T22" fmla="*/ 68 w 70"/>
                <a:gd name="T23" fmla="*/ 193 h 1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70" h="195">
                  <a:moveTo>
                    <a:pt x="68" y="193"/>
                  </a:moveTo>
                  <a:cubicBezTo>
                    <a:pt x="49" y="192"/>
                    <a:pt x="27" y="190"/>
                    <a:pt x="16" y="173"/>
                  </a:cubicBezTo>
                  <a:cubicBezTo>
                    <a:pt x="5" y="156"/>
                    <a:pt x="5" y="135"/>
                    <a:pt x="8" y="116"/>
                  </a:cubicBezTo>
                  <a:cubicBezTo>
                    <a:pt x="11" y="98"/>
                    <a:pt x="15" y="79"/>
                    <a:pt x="21" y="61"/>
                  </a:cubicBezTo>
                  <a:cubicBezTo>
                    <a:pt x="25" y="49"/>
                    <a:pt x="30" y="35"/>
                    <a:pt x="36" y="25"/>
                  </a:cubicBezTo>
                  <a:cubicBezTo>
                    <a:pt x="44" y="13"/>
                    <a:pt x="55" y="9"/>
                    <a:pt x="67" y="5"/>
                  </a:cubicBezTo>
                  <a:cubicBezTo>
                    <a:pt x="69" y="4"/>
                    <a:pt x="68" y="0"/>
                    <a:pt x="65" y="1"/>
                  </a:cubicBezTo>
                  <a:cubicBezTo>
                    <a:pt x="43" y="8"/>
                    <a:pt x="33" y="17"/>
                    <a:pt x="24" y="39"/>
                  </a:cubicBezTo>
                  <a:cubicBezTo>
                    <a:pt x="12" y="65"/>
                    <a:pt x="3" y="93"/>
                    <a:pt x="1" y="122"/>
                  </a:cubicBezTo>
                  <a:cubicBezTo>
                    <a:pt x="0" y="141"/>
                    <a:pt x="1" y="165"/>
                    <a:pt x="15" y="180"/>
                  </a:cubicBezTo>
                  <a:cubicBezTo>
                    <a:pt x="28" y="194"/>
                    <a:pt x="49" y="195"/>
                    <a:pt x="68" y="195"/>
                  </a:cubicBezTo>
                  <a:cubicBezTo>
                    <a:pt x="69" y="195"/>
                    <a:pt x="70" y="193"/>
                    <a:pt x="68" y="193"/>
                  </a:cubicBezTo>
                  <a:close/>
                </a:path>
              </a:pathLst>
            </a:custGeom>
            <a:solidFill>
              <a:srgbClr val="1C1D1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854" name="Freeform 489">
              <a:extLst>
                <a:ext uri="{FF2B5EF4-FFF2-40B4-BE49-F238E27FC236}">
                  <a16:creationId xmlns:a16="http://schemas.microsoft.com/office/drawing/2014/main" id="{D9A4C651-3300-4842-B953-17BEBE08A53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586288" y="2781300"/>
              <a:ext cx="23813" cy="22225"/>
            </a:xfrm>
            <a:custGeom>
              <a:avLst/>
              <a:gdLst>
                <a:gd name="T0" fmla="*/ 2 w 14"/>
                <a:gd name="T1" fmla="*/ 5 h 13"/>
                <a:gd name="T2" fmla="*/ 10 w 14"/>
                <a:gd name="T3" fmla="*/ 12 h 13"/>
                <a:gd name="T4" fmla="*/ 12 w 14"/>
                <a:gd name="T5" fmla="*/ 9 h 13"/>
                <a:gd name="T6" fmla="*/ 5 w 14"/>
                <a:gd name="T7" fmla="*/ 2 h 13"/>
                <a:gd name="T8" fmla="*/ 2 w 14"/>
                <a:gd name="T9" fmla="*/ 5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" h="13">
                  <a:moveTo>
                    <a:pt x="2" y="5"/>
                  </a:moveTo>
                  <a:cubicBezTo>
                    <a:pt x="5" y="7"/>
                    <a:pt x="7" y="10"/>
                    <a:pt x="10" y="12"/>
                  </a:cubicBezTo>
                  <a:cubicBezTo>
                    <a:pt x="12" y="13"/>
                    <a:pt x="14" y="10"/>
                    <a:pt x="12" y="9"/>
                  </a:cubicBezTo>
                  <a:cubicBezTo>
                    <a:pt x="10" y="6"/>
                    <a:pt x="7" y="4"/>
                    <a:pt x="5" y="2"/>
                  </a:cubicBezTo>
                  <a:cubicBezTo>
                    <a:pt x="3" y="0"/>
                    <a:pt x="0" y="3"/>
                    <a:pt x="2" y="5"/>
                  </a:cubicBezTo>
                  <a:close/>
                </a:path>
              </a:pathLst>
            </a:custGeom>
            <a:solidFill>
              <a:srgbClr val="1C1D1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855" name="Freeform 490">
              <a:extLst>
                <a:ext uri="{FF2B5EF4-FFF2-40B4-BE49-F238E27FC236}">
                  <a16:creationId xmlns:a16="http://schemas.microsoft.com/office/drawing/2014/main" id="{85366CC3-0B5D-459F-A939-3C9BC401A7C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625975" y="2782888"/>
              <a:ext cx="30163" cy="23813"/>
            </a:xfrm>
            <a:custGeom>
              <a:avLst/>
              <a:gdLst>
                <a:gd name="T0" fmla="*/ 1 w 18"/>
                <a:gd name="T1" fmla="*/ 5 h 14"/>
                <a:gd name="T2" fmla="*/ 16 w 18"/>
                <a:gd name="T3" fmla="*/ 14 h 14"/>
                <a:gd name="T4" fmla="*/ 16 w 18"/>
                <a:gd name="T5" fmla="*/ 10 h 14"/>
                <a:gd name="T6" fmla="*/ 5 w 18"/>
                <a:gd name="T7" fmla="*/ 3 h 14"/>
                <a:gd name="T8" fmla="*/ 1 w 18"/>
                <a:gd name="T9" fmla="*/ 5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" h="14">
                  <a:moveTo>
                    <a:pt x="1" y="5"/>
                  </a:moveTo>
                  <a:cubicBezTo>
                    <a:pt x="5" y="10"/>
                    <a:pt x="10" y="13"/>
                    <a:pt x="16" y="14"/>
                  </a:cubicBezTo>
                  <a:cubicBezTo>
                    <a:pt x="18" y="14"/>
                    <a:pt x="18" y="11"/>
                    <a:pt x="16" y="10"/>
                  </a:cubicBezTo>
                  <a:cubicBezTo>
                    <a:pt x="12" y="9"/>
                    <a:pt x="8" y="6"/>
                    <a:pt x="5" y="3"/>
                  </a:cubicBezTo>
                  <a:cubicBezTo>
                    <a:pt x="3" y="0"/>
                    <a:pt x="0" y="3"/>
                    <a:pt x="1" y="5"/>
                  </a:cubicBezTo>
                  <a:close/>
                </a:path>
              </a:pathLst>
            </a:custGeom>
            <a:solidFill>
              <a:srgbClr val="1C1D1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856" name="Freeform 491">
              <a:extLst>
                <a:ext uri="{FF2B5EF4-FFF2-40B4-BE49-F238E27FC236}">
                  <a16:creationId xmlns:a16="http://schemas.microsoft.com/office/drawing/2014/main" id="{FD74337F-00DA-4F6D-962A-E9C738C2541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649788" y="2365375"/>
              <a:ext cx="496888" cy="354013"/>
            </a:xfrm>
            <a:custGeom>
              <a:avLst/>
              <a:gdLst>
                <a:gd name="T0" fmla="*/ 289 w 296"/>
                <a:gd name="T1" fmla="*/ 207 h 210"/>
                <a:gd name="T2" fmla="*/ 291 w 296"/>
                <a:gd name="T3" fmla="*/ 168 h 210"/>
                <a:gd name="T4" fmla="*/ 294 w 296"/>
                <a:gd name="T5" fmla="*/ 134 h 210"/>
                <a:gd name="T6" fmla="*/ 287 w 296"/>
                <a:gd name="T7" fmla="*/ 78 h 210"/>
                <a:gd name="T8" fmla="*/ 186 w 296"/>
                <a:gd name="T9" fmla="*/ 25 h 210"/>
                <a:gd name="T10" fmla="*/ 62 w 296"/>
                <a:gd name="T11" fmla="*/ 26 h 210"/>
                <a:gd name="T12" fmla="*/ 2 w 296"/>
                <a:gd name="T13" fmla="*/ 137 h 210"/>
                <a:gd name="T14" fmla="*/ 10 w 296"/>
                <a:gd name="T15" fmla="*/ 141 h 210"/>
                <a:gd name="T16" fmla="*/ 62 w 296"/>
                <a:gd name="T17" fmla="*/ 39 h 210"/>
                <a:gd name="T18" fmla="*/ 143 w 296"/>
                <a:gd name="T19" fmla="*/ 25 h 210"/>
                <a:gd name="T20" fmla="*/ 209 w 296"/>
                <a:gd name="T21" fmla="*/ 39 h 210"/>
                <a:gd name="T22" fmla="*/ 288 w 296"/>
                <a:gd name="T23" fmla="*/ 120 h 210"/>
                <a:gd name="T24" fmla="*/ 289 w 296"/>
                <a:gd name="T25" fmla="*/ 210 h 210"/>
                <a:gd name="T26" fmla="*/ 292 w 296"/>
                <a:gd name="T27" fmla="*/ 209 h 210"/>
                <a:gd name="T28" fmla="*/ 292 w 296"/>
                <a:gd name="T29" fmla="*/ 208 h 210"/>
                <a:gd name="T30" fmla="*/ 289 w 296"/>
                <a:gd name="T31" fmla="*/ 207 h 2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96" h="210">
                  <a:moveTo>
                    <a:pt x="289" y="207"/>
                  </a:moveTo>
                  <a:cubicBezTo>
                    <a:pt x="294" y="202"/>
                    <a:pt x="290" y="174"/>
                    <a:pt x="291" y="168"/>
                  </a:cubicBezTo>
                  <a:cubicBezTo>
                    <a:pt x="291" y="156"/>
                    <a:pt x="293" y="145"/>
                    <a:pt x="294" y="134"/>
                  </a:cubicBezTo>
                  <a:cubicBezTo>
                    <a:pt x="296" y="115"/>
                    <a:pt x="295" y="95"/>
                    <a:pt x="287" y="78"/>
                  </a:cubicBezTo>
                  <a:cubicBezTo>
                    <a:pt x="269" y="44"/>
                    <a:pt x="220" y="32"/>
                    <a:pt x="186" y="25"/>
                  </a:cubicBezTo>
                  <a:cubicBezTo>
                    <a:pt x="150" y="16"/>
                    <a:pt x="95" y="0"/>
                    <a:pt x="62" y="26"/>
                  </a:cubicBezTo>
                  <a:cubicBezTo>
                    <a:pt x="29" y="53"/>
                    <a:pt x="19" y="100"/>
                    <a:pt x="2" y="137"/>
                  </a:cubicBezTo>
                  <a:cubicBezTo>
                    <a:pt x="0" y="142"/>
                    <a:pt x="7" y="146"/>
                    <a:pt x="10" y="141"/>
                  </a:cubicBezTo>
                  <a:cubicBezTo>
                    <a:pt x="26" y="107"/>
                    <a:pt x="36" y="67"/>
                    <a:pt x="62" y="39"/>
                  </a:cubicBezTo>
                  <a:cubicBezTo>
                    <a:pt x="83" y="16"/>
                    <a:pt x="115" y="21"/>
                    <a:pt x="143" y="25"/>
                  </a:cubicBezTo>
                  <a:cubicBezTo>
                    <a:pt x="165" y="29"/>
                    <a:pt x="187" y="33"/>
                    <a:pt x="209" y="39"/>
                  </a:cubicBezTo>
                  <a:cubicBezTo>
                    <a:pt x="251" y="51"/>
                    <a:pt x="289" y="71"/>
                    <a:pt x="288" y="120"/>
                  </a:cubicBezTo>
                  <a:cubicBezTo>
                    <a:pt x="288" y="132"/>
                    <a:pt x="272" y="205"/>
                    <a:pt x="289" y="210"/>
                  </a:cubicBezTo>
                  <a:cubicBezTo>
                    <a:pt x="290" y="210"/>
                    <a:pt x="291" y="210"/>
                    <a:pt x="292" y="209"/>
                  </a:cubicBezTo>
                  <a:cubicBezTo>
                    <a:pt x="292" y="208"/>
                    <a:pt x="292" y="208"/>
                    <a:pt x="292" y="208"/>
                  </a:cubicBezTo>
                  <a:cubicBezTo>
                    <a:pt x="292" y="207"/>
                    <a:pt x="290" y="205"/>
                    <a:pt x="289" y="207"/>
                  </a:cubicBezTo>
                  <a:close/>
                </a:path>
              </a:pathLst>
            </a:custGeom>
            <a:solidFill>
              <a:srgbClr val="1C1D1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857" name="Freeform 492">
              <a:extLst>
                <a:ext uri="{FF2B5EF4-FFF2-40B4-BE49-F238E27FC236}">
                  <a16:creationId xmlns:a16="http://schemas.microsoft.com/office/drawing/2014/main" id="{3F973BF3-B4C0-46FC-900F-38B72095DA7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818063" y="2362200"/>
              <a:ext cx="261938" cy="84138"/>
            </a:xfrm>
            <a:custGeom>
              <a:avLst/>
              <a:gdLst>
                <a:gd name="T0" fmla="*/ 7 w 156"/>
                <a:gd name="T1" fmla="*/ 18 h 50"/>
                <a:gd name="T2" fmla="*/ 84 w 156"/>
                <a:gd name="T3" fmla="*/ 9 h 50"/>
                <a:gd name="T4" fmla="*/ 148 w 156"/>
                <a:gd name="T5" fmla="*/ 47 h 50"/>
                <a:gd name="T6" fmla="*/ 154 w 156"/>
                <a:gd name="T7" fmla="*/ 43 h 50"/>
                <a:gd name="T8" fmla="*/ 88 w 156"/>
                <a:gd name="T9" fmla="*/ 4 h 50"/>
                <a:gd name="T10" fmla="*/ 34 w 156"/>
                <a:gd name="T11" fmla="*/ 2 h 50"/>
                <a:gd name="T12" fmla="*/ 3 w 156"/>
                <a:gd name="T13" fmla="*/ 15 h 50"/>
                <a:gd name="T14" fmla="*/ 7 w 156"/>
                <a:gd name="T15" fmla="*/ 18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56" h="50">
                  <a:moveTo>
                    <a:pt x="7" y="18"/>
                  </a:moveTo>
                  <a:cubicBezTo>
                    <a:pt x="21" y="0"/>
                    <a:pt x="63" y="7"/>
                    <a:pt x="84" y="9"/>
                  </a:cubicBezTo>
                  <a:cubicBezTo>
                    <a:pt x="109" y="13"/>
                    <a:pt x="134" y="24"/>
                    <a:pt x="148" y="47"/>
                  </a:cubicBezTo>
                  <a:cubicBezTo>
                    <a:pt x="150" y="50"/>
                    <a:pt x="156" y="47"/>
                    <a:pt x="154" y="43"/>
                  </a:cubicBezTo>
                  <a:cubicBezTo>
                    <a:pt x="143" y="19"/>
                    <a:pt x="112" y="7"/>
                    <a:pt x="88" y="4"/>
                  </a:cubicBezTo>
                  <a:cubicBezTo>
                    <a:pt x="70" y="2"/>
                    <a:pt x="52" y="3"/>
                    <a:pt x="34" y="2"/>
                  </a:cubicBezTo>
                  <a:cubicBezTo>
                    <a:pt x="22" y="2"/>
                    <a:pt x="10" y="5"/>
                    <a:pt x="3" y="15"/>
                  </a:cubicBezTo>
                  <a:cubicBezTo>
                    <a:pt x="0" y="18"/>
                    <a:pt x="5" y="21"/>
                    <a:pt x="7" y="18"/>
                  </a:cubicBezTo>
                  <a:close/>
                </a:path>
              </a:pathLst>
            </a:custGeom>
            <a:solidFill>
              <a:srgbClr val="1C1D1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858" name="Freeform 493">
              <a:extLst>
                <a:ext uri="{FF2B5EF4-FFF2-40B4-BE49-F238E27FC236}">
                  <a16:creationId xmlns:a16="http://schemas.microsoft.com/office/drawing/2014/main" id="{408ED5DB-CB3B-41D9-B080-E630CE1BCFD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283325" y="2728913"/>
              <a:ext cx="269875" cy="246063"/>
            </a:xfrm>
            <a:custGeom>
              <a:avLst/>
              <a:gdLst>
                <a:gd name="T0" fmla="*/ 5 w 161"/>
                <a:gd name="T1" fmla="*/ 144 h 146"/>
                <a:gd name="T2" fmla="*/ 39 w 161"/>
                <a:gd name="T3" fmla="*/ 51 h 146"/>
                <a:gd name="T4" fmla="*/ 157 w 161"/>
                <a:gd name="T5" fmla="*/ 14 h 146"/>
                <a:gd name="T6" fmla="*/ 157 w 161"/>
                <a:gd name="T7" fmla="*/ 7 h 146"/>
                <a:gd name="T8" fmla="*/ 48 w 161"/>
                <a:gd name="T9" fmla="*/ 26 h 146"/>
                <a:gd name="T10" fmla="*/ 26 w 161"/>
                <a:gd name="T11" fmla="*/ 69 h 146"/>
                <a:gd name="T12" fmla="*/ 1 w 161"/>
                <a:gd name="T13" fmla="*/ 141 h 146"/>
                <a:gd name="T14" fmla="*/ 5 w 161"/>
                <a:gd name="T15" fmla="*/ 144 h 1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61" h="146">
                  <a:moveTo>
                    <a:pt x="5" y="144"/>
                  </a:moveTo>
                  <a:cubicBezTo>
                    <a:pt x="27" y="116"/>
                    <a:pt x="25" y="82"/>
                    <a:pt x="39" y="51"/>
                  </a:cubicBezTo>
                  <a:cubicBezTo>
                    <a:pt x="61" y="5"/>
                    <a:pt x="115" y="13"/>
                    <a:pt x="157" y="14"/>
                  </a:cubicBezTo>
                  <a:cubicBezTo>
                    <a:pt x="160" y="14"/>
                    <a:pt x="161" y="8"/>
                    <a:pt x="157" y="7"/>
                  </a:cubicBezTo>
                  <a:cubicBezTo>
                    <a:pt x="122" y="2"/>
                    <a:pt x="76" y="0"/>
                    <a:pt x="48" y="26"/>
                  </a:cubicBezTo>
                  <a:cubicBezTo>
                    <a:pt x="35" y="37"/>
                    <a:pt x="30" y="54"/>
                    <a:pt x="26" y="69"/>
                  </a:cubicBezTo>
                  <a:cubicBezTo>
                    <a:pt x="19" y="95"/>
                    <a:pt x="11" y="117"/>
                    <a:pt x="1" y="141"/>
                  </a:cubicBezTo>
                  <a:cubicBezTo>
                    <a:pt x="0" y="144"/>
                    <a:pt x="3" y="146"/>
                    <a:pt x="5" y="144"/>
                  </a:cubicBezTo>
                  <a:close/>
                </a:path>
              </a:pathLst>
            </a:custGeom>
            <a:solidFill>
              <a:srgbClr val="1C1D1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859" name="Freeform 494">
              <a:extLst>
                <a:ext uri="{FF2B5EF4-FFF2-40B4-BE49-F238E27FC236}">
                  <a16:creationId xmlns:a16="http://schemas.microsoft.com/office/drawing/2014/main" id="{FFDC6C8B-2980-4D54-B6DD-9AE0FBA3B62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81775" y="2749550"/>
              <a:ext cx="182563" cy="257175"/>
            </a:xfrm>
            <a:custGeom>
              <a:avLst/>
              <a:gdLst>
                <a:gd name="T0" fmla="*/ 2 w 108"/>
                <a:gd name="T1" fmla="*/ 3 h 153"/>
                <a:gd name="T2" fmla="*/ 46 w 108"/>
                <a:gd name="T3" fmla="*/ 12 h 153"/>
                <a:gd name="T4" fmla="*/ 95 w 108"/>
                <a:gd name="T5" fmla="*/ 41 h 153"/>
                <a:gd name="T6" fmla="*/ 95 w 108"/>
                <a:gd name="T7" fmla="*/ 100 h 153"/>
                <a:gd name="T8" fmla="*/ 99 w 108"/>
                <a:gd name="T9" fmla="*/ 149 h 153"/>
                <a:gd name="T10" fmla="*/ 107 w 108"/>
                <a:gd name="T11" fmla="*/ 146 h 153"/>
                <a:gd name="T12" fmla="*/ 106 w 108"/>
                <a:gd name="T13" fmla="*/ 75 h 153"/>
                <a:gd name="T14" fmla="*/ 96 w 108"/>
                <a:gd name="T15" fmla="*/ 33 h 153"/>
                <a:gd name="T16" fmla="*/ 58 w 108"/>
                <a:gd name="T17" fmla="*/ 11 h 153"/>
                <a:gd name="T18" fmla="*/ 3 w 108"/>
                <a:gd name="T19" fmla="*/ 0 h 153"/>
                <a:gd name="T20" fmla="*/ 2 w 108"/>
                <a:gd name="T21" fmla="*/ 3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08" h="153">
                  <a:moveTo>
                    <a:pt x="2" y="3"/>
                  </a:moveTo>
                  <a:cubicBezTo>
                    <a:pt x="15" y="10"/>
                    <a:pt x="32" y="7"/>
                    <a:pt x="46" y="12"/>
                  </a:cubicBezTo>
                  <a:cubicBezTo>
                    <a:pt x="60" y="17"/>
                    <a:pt x="87" y="28"/>
                    <a:pt x="95" y="41"/>
                  </a:cubicBezTo>
                  <a:cubicBezTo>
                    <a:pt x="106" y="58"/>
                    <a:pt x="98" y="82"/>
                    <a:pt x="95" y="100"/>
                  </a:cubicBezTo>
                  <a:cubicBezTo>
                    <a:pt x="93" y="117"/>
                    <a:pt x="92" y="133"/>
                    <a:pt x="99" y="149"/>
                  </a:cubicBezTo>
                  <a:cubicBezTo>
                    <a:pt x="101" y="153"/>
                    <a:pt x="108" y="150"/>
                    <a:pt x="107" y="146"/>
                  </a:cubicBezTo>
                  <a:cubicBezTo>
                    <a:pt x="100" y="122"/>
                    <a:pt x="104" y="100"/>
                    <a:pt x="106" y="75"/>
                  </a:cubicBezTo>
                  <a:cubicBezTo>
                    <a:pt x="106" y="61"/>
                    <a:pt x="106" y="45"/>
                    <a:pt x="96" y="33"/>
                  </a:cubicBezTo>
                  <a:cubicBezTo>
                    <a:pt x="87" y="22"/>
                    <a:pt x="70" y="17"/>
                    <a:pt x="58" y="11"/>
                  </a:cubicBezTo>
                  <a:cubicBezTo>
                    <a:pt x="40" y="3"/>
                    <a:pt x="22" y="5"/>
                    <a:pt x="3" y="0"/>
                  </a:cubicBezTo>
                  <a:cubicBezTo>
                    <a:pt x="2" y="0"/>
                    <a:pt x="0" y="2"/>
                    <a:pt x="2" y="3"/>
                  </a:cubicBezTo>
                  <a:close/>
                </a:path>
              </a:pathLst>
            </a:custGeom>
            <a:solidFill>
              <a:srgbClr val="1C1D1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860" name="Freeform 495">
              <a:extLst>
                <a:ext uri="{FF2B5EF4-FFF2-40B4-BE49-F238E27FC236}">
                  <a16:creationId xmlns:a16="http://schemas.microsoft.com/office/drawing/2014/main" id="{28205A95-2FDD-4EA5-BF1A-54FB9F3B0F8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402388" y="2705100"/>
              <a:ext cx="327025" cy="100013"/>
            </a:xfrm>
            <a:custGeom>
              <a:avLst/>
              <a:gdLst>
                <a:gd name="T0" fmla="*/ 5 w 195"/>
                <a:gd name="T1" fmla="*/ 29 h 59"/>
                <a:gd name="T2" fmla="*/ 48 w 195"/>
                <a:gd name="T3" fmla="*/ 10 h 59"/>
                <a:gd name="T4" fmla="*/ 99 w 195"/>
                <a:gd name="T5" fmla="*/ 13 h 59"/>
                <a:gd name="T6" fmla="*/ 188 w 195"/>
                <a:gd name="T7" fmla="*/ 56 h 59"/>
                <a:gd name="T8" fmla="*/ 194 w 195"/>
                <a:gd name="T9" fmla="*/ 53 h 59"/>
                <a:gd name="T10" fmla="*/ 107 w 195"/>
                <a:gd name="T11" fmla="*/ 7 h 59"/>
                <a:gd name="T12" fmla="*/ 54 w 195"/>
                <a:gd name="T13" fmla="*/ 2 h 59"/>
                <a:gd name="T14" fmla="*/ 2 w 195"/>
                <a:gd name="T15" fmla="*/ 25 h 59"/>
                <a:gd name="T16" fmla="*/ 5 w 195"/>
                <a:gd name="T17" fmla="*/ 29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5" h="59">
                  <a:moveTo>
                    <a:pt x="5" y="29"/>
                  </a:moveTo>
                  <a:cubicBezTo>
                    <a:pt x="18" y="21"/>
                    <a:pt x="33" y="13"/>
                    <a:pt x="48" y="10"/>
                  </a:cubicBezTo>
                  <a:cubicBezTo>
                    <a:pt x="66" y="6"/>
                    <a:pt x="82" y="11"/>
                    <a:pt x="99" y="13"/>
                  </a:cubicBezTo>
                  <a:cubicBezTo>
                    <a:pt x="135" y="17"/>
                    <a:pt x="169" y="22"/>
                    <a:pt x="188" y="56"/>
                  </a:cubicBezTo>
                  <a:cubicBezTo>
                    <a:pt x="190" y="59"/>
                    <a:pt x="195" y="56"/>
                    <a:pt x="194" y="53"/>
                  </a:cubicBezTo>
                  <a:cubicBezTo>
                    <a:pt x="181" y="18"/>
                    <a:pt x="140" y="9"/>
                    <a:pt x="107" y="7"/>
                  </a:cubicBezTo>
                  <a:cubicBezTo>
                    <a:pt x="90" y="5"/>
                    <a:pt x="72" y="0"/>
                    <a:pt x="54" y="2"/>
                  </a:cubicBezTo>
                  <a:cubicBezTo>
                    <a:pt x="35" y="4"/>
                    <a:pt x="18" y="14"/>
                    <a:pt x="2" y="25"/>
                  </a:cubicBezTo>
                  <a:cubicBezTo>
                    <a:pt x="0" y="26"/>
                    <a:pt x="2" y="30"/>
                    <a:pt x="5" y="29"/>
                  </a:cubicBezTo>
                  <a:close/>
                </a:path>
              </a:pathLst>
            </a:custGeom>
            <a:solidFill>
              <a:srgbClr val="1C1D1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861" name="Freeform 496">
              <a:extLst>
                <a:ext uri="{FF2B5EF4-FFF2-40B4-BE49-F238E27FC236}">
                  <a16:creationId xmlns:a16="http://schemas.microsoft.com/office/drawing/2014/main" id="{255A4977-FD4F-45E8-9CAC-E755C4D5A3C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688138" y="2813050"/>
              <a:ext cx="41275" cy="30163"/>
            </a:xfrm>
            <a:custGeom>
              <a:avLst/>
              <a:gdLst>
                <a:gd name="T0" fmla="*/ 3 w 25"/>
                <a:gd name="T1" fmla="*/ 6 h 18"/>
                <a:gd name="T2" fmla="*/ 22 w 25"/>
                <a:gd name="T3" fmla="*/ 17 h 18"/>
                <a:gd name="T4" fmla="*/ 24 w 25"/>
                <a:gd name="T5" fmla="*/ 14 h 18"/>
                <a:gd name="T6" fmla="*/ 5 w 25"/>
                <a:gd name="T7" fmla="*/ 2 h 18"/>
                <a:gd name="T8" fmla="*/ 3 w 25"/>
                <a:gd name="T9" fmla="*/ 6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5" h="18">
                  <a:moveTo>
                    <a:pt x="3" y="6"/>
                  </a:moveTo>
                  <a:cubicBezTo>
                    <a:pt x="9" y="9"/>
                    <a:pt x="15" y="13"/>
                    <a:pt x="22" y="17"/>
                  </a:cubicBezTo>
                  <a:cubicBezTo>
                    <a:pt x="23" y="18"/>
                    <a:pt x="25" y="15"/>
                    <a:pt x="24" y="14"/>
                  </a:cubicBezTo>
                  <a:cubicBezTo>
                    <a:pt x="19" y="8"/>
                    <a:pt x="11" y="5"/>
                    <a:pt x="5" y="2"/>
                  </a:cubicBezTo>
                  <a:cubicBezTo>
                    <a:pt x="2" y="0"/>
                    <a:pt x="0" y="5"/>
                    <a:pt x="3" y="6"/>
                  </a:cubicBezTo>
                  <a:close/>
                </a:path>
              </a:pathLst>
            </a:custGeom>
            <a:solidFill>
              <a:srgbClr val="1C1D1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862" name="Freeform 497">
              <a:extLst>
                <a:ext uri="{FF2B5EF4-FFF2-40B4-BE49-F238E27FC236}">
                  <a16:creationId xmlns:a16="http://schemas.microsoft.com/office/drawing/2014/main" id="{B230B9CF-6910-412B-806E-52E041F7727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686550" y="2841625"/>
              <a:ext cx="36513" cy="22225"/>
            </a:xfrm>
            <a:custGeom>
              <a:avLst/>
              <a:gdLst>
                <a:gd name="T0" fmla="*/ 2 w 22"/>
                <a:gd name="T1" fmla="*/ 4 h 13"/>
                <a:gd name="T2" fmla="*/ 16 w 22"/>
                <a:gd name="T3" fmla="*/ 12 h 13"/>
                <a:gd name="T4" fmla="*/ 19 w 22"/>
                <a:gd name="T5" fmla="*/ 6 h 13"/>
                <a:gd name="T6" fmla="*/ 4 w 22"/>
                <a:gd name="T7" fmla="*/ 0 h 13"/>
                <a:gd name="T8" fmla="*/ 2 w 22"/>
                <a:gd name="T9" fmla="*/ 4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" h="13">
                  <a:moveTo>
                    <a:pt x="2" y="4"/>
                  </a:moveTo>
                  <a:cubicBezTo>
                    <a:pt x="7" y="6"/>
                    <a:pt x="11" y="9"/>
                    <a:pt x="16" y="12"/>
                  </a:cubicBezTo>
                  <a:cubicBezTo>
                    <a:pt x="19" y="13"/>
                    <a:pt x="22" y="9"/>
                    <a:pt x="19" y="6"/>
                  </a:cubicBezTo>
                  <a:cubicBezTo>
                    <a:pt x="14" y="3"/>
                    <a:pt x="9" y="1"/>
                    <a:pt x="4" y="0"/>
                  </a:cubicBezTo>
                  <a:cubicBezTo>
                    <a:pt x="1" y="0"/>
                    <a:pt x="0" y="3"/>
                    <a:pt x="2" y="4"/>
                  </a:cubicBezTo>
                  <a:close/>
                </a:path>
              </a:pathLst>
            </a:custGeom>
            <a:solidFill>
              <a:srgbClr val="1C1D1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863" name="Freeform 498">
              <a:extLst>
                <a:ext uri="{FF2B5EF4-FFF2-40B4-BE49-F238E27FC236}">
                  <a16:creationId xmlns:a16="http://schemas.microsoft.com/office/drawing/2014/main" id="{2FB1C195-C0B6-4DEF-B178-3184D16B660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694488" y="2879725"/>
              <a:ext cx="25400" cy="22225"/>
            </a:xfrm>
            <a:custGeom>
              <a:avLst/>
              <a:gdLst>
                <a:gd name="T0" fmla="*/ 2 w 15"/>
                <a:gd name="T1" fmla="*/ 6 h 13"/>
                <a:gd name="T2" fmla="*/ 12 w 15"/>
                <a:gd name="T3" fmla="*/ 13 h 13"/>
                <a:gd name="T4" fmla="*/ 14 w 15"/>
                <a:gd name="T5" fmla="*/ 10 h 13"/>
                <a:gd name="T6" fmla="*/ 5 w 15"/>
                <a:gd name="T7" fmla="*/ 1 h 13"/>
                <a:gd name="T8" fmla="*/ 1 w 15"/>
                <a:gd name="T9" fmla="*/ 2 h 13"/>
                <a:gd name="T10" fmla="*/ 2 w 15"/>
                <a:gd name="T11" fmla="*/ 6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5" h="13">
                  <a:moveTo>
                    <a:pt x="2" y="6"/>
                  </a:moveTo>
                  <a:cubicBezTo>
                    <a:pt x="5" y="9"/>
                    <a:pt x="8" y="12"/>
                    <a:pt x="12" y="13"/>
                  </a:cubicBezTo>
                  <a:cubicBezTo>
                    <a:pt x="14" y="13"/>
                    <a:pt x="15" y="11"/>
                    <a:pt x="14" y="10"/>
                  </a:cubicBezTo>
                  <a:cubicBezTo>
                    <a:pt x="12" y="6"/>
                    <a:pt x="8" y="4"/>
                    <a:pt x="5" y="1"/>
                  </a:cubicBezTo>
                  <a:cubicBezTo>
                    <a:pt x="4" y="0"/>
                    <a:pt x="2" y="1"/>
                    <a:pt x="1" y="2"/>
                  </a:cubicBezTo>
                  <a:cubicBezTo>
                    <a:pt x="0" y="4"/>
                    <a:pt x="1" y="5"/>
                    <a:pt x="2" y="6"/>
                  </a:cubicBezTo>
                  <a:close/>
                </a:path>
              </a:pathLst>
            </a:custGeom>
            <a:solidFill>
              <a:srgbClr val="1C1D1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864" name="Freeform 499">
              <a:extLst>
                <a:ext uri="{FF2B5EF4-FFF2-40B4-BE49-F238E27FC236}">
                  <a16:creationId xmlns:a16="http://schemas.microsoft.com/office/drawing/2014/main" id="{787D4561-BD91-4DCF-BD9B-F91C9EE989B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692900" y="2909888"/>
              <a:ext cx="17463" cy="20638"/>
            </a:xfrm>
            <a:custGeom>
              <a:avLst/>
              <a:gdLst>
                <a:gd name="T0" fmla="*/ 2 w 10"/>
                <a:gd name="T1" fmla="*/ 7 h 12"/>
                <a:gd name="T2" fmla="*/ 5 w 10"/>
                <a:gd name="T3" fmla="*/ 10 h 12"/>
                <a:gd name="T4" fmla="*/ 8 w 10"/>
                <a:gd name="T5" fmla="*/ 8 h 12"/>
                <a:gd name="T6" fmla="*/ 6 w 10"/>
                <a:gd name="T7" fmla="*/ 4 h 12"/>
                <a:gd name="T8" fmla="*/ 2 w 10"/>
                <a:gd name="T9" fmla="*/ 7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" h="12">
                  <a:moveTo>
                    <a:pt x="2" y="7"/>
                  </a:moveTo>
                  <a:cubicBezTo>
                    <a:pt x="3" y="8"/>
                    <a:pt x="4" y="9"/>
                    <a:pt x="5" y="10"/>
                  </a:cubicBezTo>
                  <a:cubicBezTo>
                    <a:pt x="7" y="12"/>
                    <a:pt x="10" y="10"/>
                    <a:pt x="8" y="8"/>
                  </a:cubicBezTo>
                  <a:cubicBezTo>
                    <a:pt x="8" y="6"/>
                    <a:pt x="7" y="5"/>
                    <a:pt x="6" y="4"/>
                  </a:cubicBezTo>
                  <a:cubicBezTo>
                    <a:pt x="5" y="0"/>
                    <a:pt x="0" y="4"/>
                    <a:pt x="2" y="7"/>
                  </a:cubicBezTo>
                  <a:close/>
                </a:path>
              </a:pathLst>
            </a:custGeom>
            <a:solidFill>
              <a:srgbClr val="1C1D1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865" name="Freeform 500">
              <a:extLst>
                <a:ext uri="{FF2B5EF4-FFF2-40B4-BE49-F238E27FC236}">
                  <a16:creationId xmlns:a16="http://schemas.microsoft.com/office/drawing/2014/main" id="{8F146807-D074-42C3-AEBB-8EDA7F04C69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046663" y="2489200"/>
              <a:ext cx="39688" cy="30163"/>
            </a:xfrm>
            <a:custGeom>
              <a:avLst/>
              <a:gdLst>
                <a:gd name="T0" fmla="*/ 3 w 24"/>
                <a:gd name="T1" fmla="*/ 6 h 18"/>
                <a:gd name="T2" fmla="*/ 19 w 24"/>
                <a:gd name="T3" fmla="*/ 17 h 18"/>
                <a:gd name="T4" fmla="*/ 21 w 24"/>
                <a:gd name="T5" fmla="*/ 12 h 18"/>
                <a:gd name="T6" fmla="*/ 6 w 24"/>
                <a:gd name="T7" fmla="*/ 2 h 18"/>
                <a:gd name="T8" fmla="*/ 3 w 24"/>
                <a:gd name="T9" fmla="*/ 6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" h="18">
                  <a:moveTo>
                    <a:pt x="3" y="6"/>
                  </a:moveTo>
                  <a:cubicBezTo>
                    <a:pt x="8" y="10"/>
                    <a:pt x="13" y="14"/>
                    <a:pt x="19" y="17"/>
                  </a:cubicBezTo>
                  <a:cubicBezTo>
                    <a:pt x="22" y="18"/>
                    <a:pt x="24" y="14"/>
                    <a:pt x="21" y="12"/>
                  </a:cubicBezTo>
                  <a:cubicBezTo>
                    <a:pt x="16" y="9"/>
                    <a:pt x="11" y="5"/>
                    <a:pt x="6" y="2"/>
                  </a:cubicBezTo>
                  <a:cubicBezTo>
                    <a:pt x="3" y="0"/>
                    <a:pt x="0" y="4"/>
                    <a:pt x="3" y="6"/>
                  </a:cubicBezTo>
                  <a:close/>
                </a:path>
              </a:pathLst>
            </a:custGeom>
            <a:solidFill>
              <a:srgbClr val="1C1D1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866" name="Freeform 501">
              <a:extLst>
                <a:ext uri="{FF2B5EF4-FFF2-40B4-BE49-F238E27FC236}">
                  <a16:creationId xmlns:a16="http://schemas.microsoft.com/office/drawing/2014/main" id="{AE81EF4A-9616-4941-AEEB-CF64D3917AA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060950" y="2528888"/>
              <a:ext cx="26988" cy="23813"/>
            </a:xfrm>
            <a:custGeom>
              <a:avLst/>
              <a:gdLst>
                <a:gd name="T0" fmla="*/ 2 w 16"/>
                <a:gd name="T1" fmla="*/ 7 h 14"/>
                <a:gd name="T2" fmla="*/ 10 w 16"/>
                <a:gd name="T3" fmla="*/ 12 h 14"/>
                <a:gd name="T4" fmla="*/ 13 w 16"/>
                <a:gd name="T5" fmla="*/ 8 h 14"/>
                <a:gd name="T6" fmla="*/ 5 w 16"/>
                <a:gd name="T7" fmla="*/ 3 h 14"/>
                <a:gd name="T8" fmla="*/ 2 w 16"/>
                <a:gd name="T9" fmla="*/ 7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" h="14">
                  <a:moveTo>
                    <a:pt x="2" y="7"/>
                  </a:moveTo>
                  <a:cubicBezTo>
                    <a:pt x="5" y="9"/>
                    <a:pt x="8" y="10"/>
                    <a:pt x="10" y="12"/>
                  </a:cubicBezTo>
                  <a:cubicBezTo>
                    <a:pt x="13" y="14"/>
                    <a:pt x="16" y="10"/>
                    <a:pt x="13" y="8"/>
                  </a:cubicBezTo>
                  <a:cubicBezTo>
                    <a:pt x="11" y="6"/>
                    <a:pt x="8" y="4"/>
                    <a:pt x="5" y="3"/>
                  </a:cubicBezTo>
                  <a:cubicBezTo>
                    <a:pt x="3" y="0"/>
                    <a:pt x="0" y="5"/>
                    <a:pt x="2" y="7"/>
                  </a:cubicBezTo>
                  <a:close/>
                </a:path>
              </a:pathLst>
            </a:custGeom>
            <a:solidFill>
              <a:srgbClr val="1C1D1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867" name="Freeform 502">
              <a:extLst>
                <a:ext uri="{FF2B5EF4-FFF2-40B4-BE49-F238E27FC236}">
                  <a16:creationId xmlns:a16="http://schemas.microsoft.com/office/drawing/2014/main" id="{66F683EE-2E49-46A7-8AB2-2B36EAECA89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181600" y="2782888"/>
              <a:ext cx="1019175" cy="227013"/>
            </a:xfrm>
            <a:custGeom>
              <a:avLst/>
              <a:gdLst>
                <a:gd name="T0" fmla="*/ 1 w 606"/>
                <a:gd name="T1" fmla="*/ 4 h 135"/>
                <a:gd name="T2" fmla="*/ 26 w 606"/>
                <a:gd name="T3" fmla="*/ 13 h 135"/>
                <a:gd name="T4" fmla="*/ 115 w 606"/>
                <a:gd name="T5" fmla="*/ 34 h 135"/>
                <a:gd name="T6" fmla="*/ 270 w 606"/>
                <a:gd name="T7" fmla="*/ 67 h 135"/>
                <a:gd name="T8" fmla="*/ 444 w 606"/>
                <a:gd name="T9" fmla="*/ 104 h 135"/>
                <a:gd name="T10" fmla="*/ 531 w 606"/>
                <a:gd name="T11" fmla="*/ 122 h 135"/>
                <a:gd name="T12" fmla="*/ 602 w 606"/>
                <a:gd name="T13" fmla="*/ 135 h 135"/>
                <a:gd name="T14" fmla="*/ 602 w 606"/>
                <a:gd name="T15" fmla="*/ 129 h 135"/>
                <a:gd name="T16" fmla="*/ 524 w 606"/>
                <a:gd name="T17" fmla="*/ 113 h 135"/>
                <a:gd name="T18" fmla="*/ 437 w 606"/>
                <a:gd name="T19" fmla="*/ 95 h 135"/>
                <a:gd name="T20" fmla="*/ 280 w 606"/>
                <a:gd name="T21" fmla="*/ 61 h 135"/>
                <a:gd name="T22" fmla="*/ 246 w 606"/>
                <a:gd name="T23" fmla="*/ 57 h 135"/>
                <a:gd name="T24" fmla="*/ 208 w 606"/>
                <a:gd name="T25" fmla="*/ 48 h 135"/>
                <a:gd name="T26" fmla="*/ 131 w 606"/>
                <a:gd name="T27" fmla="*/ 31 h 135"/>
                <a:gd name="T28" fmla="*/ 53 w 606"/>
                <a:gd name="T29" fmla="*/ 12 h 135"/>
                <a:gd name="T30" fmla="*/ 3 w 606"/>
                <a:gd name="T31" fmla="*/ 2 h 135"/>
                <a:gd name="T32" fmla="*/ 1 w 606"/>
                <a:gd name="T33" fmla="*/ 4 h 1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606" h="135">
                  <a:moveTo>
                    <a:pt x="1" y="4"/>
                  </a:moveTo>
                  <a:cubicBezTo>
                    <a:pt x="5" y="12"/>
                    <a:pt x="17" y="12"/>
                    <a:pt x="26" y="13"/>
                  </a:cubicBezTo>
                  <a:cubicBezTo>
                    <a:pt x="56" y="19"/>
                    <a:pt x="85" y="27"/>
                    <a:pt x="115" y="34"/>
                  </a:cubicBezTo>
                  <a:cubicBezTo>
                    <a:pt x="167" y="46"/>
                    <a:pt x="218" y="58"/>
                    <a:pt x="270" y="67"/>
                  </a:cubicBezTo>
                  <a:cubicBezTo>
                    <a:pt x="328" y="78"/>
                    <a:pt x="386" y="92"/>
                    <a:pt x="444" y="104"/>
                  </a:cubicBezTo>
                  <a:cubicBezTo>
                    <a:pt x="473" y="110"/>
                    <a:pt x="502" y="116"/>
                    <a:pt x="531" y="122"/>
                  </a:cubicBezTo>
                  <a:cubicBezTo>
                    <a:pt x="554" y="127"/>
                    <a:pt x="578" y="135"/>
                    <a:pt x="602" y="135"/>
                  </a:cubicBezTo>
                  <a:cubicBezTo>
                    <a:pt x="606" y="135"/>
                    <a:pt x="606" y="129"/>
                    <a:pt x="602" y="129"/>
                  </a:cubicBezTo>
                  <a:cubicBezTo>
                    <a:pt x="576" y="128"/>
                    <a:pt x="550" y="119"/>
                    <a:pt x="524" y="113"/>
                  </a:cubicBezTo>
                  <a:cubicBezTo>
                    <a:pt x="495" y="107"/>
                    <a:pt x="466" y="101"/>
                    <a:pt x="437" y="95"/>
                  </a:cubicBezTo>
                  <a:cubicBezTo>
                    <a:pt x="385" y="84"/>
                    <a:pt x="331" y="74"/>
                    <a:pt x="280" y="61"/>
                  </a:cubicBezTo>
                  <a:cubicBezTo>
                    <a:pt x="268" y="59"/>
                    <a:pt x="257" y="58"/>
                    <a:pt x="246" y="57"/>
                  </a:cubicBezTo>
                  <a:cubicBezTo>
                    <a:pt x="233" y="55"/>
                    <a:pt x="221" y="51"/>
                    <a:pt x="208" y="48"/>
                  </a:cubicBezTo>
                  <a:cubicBezTo>
                    <a:pt x="182" y="42"/>
                    <a:pt x="156" y="37"/>
                    <a:pt x="131" y="31"/>
                  </a:cubicBezTo>
                  <a:cubicBezTo>
                    <a:pt x="105" y="24"/>
                    <a:pt x="79" y="18"/>
                    <a:pt x="53" y="12"/>
                  </a:cubicBezTo>
                  <a:cubicBezTo>
                    <a:pt x="41" y="10"/>
                    <a:pt x="10" y="11"/>
                    <a:pt x="3" y="2"/>
                  </a:cubicBezTo>
                  <a:cubicBezTo>
                    <a:pt x="2" y="0"/>
                    <a:pt x="0" y="2"/>
                    <a:pt x="1" y="4"/>
                  </a:cubicBezTo>
                  <a:close/>
                </a:path>
              </a:pathLst>
            </a:custGeom>
            <a:solidFill>
              <a:srgbClr val="1C1D1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868" name="Freeform 503">
              <a:extLst>
                <a:ext uri="{FF2B5EF4-FFF2-40B4-BE49-F238E27FC236}">
                  <a16:creationId xmlns:a16="http://schemas.microsoft.com/office/drawing/2014/main" id="{6C3F8028-C0B7-498A-BAD6-3D2EDC7113F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119688" y="2686050"/>
              <a:ext cx="1201738" cy="266700"/>
            </a:xfrm>
            <a:custGeom>
              <a:avLst/>
              <a:gdLst>
                <a:gd name="T0" fmla="*/ 1 w 714"/>
                <a:gd name="T1" fmla="*/ 3 h 159"/>
                <a:gd name="T2" fmla="*/ 22 w 714"/>
                <a:gd name="T3" fmla="*/ 11 h 159"/>
                <a:gd name="T4" fmla="*/ 65 w 714"/>
                <a:gd name="T5" fmla="*/ 19 h 159"/>
                <a:gd name="T6" fmla="*/ 162 w 714"/>
                <a:gd name="T7" fmla="*/ 42 h 159"/>
                <a:gd name="T8" fmla="*/ 260 w 714"/>
                <a:gd name="T9" fmla="*/ 63 h 159"/>
                <a:gd name="T10" fmla="*/ 337 w 714"/>
                <a:gd name="T11" fmla="*/ 94 h 159"/>
                <a:gd name="T12" fmla="*/ 392 w 714"/>
                <a:gd name="T13" fmla="*/ 105 h 159"/>
                <a:gd name="T14" fmla="*/ 409 w 714"/>
                <a:gd name="T15" fmla="*/ 103 h 159"/>
                <a:gd name="T16" fmla="*/ 439 w 714"/>
                <a:gd name="T17" fmla="*/ 101 h 159"/>
                <a:gd name="T18" fmla="*/ 458 w 714"/>
                <a:gd name="T19" fmla="*/ 104 h 159"/>
                <a:gd name="T20" fmla="*/ 515 w 714"/>
                <a:gd name="T21" fmla="*/ 115 h 159"/>
                <a:gd name="T22" fmla="*/ 708 w 714"/>
                <a:gd name="T23" fmla="*/ 158 h 159"/>
                <a:gd name="T24" fmla="*/ 710 w 714"/>
                <a:gd name="T25" fmla="*/ 153 h 159"/>
                <a:gd name="T26" fmla="*/ 524 w 714"/>
                <a:gd name="T27" fmla="*/ 112 h 159"/>
                <a:gd name="T28" fmla="*/ 435 w 714"/>
                <a:gd name="T29" fmla="*/ 94 h 159"/>
                <a:gd name="T30" fmla="*/ 413 w 714"/>
                <a:gd name="T31" fmla="*/ 94 h 159"/>
                <a:gd name="T32" fmla="*/ 384 w 714"/>
                <a:gd name="T33" fmla="*/ 98 h 159"/>
                <a:gd name="T34" fmla="*/ 366 w 714"/>
                <a:gd name="T35" fmla="*/ 94 h 159"/>
                <a:gd name="T36" fmla="*/ 307 w 714"/>
                <a:gd name="T37" fmla="*/ 78 h 159"/>
                <a:gd name="T38" fmla="*/ 279 w 714"/>
                <a:gd name="T39" fmla="*/ 62 h 159"/>
                <a:gd name="T40" fmla="*/ 184 w 714"/>
                <a:gd name="T41" fmla="*/ 43 h 159"/>
                <a:gd name="T42" fmla="*/ 99 w 714"/>
                <a:gd name="T43" fmla="*/ 21 h 159"/>
                <a:gd name="T44" fmla="*/ 52 w 714"/>
                <a:gd name="T45" fmla="*/ 12 h 159"/>
                <a:gd name="T46" fmla="*/ 4 w 714"/>
                <a:gd name="T47" fmla="*/ 1 h 159"/>
                <a:gd name="T48" fmla="*/ 1 w 714"/>
                <a:gd name="T49" fmla="*/ 3 h 1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714" h="159">
                  <a:moveTo>
                    <a:pt x="1" y="3"/>
                  </a:moveTo>
                  <a:cubicBezTo>
                    <a:pt x="8" y="9"/>
                    <a:pt x="15" y="9"/>
                    <a:pt x="22" y="11"/>
                  </a:cubicBezTo>
                  <a:cubicBezTo>
                    <a:pt x="37" y="13"/>
                    <a:pt x="51" y="17"/>
                    <a:pt x="65" y="19"/>
                  </a:cubicBezTo>
                  <a:cubicBezTo>
                    <a:pt x="97" y="25"/>
                    <a:pt x="130" y="33"/>
                    <a:pt x="162" y="42"/>
                  </a:cubicBezTo>
                  <a:cubicBezTo>
                    <a:pt x="194" y="51"/>
                    <a:pt x="227" y="56"/>
                    <a:pt x="260" y="63"/>
                  </a:cubicBezTo>
                  <a:cubicBezTo>
                    <a:pt x="288" y="69"/>
                    <a:pt x="308" y="88"/>
                    <a:pt x="337" y="94"/>
                  </a:cubicBezTo>
                  <a:cubicBezTo>
                    <a:pt x="355" y="98"/>
                    <a:pt x="374" y="103"/>
                    <a:pt x="392" y="105"/>
                  </a:cubicBezTo>
                  <a:cubicBezTo>
                    <a:pt x="400" y="107"/>
                    <a:pt x="402" y="106"/>
                    <a:pt x="409" y="103"/>
                  </a:cubicBezTo>
                  <a:cubicBezTo>
                    <a:pt x="426" y="98"/>
                    <a:pt x="423" y="98"/>
                    <a:pt x="439" y="101"/>
                  </a:cubicBezTo>
                  <a:cubicBezTo>
                    <a:pt x="445" y="102"/>
                    <a:pt x="451" y="103"/>
                    <a:pt x="458" y="104"/>
                  </a:cubicBezTo>
                  <a:cubicBezTo>
                    <a:pt x="477" y="107"/>
                    <a:pt x="496" y="111"/>
                    <a:pt x="515" y="115"/>
                  </a:cubicBezTo>
                  <a:cubicBezTo>
                    <a:pt x="580" y="129"/>
                    <a:pt x="644" y="145"/>
                    <a:pt x="708" y="158"/>
                  </a:cubicBezTo>
                  <a:cubicBezTo>
                    <a:pt x="712" y="159"/>
                    <a:pt x="714" y="154"/>
                    <a:pt x="710" y="153"/>
                  </a:cubicBezTo>
                  <a:cubicBezTo>
                    <a:pt x="648" y="140"/>
                    <a:pt x="586" y="125"/>
                    <a:pt x="524" y="112"/>
                  </a:cubicBezTo>
                  <a:cubicBezTo>
                    <a:pt x="495" y="105"/>
                    <a:pt x="465" y="100"/>
                    <a:pt x="435" y="94"/>
                  </a:cubicBezTo>
                  <a:cubicBezTo>
                    <a:pt x="427" y="93"/>
                    <a:pt x="421" y="93"/>
                    <a:pt x="413" y="94"/>
                  </a:cubicBezTo>
                  <a:cubicBezTo>
                    <a:pt x="404" y="96"/>
                    <a:pt x="395" y="99"/>
                    <a:pt x="384" y="98"/>
                  </a:cubicBezTo>
                  <a:cubicBezTo>
                    <a:pt x="378" y="97"/>
                    <a:pt x="372" y="95"/>
                    <a:pt x="366" y="94"/>
                  </a:cubicBezTo>
                  <a:cubicBezTo>
                    <a:pt x="347" y="90"/>
                    <a:pt x="325" y="89"/>
                    <a:pt x="307" y="78"/>
                  </a:cubicBezTo>
                  <a:cubicBezTo>
                    <a:pt x="298" y="73"/>
                    <a:pt x="290" y="66"/>
                    <a:pt x="279" y="62"/>
                  </a:cubicBezTo>
                  <a:cubicBezTo>
                    <a:pt x="249" y="52"/>
                    <a:pt x="215" y="50"/>
                    <a:pt x="184" y="43"/>
                  </a:cubicBezTo>
                  <a:cubicBezTo>
                    <a:pt x="156" y="36"/>
                    <a:pt x="127" y="28"/>
                    <a:pt x="99" y="21"/>
                  </a:cubicBezTo>
                  <a:cubicBezTo>
                    <a:pt x="83" y="17"/>
                    <a:pt x="68" y="14"/>
                    <a:pt x="52" y="12"/>
                  </a:cubicBezTo>
                  <a:cubicBezTo>
                    <a:pt x="37" y="9"/>
                    <a:pt x="17" y="8"/>
                    <a:pt x="4" y="1"/>
                  </a:cubicBezTo>
                  <a:cubicBezTo>
                    <a:pt x="2" y="0"/>
                    <a:pt x="0" y="2"/>
                    <a:pt x="1" y="3"/>
                  </a:cubicBezTo>
                  <a:close/>
                </a:path>
              </a:pathLst>
            </a:custGeom>
            <a:solidFill>
              <a:srgbClr val="1C1D1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869" name="Freeform 504">
              <a:extLst>
                <a:ext uri="{FF2B5EF4-FFF2-40B4-BE49-F238E27FC236}">
                  <a16:creationId xmlns:a16="http://schemas.microsoft.com/office/drawing/2014/main" id="{06EEE35B-5670-4C29-A57B-05C4AF48DD3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773863" y="4038600"/>
              <a:ext cx="39688" cy="68263"/>
            </a:xfrm>
            <a:custGeom>
              <a:avLst/>
              <a:gdLst>
                <a:gd name="T0" fmla="*/ 18 w 24"/>
                <a:gd name="T1" fmla="*/ 3 h 41"/>
                <a:gd name="T2" fmla="*/ 2 w 24"/>
                <a:gd name="T3" fmla="*/ 33 h 41"/>
                <a:gd name="T4" fmla="*/ 8 w 24"/>
                <a:gd name="T5" fmla="*/ 38 h 41"/>
                <a:gd name="T6" fmla="*/ 23 w 24"/>
                <a:gd name="T7" fmla="*/ 4 h 41"/>
                <a:gd name="T8" fmla="*/ 18 w 24"/>
                <a:gd name="T9" fmla="*/ 3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" h="41">
                  <a:moveTo>
                    <a:pt x="18" y="3"/>
                  </a:moveTo>
                  <a:cubicBezTo>
                    <a:pt x="15" y="14"/>
                    <a:pt x="9" y="23"/>
                    <a:pt x="2" y="33"/>
                  </a:cubicBezTo>
                  <a:cubicBezTo>
                    <a:pt x="0" y="37"/>
                    <a:pt x="5" y="41"/>
                    <a:pt x="8" y="38"/>
                  </a:cubicBezTo>
                  <a:cubicBezTo>
                    <a:pt x="16" y="28"/>
                    <a:pt x="21" y="16"/>
                    <a:pt x="23" y="4"/>
                  </a:cubicBezTo>
                  <a:cubicBezTo>
                    <a:pt x="24" y="1"/>
                    <a:pt x="19" y="0"/>
                    <a:pt x="18" y="3"/>
                  </a:cubicBezTo>
                  <a:close/>
                </a:path>
              </a:pathLst>
            </a:custGeom>
            <a:solidFill>
              <a:srgbClr val="1C1D1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870" name="Freeform 505">
              <a:extLst>
                <a:ext uri="{FF2B5EF4-FFF2-40B4-BE49-F238E27FC236}">
                  <a16:creationId xmlns:a16="http://schemas.microsoft.com/office/drawing/2014/main" id="{DF945B1A-8C63-41FD-84F1-74E4B1DB829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786563" y="4110038"/>
              <a:ext cx="14288" cy="20638"/>
            </a:xfrm>
            <a:custGeom>
              <a:avLst/>
              <a:gdLst>
                <a:gd name="T0" fmla="*/ 4 w 8"/>
                <a:gd name="T1" fmla="*/ 3 h 12"/>
                <a:gd name="T2" fmla="*/ 1 w 8"/>
                <a:gd name="T3" fmla="*/ 9 h 12"/>
                <a:gd name="T4" fmla="*/ 3 w 8"/>
                <a:gd name="T5" fmla="*/ 11 h 12"/>
                <a:gd name="T6" fmla="*/ 7 w 8"/>
                <a:gd name="T7" fmla="*/ 4 h 12"/>
                <a:gd name="T8" fmla="*/ 4 w 8"/>
                <a:gd name="T9" fmla="*/ 3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12">
                  <a:moveTo>
                    <a:pt x="4" y="3"/>
                  </a:moveTo>
                  <a:cubicBezTo>
                    <a:pt x="3" y="5"/>
                    <a:pt x="2" y="7"/>
                    <a:pt x="1" y="9"/>
                  </a:cubicBezTo>
                  <a:cubicBezTo>
                    <a:pt x="0" y="10"/>
                    <a:pt x="2" y="12"/>
                    <a:pt x="3" y="11"/>
                  </a:cubicBezTo>
                  <a:cubicBezTo>
                    <a:pt x="5" y="9"/>
                    <a:pt x="7" y="6"/>
                    <a:pt x="7" y="4"/>
                  </a:cubicBezTo>
                  <a:cubicBezTo>
                    <a:pt x="8" y="1"/>
                    <a:pt x="4" y="0"/>
                    <a:pt x="4" y="3"/>
                  </a:cubicBezTo>
                  <a:close/>
                </a:path>
              </a:pathLst>
            </a:custGeom>
            <a:solidFill>
              <a:srgbClr val="1C1D1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871" name="Freeform 506">
              <a:extLst>
                <a:ext uri="{FF2B5EF4-FFF2-40B4-BE49-F238E27FC236}">
                  <a16:creationId xmlns:a16="http://schemas.microsoft.com/office/drawing/2014/main" id="{92841742-067C-44B1-8E43-4946EE5E8E1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372225" y="3014663"/>
              <a:ext cx="279400" cy="252413"/>
            </a:xfrm>
            <a:custGeom>
              <a:avLst/>
              <a:gdLst>
                <a:gd name="T0" fmla="*/ 3 w 166"/>
                <a:gd name="T1" fmla="*/ 122 h 150"/>
                <a:gd name="T2" fmla="*/ 16 w 166"/>
                <a:gd name="T3" fmla="*/ 48 h 150"/>
                <a:gd name="T4" fmla="*/ 53 w 166"/>
                <a:gd name="T5" fmla="*/ 15 h 150"/>
                <a:gd name="T6" fmla="*/ 90 w 166"/>
                <a:gd name="T7" fmla="*/ 17 h 150"/>
                <a:gd name="T8" fmla="*/ 125 w 166"/>
                <a:gd name="T9" fmla="*/ 31 h 150"/>
                <a:gd name="T10" fmla="*/ 150 w 166"/>
                <a:gd name="T11" fmla="*/ 71 h 150"/>
                <a:gd name="T12" fmla="*/ 141 w 166"/>
                <a:gd name="T13" fmla="*/ 144 h 150"/>
                <a:gd name="T14" fmla="*/ 149 w 166"/>
                <a:gd name="T15" fmla="*/ 146 h 150"/>
                <a:gd name="T16" fmla="*/ 158 w 166"/>
                <a:gd name="T17" fmla="*/ 50 h 150"/>
                <a:gd name="T18" fmla="*/ 98 w 166"/>
                <a:gd name="T19" fmla="*/ 9 h 150"/>
                <a:gd name="T20" fmla="*/ 18 w 166"/>
                <a:gd name="T21" fmla="*/ 22 h 150"/>
                <a:gd name="T22" fmla="*/ 8 w 166"/>
                <a:gd name="T23" fmla="*/ 61 h 150"/>
                <a:gd name="T24" fmla="*/ 0 w 166"/>
                <a:gd name="T25" fmla="*/ 121 h 150"/>
                <a:gd name="T26" fmla="*/ 3 w 166"/>
                <a:gd name="T27" fmla="*/ 122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66" h="150">
                  <a:moveTo>
                    <a:pt x="3" y="122"/>
                  </a:moveTo>
                  <a:cubicBezTo>
                    <a:pt x="9" y="98"/>
                    <a:pt x="11" y="72"/>
                    <a:pt x="16" y="48"/>
                  </a:cubicBezTo>
                  <a:cubicBezTo>
                    <a:pt x="20" y="28"/>
                    <a:pt x="32" y="17"/>
                    <a:pt x="53" y="15"/>
                  </a:cubicBezTo>
                  <a:cubicBezTo>
                    <a:pt x="65" y="14"/>
                    <a:pt x="77" y="15"/>
                    <a:pt x="90" y="17"/>
                  </a:cubicBezTo>
                  <a:cubicBezTo>
                    <a:pt x="103" y="19"/>
                    <a:pt x="114" y="24"/>
                    <a:pt x="125" y="31"/>
                  </a:cubicBezTo>
                  <a:cubicBezTo>
                    <a:pt x="142" y="41"/>
                    <a:pt x="151" y="50"/>
                    <a:pt x="150" y="71"/>
                  </a:cubicBezTo>
                  <a:cubicBezTo>
                    <a:pt x="149" y="96"/>
                    <a:pt x="142" y="120"/>
                    <a:pt x="141" y="144"/>
                  </a:cubicBezTo>
                  <a:cubicBezTo>
                    <a:pt x="141" y="149"/>
                    <a:pt x="148" y="150"/>
                    <a:pt x="149" y="146"/>
                  </a:cubicBezTo>
                  <a:cubicBezTo>
                    <a:pt x="155" y="118"/>
                    <a:pt x="166" y="78"/>
                    <a:pt x="158" y="50"/>
                  </a:cubicBezTo>
                  <a:cubicBezTo>
                    <a:pt x="152" y="28"/>
                    <a:pt x="119" y="14"/>
                    <a:pt x="98" y="9"/>
                  </a:cubicBezTo>
                  <a:cubicBezTo>
                    <a:pt x="77" y="5"/>
                    <a:pt x="34" y="0"/>
                    <a:pt x="18" y="22"/>
                  </a:cubicBezTo>
                  <a:cubicBezTo>
                    <a:pt x="11" y="32"/>
                    <a:pt x="11" y="50"/>
                    <a:pt x="8" y="61"/>
                  </a:cubicBezTo>
                  <a:cubicBezTo>
                    <a:pt x="4" y="81"/>
                    <a:pt x="3" y="101"/>
                    <a:pt x="0" y="121"/>
                  </a:cubicBezTo>
                  <a:cubicBezTo>
                    <a:pt x="0" y="122"/>
                    <a:pt x="2" y="123"/>
                    <a:pt x="3" y="122"/>
                  </a:cubicBezTo>
                  <a:close/>
                </a:path>
              </a:pathLst>
            </a:custGeom>
            <a:solidFill>
              <a:srgbClr val="1C1D1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872" name="Freeform 507">
              <a:extLst>
                <a:ext uri="{FF2B5EF4-FFF2-40B4-BE49-F238E27FC236}">
                  <a16:creationId xmlns:a16="http://schemas.microsoft.com/office/drawing/2014/main" id="{5EA2460F-BEF7-4A85-8EB3-1A263991E15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56375" y="3255963"/>
              <a:ext cx="255588" cy="290513"/>
            </a:xfrm>
            <a:custGeom>
              <a:avLst/>
              <a:gdLst>
                <a:gd name="T0" fmla="*/ 33 w 152"/>
                <a:gd name="T1" fmla="*/ 7 h 172"/>
                <a:gd name="T2" fmla="*/ 99 w 152"/>
                <a:gd name="T3" fmla="*/ 23 h 172"/>
                <a:gd name="T4" fmla="*/ 132 w 152"/>
                <a:gd name="T5" fmla="*/ 41 h 172"/>
                <a:gd name="T6" fmla="*/ 136 w 152"/>
                <a:gd name="T7" fmla="*/ 84 h 172"/>
                <a:gd name="T8" fmla="*/ 126 w 152"/>
                <a:gd name="T9" fmla="*/ 127 h 172"/>
                <a:gd name="T10" fmla="*/ 91 w 152"/>
                <a:gd name="T11" fmla="*/ 160 h 172"/>
                <a:gd name="T12" fmla="*/ 6 w 152"/>
                <a:gd name="T13" fmla="*/ 158 h 172"/>
                <a:gd name="T14" fmla="*/ 6 w 152"/>
                <a:gd name="T15" fmla="*/ 167 h 172"/>
                <a:gd name="T16" fmla="*/ 63 w 152"/>
                <a:gd name="T17" fmla="*/ 170 h 172"/>
                <a:gd name="T18" fmla="*/ 107 w 152"/>
                <a:gd name="T19" fmla="*/ 167 h 172"/>
                <a:gd name="T20" fmla="*/ 145 w 152"/>
                <a:gd name="T21" fmla="*/ 95 h 172"/>
                <a:gd name="T22" fmla="*/ 133 w 152"/>
                <a:gd name="T23" fmla="*/ 25 h 172"/>
                <a:gd name="T24" fmla="*/ 97 w 152"/>
                <a:gd name="T25" fmla="*/ 14 h 172"/>
                <a:gd name="T26" fmla="*/ 35 w 152"/>
                <a:gd name="T27" fmla="*/ 1 h 172"/>
                <a:gd name="T28" fmla="*/ 33 w 152"/>
                <a:gd name="T29" fmla="*/ 7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52" h="172">
                  <a:moveTo>
                    <a:pt x="33" y="7"/>
                  </a:moveTo>
                  <a:cubicBezTo>
                    <a:pt x="54" y="17"/>
                    <a:pt x="77" y="19"/>
                    <a:pt x="99" y="23"/>
                  </a:cubicBezTo>
                  <a:cubicBezTo>
                    <a:pt x="113" y="26"/>
                    <a:pt x="126" y="28"/>
                    <a:pt x="132" y="41"/>
                  </a:cubicBezTo>
                  <a:cubicBezTo>
                    <a:pt x="138" y="53"/>
                    <a:pt x="137" y="70"/>
                    <a:pt x="136" y="84"/>
                  </a:cubicBezTo>
                  <a:cubicBezTo>
                    <a:pt x="136" y="99"/>
                    <a:pt x="131" y="112"/>
                    <a:pt x="126" y="127"/>
                  </a:cubicBezTo>
                  <a:cubicBezTo>
                    <a:pt x="119" y="146"/>
                    <a:pt x="113" y="157"/>
                    <a:pt x="91" y="160"/>
                  </a:cubicBezTo>
                  <a:cubicBezTo>
                    <a:pt x="63" y="164"/>
                    <a:pt x="34" y="156"/>
                    <a:pt x="6" y="158"/>
                  </a:cubicBezTo>
                  <a:cubicBezTo>
                    <a:pt x="0" y="158"/>
                    <a:pt x="1" y="166"/>
                    <a:pt x="6" y="167"/>
                  </a:cubicBezTo>
                  <a:cubicBezTo>
                    <a:pt x="25" y="169"/>
                    <a:pt x="44" y="169"/>
                    <a:pt x="63" y="170"/>
                  </a:cubicBezTo>
                  <a:cubicBezTo>
                    <a:pt x="78" y="171"/>
                    <a:pt x="93" y="172"/>
                    <a:pt x="107" y="167"/>
                  </a:cubicBezTo>
                  <a:cubicBezTo>
                    <a:pt x="132" y="158"/>
                    <a:pt x="142" y="119"/>
                    <a:pt x="145" y="95"/>
                  </a:cubicBezTo>
                  <a:cubicBezTo>
                    <a:pt x="148" y="75"/>
                    <a:pt x="152" y="39"/>
                    <a:pt x="133" y="25"/>
                  </a:cubicBezTo>
                  <a:cubicBezTo>
                    <a:pt x="122" y="18"/>
                    <a:pt x="109" y="16"/>
                    <a:pt x="97" y="14"/>
                  </a:cubicBezTo>
                  <a:cubicBezTo>
                    <a:pt x="76" y="10"/>
                    <a:pt x="55" y="7"/>
                    <a:pt x="35" y="1"/>
                  </a:cubicBezTo>
                  <a:cubicBezTo>
                    <a:pt x="32" y="0"/>
                    <a:pt x="30" y="5"/>
                    <a:pt x="33" y="7"/>
                  </a:cubicBezTo>
                  <a:close/>
                </a:path>
              </a:pathLst>
            </a:custGeom>
            <a:solidFill>
              <a:srgbClr val="1C1D1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873" name="Freeform 508">
              <a:extLst>
                <a:ext uri="{FF2B5EF4-FFF2-40B4-BE49-F238E27FC236}">
                  <a16:creationId xmlns:a16="http://schemas.microsoft.com/office/drawing/2014/main" id="{E20EE293-3F0D-4DBC-AE4D-B0936E3C962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113463" y="3176588"/>
              <a:ext cx="265113" cy="296863"/>
            </a:xfrm>
            <a:custGeom>
              <a:avLst/>
              <a:gdLst>
                <a:gd name="T0" fmla="*/ 156 w 158"/>
                <a:gd name="T1" fmla="*/ 24 h 177"/>
                <a:gd name="T2" fmla="*/ 61 w 158"/>
                <a:gd name="T3" fmla="*/ 0 h 177"/>
                <a:gd name="T4" fmla="*/ 13 w 158"/>
                <a:gd name="T5" fmla="*/ 57 h 177"/>
                <a:gd name="T6" fmla="*/ 2 w 158"/>
                <a:gd name="T7" fmla="*/ 107 h 177"/>
                <a:gd name="T8" fmla="*/ 10 w 158"/>
                <a:gd name="T9" fmla="*/ 137 h 177"/>
                <a:gd name="T10" fmla="*/ 49 w 158"/>
                <a:gd name="T11" fmla="*/ 158 h 177"/>
                <a:gd name="T12" fmla="*/ 105 w 158"/>
                <a:gd name="T13" fmla="*/ 176 h 177"/>
                <a:gd name="T14" fmla="*/ 108 w 158"/>
                <a:gd name="T15" fmla="*/ 171 h 177"/>
                <a:gd name="T16" fmla="*/ 32 w 158"/>
                <a:gd name="T17" fmla="*/ 143 h 177"/>
                <a:gd name="T18" fmla="*/ 11 w 158"/>
                <a:gd name="T19" fmla="*/ 121 h 177"/>
                <a:gd name="T20" fmla="*/ 13 w 158"/>
                <a:gd name="T21" fmla="*/ 98 h 177"/>
                <a:gd name="T22" fmla="*/ 19 w 158"/>
                <a:gd name="T23" fmla="*/ 65 h 177"/>
                <a:gd name="T24" fmla="*/ 34 w 158"/>
                <a:gd name="T25" fmla="*/ 25 h 177"/>
                <a:gd name="T26" fmla="*/ 79 w 158"/>
                <a:gd name="T27" fmla="*/ 11 h 177"/>
                <a:gd name="T28" fmla="*/ 122 w 158"/>
                <a:gd name="T29" fmla="*/ 21 h 177"/>
                <a:gd name="T30" fmla="*/ 155 w 158"/>
                <a:gd name="T31" fmla="*/ 29 h 177"/>
                <a:gd name="T32" fmla="*/ 156 w 158"/>
                <a:gd name="T33" fmla="*/ 24 h 1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8" h="177">
                  <a:moveTo>
                    <a:pt x="156" y="24"/>
                  </a:moveTo>
                  <a:cubicBezTo>
                    <a:pt x="125" y="16"/>
                    <a:pt x="93" y="0"/>
                    <a:pt x="61" y="0"/>
                  </a:cubicBezTo>
                  <a:cubicBezTo>
                    <a:pt x="30" y="0"/>
                    <a:pt x="19" y="33"/>
                    <a:pt x="13" y="57"/>
                  </a:cubicBezTo>
                  <a:cubicBezTo>
                    <a:pt x="9" y="74"/>
                    <a:pt x="6" y="90"/>
                    <a:pt x="2" y="107"/>
                  </a:cubicBezTo>
                  <a:cubicBezTo>
                    <a:pt x="0" y="119"/>
                    <a:pt x="1" y="128"/>
                    <a:pt x="10" y="137"/>
                  </a:cubicBezTo>
                  <a:cubicBezTo>
                    <a:pt x="21" y="148"/>
                    <a:pt x="35" y="153"/>
                    <a:pt x="49" y="158"/>
                  </a:cubicBezTo>
                  <a:cubicBezTo>
                    <a:pt x="67" y="165"/>
                    <a:pt x="86" y="172"/>
                    <a:pt x="105" y="176"/>
                  </a:cubicBezTo>
                  <a:cubicBezTo>
                    <a:pt x="108" y="177"/>
                    <a:pt x="111" y="173"/>
                    <a:pt x="108" y="171"/>
                  </a:cubicBezTo>
                  <a:cubicBezTo>
                    <a:pt x="84" y="159"/>
                    <a:pt x="56" y="155"/>
                    <a:pt x="32" y="143"/>
                  </a:cubicBezTo>
                  <a:cubicBezTo>
                    <a:pt x="22" y="137"/>
                    <a:pt x="15" y="133"/>
                    <a:pt x="11" y="121"/>
                  </a:cubicBezTo>
                  <a:cubicBezTo>
                    <a:pt x="8" y="112"/>
                    <a:pt x="11" y="107"/>
                    <a:pt x="13" y="98"/>
                  </a:cubicBezTo>
                  <a:cubicBezTo>
                    <a:pt x="16" y="87"/>
                    <a:pt x="17" y="76"/>
                    <a:pt x="19" y="65"/>
                  </a:cubicBezTo>
                  <a:cubicBezTo>
                    <a:pt x="22" y="51"/>
                    <a:pt x="26" y="37"/>
                    <a:pt x="34" y="25"/>
                  </a:cubicBezTo>
                  <a:cubicBezTo>
                    <a:pt x="45" y="7"/>
                    <a:pt x="59" y="7"/>
                    <a:pt x="79" y="11"/>
                  </a:cubicBezTo>
                  <a:cubicBezTo>
                    <a:pt x="93" y="14"/>
                    <a:pt x="108" y="18"/>
                    <a:pt x="122" y="21"/>
                  </a:cubicBezTo>
                  <a:cubicBezTo>
                    <a:pt x="133" y="24"/>
                    <a:pt x="144" y="29"/>
                    <a:pt x="155" y="29"/>
                  </a:cubicBezTo>
                  <a:cubicBezTo>
                    <a:pt x="158" y="29"/>
                    <a:pt x="158" y="25"/>
                    <a:pt x="156" y="24"/>
                  </a:cubicBezTo>
                  <a:close/>
                </a:path>
              </a:pathLst>
            </a:custGeom>
            <a:solidFill>
              <a:srgbClr val="1C1D1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874" name="Freeform 509">
              <a:extLst>
                <a:ext uri="{FF2B5EF4-FFF2-40B4-BE49-F238E27FC236}">
                  <a16:creationId xmlns:a16="http://schemas.microsoft.com/office/drawing/2014/main" id="{D20FBE19-4117-4D82-A9F5-70DDD53CD57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267450" y="3459163"/>
              <a:ext cx="301625" cy="236538"/>
            </a:xfrm>
            <a:custGeom>
              <a:avLst/>
              <a:gdLst>
                <a:gd name="T0" fmla="*/ 6 w 179"/>
                <a:gd name="T1" fmla="*/ 4 h 141"/>
                <a:gd name="T2" fmla="*/ 9 w 179"/>
                <a:gd name="T3" fmla="*/ 73 h 141"/>
                <a:gd name="T4" fmla="*/ 13 w 179"/>
                <a:gd name="T5" fmla="*/ 106 h 141"/>
                <a:gd name="T6" fmla="*/ 84 w 179"/>
                <a:gd name="T7" fmla="*/ 131 h 141"/>
                <a:gd name="T8" fmla="*/ 149 w 179"/>
                <a:gd name="T9" fmla="*/ 122 h 141"/>
                <a:gd name="T10" fmla="*/ 164 w 179"/>
                <a:gd name="T11" fmla="*/ 84 h 141"/>
                <a:gd name="T12" fmla="*/ 178 w 179"/>
                <a:gd name="T13" fmla="*/ 39 h 141"/>
                <a:gd name="T14" fmla="*/ 170 w 179"/>
                <a:gd name="T15" fmla="*/ 37 h 141"/>
                <a:gd name="T16" fmla="*/ 156 w 179"/>
                <a:gd name="T17" fmla="*/ 81 h 141"/>
                <a:gd name="T18" fmla="*/ 132 w 179"/>
                <a:gd name="T19" fmla="*/ 124 h 141"/>
                <a:gd name="T20" fmla="*/ 87 w 179"/>
                <a:gd name="T21" fmla="*/ 123 h 141"/>
                <a:gd name="T22" fmla="*/ 39 w 179"/>
                <a:gd name="T23" fmla="*/ 114 h 141"/>
                <a:gd name="T24" fmla="*/ 24 w 179"/>
                <a:gd name="T25" fmla="*/ 27 h 141"/>
                <a:gd name="T26" fmla="*/ 6 w 179"/>
                <a:gd name="T27" fmla="*/ 0 h 141"/>
                <a:gd name="T28" fmla="*/ 6 w 179"/>
                <a:gd name="T29" fmla="*/ 4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79" h="141">
                  <a:moveTo>
                    <a:pt x="6" y="4"/>
                  </a:moveTo>
                  <a:cubicBezTo>
                    <a:pt x="29" y="8"/>
                    <a:pt x="11" y="60"/>
                    <a:pt x="9" y="73"/>
                  </a:cubicBezTo>
                  <a:cubicBezTo>
                    <a:pt x="8" y="84"/>
                    <a:pt x="8" y="96"/>
                    <a:pt x="13" y="106"/>
                  </a:cubicBezTo>
                  <a:cubicBezTo>
                    <a:pt x="26" y="127"/>
                    <a:pt x="62" y="129"/>
                    <a:pt x="84" y="131"/>
                  </a:cubicBezTo>
                  <a:cubicBezTo>
                    <a:pt x="103" y="133"/>
                    <a:pt x="135" y="141"/>
                    <a:pt x="149" y="122"/>
                  </a:cubicBezTo>
                  <a:cubicBezTo>
                    <a:pt x="157" y="112"/>
                    <a:pt x="160" y="96"/>
                    <a:pt x="164" y="84"/>
                  </a:cubicBezTo>
                  <a:cubicBezTo>
                    <a:pt x="168" y="69"/>
                    <a:pt x="172" y="54"/>
                    <a:pt x="178" y="39"/>
                  </a:cubicBezTo>
                  <a:cubicBezTo>
                    <a:pt x="179" y="34"/>
                    <a:pt x="171" y="32"/>
                    <a:pt x="170" y="37"/>
                  </a:cubicBezTo>
                  <a:cubicBezTo>
                    <a:pt x="165" y="51"/>
                    <a:pt x="161" y="66"/>
                    <a:pt x="156" y="81"/>
                  </a:cubicBezTo>
                  <a:cubicBezTo>
                    <a:pt x="152" y="96"/>
                    <a:pt x="148" y="117"/>
                    <a:pt x="132" y="124"/>
                  </a:cubicBezTo>
                  <a:cubicBezTo>
                    <a:pt x="121" y="129"/>
                    <a:pt x="98" y="124"/>
                    <a:pt x="87" y="123"/>
                  </a:cubicBezTo>
                  <a:cubicBezTo>
                    <a:pt x="71" y="121"/>
                    <a:pt x="54" y="119"/>
                    <a:pt x="39" y="114"/>
                  </a:cubicBezTo>
                  <a:cubicBezTo>
                    <a:pt x="0" y="100"/>
                    <a:pt x="24" y="56"/>
                    <a:pt x="24" y="27"/>
                  </a:cubicBezTo>
                  <a:cubicBezTo>
                    <a:pt x="24" y="14"/>
                    <a:pt x="22" y="0"/>
                    <a:pt x="6" y="0"/>
                  </a:cubicBezTo>
                  <a:cubicBezTo>
                    <a:pt x="4" y="0"/>
                    <a:pt x="3" y="4"/>
                    <a:pt x="6" y="4"/>
                  </a:cubicBezTo>
                  <a:close/>
                </a:path>
              </a:pathLst>
            </a:custGeom>
            <a:solidFill>
              <a:srgbClr val="1C1D1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875" name="Freeform 510">
              <a:extLst>
                <a:ext uri="{FF2B5EF4-FFF2-40B4-BE49-F238E27FC236}">
                  <a16:creationId xmlns:a16="http://schemas.microsoft.com/office/drawing/2014/main" id="{1E7A4D52-6422-47A9-AD50-324A9D84625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54788" y="3305175"/>
              <a:ext cx="201613" cy="193675"/>
            </a:xfrm>
            <a:custGeom>
              <a:avLst/>
              <a:gdLst>
                <a:gd name="T0" fmla="*/ 82 w 120"/>
                <a:gd name="T1" fmla="*/ 27 h 115"/>
                <a:gd name="T2" fmla="*/ 22 w 120"/>
                <a:gd name="T3" fmla="*/ 44 h 115"/>
                <a:gd name="T4" fmla="*/ 41 w 120"/>
                <a:gd name="T5" fmla="*/ 105 h 115"/>
                <a:gd name="T6" fmla="*/ 104 w 120"/>
                <a:gd name="T7" fmla="*/ 80 h 115"/>
                <a:gd name="T8" fmla="*/ 80 w 120"/>
                <a:gd name="T9" fmla="*/ 25 h 115"/>
                <a:gd name="T10" fmla="*/ 78 w 120"/>
                <a:gd name="T11" fmla="*/ 28 h 115"/>
                <a:gd name="T12" fmla="*/ 97 w 120"/>
                <a:gd name="T13" fmla="*/ 42 h 115"/>
                <a:gd name="T14" fmla="*/ 96 w 120"/>
                <a:gd name="T15" fmla="*/ 78 h 115"/>
                <a:gd name="T16" fmla="*/ 44 w 120"/>
                <a:gd name="T17" fmla="*/ 97 h 115"/>
                <a:gd name="T18" fmla="*/ 79 w 120"/>
                <a:gd name="T19" fmla="*/ 30 h 115"/>
                <a:gd name="T20" fmla="*/ 82 w 120"/>
                <a:gd name="T21" fmla="*/ 27 h 1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20" h="115">
                  <a:moveTo>
                    <a:pt x="82" y="27"/>
                  </a:moveTo>
                  <a:cubicBezTo>
                    <a:pt x="61" y="9"/>
                    <a:pt x="33" y="21"/>
                    <a:pt x="22" y="44"/>
                  </a:cubicBezTo>
                  <a:cubicBezTo>
                    <a:pt x="12" y="64"/>
                    <a:pt x="19" y="95"/>
                    <a:pt x="41" y="105"/>
                  </a:cubicBezTo>
                  <a:cubicBezTo>
                    <a:pt x="64" y="115"/>
                    <a:pt x="92" y="100"/>
                    <a:pt x="104" y="80"/>
                  </a:cubicBezTo>
                  <a:cubicBezTo>
                    <a:pt x="120" y="54"/>
                    <a:pt x="105" y="35"/>
                    <a:pt x="80" y="25"/>
                  </a:cubicBezTo>
                  <a:cubicBezTo>
                    <a:pt x="78" y="24"/>
                    <a:pt x="76" y="27"/>
                    <a:pt x="78" y="28"/>
                  </a:cubicBezTo>
                  <a:cubicBezTo>
                    <a:pt x="84" y="33"/>
                    <a:pt x="91" y="37"/>
                    <a:pt x="97" y="42"/>
                  </a:cubicBezTo>
                  <a:cubicBezTo>
                    <a:pt x="107" y="53"/>
                    <a:pt x="103" y="67"/>
                    <a:pt x="96" y="78"/>
                  </a:cubicBezTo>
                  <a:cubicBezTo>
                    <a:pt x="85" y="92"/>
                    <a:pt x="62" y="105"/>
                    <a:pt x="44" y="97"/>
                  </a:cubicBezTo>
                  <a:cubicBezTo>
                    <a:pt x="0" y="79"/>
                    <a:pt x="37" y="0"/>
                    <a:pt x="79" y="30"/>
                  </a:cubicBezTo>
                  <a:cubicBezTo>
                    <a:pt x="81" y="32"/>
                    <a:pt x="84" y="29"/>
                    <a:pt x="82" y="27"/>
                  </a:cubicBezTo>
                  <a:close/>
                </a:path>
              </a:pathLst>
            </a:custGeom>
            <a:solidFill>
              <a:srgbClr val="1C1D1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876" name="Freeform 511">
              <a:extLst>
                <a:ext uri="{FF2B5EF4-FFF2-40B4-BE49-F238E27FC236}">
                  <a16:creationId xmlns:a16="http://schemas.microsoft.com/office/drawing/2014/main" id="{21A09075-BB15-41DB-A377-22EDD622520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437313" y="3109913"/>
              <a:ext cx="142875" cy="125413"/>
            </a:xfrm>
            <a:custGeom>
              <a:avLst/>
              <a:gdLst>
                <a:gd name="T0" fmla="*/ 54 w 85"/>
                <a:gd name="T1" fmla="*/ 8 h 74"/>
                <a:gd name="T2" fmla="*/ 7 w 85"/>
                <a:gd name="T3" fmla="*/ 25 h 74"/>
                <a:gd name="T4" fmla="*/ 23 w 85"/>
                <a:gd name="T5" fmla="*/ 67 h 74"/>
                <a:gd name="T6" fmla="*/ 69 w 85"/>
                <a:gd name="T7" fmla="*/ 58 h 74"/>
                <a:gd name="T8" fmla="*/ 60 w 85"/>
                <a:gd name="T9" fmla="*/ 4 h 74"/>
                <a:gd name="T10" fmla="*/ 56 w 85"/>
                <a:gd name="T11" fmla="*/ 9 h 74"/>
                <a:gd name="T12" fmla="*/ 69 w 85"/>
                <a:gd name="T13" fmla="*/ 32 h 74"/>
                <a:gd name="T14" fmla="*/ 61 w 85"/>
                <a:gd name="T15" fmla="*/ 55 h 74"/>
                <a:gd name="T16" fmla="*/ 27 w 85"/>
                <a:gd name="T17" fmla="*/ 61 h 74"/>
                <a:gd name="T18" fmla="*/ 10 w 85"/>
                <a:gd name="T19" fmla="*/ 31 h 74"/>
                <a:gd name="T20" fmla="*/ 53 w 85"/>
                <a:gd name="T21" fmla="*/ 10 h 74"/>
                <a:gd name="T22" fmla="*/ 54 w 85"/>
                <a:gd name="T23" fmla="*/ 8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85" h="74">
                  <a:moveTo>
                    <a:pt x="54" y="8"/>
                  </a:moveTo>
                  <a:cubicBezTo>
                    <a:pt x="37" y="0"/>
                    <a:pt x="15" y="7"/>
                    <a:pt x="7" y="25"/>
                  </a:cubicBezTo>
                  <a:cubicBezTo>
                    <a:pt x="0" y="41"/>
                    <a:pt x="8" y="59"/>
                    <a:pt x="23" y="67"/>
                  </a:cubicBezTo>
                  <a:cubicBezTo>
                    <a:pt x="37" y="74"/>
                    <a:pt x="58" y="71"/>
                    <a:pt x="69" y="58"/>
                  </a:cubicBezTo>
                  <a:cubicBezTo>
                    <a:pt x="85" y="41"/>
                    <a:pt x="78" y="16"/>
                    <a:pt x="60" y="4"/>
                  </a:cubicBezTo>
                  <a:cubicBezTo>
                    <a:pt x="56" y="1"/>
                    <a:pt x="52" y="6"/>
                    <a:pt x="56" y="9"/>
                  </a:cubicBezTo>
                  <a:cubicBezTo>
                    <a:pt x="62" y="16"/>
                    <a:pt x="68" y="22"/>
                    <a:pt x="69" y="32"/>
                  </a:cubicBezTo>
                  <a:cubicBezTo>
                    <a:pt x="70" y="40"/>
                    <a:pt x="68" y="49"/>
                    <a:pt x="61" y="55"/>
                  </a:cubicBezTo>
                  <a:cubicBezTo>
                    <a:pt x="52" y="63"/>
                    <a:pt x="37" y="65"/>
                    <a:pt x="27" y="61"/>
                  </a:cubicBezTo>
                  <a:cubicBezTo>
                    <a:pt x="15" y="56"/>
                    <a:pt x="8" y="43"/>
                    <a:pt x="10" y="31"/>
                  </a:cubicBezTo>
                  <a:cubicBezTo>
                    <a:pt x="14" y="12"/>
                    <a:pt x="37" y="4"/>
                    <a:pt x="53" y="10"/>
                  </a:cubicBezTo>
                  <a:cubicBezTo>
                    <a:pt x="55" y="11"/>
                    <a:pt x="55" y="9"/>
                    <a:pt x="54" y="8"/>
                  </a:cubicBezTo>
                  <a:close/>
                </a:path>
              </a:pathLst>
            </a:custGeom>
            <a:solidFill>
              <a:srgbClr val="1C1D1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877" name="Freeform 512">
              <a:extLst>
                <a:ext uri="{FF2B5EF4-FFF2-40B4-BE49-F238E27FC236}">
                  <a16:creationId xmlns:a16="http://schemas.microsoft.com/office/drawing/2014/main" id="{CD7F19D3-A0C1-4506-AC14-13073D2FCC4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176963" y="3240088"/>
              <a:ext cx="163513" cy="153988"/>
            </a:xfrm>
            <a:custGeom>
              <a:avLst/>
              <a:gdLst>
                <a:gd name="T0" fmla="*/ 69 w 97"/>
                <a:gd name="T1" fmla="*/ 12 h 92"/>
                <a:gd name="T2" fmla="*/ 11 w 97"/>
                <a:gd name="T3" fmla="*/ 24 h 92"/>
                <a:gd name="T4" fmla="*/ 21 w 97"/>
                <a:gd name="T5" fmla="*/ 78 h 92"/>
                <a:gd name="T6" fmla="*/ 81 w 97"/>
                <a:gd name="T7" fmla="*/ 68 h 92"/>
                <a:gd name="T8" fmla="*/ 72 w 97"/>
                <a:gd name="T9" fmla="*/ 5 h 92"/>
                <a:gd name="T10" fmla="*/ 68 w 97"/>
                <a:gd name="T11" fmla="*/ 9 h 92"/>
                <a:gd name="T12" fmla="*/ 82 w 97"/>
                <a:gd name="T13" fmla="*/ 27 h 92"/>
                <a:gd name="T14" fmla="*/ 74 w 97"/>
                <a:gd name="T15" fmla="*/ 63 h 92"/>
                <a:gd name="T16" fmla="*/ 24 w 97"/>
                <a:gd name="T17" fmla="*/ 71 h 92"/>
                <a:gd name="T18" fmla="*/ 15 w 97"/>
                <a:gd name="T19" fmla="*/ 32 h 92"/>
                <a:gd name="T20" fmla="*/ 67 w 97"/>
                <a:gd name="T21" fmla="*/ 16 h 92"/>
                <a:gd name="T22" fmla="*/ 69 w 97"/>
                <a:gd name="T23" fmla="*/ 12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7" h="92">
                  <a:moveTo>
                    <a:pt x="69" y="12"/>
                  </a:moveTo>
                  <a:cubicBezTo>
                    <a:pt x="50" y="0"/>
                    <a:pt x="24" y="4"/>
                    <a:pt x="11" y="24"/>
                  </a:cubicBezTo>
                  <a:cubicBezTo>
                    <a:pt x="0" y="41"/>
                    <a:pt x="5" y="66"/>
                    <a:pt x="21" y="78"/>
                  </a:cubicBezTo>
                  <a:cubicBezTo>
                    <a:pt x="40" y="92"/>
                    <a:pt x="67" y="86"/>
                    <a:pt x="81" y="68"/>
                  </a:cubicBezTo>
                  <a:cubicBezTo>
                    <a:pt x="97" y="46"/>
                    <a:pt x="97" y="20"/>
                    <a:pt x="72" y="5"/>
                  </a:cubicBezTo>
                  <a:cubicBezTo>
                    <a:pt x="70" y="3"/>
                    <a:pt x="67" y="6"/>
                    <a:pt x="68" y="9"/>
                  </a:cubicBezTo>
                  <a:cubicBezTo>
                    <a:pt x="73" y="15"/>
                    <a:pt x="79" y="20"/>
                    <a:pt x="82" y="27"/>
                  </a:cubicBezTo>
                  <a:cubicBezTo>
                    <a:pt x="88" y="39"/>
                    <a:pt x="81" y="52"/>
                    <a:pt x="74" y="63"/>
                  </a:cubicBezTo>
                  <a:cubicBezTo>
                    <a:pt x="62" y="77"/>
                    <a:pt x="40" y="83"/>
                    <a:pt x="24" y="71"/>
                  </a:cubicBezTo>
                  <a:cubicBezTo>
                    <a:pt x="13" y="62"/>
                    <a:pt x="9" y="45"/>
                    <a:pt x="15" y="32"/>
                  </a:cubicBezTo>
                  <a:cubicBezTo>
                    <a:pt x="23" y="12"/>
                    <a:pt x="48" y="7"/>
                    <a:pt x="67" y="16"/>
                  </a:cubicBezTo>
                  <a:cubicBezTo>
                    <a:pt x="69" y="17"/>
                    <a:pt x="71" y="13"/>
                    <a:pt x="69" y="12"/>
                  </a:cubicBezTo>
                  <a:close/>
                </a:path>
              </a:pathLst>
            </a:custGeom>
            <a:solidFill>
              <a:srgbClr val="1C1D1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878" name="Freeform 513">
              <a:extLst>
                <a:ext uri="{FF2B5EF4-FFF2-40B4-BE49-F238E27FC236}">
                  <a16:creationId xmlns:a16="http://schemas.microsoft.com/office/drawing/2014/main" id="{80529592-1560-4A0E-ACBD-D71A6D2D294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348413" y="3473450"/>
              <a:ext cx="182563" cy="174625"/>
            </a:xfrm>
            <a:custGeom>
              <a:avLst/>
              <a:gdLst>
                <a:gd name="T0" fmla="*/ 54 w 109"/>
                <a:gd name="T1" fmla="*/ 8 h 104"/>
                <a:gd name="T2" fmla="*/ 6 w 109"/>
                <a:gd name="T3" fmla="*/ 42 h 104"/>
                <a:gd name="T4" fmla="*/ 38 w 109"/>
                <a:gd name="T5" fmla="*/ 91 h 104"/>
                <a:gd name="T6" fmla="*/ 54 w 109"/>
                <a:gd name="T7" fmla="*/ 1 h 104"/>
                <a:gd name="T8" fmla="*/ 52 w 109"/>
                <a:gd name="T9" fmla="*/ 8 h 104"/>
                <a:gd name="T10" fmla="*/ 80 w 109"/>
                <a:gd name="T11" fmla="*/ 42 h 104"/>
                <a:gd name="T12" fmla="*/ 36 w 109"/>
                <a:gd name="T13" fmla="*/ 81 h 104"/>
                <a:gd name="T14" fmla="*/ 14 w 109"/>
                <a:gd name="T15" fmla="*/ 39 h 104"/>
                <a:gd name="T16" fmla="*/ 54 w 109"/>
                <a:gd name="T17" fmla="*/ 12 h 104"/>
                <a:gd name="T18" fmla="*/ 54 w 109"/>
                <a:gd name="T19" fmla="*/ 8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09" h="104">
                  <a:moveTo>
                    <a:pt x="54" y="8"/>
                  </a:moveTo>
                  <a:cubicBezTo>
                    <a:pt x="33" y="8"/>
                    <a:pt x="11" y="20"/>
                    <a:pt x="6" y="42"/>
                  </a:cubicBezTo>
                  <a:cubicBezTo>
                    <a:pt x="0" y="67"/>
                    <a:pt x="14" y="86"/>
                    <a:pt x="38" y="91"/>
                  </a:cubicBezTo>
                  <a:cubicBezTo>
                    <a:pt x="95" y="104"/>
                    <a:pt x="109" y="13"/>
                    <a:pt x="54" y="1"/>
                  </a:cubicBezTo>
                  <a:cubicBezTo>
                    <a:pt x="50" y="0"/>
                    <a:pt x="48" y="6"/>
                    <a:pt x="52" y="8"/>
                  </a:cubicBezTo>
                  <a:cubicBezTo>
                    <a:pt x="67" y="16"/>
                    <a:pt x="78" y="24"/>
                    <a:pt x="80" y="42"/>
                  </a:cubicBezTo>
                  <a:cubicBezTo>
                    <a:pt x="83" y="68"/>
                    <a:pt x="61" y="86"/>
                    <a:pt x="36" y="81"/>
                  </a:cubicBezTo>
                  <a:cubicBezTo>
                    <a:pt x="17" y="76"/>
                    <a:pt x="8" y="58"/>
                    <a:pt x="14" y="39"/>
                  </a:cubicBezTo>
                  <a:cubicBezTo>
                    <a:pt x="18" y="22"/>
                    <a:pt x="37" y="12"/>
                    <a:pt x="54" y="12"/>
                  </a:cubicBezTo>
                  <a:cubicBezTo>
                    <a:pt x="56" y="11"/>
                    <a:pt x="56" y="8"/>
                    <a:pt x="54" y="8"/>
                  </a:cubicBezTo>
                  <a:close/>
                </a:path>
              </a:pathLst>
            </a:custGeom>
            <a:solidFill>
              <a:srgbClr val="1C1D1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879" name="Freeform 514">
              <a:extLst>
                <a:ext uri="{FF2B5EF4-FFF2-40B4-BE49-F238E27FC236}">
                  <a16:creationId xmlns:a16="http://schemas.microsoft.com/office/drawing/2014/main" id="{23B109D1-57F1-4FC8-A6BA-A3BF8A01CFC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494338" y="2776538"/>
              <a:ext cx="14288" cy="52388"/>
            </a:xfrm>
            <a:custGeom>
              <a:avLst/>
              <a:gdLst>
                <a:gd name="T0" fmla="*/ 4 w 9"/>
                <a:gd name="T1" fmla="*/ 2 h 31"/>
                <a:gd name="T2" fmla="*/ 2 w 9"/>
                <a:gd name="T3" fmla="*/ 28 h 31"/>
                <a:gd name="T4" fmla="*/ 7 w 9"/>
                <a:gd name="T5" fmla="*/ 28 h 31"/>
                <a:gd name="T6" fmla="*/ 8 w 9"/>
                <a:gd name="T7" fmla="*/ 3 h 31"/>
                <a:gd name="T8" fmla="*/ 4 w 9"/>
                <a:gd name="T9" fmla="*/ 2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" h="31">
                  <a:moveTo>
                    <a:pt x="4" y="2"/>
                  </a:moveTo>
                  <a:cubicBezTo>
                    <a:pt x="1" y="10"/>
                    <a:pt x="0" y="19"/>
                    <a:pt x="2" y="28"/>
                  </a:cubicBezTo>
                  <a:cubicBezTo>
                    <a:pt x="3" y="30"/>
                    <a:pt x="6" y="31"/>
                    <a:pt x="7" y="28"/>
                  </a:cubicBezTo>
                  <a:cubicBezTo>
                    <a:pt x="8" y="20"/>
                    <a:pt x="5" y="12"/>
                    <a:pt x="8" y="3"/>
                  </a:cubicBezTo>
                  <a:cubicBezTo>
                    <a:pt x="9" y="1"/>
                    <a:pt x="5" y="0"/>
                    <a:pt x="4" y="2"/>
                  </a:cubicBezTo>
                  <a:close/>
                </a:path>
              </a:pathLst>
            </a:custGeom>
            <a:solidFill>
              <a:srgbClr val="1C1D1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880" name="Freeform 515">
              <a:extLst>
                <a:ext uri="{FF2B5EF4-FFF2-40B4-BE49-F238E27FC236}">
                  <a16:creationId xmlns:a16="http://schemas.microsoft.com/office/drawing/2014/main" id="{C050E750-E2C4-4AA2-9319-D8E966F311B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427663" y="2757488"/>
              <a:ext cx="22225" cy="49213"/>
            </a:xfrm>
            <a:custGeom>
              <a:avLst/>
              <a:gdLst>
                <a:gd name="T0" fmla="*/ 8 w 13"/>
                <a:gd name="T1" fmla="*/ 2 h 29"/>
                <a:gd name="T2" fmla="*/ 3 w 13"/>
                <a:gd name="T3" fmla="*/ 12 h 29"/>
                <a:gd name="T4" fmla="*/ 1 w 13"/>
                <a:gd name="T5" fmla="*/ 25 h 29"/>
                <a:gd name="T6" fmla="*/ 7 w 13"/>
                <a:gd name="T7" fmla="*/ 26 h 29"/>
                <a:gd name="T8" fmla="*/ 9 w 13"/>
                <a:gd name="T9" fmla="*/ 15 h 29"/>
                <a:gd name="T10" fmla="*/ 10 w 13"/>
                <a:gd name="T11" fmla="*/ 10 h 29"/>
                <a:gd name="T12" fmla="*/ 12 w 13"/>
                <a:gd name="T13" fmla="*/ 4 h 29"/>
                <a:gd name="T14" fmla="*/ 8 w 13"/>
                <a:gd name="T15" fmla="*/ 2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3" h="29">
                  <a:moveTo>
                    <a:pt x="8" y="2"/>
                  </a:moveTo>
                  <a:cubicBezTo>
                    <a:pt x="7" y="6"/>
                    <a:pt x="4" y="8"/>
                    <a:pt x="3" y="12"/>
                  </a:cubicBezTo>
                  <a:cubicBezTo>
                    <a:pt x="2" y="16"/>
                    <a:pt x="1" y="20"/>
                    <a:pt x="1" y="25"/>
                  </a:cubicBezTo>
                  <a:cubicBezTo>
                    <a:pt x="0" y="28"/>
                    <a:pt x="6" y="29"/>
                    <a:pt x="7" y="26"/>
                  </a:cubicBezTo>
                  <a:cubicBezTo>
                    <a:pt x="8" y="22"/>
                    <a:pt x="9" y="19"/>
                    <a:pt x="9" y="15"/>
                  </a:cubicBezTo>
                  <a:cubicBezTo>
                    <a:pt x="10" y="13"/>
                    <a:pt x="10" y="11"/>
                    <a:pt x="10" y="10"/>
                  </a:cubicBezTo>
                  <a:cubicBezTo>
                    <a:pt x="11" y="7"/>
                    <a:pt x="12" y="6"/>
                    <a:pt x="12" y="4"/>
                  </a:cubicBezTo>
                  <a:cubicBezTo>
                    <a:pt x="13" y="1"/>
                    <a:pt x="9" y="0"/>
                    <a:pt x="8" y="2"/>
                  </a:cubicBezTo>
                  <a:close/>
                </a:path>
              </a:pathLst>
            </a:custGeom>
            <a:solidFill>
              <a:srgbClr val="1C1D1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881" name="Freeform 516">
              <a:extLst>
                <a:ext uri="{FF2B5EF4-FFF2-40B4-BE49-F238E27FC236}">
                  <a16:creationId xmlns:a16="http://schemas.microsoft.com/office/drawing/2014/main" id="{92F65F03-4A35-46B5-A2EE-38AF9775298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360988" y="2743200"/>
              <a:ext cx="26988" cy="52388"/>
            </a:xfrm>
            <a:custGeom>
              <a:avLst/>
              <a:gdLst>
                <a:gd name="T0" fmla="*/ 11 w 16"/>
                <a:gd name="T1" fmla="*/ 3 h 32"/>
                <a:gd name="T2" fmla="*/ 6 w 16"/>
                <a:gd name="T3" fmla="*/ 14 h 32"/>
                <a:gd name="T4" fmla="*/ 2 w 16"/>
                <a:gd name="T5" fmla="*/ 26 h 32"/>
                <a:gd name="T6" fmla="*/ 7 w 16"/>
                <a:gd name="T7" fmla="*/ 29 h 32"/>
                <a:gd name="T8" fmla="*/ 12 w 16"/>
                <a:gd name="T9" fmla="*/ 19 h 32"/>
                <a:gd name="T10" fmla="*/ 16 w 16"/>
                <a:gd name="T11" fmla="*/ 4 h 32"/>
                <a:gd name="T12" fmla="*/ 11 w 16"/>
                <a:gd name="T13" fmla="*/ 3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" h="32">
                  <a:moveTo>
                    <a:pt x="11" y="3"/>
                  </a:moveTo>
                  <a:cubicBezTo>
                    <a:pt x="9" y="7"/>
                    <a:pt x="7" y="10"/>
                    <a:pt x="6" y="14"/>
                  </a:cubicBezTo>
                  <a:cubicBezTo>
                    <a:pt x="5" y="18"/>
                    <a:pt x="4" y="22"/>
                    <a:pt x="2" y="26"/>
                  </a:cubicBezTo>
                  <a:cubicBezTo>
                    <a:pt x="0" y="29"/>
                    <a:pt x="5" y="32"/>
                    <a:pt x="7" y="29"/>
                  </a:cubicBezTo>
                  <a:cubicBezTo>
                    <a:pt x="10" y="26"/>
                    <a:pt x="11" y="23"/>
                    <a:pt x="12" y="19"/>
                  </a:cubicBezTo>
                  <a:cubicBezTo>
                    <a:pt x="13" y="14"/>
                    <a:pt x="15" y="9"/>
                    <a:pt x="16" y="4"/>
                  </a:cubicBezTo>
                  <a:cubicBezTo>
                    <a:pt x="16" y="1"/>
                    <a:pt x="12" y="0"/>
                    <a:pt x="11" y="3"/>
                  </a:cubicBezTo>
                  <a:close/>
                </a:path>
              </a:pathLst>
            </a:custGeom>
            <a:solidFill>
              <a:srgbClr val="1C1D1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882" name="Freeform 517">
              <a:extLst>
                <a:ext uri="{FF2B5EF4-FFF2-40B4-BE49-F238E27FC236}">
                  <a16:creationId xmlns:a16="http://schemas.microsoft.com/office/drawing/2014/main" id="{3FFAB33D-0772-483F-AFDB-7A5E742621F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284788" y="2725738"/>
              <a:ext cx="34925" cy="60325"/>
            </a:xfrm>
            <a:custGeom>
              <a:avLst/>
              <a:gdLst>
                <a:gd name="T0" fmla="*/ 13 w 21"/>
                <a:gd name="T1" fmla="*/ 3 h 36"/>
                <a:gd name="T2" fmla="*/ 0 w 21"/>
                <a:gd name="T3" fmla="*/ 30 h 36"/>
                <a:gd name="T4" fmla="*/ 6 w 21"/>
                <a:gd name="T5" fmla="*/ 32 h 36"/>
                <a:gd name="T6" fmla="*/ 18 w 21"/>
                <a:gd name="T7" fmla="*/ 7 h 36"/>
                <a:gd name="T8" fmla="*/ 13 w 21"/>
                <a:gd name="T9" fmla="*/ 3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1" h="36">
                  <a:moveTo>
                    <a:pt x="13" y="3"/>
                  </a:moveTo>
                  <a:cubicBezTo>
                    <a:pt x="6" y="10"/>
                    <a:pt x="1" y="20"/>
                    <a:pt x="0" y="30"/>
                  </a:cubicBezTo>
                  <a:cubicBezTo>
                    <a:pt x="0" y="34"/>
                    <a:pt x="5" y="36"/>
                    <a:pt x="6" y="32"/>
                  </a:cubicBezTo>
                  <a:cubicBezTo>
                    <a:pt x="9" y="23"/>
                    <a:pt x="12" y="14"/>
                    <a:pt x="18" y="7"/>
                  </a:cubicBezTo>
                  <a:cubicBezTo>
                    <a:pt x="21" y="4"/>
                    <a:pt x="16" y="0"/>
                    <a:pt x="13" y="3"/>
                  </a:cubicBezTo>
                  <a:close/>
                </a:path>
              </a:pathLst>
            </a:custGeom>
            <a:solidFill>
              <a:srgbClr val="1C1D1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883" name="Freeform 518">
              <a:extLst>
                <a:ext uri="{FF2B5EF4-FFF2-40B4-BE49-F238E27FC236}">
                  <a16:creationId xmlns:a16="http://schemas.microsoft.com/office/drawing/2014/main" id="{2F90021F-EBB8-49C0-8802-7B60FF42B78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284788" y="3124200"/>
              <a:ext cx="180975" cy="104775"/>
            </a:xfrm>
            <a:custGeom>
              <a:avLst/>
              <a:gdLst>
                <a:gd name="T0" fmla="*/ 14 w 107"/>
                <a:gd name="T1" fmla="*/ 4 h 62"/>
                <a:gd name="T2" fmla="*/ 24 w 107"/>
                <a:gd name="T3" fmla="*/ 49 h 62"/>
                <a:gd name="T4" fmla="*/ 72 w 107"/>
                <a:gd name="T5" fmla="*/ 62 h 62"/>
                <a:gd name="T6" fmla="*/ 97 w 107"/>
                <a:gd name="T7" fmla="*/ 50 h 62"/>
                <a:gd name="T8" fmla="*/ 93 w 107"/>
                <a:gd name="T9" fmla="*/ 11 h 62"/>
                <a:gd name="T10" fmla="*/ 47 w 107"/>
                <a:gd name="T11" fmla="*/ 2 h 62"/>
                <a:gd name="T12" fmla="*/ 8 w 107"/>
                <a:gd name="T13" fmla="*/ 4 h 62"/>
                <a:gd name="T14" fmla="*/ 10 w 107"/>
                <a:gd name="T15" fmla="*/ 11 h 62"/>
                <a:gd name="T16" fmla="*/ 94 w 107"/>
                <a:gd name="T17" fmla="*/ 39 h 62"/>
                <a:gd name="T18" fmla="*/ 48 w 107"/>
                <a:gd name="T19" fmla="*/ 49 h 62"/>
                <a:gd name="T20" fmla="*/ 24 w 107"/>
                <a:gd name="T21" fmla="*/ 43 h 62"/>
                <a:gd name="T22" fmla="*/ 16 w 107"/>
                <a:gd name="T23" fmla="*/ 5 h 62"/>
                <a:gd name="T24" fmla="*/ 14 w 107"/>
                <a:gd name="T25" fmla="*/ 4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07" h="62">
                  <a:moveTo>
                    <a:pt x="14" y="4"/>
                  </a:moveTo>
                  <a:cubicBezTo>
                    <a:pt x="3" y="23"/>
                    <a:pt x="0" y="39"/>
                    <a:pt x="24" y="49"/>
                  </a:cubicBezTo>
                  <a:cubicBezTo>
                    <a:pt x="38" y="55"/>
                    <a:pt x="57" y="61"/>
                    <a:pt x="72" y="62"/>
                  </a:cubicBezTo>
                  <a:cubicBezTo>
                    <a:pt x="82" y="62"/>
                    <a:pt x="91" y="58"/>
                    <a:pt x="97" y="50"/>
                  </a:cubicBezTo>
                  <a:cubicBezTo>
                    <a:pt x="107" y="38"/>
                    <a:pt x="107" y="20"/>
                    <a:pt x="93" y="11"/>
                  </a:cubicBezTo>
                  <a:cubicBezTo>
                    <a:pt x="81" y="3"/>
                    <a:pt x="62" y="3"/>
                    <a:pt x="47" y="2"/>
                  </a:cubicBezTo>
                  <a:cubicBezTo>
                    <a:pt x="34" y="1"/>
                    <a:pt x="21" y="0"/>
                    <a:pt x="8" y="4"/>
                  </a:cubicBezTo>
                  <a:cubicBezTo>
                    <a:pt x="3" y="5"/>
                    <a:pt x="6" y="11"/>
                    <a:pt x="10" y="11"/>
                  </a:cubicBezTo>
                  <a:cubicBezTo>
                    <a:pt x="28" y="11"/>
                    <a:pt x="107" y="5"/>
                    <a:pt x="94" y="39"/>
                  </a:cubicBezTo>
                  <a:cubicBezTo>
                    <a:pt x="86" y="58"/>
                    <a:pt x="64" y="52"/>
                    <a:pt x="48" y="49"/>
                  </a:cubicBezTo>
                  <a:cubicBezTo>
                    <a:pt x="40" y="47"/>
                    <a:pt x="32" y="46"/>
                    <a:pt x="24" y="43"/>
                  </a:cubicBezTo>
                  <a:cubicBezTo>
                    <a:pt x="8" y="35"/>
                    <a:pt x="10" y="20"/>
                    <a:pt x="16" y="5"/>
                  </a:cubicBezTo>
                  <a:cubicBezTo>
                    <a:pt x="17" y="4"/>
                    <a:pt x="15" y="3"/>
                    <a:pt x="14" y="4"/>
                  </a:cubicBezTo>
                  <a:close/>
                </a:path>
              </a:pathLst>
            </a:custGeom>
            <a:solidFill>
              <a:srgbClr val="1C1D1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884" name="Freeform 519">
              <a:extLst>
                <a:ext uri="{FF2B5EF4-FFF2-40B4-BE49-F238E27FC236}">
                  <a16:creationId xmlns:a16="http://schemas.microsoft.com/office/drawing/2014/main" id="{7BF700DA-5FE2-4B4F-8565-D476AD76E81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792788" y="3221038"/>
              <a:ext cx="147638" cy="106363"/>
            </a:xfrm>
            <a:custGeom>
              <a:avLst/>
              <a:gdLst>
                <a:gd name="T0" fmla="*/ 18 w 88"/>
                <a:gd name="T1" fmla="*/ 2 h 63"/>
                <a:gd name="T2" fmla="*/ 3 w 88"/>
                <a:gd name="T3" fmla="*/ 38 h 63"/>
                <a:gd name="T4" fmla="*/ 5 w 88"/>
                <a:gd name="T5" fmla="*/ 56 h 63"/>
                <a:gd name="T6" fmla="*/ 35 w 88"/>
                <a:gd name="T7" fmla="*/ 61 h 63"/>
                <a:gd name="T8" fmla="*/ 60 w 88"/>
                <a:gd name="T9" fmla="*/ 59 h 63"/>
                <a:gd name="T10" fmla="*/ 85 w 88"/>
                <a:gd name="T11" fmla="*/ 57 h 63"/>
                <a:gd name="T12" fmla="*/ 85 w 88"/>
                <a:gd name="T13" fmla="*/ 51 h 63"/>
                <a:gd name="T14" fmla="*/ 28 w 88"/>
                <a:gd name="T15" fmla="*/ 52 h 63"/>
                <a:gd name="T16" fmla="*/ 9 w 88"/>
                <a:gd name="T17" fmla="*/ 48 h 63"/>
                <a:gd name="T18" fmla="*/ 13 w 88"/>
                <a:gd name="T19" fmla="*/ 32 h 63"/>
                <a:gd name="T20" fmla="*/ 21 w 88"/>
                <a:gd name="T21" fmla="*/ 4 h 63"/>
                <a:gd name="T22" fmla="*/ 18 w 88"/>
                <a:gd name="T23" fmla="*/ 2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88" h="63">
                  <a:moveTo>
                    <a:pt x="18" y="2"/>
                  </a:moveTo>
                  <a:cubicBezTo>
                    <a:pt x="12" y="14"/>
                    <a:pt x="7" y="26"/>
                    <a:pt x="3" y="38"/>
                  </a:cubicBezTo>
                  <a:cubicBezTo>
                    <a:pt x="1" y="44"/>
                    <a:pt x="0" y="51"/>
                    <a:pt x="5" y="56"/>
                  </a:cubicBezTo>
                  <a:cubicBezTo>
                    <a:pt x="11" y="63"/>
                    <a:pt x="26" y="61"/>
                    <a:pt x="35" y="61"/>
                  </a:cubicBezTo>
                  <a:cubicBezTo>
                    <a:pt x="43" y="60"/>
                    <a:pt x="51" y="59"/>
                    <a:pt x="60" y="59"/>
                  </a:cubicBezTo>
                  <a:cubicBezTo>
                    <a:pt x="68" y="59"/>
                    <a:pt x="77" y="60"/>
                    <a:pt x="85" y="57"/>
                  </a:cubicBezTo>
                  <a:cubicBezTo>
                    <a:pt x="88" y="56"/>
                    <a:pt x="88" y="52"/>
                    <a:pt x="85" y="51"/>
                  </a:cubicBezTo>
                  <a:cubicBezTo>
                    <a:pt x="68" y="46"/>
                    <a:pt x="45" y="52"/>
                    <a:pt x="28" y="52"/>
                  </a:cubicBezTo>
                  <a:cubicBezTo>
                    <a:pt x="22" y="53"/>
                    <a:pt x="12" y="55"/>
                    <a:pt x="9" y="48"/>
                  </a:cubicBezTo>
                  <a:cubicBezTo>
                    <a:pt x="7" y="44"/>
                    <a:pt x="12" y="34"/>
                    <a:pt x="13" y="32"/>
                  </a:cubicBezTo>
                  <a:cubicBezTo>
                    <a:pt x="15" y="22"/>
                    <a:pt x="18" y="13"/>
                    <a:pt x="21" y="4"/>
                  </a:cubicBezTo>
                  <a:cubicBezTo>
                    <a:pt x="22" y="2"/>
                    <a:pt x="19" y="0"/>
                    <a:pt x="18" y="2"/>
                  </a:cubicBezTo>
                  <a:close/>
                </a:path>
              </a:pathLst>
            </a:custGeom>
            <a:solidFill>
              <a:srgbClr val="1C1D1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885" name="Freeform 520">
              <a:extLst>
                <a:ext uri="{FF2B5EF4-FFF2-40B4-BE49-F238E27FC236}">
                  <a16:creationId xmlns:a16="http://schemas.microsoft.com/office/drawing/2014/main" id="{52510888-C3BB-4C33-B638-04FB38954D0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811838" y="3219450"/>
              <a:ext cx="125413" cy="90488"/>
            </a:xfrm>
            <a:custGeom>
              <a:avLst/>
              <a:gdLst>
                <a:gd name="T0" fmla="*/ 3 w 75"/>
                <a:gd name="T1" fmla="*/ 7 h 54"/>
                <a:gd name="T2" fmla="*/ 38 w 75"/>
                <a:gd name="T3" fmla="*/ 31 h 54"/>
                <a:gd name="T4" fmla="*/ 68 w 75"/>
                <a:gd name="T5" fmla="*/ 52 h 54"/>
                <a:gd name="T6" fmla="*/ 72 w 75"/>
                <a:gd name="T7" fmla="*/ 46 h 54"/>
                <a:gd name="T8" fmla="*/ 29 w 75"/>
                <a:gd name="T9" fmla="*/ 13 h 54"/>
                <a:gd name="T10" fmla="*/ 2 w 75"/>
                <a:gd name="T11" fmla="*/ 3 h 54"/>
                <a:gd name="T12" fmla="*/ 3 w 75"/>
                <a:gd name="T13" fmla="*/ 7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5" h="54">
                  <a:moveTo>
                    <a:pt x="3" y="7"/>
                  </a:moveTo>
                  <a:cubicBezTo>
                    <a:pt x="16" y="6"/>
                    <a:pt x="29" y="24"/>
                    <a:pt x="38" y="31"/>
                  </a:cubicBezTo>
                  <a:cubicBezTo>
                    <a:pt x="48" y="39"/>
                    <a:pt x="57" y="48"/>
                    <a:pt x="68" y="52"/>
                  </a:cubicBezTo>
                  <a:cubicBezTo>
                    <a:pt x="72" y="54"/>
                    <a:pt x="75" y="48"/>
                    <a:pt x="72" y="46"/>
                  </a:cubicBezTo>
                  <a:cubicBezTo>
                    <a:pt x="56" y="37"/>
                    <a:pt x="43" y="25"/>
                    <a:pt x="29" y="13"/>
                  </a:cubicBezTo>
                  <a:cubicBezTo>
                    <a:pt x="21" y="6"/>
                    <a:pt x="13" y="0"/>
                    <a:pt x="2" y="3"/>
                  </a:cubicBezTo>
                  <a:cubicBezTo>
                    <a:pt x="0" y="3"/>
                    <a:pt x="1" y="7"/>
                    <a:pt x="3" y="7"/>
                  </a:cubicBezTo>
                  <a:close/>
                </a:path>
              </a:pathLst>
            </a:custGeom>
            <a:solidFill>
              <a:srgbClr val="1C1D1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886" name="Freeform 521">
              <a:extLst>
                <a:ext uri="{FF2B5EF4-FFF2-40B4-BE49-F238E27FC236}">
                  <a16:creationId xmlns:a16="http://schemas.microsoft.com/office/drawing/2014/main" id="{334CA517-6F31-4AD9-A1F2-7596E3722E1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965825" y="2997200"/>
              <a:ext cx="79375" cy="36513"/>
            </a:xfrm>
            <a:custGeom>
              <a:avLst/>
              <a:gdLst>
                <a:gd name="T0" fmla="*/ 2 w 47"/>
                <a:gd name="T1" fmla="*/ 4 h 21"/>
                <a:gd name="T2" fmla="*/ 43 w 47"/>
                <a:gd name="T3" fmla="*/ 20 h 21"/>
                <a:gd name="T4" fmla="*/ 45 w 47"/>
                <a:gd name="T5" fmla="*/ 16 h 21"/>
                <a:gd name="T6" fmla="*/ 26 w 47"/>
                <a:gd name="T7" fmla="*/ 8 h 21"/>
                <a:gd name="T8" fmla="*/ 4 w 47"/>
                <a:gd name="T9" fmla="*/ 1 h 21"/>
                <a:gd name="T10" fmla="*/ 2 w 47"/>
                <a:gd name="T11" fmla="*/ 4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7" h="21">
                  <a:moveTo>
                    <a:pt x="2" y="4"/>
                  </a:moveTo>
                  <a:cubicBezTo>
                    <a:pt x="13" y="13"/>
                    <a:pt x="30" y="17"/>
                    <a:pt x="43" y="20"/>
                  </a:cubicBezTo>
                  <a:cubicBezTo>
                    <a:pt x="46" y="21"/>
                    <a:pt x="47" y="17"/>
                    <a:pt x="45" y="16"/>
                  </a:cubicBezTo>
                  <a:cubicBezTo>
                    <a:pt x="39" y="13"/>
                    <a:pt x="33" y="10"/>
                    <a:pt x="26" y="8"/>
                  </a:cubicBezTo>
                  <a:cubicBezTo>
                    <a:pt x="19" y="6"/>
                    <a:pt x="11" y="4"/>
                    <a:pt x="4" y="1"/>
                  </a:cubicBezTo>
                  <a:cubicBezTo>
                    <a:pt x="2" y="0"/>
                    <a:pt x="0" y="2"/>
                    <a:pt x="2" y="4"/>
                  </a:cubicBezTo>
                  <a:close/>
                </a:path>
              </a:pathLst>
            </a:custGeom>
            <a:solidFill>
              <a:srgbClr val="1C1D1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887" name="Freeform 522">
              <a:extLst>
                <a:ext uri="{FF2B5EF4-FFF2-40B4-BE49-F238E27FC236}">
                  <a16:creationId xmlns:a16="http://schemas.microsoft.com/office/drawing/2014/main" id="{FC9B12C9-286F-439E-A700-C36192954A6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986463" y="3032125"/>
              <a:ext cx="42863" cy="15875"/>
            </a:xfrm>
            <a:custGeom>
              <a:avLst/>
              <a:gdLst>
                <a:gd name="T0" fmla="*/ 2 w 25"/>
                <a:gd name="T1" fmla="*/ 4 h 10"/>
                <a:gd name="T2" fmla="*/ 22 w 25"/>
                <a:gd name="T3" fmla="*/ 10 h 10"/>
                <a:gd name="T4" fmla="*/ 23 w 25"/>
                <a:gd name="T5" fmla="*/ 7 h 10"/>
                <a:gd name="T6" fmla="*/ 4 w 25"/>
                <a:gd name="T7" fmla="*/ 1 h 10"/>
                <a:gd name="T8" fmla="*/ 2 w 25"/>
                <a:gd name="T9" fmla="*/ 4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5" h="10">
                  <a:moveTo>
                    <a:pt x="2" y="4"/>
                  </a:moveTo>
                  <a:cubicBezTo>
                    <a:pt x="8" y="7"/>
                    <a:pt x="15" y="9"/>
                    <a:pt x="22" y="10"/>
                  </a:cubicBezTo>
                  <a:cubicBezTo>
                    <a:pt x="24" y="10"/>
                    <a:pt x="25" y="8"/>
                    <a:pt x="23" y="7"/>
                  </a:cubicBezTo>
                  <a:cubicBezTo>
                    <a:pt x="17" y="5"/>
                    <a:pt x="10" y="4"/>
                    <a:pt x="4" y="1"/>
                  </a:cubicBezTo>
                  <a:cubicBezTo>
                    <a:pt x="2" y="0"/>
                    <a:pt x="0" y="3"/>
                    <a:pt x="2" y="4"/>
                  </a:cubicBezTo>
                  <a:close/>
                </a:path>
              </a:pathLst>
            </a:custGeom>
            <a:solidFill>
              <a:srgbClr val="1C1D1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888" name="Freeform 523">
              <a:extLst>
                <a:ext uri="{FF2B5EF4-FFF2-40B4-BE49-F238E27FC236}">
                  <a16:creationId xmlns:a16="http://schemas.microsoft.com/office/drawing/2014/main" id="{05E37945-283C-4D2D-85AA-C84855F57A2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278438" y="2862263"/>
              <a:ext cx="276225" cy="60325"/>
            </a:xfrm>
            <a:custGeom>
              <a:avLst/>
              <a:gdLst>
                <a:gd name="T0" fmla="*/ 1 w 164"/>
                <a:gd name="T1" fmla="*/ 3 h 36"/>
                <a:gd name="T2" fmla="*/ 160 w 164"/>
                <a:gd name="T3" fmla="*/ 36 h 36"/>
                <a:gd name="T4" fmla="*/ 161 w 164"/>
                <a:gd name="T5" fmla="*/ 32 h 36"/>
                <a:gd name="T6" fmla="*/ 83 w 164"/>
                <a:gd name="T7" fmla="*/ 18 h 36"/>
                <a:gd name="T8" fmla="*/ 2 w 164"/>
                <a:gd name="T9" fmla="*/ 0 h 36"/>
                <a:gd name="T10" fmla="*/ 1 w 164"/>
                <a:gd name="T11" fmla="*/ 3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64" h="36">
                  <a:moveTo>
                    <a:pt x="1" y="3"/>
                  </a:moveTo>
                  <a:cubicBezTo>
                    <a:pt x="54" y="16"/>
                    <a:pt x="107" y="27"/>
                    <a:pt x="160" y="36"/>
                  </a:cubicBezTo>
                  <a:cubicBezTo>
                    <a:pt x="163" y="36"/>
                    <a:pt x="164" y="32"/>
                    <a:pt x="161" y="32"/>
                  </a:cubicBezTo>
                  <a:cubicBezTo>
                    <a:pt x="135" y="25"/>
                    <a:pt x="109" y="22"/>
                    <a:pt x="83" y="18"/>
                  </a:cubicBezTo>
                  <a:cubicBezTo>
                    <a:pt x="55" y="13"/>
                    <a:pt x="29" y="6"/>
                    <a:pt x="2" y="0"/>
                  </a:cubicBezTo>
                  <a:cubicBezTo>
                    <a:pt x="0" y="0"/>
                    <a:pt x="0" y="3"/>
                    <a:pt x="1" y="3"/>
                  </a:cubicBezTo>
                  <a:close/>
                </a:path>
              </a:pathLst>
            </a:custGeom>
            <a:solidFill>
              <a:srgbClr val="1C1D1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889" name="Freeform 524">
              <a:extLst>
                <a:ext uri="{FF2B5EF4-FFF2-40B4-BE49-F238E27FC236}">
                  <a16:creationId xmlns:a16="http://schemas.microsoft.com/office/drawing/2014/main" id="{DEB122F1-A412-4236-B109-C9FD22A642A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568950" y="2916238"/>
              <a:ext cx="33338" cy="26988"/>
            </a:xfrm>
            <a:custGeom>
              <a:avLst/>
              <a:gdLst>
                <a:gd name="T0" fmla="*/ 3 w 20"/>
                <a:gd name="T1" fmla="*/ 5 h 16"/>
                <a:gd name="T2" fmla="*/ 16 w 20"/>
                <a:gd name="T3" fmla="*/ 15 h 16"/>
                <a:gd name="T4" fmla="*/ 19 w 20"/>
                <a:gd name="T5" fmla="*/ 12 h 16"/>
                <a:gd name="T6" fmla="*/ 4 w 20"/>
                <a:gd name="T7" fmla="*/ 1 h 16"/>
                <a:gd name="T8" fmla="*/ 3 w 20"/>
                <a:gd name="T9" fmla="*/ 5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" h="16">
                  <a:moveTo>
                    <a:pt x="3" y="5"/>
                  </a:moveTo>
                  <a:cubicBezTo>
                    <a:pt x="7" y="8"/>
                    <a:pt x="12" y="11"/>
                    <a:pt x="16" y="15"/>
                  </a:cubicBezTo>
                  <a:cubicBezTo>
                    <a:pt x="17" y="16"/>
                    <a:pt x="20" y="14"/>
                    <a:pt x="19" y="12"/>
                  </a:cubicBezTo>
                  <a:cubicBezTo>
                    <a:pt x="15" y="7"/>
                    <a:pt x="10" y="4"/>
                    <a:pt x="4" y="1"/>
                  </a:cubicBezTo>
                  <a:cubicBezTo>
                    <a:pt x="2" y="0"/>
                    <a:pt x="0" y="4"/>
                    <a:pt x="3" y="5"/>
                  </a:cubicBezTo>
                  <a:close/>
                </a:path>
              </a:pathLst>
            </a:custGeom>
            <a:solidFill>
              <a:srgbClr val="1C1D1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890" name="Freeform 525">
              <a:extLst>
                <a:ext uri="{FF2B5EF4-FFF2-40B4-BE49-F238E27FC236}">
                  <a16:creationId xmlns:a16="http://schemas.microsoft.com/office/drawing/2014/main" id="{D5BBD87D-7C5C-4952-A630-DADE9710732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611813" y="2936875"/>
              <a:ext cx="34925" cy="22225"/>
            </a:xfrm>
            <a:custGeom>
              <a:avLst/>
              <a:gdLst>
                <a:gd name="T0" fmla="*/ 3 w 21"/>
                <a:gd name="T1" fmla="*/ 8 h 13"/>
                <a:gd name="T2" fmla="*/ 16 w 21"/>
                <a:gd name="T3" fmla="*/ 12 h 13"/>
                <a:gd name="T4" fmla="*/ 20 w 21"/>
                <a:gd name="T5" fmla="*/ 10 h 13"/>
                <a:gd name="T6" fmla="*/ 18 w 21"/>
                <a:gd name="T7" fmla="*/ 6 h 13"/>
                <a:gd name="T8" fmla="*/ 8 w 21"/>
                <a:gd name="T9" fmla="*/ 2 h 13"/>
                <a:gd name="T10" fmla="*/ 3 w 21"/>
                <a:gd name="T11" fmla="*/ 8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1" h="13">
                  <a:moveTo>
                    <a:pt x="3" y="8"/>
                  </a:moveTo>
                  <a:cubicBezTo>
                    <a:pt x="7" y="10"/>
                    <a:pt x="12" y="12"/>
                    <a:pt x="16" y="12"/>
                  </a:cubicBezTo>
                  <a:cubicBezTo>
                    <a:pt x="18" y="13"/>
                    <a:pt x="20" y="12"/>
                    <a:pt x="20" y="10"/>
                  </a:cubicBezTo>
                  <a:cubicBezTo>
                    <a:pt x="21" y="9"/>
                    <a:pt x="20" y="6"/>
                    <a:pt x="18" y="6"/>
                  </a:cubicBezTo>
                  <a:cubicBezTo>
                    <a:pt x="15" y="5"/>
                    <a:pt x="11" y="4"/>
                    <a:pt x="8" y="2"/>
                  </a:cubicBezTo>
                  <a:cubicBezTo>
                    <a:pt x="4" y="0"/>
                    <a:pt x="0" y="5"/>
                    <a:pt x="3" y="8"/>
                  </a:cubicBezTo>
                  <a:close/>
                </a:path>
              </a:pathLst>
            </a:custGeom>
            <a:solidFill>
              <a:srgbClr val="1C1D1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891" name="Freeform 526">
              <a:extLst>
                <a:ext uri="{FF2B5EF4-FFF2-40B4-BE49-F238E27FC236}">
                  <a16:creationId xmlns:a16="http://schemas.microsoft.com/office/drawing/2014/main" id="{25A93A76-49A9-4F09-9F46-9EBCC0EC215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689600" y="2949575"/>
              <a:ext cx="234950" cy="65088"/>
            </a:xfrm>
            <a:custGeom>
              <a:avLst/>
              <a:gdLst>
                <a:gd name="T0" fmla="*/ 3 w 140"/>
                <a:gd name="T1" fmla="*/ 6 h 39"/>
                <a:gd name="T2" fmla="*/ 65 w 140"/>
                <a:gd name="T3" fmla="*/ 25 h 39"/>
                <a:gd name="T4" fmla="*/ 135 w 140"/>
                <a:gd name="T5" fmla="*/ 38 h 39"/>
                <a:gd name="T6" fmla="*/ 136 w 140"/>
                <a:gd name="T7" fmla="*/ 32 h 39"/>
                <a:gd name="T8" fmla="*/ 64 w 140"/>
                <a:gd name="T9" fmla="*/ 15 h 39"/>
                <a:gd name="T10" fmla="*/ 5 w 140"/>
                <a:gd name="T11" fmla="*/ 1 h 39"/>
                <a:gd name="T12" fmla="*/ 3 w 140"/>
                <a:gd name="T13" fmla="*/ 6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0" h="39">
                  <a:moveTo>
                    <a:pt x="3" y="6"/>
                  </a:moveTo>
                  <a:cubicBezTo>
                    <a:pt x="21" y="16"/>
                    <a:pt x="45" y="20"/>
                    <a:pt x="65" y="25"/>
                  </a:cubicBezTo>
                  <a:cubicBezTo>
                    <a:pt x="88" y="30"/>
                    <a:pt x="111" y="35"/>
                    <a:pt x="135" y="38"/>
                  </a:cubicBezTo>
                  <a:cubicBezTo>
                    <a:pt x="138" y="39"/>
                    <a:pt x="140" y="33"/>
                    <a:pt x="136" y="32"/>
                  </a:cubicBezTo>
                  <a:cubicBezTo>
                    <a:pt x="112" y="25"/>
                    <a:pt x="88" y="20"/>
                    <a:pt x="64" y="15"/>
                  </a:cubicBezTo>
                  <a:cubicBezTo>
                    <a:pt x="45" y="12"/>
                    <a:pt x="23" y="9"/>
                    <a:pt x="5" y="1"/>
                  </a:cubicBezTo>
                  <a:cubicBezTo>
                    <a:pt x="2" y="0"/>
                    <a:pt x="0" y="5"/>
                    <a:pt x="3" y="6"/>
                  </a:cubicBezTo>
                  <a:close/>
                </a:path>
              </a:pathLst>
            </a:custGeom>
            <a:solidFill>
              <a:srgbClr val="1C1D1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892" name="Freeform 527">
              <a:extLst>
                <a:ext uri="{FF2B5EF4-FFF2-40B4-BE49-F238E27FC236}">
                  <a16:creationId xmlns:a16="http://schemas.microsoft.com/office/drawing/2014/main" id="{39F8F7A8-2C36-4FDB-8953-730DEB949FA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735638" y="1025525"/>
              <a:ext cx="120650" cy="1843088"/>
            </a:xfrm>
            <a:custGeom>
              <a:avLst/>
              <a:gdLst>
                <a:gd name="T0" fmla="*/ 42 w 72"/>
                <a:gd name="T1" fmla="*/ 5 h 1097"/>
                <a:gd name="T2" fmla="*/ 45 w 72"/>
                <a:gd name="T3" fmla="*/ 53 h 1097"/>
                <a:gd name="T4" fmla="*/ 47 w 72"/>
                <a:gd name="T5" fmla="*/ 111 h 1097"/>
                <a:gd name="T6" fmla="*/ 54 w 72"/>
                <a:gd name="T7" fmla="*/ 220 h 1097"/>
                <a:gd name="T8" fmla="*/ 52 w 72"/>
                <a:gd name="T9" fmla="*/ 436 h 1097"/>
                <a:gd name="T10" fmla="*/ 9 w 72"/>
                <a:gd name="T11" fmla="*/ 868 h 1097"/>
                <a:gd name="T12" fmla="*/ 5 w 72"/>
                <a:gd name="T13" fmla="*/ 980 h 1097"/>
                <a:gd name="T14" fmla="*/ 11 w 72"/>
                <a:gd name="T15" fmla="*/ 1087 h 1097"/>
                <a:gd name="T16" fmla="*/ 24 w 72"/>
                <a:gd name="T17" fmla="*/ 1081 h 1097"/>
                <a:gd name="T18" fmla="*/ 19 w 72"/>
                <a:gd name="T19" fmla="*/ 1076 h 1097"/>
                <a:gd name="T20" fmla="*/ 8 w 72"/>
                <a:gd name="T21" fmla="*/ 1088 h 1097"/>
                <a:gd name="T22" fmla="*/ 13 w 72"/>
                <a:gd name="T23" fmla="*/ 1092 h 1097"/>
                <a:gd name="T24" fmla="*/ 27 w 72"/>
                <a:gd name="T25" fmla="*/ 1087 h 1097"/>
                <a:gd name="T26" fmla="*/ 22 w 72"/>
                <a:gd name="T27" fmla="*/ 988 h 1097"/>
                <a:gd name="T28" fmla="*/ 25 w 72"/>
                <a:gd name="T29" fmla="*/ 879 h 1097"/>
                <a:gd name="T30" fmla="*/ 46 w 72"/>
                <a:gd name="T31" fmla="*/ 660 h 1097"/>
                <a:gd name="T32" fmla="*/ 68 w 72"/>
                <a:gd name="T33" fmla="*/ 433 h 1097"/>
                <a:gd name="T34" fmla="*/ 67 w 72"/>
                <a:gd name="T35" fmla="*/ 220 h 1097"/>
                <a:gd name="T36" fmla="*/ 58 w 72"/>
                <a:gd name="T37" fmla="*/ 107 h 1097"/>
                <a:gd name="T38" fmla="*/ 55 w 72"/>
                <a:gd name="T39" fmla="*/ 42 h 1097"/>
                <a:gd name="T40" fmla="*/ 47 w 72"/>
                <a:gd name="T41" fmla="*/ 3 h 1097"/>
                <a:gd name="T42" fmla="*/ 42 w 72"/>
                <a:gd name="T43" fmla="*/ 5 h 10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72" h="1097">
                  <a:moveTo>
                    <a:pt x="42" y="5"/>
                  </a:moveTo>
                  <a:cubicBezTo>
                    <a:pt x="49" y="21"/>
                    <a:pt x="46" y="37"/>
                    <a:pt x="45" y="53"/>
                  </a:cubicBezTo>
                  <a:cubicBezTo>
                    <a:pt x="44" y="72"/>
                    <a:pt x="46" y="92"/>
                    <a:pt x="47" y="111"/>
                  </a:cubicBezTo>
                  <a:cubicBezTo>
                    <a:pt x="51" y="147"/>
                    <a:pt x="54" y="183"/>
                    <a:pt x="54" y="220"/>
                  </a:cubicBezTo>
                  <a:cubicBezTo>
                    <a:pt x="54" y="292"/>
                    <a:pt x="57" y="364"/>
                    <a:pt x="52" y="436"/>
                  </a:cubicBezTo>
                  <a:cubicBezTo>
                    <a:pt x="42" y="580"/>
                    <a:pt x="19" y="724"/>
                    <a:pt x="9" y="868"/>
                  </a:cubicBezTo>
                  <a:cubicBezTo>
                    <a:pt x="6" y="905"/>
                    <a:pt x="5" y="942"/>
                    <a:pt x="5" y="980"/>
                  </a:cubicBezTo>
                  <a:cubicBezTo>
                    <a:pt x="5" y="1016"/>
                    <a:pt x="9" y="1051"/>
                    <a:pt x="11" y="1087"/>
                  </a:cubicBezTo>
                  <a:cubicBezTo>
                    <a:pt x="15" y="1085"/>
                    <a:pt x="20" y="1083"/>
                    <a:pt x="24" y="1081"/>
                  </a:cubicBezTo>
                  <a:cubicBezTo>
                    <a:pt x="23" y="1079"/>
                    <a:pt x="21" y="1078"/>
                    <a:pt x="19" y="1076"/>
                  </a:cubicBezTo>
                  <a:cubicBezTo>
                    <a:pt x="12" y="1069"/>
                    <a:pt x="0" y="1080"/>
                    <a:pt x="8" y="1088"/>
                  </a:cubicBezTo>
                  <a:cubicBezTo>
                    <a:pt x="10" y="1089"/>
                    <a:pt x="11" y="1091"/>
                    <a:pt x="13" y="1092"/>
                  </a:cubicBezTo>
                  <a:cubicBezTo>
                    <a:pt x="18" y="1097"/>
                    <a:pt x="27" y="1094"/>
                    <a:pt x="27" y="1087"/>
                  </a:cubicBezTo>
                  <a:cubicBezTo>
                    <a:pt x="26" y="1054"/>
                    <a:pt x="22" y="1021"/>
                    <a:pt x="22" y="988"/>
                  </a:cubicBezTo>
                  <a:cubicBezTo>
                    <a:pt x="22" y="952"/>
                    <a:pt x="23" y="915"/>
                    <a:pt x="25" y="879"/>
                  </a:cubicBezTo>
                  <a:cubicBezTo>
                    <a:pt x="30" y="805"/>
                    <a:pt x="38" y="733"/>
                    <a:pt x="46" y="660"/>
                  </a:cubicBezTo>
                  <a:cubicBezTo>
                    <a:pt x="54" y="584"/>
                    <a:pt x="63" y="508"/>
                    <a:pt x="68" y="433"/>
                  </a:cubicBezTo>
                  <a:cubicBezTo>
                    <a:pt x="72" y="362"/>
                    <a:pt x="68" y="291"/>
                    <a:pt x="67" y="220"/>
                  </a:cubicBezTo>
                  <a:cubicBezTo>
                    <a:pt x="66" y="182"/>
                    <a:pt x="62" y="145"/>
                    <a:pt x="58" y="107"/>
                  </a:cubicBezTo>
                  <a:cubicBezTo>
                    <a:pt x="56" y="85"/>
                    <a:pt x="54" y="64"/>
                    <a:pt x="55" y="42"/>
                  </a:cubicBezTo>
                  <a:cubicBezTo>
                    <a:pt x="55" y="27"/>
                    <a:pt x="54" y="16"/>
                    <a:pt x="47" y="3"/>
                  </a:cubicBezTo>
                  <a:cubicBezTo>
                    <a:pt x="45" y="0"/>
                    <a:pt x="41" y="2"/>
                    <a:pt x="42" y="5"/>
                  </a:cubicBezTo>
                  <a:close/>
                </a:path>
              </a:pathLst>
            </a:custGeom>
            <a:solidFill>
              <a:srgbClr val="04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</p:grpSp>
      <p:sp>
        <p:nvSpPr>
          <p:cNvPr id="9802" name="标题 1"/>
          <p:cNvSpPr>
            <a:spLocks noGrp="1"/>
          </p:cNvSpPr>
          <p:nvPr userDrawn="1">
            <p:ph type="ctrTitle"/>
          </p:nvPr>
        </p:nvSpPr>
        <p:spPr>
          <a:xfrm>
            <a:off x="2039657" y="3375212"/>
            <a:ext cx="8112686" cy="1882587"/>
          </a:xfrm>
        </p:spPr>
        <p:txBody>
          <a:bodyPr anchor="ctr">
            <a:normAutofit/>
          </a:bodyPr>
          <a:lstStyle>
            <a:lvl1pPr algn="ctr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zh-CN" altLang="en-US"/>
          </a:p>
        </p:txBody>
      </p:sp>
      <p:sp>
        <p:nvSpPr>
          <p:cNvPr id="12" name="文本占位符 13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673099" y="5544733"/>
            <a:ext cx="10845800" cy="296271"/>
          </a:xfrm>
        </p:spPr>
        <p:txBody>
          <a:bodyPr vert="horz" anchor="ctr">
            <a:noAutofit/>
          </a:bodyPr>
          <a:lstStyle>
            <a:lvl1pPr marL="0" indent="0" algn="r">
              <a:buNone/>
              <a:defRPr sz="1500" b="0">
                <a:solidFill>
                  <a:schemeClr val="tx1"/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/>
              <a:t>Signature</a:t>
            </a:r>
          </a:p>
        </p:txBody>
      </p:sp>
      <p:sp>
        <p:nvSpPr>
          <p:cNvPr id="13" name="文本占位符 13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673099" y="5841004"/>
            <a:ext cx="10845800" cy="296271"/>
          </a:xfrm>
        </p:spPr>
        <p:txBody>
          <a:bodyPr vert="horz" anchor="ctr">
            <a:noAutofit/>
          </a:bodyPr>
          <a:lstStyle>
            <a:lvl1pPr marL="0" indent="0" algn="r">
              <a:buNone/>
              <a:defRPr sz="1500" b="0">
                <a:solidFill>
                  <a:schemeClr val="tx1"/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/>
              <a:t>Date</a:t>
            </a:r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88258688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 userDrawn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矩形 1">
            <a:extLst>
              <a:ext uri="{FF2B5EF4-FFF2-40B4-BE49-F238E27FC236}">
                <a16:creationId xmlns:a16="http://schemas.microsoft.com/office/drawing/2014/main" id="{24069978-0592-440B-85D1-62E627DF6743}"/>
              </a:ext>
            </a:extLst>
          </p:cNvPr>
          <p:cNvSpPr/>
          <p:nvPr userDrawn="1"/>
        </p:nvSpPr>
        <p:spPr>
          <a:xfrm>
            <a:off x="0" y="5963478"/>
            <a:ext cx="12192000" cy="894521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标题 1"/>
          <p:cNvSpPr>
            <a:spLocks noGrp="1"/>
          </p:cNvSpPr>
          <p:nvPr userDrawn="1">
            <p:ph type="title"/>
          </p:nvPr>
        </p:nvSpPr>
        <p:spPr>
          <a:xfrm>
            <a:off x="4899828" y="4029529"/>
            <a:ext cx="5419185" cy="895350"/>
          </a:xfrm>
        </p:spPr>
        <p:txBody>
          <a:bodyPr anchor="b">
            <a:normAutofit/>
          </a:bodyPr>
          <a:lstStyle>
            <a:lvl1pPr algn="l">
              <a:defRPr sz="2400" b="1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zh-CN" altLang="en-US"/>
          </a:p>
        </p:txBody>
      </p:sp>
      <p:sp>
        <p:nvSpPr>
          <p:cNvPr id="21" name="文本占位符 2"/>
          <p:cNvSpPr>
            <a:spLocks noGrp="1"/>
          </p:cNvSpPr>
          <p:nvPr userDrawn="1">
            <p:ph type="body" idx="1"/>
          </p:nvPr>
        </p:nvSpPr>
        <p:spPr>
          <a:xfrm>
            <a:off x="4900944" y="4924879"/>
            <a:ext cx="5419185" cy="1015623"/>
          </a:xfrm>
        </p:spPr>
        <p:txBody>
          <a:bodyPr anchor="t">
            <a:normAutofit/>
          </a:bodyPr>
          <a:lstStyle>
            <a:lvl1pPr marL="0" indent="0" algn="l">
              <a:lnSpc>
                <a:spcPct val="100000"/>
              </a:lnSpc>
              <a:buNone/>
              <a:defRPr sz="1100">
                <a:solidFill>
                  <a:schemeClr val="tx1"/>
                </a:solidFill>
              </a:defRPr>
            </a:lvl1pPr>
            <a:lvl2pPr marL="457178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54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3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88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06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24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41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grpSp>
        <p:nvGrpSpPr>
          <p:cNvPr id="534" name="组合 533">
            <a:extLst>
              <a:ext uri="{FF2B5EF4-FFF2-40B4-BE49-F238E27FC236}">
                <a16:creationId xmlns:a16="http://schemas.microsoft.com/office/drawing/2014/main" id="{2EEFF8CE-AEFA-41FB-8114-7343B9EEAE08}"/>
              </a:ext>
            </a:extLst>
          </p:cNvPr>
          <p:cNvGrpSpPr/>
          <p:nvPr userDrawn="1"/>
        </p:nvGrpSpPr>
        <p:grpSpPr>
          <a:xfrm>
            <a:off x="274308" y="0"/>
            <a:ext cx="11515876" cy="4582971"/>
            <a:chOff x="-3176" y="1001712"/>
            <a:chExt cx="12198362" cy="4854576"/>
          </a:xfrm>
        </p:grpSpPr>
        <p:sp>
          <p:nvSpPr>
            <p:cNvPr id="535" name="AutoShape 3">
              <a:extLst>
                <a:ext uri="{FF2B5EF4-FFF2-40B4-BE49-F238E27FC236}">
                  <a16:creationId xmlns:a16="http://schemas.microsoft.com/office/drawing/2014/main" id="{75761DB0-5D47-4312-82E1-D8A2939218B9}"/>
                </a:ext>
              </a:extLst>
            </p:cNvPr>
            <p:cNvSpPr>
              <a:spLocks noChangeAspect="1" noChangeArrowheads="1" noTextEdit="1"/>
            </p:cNvSpPr>
            <p:nvPr userDrawn="1"/>
          </p:nvSpPr>
          <p:spPr bwMode="auto">
            <a:xfrm>
              <a:off x="-1" y="1006474"/>
              <a:ext cx="12192012" cy="484505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grpSp>
          <p:nvGrpSpPr>
            <p:cNvPr id="536" name="Group 205">
              <a:extLst>
                <a:ext uri="{FF2B5EF4-FFF2-40B4-BE49-F238E27FC236}">
                  <a16:creationId xmlns:a16="http://schemas.microsoft.com/office/drawing/2014/main" id="{0046BB92-86FB-4DF8-90F9-F2073EF9D2BE}"/>
                </a:ext>
              </a:extLst>
            </p:cNvPr>
            <p:cNvGrpSpPr>
              <a:grpSpLocks/>
            </p:cNvGrpSpPr>
            <p:nvPr userDrawn="1"/>
          </p:nvGrpSpPr>
          <p:grpSpPr bwMode="auto">
            <a:xfrm>
              <a:off x="2820990" y="1001712"/>
              <a:ext cx="9345622" cy="4830763"/>
              <a:chOff x="1777" y="631"/>
              <a:chExt cx="5887" cy="3043"/>
            </a:xfrm>
          </p:grpSpPr>
          <p:sp>
            <p:nvSpPr>
              <p:cNvPr id="859" name="Freeform 5">
                <a:extLst>
                  <a:ext uri="{FF2B5EF4-FFF2-40B4-BE49-F238E27FC236}">
                    <a16:creationId xmlns:a16="http://schemas.microsoft.com/office/drawing/2014/main" id="{B3B2289D-A251-4DA3-B938-8718A75338C5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635" y="683"/>
                <a:ext cx="15" cy="984"/>
              </a:xfrm>
              <a:custGeom>
                <a:avLst/>
                <a:gdLst>
                  <a:gd name="T0" fmla="*/ 5 w 14"/>
                  <a:gd name="T1" fmla="*/ 2 h 930"/>
                  <a:gd name="T2" fmla="*/ 1 w 14"/>
                  <a:gd name="T3" fmla="*/ 459 h 930"/>
                  <a:gd name="T4" fmla="*/ 0 w 14"/>
                  <a:gd name="T5" fmla="*/ 920 h 930"/>
                  <a:gd name="T6" fmla="*/ 14 w 14"/>
                  <a:gd name="T7" fmla="*/ 919 h 930"/>
                  <a:gd name="T8" fmla="*/ 13 w 14"/>
                  <a:gd name="T9" fmla="*/ 462 h 930"/>
                  <a:gd name="T10" fmla="*/ 9 w 14"/>
                  <a:gd name="T11" fmla="*/ 2 h 930"/>
                  <a:gd name="T12" fmla="*/ 5 w 14"/>
                  <a:gd name="T13" fmla="*/ 2 h 9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4" h="930">
                    <a:moveTo>
                      <a:pt x="5" y="2"/>
                    </a:moveTo>
                    <a:cubicBezTo>
                      <a:pt x="1" y="155"/>
                      <a:pt x="1" y="307"/>
                      <a:pt x="1" y="459"/>
                    </a:cubicBezTo>
                    <a:cubicBezTo>
                      <a:pt x="1" y="613"/>
                      <a:pt x="0" y="767"/>
                      <a:pt x="0" y="920"/>
                    </a:cubicBezTo>
                    <a:cubicBezTo>
                      <a:pt x="0" y="930"/>
                      <a:pt x="14" y="928"/>
                      <a:pt x="14" y="919"/>
                    </a:cubicBezTo>
                    <a:cubicBezTo>
                      <a:pt x="14" y="766"/>
                      <a:pt x="14" y="614"/>
                      <a:pt x="13" y="462"/>
                    </a:cubicBezTo>
                    <a:cubicBezTo>
                      <a:pt x="13" y="309"/>
                      <a:pt x="14" y="155"/>
                      <a:pt x="9" y="2"/>
                    </a:cubicBezTo>
                    <a:cubicBezTo>
                      <a:pt x="9" y="0"/>
                      <a:pt x="5" y="0"/>
                      <a:pt x="5" y="2"/>
                    </a:cubicBezTo>
                  </a:path>
                </a:pathLst>
              </a:custGeom>
              <a:solidFill>
                <a:srgbClr val="04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60" name="Freeform 6">
                <a:extLst>
                  <a:ext uri="{FF2B5EF4-FFF2-40B4-BE49-F238E27FC236}">
                    <a16:creationId xmlns:a16="http://schemas.microsoft.com/office/drawing/2014/main" id="{61F14BAA-2E4B-4463-89FD-8D220A7CE759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6939" y="1851"/>
                <a:ext cx="183" cy="185"/>
              </a:xfrm>
              <a:custGeom>
                <a:avLst/>
                <a:gdLst>
                  <a:gd name="T0" fmla="*/ 51 w 172"/>
                  <a:gd name="T1" fmla="*/ 153 h 174"/>
                  <a:gd name="T2" fmla="*/ 76 w 172"/>
                  <a:gd name="T3" fmla="*/ 171 h 174"/>
                  <a:gd name="T4" fmla="*/ 90 w 172"/>
                  <a:gd name="T5" fmla="*/ 173 h 174"/>
                  <a:gd name="T6" fmla="*/ 104 w 172"/>
                  <a:gd name="T7" fmla="*/ 173 h 174"/>
                  <a:gd name="T8" fmla="*/ 100 w 172"/>
                  <a:gd name="T9" fmla="*/ 170 h 174"/>
                  <a:gd name="T10" fmla="*/ 62 w 172"/>
                  <a:gd name="T11" fmla="*/ 160 h 174"/>
                  <a:gd name="T12" fmla="*/ 53 w 172"/>
                  <a:gd name="T13" fmla="*/ 143 h 174"/>
                  <a:gd name="T14" fmla="*/ 121 w 172"/>
                  <a:gd name="T15" fmla="*/ 124 h 174"/>
                  <a:gd name="T16" fmla="*/ 153 w 172"/>
                  <a:gd name="T17" fmla="*/ 126 h 174"/>
                  <a:gd name="T18" fmla="*/ 167 w 172"/>
                  <a:gd name="T19" fmla="*/ 121 h 174"/>
                  <a:gd name="T20" fmla="*/ 150 w 172"/>
                  <a:gd name="T21" fmla="*/ 121 h 174"/>
                  <a:gd name="T22" fmla="*/ 4 w 172"/>
                  <a:gd name="T23" fmla="*/ 50 h 174"/>
                  <a:gd name="T24" fmla="*/ 1 w 172"/>
                  <a:gd name="T25" fmla="*/ 70 h 174"/>
                  <a:gd name="T26" fmla="*/ 1 w 172"/>
                  <a:gd name="T27" fmla="*/ 70 h 174"/>
                  <a:gd name="T28" fmla="*/ 2 w 172"/>
                  <a:gd name="T29" fmla="*/ 93 h 174"/>
                  <a:gd name="T30" fmla="*/ 2 w 172"/>
                  <a:gd name="T31" fmla="*/ 93 h 174"/>
                  <a:gd name="T32" fmla="*/ 12 w 172"/>
                  <a:gd name="T33" fmla="*/ 106 h 174"/>
                  <a:gd name="T34" fmla="*/ 57 w 172"/>
                  <a:gd name="T35" fmla="*/ 112 h 174"/>
                  <a:gd name="T36" fmla="*/ 58 w 172"/>
                  <a:gd name="T37" fmla="*/ 116 h 174"/>
                  <a:gd name="T38" fmla="*/ 60 w 172"/>
                  <a:gd name="T39" fmla="*/ 108 h 174"/>
                  <a:gd name="T40" fmla="*/ 10 w 172"/>
                  <a:gd name="T41" fmla="*/ 97 h 174"/>
                  <a:gd name="T42" fmla="*/ 4 w 172"/>
                  <a:gd name="T43" fmla="*/ 50 h 174"/>
                  <a:gd name="T44" fmla="*/ 65 w 172"/>
                  <a:gd name="T45" fmla="*/ 12 h 174"/>
                  <a:gd name="T46" fmla="*/ 65 w 172"/>
                  <a:gd name="T47" fmla="*/ 10 h 174"/>
                  <a:gd name="T48" fmla="*/ 95 w 172"/>
                  <a:gd name="T49" fmla="*/ 88 h 174"/>
                  <a:gd name="T50" fmla="*/ 98 w 172"/>
                  <a:gd name="T51" fmla="*/ 67 h 174"/>
                  <a:gd name="T52" fmla="*/ 99 w 172"/>
                  <a:gd name="T53" fmla="*/ 63 h 174"/>
                  <a:gd name="T54" fmla="*/ 89 w 172"/>
                  <a:gd name="T55" fmla="*/ 91 h 174"/>
                  <a:gd name="T56" fmla="*/ 91 w 172"/>
                  <a:gd name="T57" fmla="*/ 88 h 174"/>
                  <a:gd name="T58" fmla="*/ 80 w 172"/>
                  <a:gd name="T59" fmla="*/ 0 h 174"/>
                  <a:gd name="T60" fmla="*/ 68 w 172"/>
                  <a:gd name="T61" fmla="*/ 40 h 174"/>
                  <a:gd name="T62" fmla="*/ 57 w 172"/>
                  <a:gd name="T63" fmla="*/ 48 h 174"/>
                  <a:gd name="T64" fmla="*/ 49 w 172"/>
                  <a:gd name="T65" fmla="*/ 53 h 174"/>
                  <a:gd name="T66" fmla="*/ 30 w 172"/>
                  <a:gd name="T67" fmla="*/ 49 h 174"/>
                  <a:gd name="T68" fmla="*/ 25 w 172"/>
                  <a:gd name="T69" fmla="*/ 48 h 174"/>
                  <a:gd name="T70" fmla="*/ 22 w 172"/>
                  <a:gd name="T71" fmla="*/ 48 h 174"/>
                  <a:gd name="T72" fmla="*/ 17 w 172"/>
                  <a:gd name="T73" fmla="*/ 49 h 174"/>
                  <a:gd name="T74" fmla="*/ 11 w 172"/>
                  <a:gd name="T75" fmla="*/ 59 h 174"/>
                  <a:gd name="T76" fmla="*/ 36 w 172"/>
                  <a:gd name="T77" fmla="*/ 96 h 174"/>
                  <a:gd name="T78" fmla="*/ 63 w 172"/>
                  <a:gd name="T79" fmla="*/ 100 h 174"/>
                  <a:gd name="T80" fmla="*/ 67 w 172"/>
                  <a:gd name="T81" fmla="*/ 105 h 174"/>
                  <a:gd name="T82" fmla="*/ 62 w 172"/>
                  <a:gd name="T83" fmla="*/ 142 h 174"/>
                  <a:gd name="T84" fmla="*/ 97 w 172"/>
                  <a:gd name="T85" fmla="*/ 161 h 174"/>
                  <a:gd name="T86" fmla="*/ 111 w 172"/>
                  <a:gd name="T87" fmla="*/ 158 h 174"/>
                  <a:gd name="T88" fmla="*/ 111 w 172"/>
                  <a:gd name="T89" fmla="*/ 155 h 174"/>
                  <a:gd name="T90" fmla="*/ 115 w 172"/>
                  <a:gd name="T91" fmla="*/ 124 h 174"/>
                  <a:gd name="T92" fmla="*/ 116 w 172"/>
                  <a:gd name="T93" fmla="*/ 124 h 174"/>
                  <a:gd name="T94" fmla="*/ 120 w 172"/>
                  <a:gd name="T95" fmla="*/ 112 h 174"/>
                  <a:gd name="T96" fmla="*/ 144 w 172"/>
                  <a:gd name="T97" fmla="*/ 112 h 174"/>
                  <a:gd name="T98" fmla="*/ 160 w 172"/>
                  <a:gd name="T99" fmla="*/ 114 h 174"/>
                  <a:gd name="T100" fmla="*/ 171 w 172"/>
                  <a:gd name="T101" fmla="*/ 97 h 174"/>
                  <a:gd name="T102" fmla="*/ 144 w 172"/>
                  <a:gd name="T103" fmla="*/ 68 h 174"/>
                  <a:gd name="T104" fmla="*/ 120 w 172"/>
                  <a:gd name="T105" fmla="*/ 65 h 174"/>
                  <a:gd name="T106" fmla="*/ 114 w 172"/>
                  <a:gd name="T107" fmla="*/ 62 h 174"/>
                  <a:gd name="T108" fmla="*/ 115 w 172"/>
                  <a:gd name="T109" fmla="*/ 62 h 174"/>
                  <a:gd name="T110" fmla="*/ 114 w 172"/>
                  <a:gd name="T111" fmla="*/ 56 h 174"/>
                  <a:gd name="T112" fmla="*/ 115 w 172"/>
                  <a:gd name="T113" fmla="*/ 32 h 174"/>
                  <a:gd name="T114" fmla="*/ 119 w 172"/>
                  <a:gd name="T115" fmla="*/ 20 h 174"/>
                  <a:gd name="T116" fmla="*/ 119 w 172"/>
                  <a:gd name="T117" fmla="*/ 19 h 174"/>
                  <a:gd name="T118" fmla="*/ 100 w 172"/>
                  <a:gd name="T119" fmla="*/ 4 h 1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172" h="174">
                    <a:moveTo>
                      <a:pt x="53" y="143"/>
                    </a:moveTo>
                    <a:cubicBezTo>
                      <a:pt x="52" y="146"/>
                      <a:pt x="51" y="149"/>
                      <a:pt x="51" y="153"/>
                    </a:cubicBezTo>
                    <a:cubicBezTo>
                      <a:pt x="51" y="157"/>
                      <a:pt x="52" y="161"/>
                      <a:pt x="56" y="164"/>
                    </a:cubicBezTo>
                    <a:cubicBezTo>
                      <a:pt x="62" y="166"/>
                      <a:pt x="69" y="167"/>
                      <a:pt x="76" y="171"/>
                    </a:cubicBezTo>
                    <a:cubicBezTo>
                      <a:pt x="80" y="172"/>
                      <a:pt x="84" y="173"/>
                      <a:pt x="88" y="173"/>
                    </a:cubicBezTo>
                    <a:cubicBezTo>
                      <a:pt x="89" y="173"/>
                      <a:pt x="90" y="173"/>
                      <a:pt x="90" y="173"/>
                    </a:cubicBezTo>
                    <a:cubicBezTo>
                      <a:pt x="92" y="174"/>
                      <a:pt x="95" y="174"/>
                      <a:pt x="98" y="174"/>
                    </a:cubicBezTo>
                    <a:cubicBezTo>
                      <a:pt x="100" y="174"/>
                      <a:pt x="103" y="174"/>
                      <a:pt x="104" y="173"/>
                    </a:cubicBezTo>
                    <a:cubicBezTo>
                      <a:pt x="106" y="172"/>
                      <a:pt x="107" y="171"/>
                      <a:pt x="108" y="169"/>
                    </a:cubicBezTo>
                    <a:cubicBezTo>
                      <a:pt x="106" y="170"/>
                      <a:pt x="103" y="170"/>
                      <a:pt x="100" y="170"/>
                    </a:cubicBezTo>
                    <a:cubicBezTo>
                      <a:pt x="96" y="170"/>
                      <a:pt x="92" y="170"/>
                      <a:pt x="88" y="169"/>
                    </a:cubicBezTo>
                    <a:cubicBezTo>
                      <a:pt x="80" y="168"/>
                      <a:pt x="70" y="164"/>
                      <a:pt x="62" y="160"/>
                    </a:cubicBezTo>
                    <a:cubicBezTo>
                      <a:pt x="58" y="159"/>
                      <a:pt x="56" y="156"/>
                      <a:pt x="54" y="152"/>
                    </a:cubicBezTo>
                    <a:cubicBezTo>
                      <a:pt x="53" y="149"/>
                      <a:pt x="52" y="146"/>
                      <a:pt x="53" y="143"/>
                    </a:cubicBezTo>
                    <a:moveTo>
                      <a:pt x="122" y="119"/>
                    </a:moveTo>
                    <a:cubicBezTo>
                      <a:pt x="122" y="121"/>
                      <a:pt x="122" y="122"/>
                      <a:pt x="121" y="124"/>
                    </a:cubicBezTo>
                    <a:cubicBezTo>
                      <a:pt x="126" y="124"/>
                      <a:pt x="131" y="124"/>
                      <a:pt x="137" y="124"/>
                    </a:cubicBezTo>
                    <a:cubicBezTo>
                      <a:pt x="140" y="125"/>
                      <a:pt x="147" y="126"/>
                      <a:pt x="153" y="126"/>
                    </a:cubicBezTo>
                    <a:cubicBezTo>
                      <a:pt x="158" y="126"/>
                      <a:pt x="163" y="125"/>
                      <a:pt x="166" y="122"/>
                    </a:cubicBezTo>
                    <a:cubicBezTo>
                      <a:pt x="166" y="122"/>
                      <a:pt x="167" y="122"/>
                      <a:pt x="167" y="121"/>
                    </a:cubicBezTo>
                    <a:cubicBezTo>
                      <a:pt x="164" y="122"/>
                      <a:pt x="162" y="122"/>
                      <a:pt x="159" y="122"/>
                    </a:cubicBezTo>
                    <a:cubicBezTo>
                      <a:pt x="156" y="122"/>
                      <a:pt x="153" y="122"/>
                      <a:pt x="150" y="121"/>
                    </a:cubicBezTo>
                    <a:cubicBezTo>
                      <a:pt x="141" y="120"/>
                      <a:pt x="132" y="120"/>
                      <a:pt x="122" y="119"/>
                    </a:cubicBezTo>
                    <a:moveTo>
                      <a:pt x="4" y="50"/>
                    </a:moveTo>
                    <a:cubicBezTo>
                      <a:pt x="1" y="53"/>
                      <a:pt x="1" y="59"/>
                      <a:pt x="1" y="63"/>
                    </a:cubicBezTo>
                    <a:cubicBezTo>
                      <a:pt x="1" y="66"/>
                      <a:pt x="1" y="68"/>
                      <a:pt x="1" y="70"/>
                    </a:cubicBezTo>
                    <a:cubicBezTo>
                      <a:pt x="1" y="70"/>
                      <a:pt x="1" y="70"/>
                      <a:pt x="1" y="70"/>
                    </a:cubicBezTo>
                    <a:cubicBezTo>
                      <a:pt x="1" y="70"/>
                      <a:pt x="1" y="70"/>
                      <a:pt x="1" y="70"/>
                    </a:cubicBezTo>
                    <a:cubicBezTo>
                      <a:pt x="1" y="72"/>
                      <a:pt x="1" y="74"/>
                      <a:pt x="1" y="77"/>
                    </a:cubicBezTo>
                    <a:cubicBezTo>
                      <a:pt x="1" y="82"/>
                      <a:pt x="1" y="88"/>
                      <a:pt x="2" y="93"/>
                    </a:cubicBezTo>
                    <a:cubicBezTo>
                      <a:pt x="2" y="93"/>
                      <a:pt x="2" y="93"/>
                      <a:pt x="2" y="93"/>
                    </a:cubicBezTo>
                    <a:cubicBezTo>
                      <a:pt x="2" y="93"/>
                      <a:pt x="2" y="93"/>
                      <a:pt x="2" y="93"/>
                    </a:cubicBezTo>
                    <a:cubicBezTo>
                      <a:pt x="2" y="94"/>
                      <a:pt x="2" y="94"/>
                      <a:pt x="2" y="94"/>
                    </a:cubicBezTo>
                    <a:cubicBezTo>
                      <a:pt x="2" y="101"/>
                      <a:pt x="5" y="104"/>
                      <a:pt x="12" y="106"/>
                    </a:cubicBezTo>
                    <a:cubicBezTo>
                      <a:pt x="26" y="106"/>
                      <a:pt x="39" y="112"/>
                      <a:pt x="53" y="112"/>
                    </a:cubicBezTo>
                    <a:cubicBezTo>
                      <a:pt x="54" y="112"/>
                      <a:pt x="55" y="112"/>
                      <a:pt x="57" y="112"/>
                    </a:cubicBezTo>
                    <a:cubicBezTo>
                      <a:pt x="58" y="116"/>
                      <a:pt x="58" y="116"/>
                      <a:pt x="58" y="116"/>
                    </a:cubicBezTo>
                    <a:cubicBezTo>
                      <a:pt x="58" y="116"/>
                      <a:pt x="58" y="116"/>
                      <a:pt x="58" y="116"/>
                    </a:cubicBezTo>
                    <a:cubicBezTo>
                      <a:pt x="58" y="117"/>
                      <a:pt x="58" y="118"/>
                      <a:pt x="58" y="119"/>
                    </a:cubicBezTo>
                    <a:cubicBezTo>
                      <a:pt x="58" y="115"/>
                      <a:pt x="59" y="112"/>
                      <a:pt x="60" y="108"/>
                    </a:cubicBezTo>
                    <a:cubicBezTo>
                      <a:pt x="51" y="108"/>
                      <a:pt x="42" y="106"/>
                      <a:pt x="33" y="104"/>
                    </a:cubicBezTo>
                    <a:cubicBezTo>
                      <a:pt x="26" y="102"/>
                      <a:pt x="16" y="103"/>
                      <a:pt x="10" y="97"/>
                    </a:cubicBezTo>
                    <a:cubicBezTo>
                      <a:pt x="0" y="89"/>
                      <a:pt x="3" y="68"/>
                      <a:pt x="3" y="57"/>
                    </a:cubicBezTo>
                    <a:cubicBezTo>
                      <a:pt x="3" y="55"/>
                      <a:pt x="3" y="52"/>
                      <a:pt x="4" y="50"/>
                    </a:cubicBezTo>
                    <a:moveTo>
                      <a:pt x="66" y="10"/>
                    </a:moveTo>
                    <a:cubicBezTo>
                      <a:pt x="65" y="10"/>
                      <a:pt x="65" y="11"/>
                      <a:pt x="65" y="12"/>
                    </a:cubicBezTo>
                    <a:cubicBezTo>
                      <a:pt x="63" y="17"/>
                      <a:pt x="63" y="22"/>
                      <a:pt x="62" y="27"/>
                    </a:cubicBezTo>
                    <a:cubicBezTo>
                      <a:pt x="63" y="22"/>
                      <a:pt x="64" y="16"/>
                      <a:pt x="65" y="10"/>
                    </a:cubicBezTo>
                    <a:cubicBezTo>
                      <a:pt x="66" y="10"/>
                      <a:pt x="66" y="10"/>
                      <a:pt x="66" y="10"/>
                    </a:cubicBezTo>
                    <a:moveTo>
                      <a:pt x="95" y="88"/>
                    </a:moveTo>
                    <a:cubicBezTo>
                      <a:pt x="99" y="88"/>
                      <a:pt x="101" y="86"/>
                      <a:pt x="103" y="81"/>
                    </a:cubicBezTo>
                    <a:cubicBezTo>
                      <a:pt x="104" y="76"/>
                      <a:pt x="104" y="69"/>
                      <a:pt x="98" y="67"/>
                    </a:cubicBezTo>
                    <a:cubicBezTo>
                      <a:pt x="96" y="66"/>
                      <a:pt x="97" y="63"/>
                      <a:pt x="99" y="63"/>
                    </a:cubicBezTo>
                    <a:cubicBezTo>
                      <a:pt x="99" y="63"/>
                      <a:pt x="99" y="63"/>
                      <a:pt x="99" y="63"/>
                    </a:cubicBezTo>
                    <a:cubicBezTo>
                      <a:pt x="117" y="65"/>
                      <a:pt x="108" y="95"/>
                      <a:pt x="96" y="95"/>
                    </a:cubicBezTo>
                    <a:cubicBezTo>
                      <a:pt x="94" y="95"/>
                      <a:pt x="91" y="94"/>
                      <a:pt x="89" y="91"/>
                    </a:cubicBezTo>
                    <a:cubicBezTo>
                      <a:pt x="88" y="90"/>
                      <a:pt x="88" y="88"/>
                      <a:pt x="90" y="88"/>
                    </a:cubicBezTo>
                    <a:cubicBezTo>
                      <a:pt x="90" y="88"/>
                      <a:pt x="90" y="88"/>
                      <a:pt x="91" y="88"/>
                    </a:cubicBezTo>
                    <a:cubicBezTo>
                      <a:pt x="92" y="88"/>
                      <a:pt x="93" y="88"/>
                      <a:pt x="95" y="88"/>
                    </a:cubicBezTo>
                    <a:moveTo>
                      <a:pt x="80" y="0"/>
                    </a:moveTo>
                    <a:cubicBezTo>
                      <a:pt x="79" y="0"/>
                      <a:pt x="78" y="0"/>
                      <a:pt x="77" y="0"/>
                    </a:cubicBezTo>
                    <a:cubicBezTo>
                      <a:pt x="70" y="11"/>
                      <a:pt x="73" y="29"/>
                      <a:pt x="68" y="40"/>
                    </a:cubicBezTo>
                    <a:cubicBezTo>
                      <a:pt x="67" y="41"/>
                      <a:pt x="66" y="42"/>
                      <a:pt x="66" y="42"/>
                    </a:cubicBezTo>
                    <a:cubicBezTo>
                      <a:pt x="64" y="45"/>
                      <a:pt x="61" y="47"/>
                      <a:pt x="57" y="48"/>
                    </a:cubicBezTo>
                    <a:cubicBezTo>
                      <a:pt x="57" y="50"/>
                      <a:pt x="52" y="53"/>
                      <a:pt x="52" y="53"/>
                    </a:cubicBezTo>
                    <a:cubicBezTo>
                      <a:pt x="51" y="53"/>
                      <a:pt x="50" y="53"/>
                      <a:pt x="49" y="53"/>
                    </a:cubicBezTo>
                    <a:cubicBezTo>
                      <a:pt x="45" y="53"/>
                      <a:pt x="42" y="52"/>
                      <a:pt x="39" y="51"/>
                    </a:cubicBezTo>
                    <a:cubicBezTo>
                      <a:pt x="36" y="50"/>
                      <a:pt x="33" y="49"/>
                      <a:pt x="30" y="49"/>
                    </a:cubicBezTo>
                    <a:cubicBezTo>
                      <a:pt x="30" y="49"/>
                      <a:pt x="30" y="49"/>
                      <a:pt x="30" y="49"/>
                    </a:cubicBezTo>
                    <a:cubicBezTo>
                      <a:pt x="28" y="48"/>
                      <a:pt x="26" y="48"/>
                      <a:pt x="25" y="48"/>
                    </a:cubicBezTo>
                    <a:cubicBezTo>
                      <a:pt x="24" y="48"/>
                      <a:pt x="24" y="48"/>
                      <a:pt x="23" y="48"/>
                    </a:cubicBezTo>
                    <a:cubicBezTo>
                      <a:pt x="23" y="48"/>
                      <a:pt x="23" y="48"/>
                      <a:pt x="22" y="48"/>
                    </a:cubicBezTo>
                    <a:cubicBezTo>
                      <a:pt x="21" y="48"/>
                      <a:pt x="21" y="48"/>
                      <a:pt x="20" y="48"/>
                    </a:cubicBezTo>
                    <a:cubicBezTo>
                      <a:pt x="19" y="48"/>
                      <a:pt x="18" y="49"/>
                      <a:pt x="17" y="49"/>
                    </a:cubicBezTo>
                    <a:cubicBezTo>
                      <a:pt x="15" y="49"/>
                      <a:pt x="13" y="48"/>
                      <a:pt x="12" y="48"/>
                    </a:cubicBezTo>
                    <a:cubicBezTo>
                      <a:pt x="10" y="51"/>
                      <a:pt x="11" y="54"/>
                      <a:pt x="11" y="59"/>
                    </a:cubicBezTo>
                    <a:cubicBezTo>
                      <a:pt x="11" y="67"/>
                      <a:pt x="10" y="77"/>
                      <a:pt x="12" y="85"/>
                    </a:cubicBezTo>
                    <a:cubicBezTo>
                      <a:pt x="16" y="96"/>
                      <a:pt x="26" y="94"/>
                      <a:pt x="36" y="96"/>
                    </a:cubicBezTo>
                    <a:cubicBezTo>
                      <a:pt x="44" y="98"/>
                      <a:pt x="52" y="100"/>
                      <a:pt x="61" y="100"/>
                    </a:cubicBezTo>
                    <a:cubicBezTo>
                      <a:pt x="62" y="100"/>
                      <a:pt x="63" y="100"/>
                      <a:pt x="63" y="100"/>
                    </a:cubicBezTo>
                    <a:cubicBezTo>
                      <a:pt x="63" y="100"/>
                      <a:pt x="64" y="100"/>
                      <a:pt x="64" y="100"/>
                    </a:cubicBezTo>
                    <a:cubicBezTo>
                      <a:pt x="67" y="100"/>
                      <a:pt x="68" y="103"/>
                      <a:pt x="67" y="105"/>
                    </a:cubicBezTo>
                    <a:cubicBezTo>
                      <a:pt x="68" y="106"/>
                      <a:pt x="68" y="107"/>
                      <a:pt x="68" y="108"/>
                    </a:cubicBezTo>
                    <a:cubicBezTo>
                      <a:pt x="69" y="120"/>
                      <a:pt x="62" y="131"/>
                      <a:pt x="62" y="142"/>
                    </a:cubicBezTo>
                    <a:cubicBezTo>
                      <a:pt x="63" y="151"/>
                      <a:pt x="69" y="152"/>
                      <a:pt x="76" y="155"/>
                    </a:cubicBezTo>
                    <a:cubicBezTo>
                      <a:pt x="83" y="157"/>
                      <a:pt x="89" y="160"/>
                      <a:pt x="97" y="161"/>
                    </a:cubicBezTo>
                    <a:cubicBezTo>
                      <a:pt x="100" y="161"/>
                      <a:pt x="102" y="162"/>
                      <a:pt x="104" y="162"/>
                    </a:cubicBezTo>
                    <a:cubicBezTo>
                      <a:pt x="106" y="162"/>
                      <a:pt x="108" y="161"/>
                      <a:pt x="111" y="158"/>
                    </a:cubicBezTo>
                    <a:cubicBezTo>
                      <a:pt x="111" y="158"/>
                      <a:pt x="111" y="158"/>
                      <a:pt x="111" y="158"/>
                    </a:cubicBezTo>
                    <a:cubicBezTo>
                      <a:pt x="111" y="157"/>
                      <a:pt x="111" y="156"/>
                      <a:pt x="111" y="155"/>
                    </a:cubicBezTo>
                    <a:cubicBezTo>
                      <a:pt x="111" y="152"/>
                      <a:pt x="111" y="148"/>
                      <a:pt x="111" y="145"/>
                    </a:cubicBezTo>
                    <a:cubicBezTo>
                      <a:pt x="111" y="137"/>
                      <a:pt x="112" y="130"/>
                      <a:pt x="115" y="124"/>
                    </a:cubicBezTo>
                    <a:cubicBezTo>
                      <a:pt x="115" y="124"/>
                      <a:pt x="115" y="124"/>
                      <a:pt x="115" y="124"/>
                    </a:cubicBezTo>
                    <a:cubicBezTo>
                      <a:pt x="116" y="124"/>
                      <a:pt x="116" y="124"/>
                      <a:pt x="116" y="124"/>
                    </a:cubicBezTo>
                    <a:cubicBezTo>
                      <a:pt x="117" y="122"/>
                      <a:pt x="117" y="120"/>
                      <a:pt x="118" y="118"/>
                    </a:cubicBezTo>
                    <a:cubicBezTo>
                      <a:pt x="115" y="117"/>
                      <a:pt x="116" y="112"/>
                      <a:pt x="120" y="112"/>
                    </a:cubicBezTo>
                    <a:cubicBezTo>
                      <a:pt x="123" y="111"/>
                      <a:pt x="128" y="111"/>
                      <a:pt x="132" y="111"/>
                    </a:cubicBezTo>
                    <a:cubicBezTo>
                      <a:pt x="136" y="111"/>
                      <a:pt x="140" y="111"/>
                      <a:pt x="144" y="112"/>
                    </a:cubicBezTo>
                    <a:cubicBezTo>
                      <a:pt x="149" y="112"/>
                      <a:pt x="153" y="114"/>
                      <a:pt x="158" y="114"/>
                    </a:cubicBezTo>
                    <a:cubicBezTo>
                      <a:pt x="159" y="114"/>
                      <a:pt x="159" y="114"/>
                      <a:pt x="160" y="114"/>
                    </a:cubicBezTo>
                    <a:cubicBezTo>
                      <a:pt x="165" y="113"/>
                      <a:pt x="168" y="111"/>
                      <a:pt x="170" y="108"/>
                    </a:cubicBezTo>
                    <a:cubicBezTo>
                      <a:pt x="170" y="104"/>
                      <a:pt x="170" y="100"/>
                      <a:pt x="171" y="97"/>
                    </a:cubicBezTo>
                    <a:cubicBezTo>
                      <a:pt x="171" y="91"/>
                      <a:pt x="172" y="80"/>
                      <a:pt x="166" y="74"/>
                    </a:cubicBezTo>
                    <a:cubicBezTo>
                      <a:pt x="159" y="70"/>
                      <a:pt x="149" y="70"/>
                      <a:pt x="144" y="68"/>
                    </a:cubicBezTo>
                    <a:cubicBezTo>
                      <a:pt x="136" y="68"/>
                      <a:pt x="129" y="66"/>
                      <a:pt x="124" y="65"/>
                    </a:cubicBezTo>
                    <a:cubicBezTo>
                      <a:pt x="122" y="65"/>
                      <a:pt x="121" y="65"/>
                      <a:pt x="120" y="65"/>
                    </a:cubicBezTo>
                    <a:cubicBezTo>
                      <a:pt x="118" y="65"/>
                      <a:pt x="117" y="64"/>
                      <a:pt x="114" y="62"/>
                    </a:cubicBezTo>
                    <a:cubicBezTo>
                      <a:pt x="114" y="62"/>
                      <a:pt x="114" y="62"/>
                      <a:pt x="114" y="62"/>
                    </a:cubicBezTo>
                    <a:cubicBezTo>
                      <a:pt x="114" y="62"/>
                      <a:pt x="114" y="62"/>
                      <a:pt x="114" y="62"/>
                    </a:cubicBezTo>
                    <a:cubicBezTo>
                      <a:pt x="115" y="62"/>
                      <a:pt x="115" y="62"/>
                      <a:pt x="115" y="62"/>
                    </a:cubicBezTo>
                    <a:cubicBezTo>
                      <a:pt x="114" y="62"/>
                      <a:pt x="114" y="61"/>
                      <a:pt x="114" y="60"/>
                    </a:cubicBezTo>
                    <a:cubicBezTo>
                      <a:pt x="114" y="59"/>
                      <a:pt x="114" y="58"/>
                      <a:pt x="114" y="56"/>
                    </a:cubicBezTo>
                    <a:cubicBezTo>
                      <a:pt x="114" y="54"/>
                      <a:pt x="114" y="52"/>
                      <a:pt x="114" y="50"/>
                    </a:cubicBezTo>
                    <a:cubicBezTo>
                      <a:pt x="114" y="44"/>
                      <a:pt x="115" y="37"/>
                      <a:pt x="115" y="32"/>
                    </a:cubicBezTo>
                    <a:cubicBezTo>
                      <a:pt x="116" y="29"/>
                      <a:pt x="117" y="27"/>
                      <a:pt x="118" y="25"/>
                    </a:cubicBezTo>
                    <a:cubicBezTo>
                      <a:pt x="118" y="23"/>
                      <a:pt x="118" y="22"/>
                      <a:pt x="119" y="20"/>
                    </a:cubicBezTo>
                    <a:cubicBezTo>
                      <a:pt x="119" y="20"/>
                      <a:pt x="119" y="20"/>
                      <a:pt x="119" y="20"/>
                    </a:cubicBezTo>
                    <a:cubicBezTo>
                      <a:pt x="119" y="20"/>
                      <a:pt x="119" y="20"/>
                      <a:pt x="119" y="19"/>
                    </a:cubicBezTo>
                    <a:cubicBezTo>
                      <a:pt x="119" y="18"/>
                      <a:pt x="118" y="16"/>
                      <a:pt x="118" y="15"/>
                    </a:cubicBezTo>
                    <a:cubicBezTo>
                      <a:pt x="114" y="8"/>
                      <a:pt x="107" y="6"/>
                      <a:pt x="100" y="4"/>
                    </a:cubicBezTo>
                    <a:cubicBezTo>
                      <a:pt x="94" y="3"/>
                      <a:pt x="86" y="0"/>
                      <a:pt x="80" y="0"/>
                    </a:cubicBezTo>
                  </a:path>
                </a:pathLst>
              </a:custGeom>
              <a:solidFill>
                <a:srgbClr val="F9CE8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61" name="Freeform 7">
                <a:extLst>
                  <a:ext uri="{FF2B5EF4-FFF2-40B4-BE49-F238E27FC236}">
                    <a16:creationId xmlns:a16="http://schemas.microsoft.com/office/drawing/2014/main" id="{D3BCC7A1-19C5-4D80-A452-E3694D716902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6493" y="1829"/>
                <a:ext cx="71" cy="68"/>
              </a:xfrm>
              <a:custGeom>
                <a:avLst/>
                <a:gdLst>
                  <a:gd name="T0" fmla="*/ 3 w 67"/>
                  <a:gd name="T1" fmla="*/ 17 h 64"/>
                  <a:gd name="T2" fmla="*/ 2 w 67"/>
                  <a:gd name="T3" fmla="*/ 20 h 64"/>
                  <a:gd name="T4" fmla="*/ 0 w 67"/>
                  <a:gd name="T5" fmla="*/ 32 h 64"/>
                  <a:gd name="T6" fmla="*/ 5 w 67"/>
                  <a:gd name="T7" fmla="*/ 49 h 64"/>
                  <a:gd name="T8" fmla="*/ 35 w 67"/>
                  <a:gd name="T9" fmla="*/ 64 h 64"/>
                  <a:gd name="T10" fmla="*/ 42 w 67"/>
                  <a:gd name="T11" fmla="*/ 63 h 64"/>
                  <a:gd name="T12" fmla="*/ 58 w 67"/>
                  <a:gd name="T13" fmla="*/ 55 h 64"/>
                  <a:gd name="T14" fmla="*/ 56 w 67"/>
                  <a:gd name="T15" fmla="*/ 56 h 64"/>
                  <a:gd name="T16" fmla="*/ 41 w 67"/>
                  <a:gd name="T17" fmla="*/ 59 h 64"/>
                  <a:gd name="T18" fmla="*/ 4 w 67"/>
                  <a:gd name="T19" fmla="*/ 35 h 64"/>
                  <a:gd name="T20" fmla="*/ 3 w 67"/>
                  <a:gd name="T21" fmla="*/ 17 h 64"/>
                  <a:gd name="T22" fmla="*/ 44 w 67"/>
                  <a:gd name="T23" fmla="*/ 0 h 64"/>
                  <a:gd name="T24" fmla="*/ 41 w 67"/>
                  <a:gd name="T25" fmla="*/ 1 h 64"/>
                  <a:gd name="T26" fmla="*/ 26 w 67"/>
                  <a:gd name="T27" fmla="*/ 3 h 64"/>
                  <a:gd name="T28" fmla="*/ 17 w 67"/>
                  <a:gd name="T29" fmla="*/ 5 h 64"/>
                  <a:gd name="T30" fmla="*/ 16 w 67"/>
                  <a:gd name="T31" fmla="*/ 5 h 64"/>
                  <a:gd name="T32" fmla="*/ 14 w 67"/>
                  <a:gd name="T33" fmla="*/ 39 h 64"/>
                  <a:gd name="T34" fmla="*/ 41 w 67"/>
                  <a:gd name="T35" fmla="*/ 52 h 64"/>
                  <a:gd name="T36" fmla="*/ 58 w 67"/>
                  <a:gd name="T37" fmla="*/ 47 h 64"/>
                  <a:gd name="T38" fmla="*/ 66 w 67"/>
                  <a:gd name="T39" fmla="*/ 38 h 64"/>
                  <a:gd name="T40" fmla="*/ 67 w 67"/>
                  <a:gd name="T41" fmla="*/ 33 h 64"/>
                  <a:gd name="T42" fmla="*/ 62 w 67"/>
                  <a:gd name="T43" fmla="*/ 17 h 64"/>
                  <a:gd name="T44" fmla="*/ 44 w 67"/>
                  <a:gd name="T45" fmla="*/ 0 h 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67" h="64">
                    <a:moveTo>
                      <a:pt x="3" y="17"/>
                    </a:moveTo>
                    <a:cubicBezTo>
                      <a:pt x="3" y="18"/>
                      <a:pt x="2" y="19"/>
                      <a:pt x="2" y="20"/>
                    </a:cubicBezTo>
                    <a:cubicBezTo>
                      <a:pt x="1" y="23"/>
                      <a:pt x="0" y="28"/>
                      <a:pt x="0" y="32"/>
                    </a:cubicBezTo>
                    <a:cubicBezTo>
                      <a:pt x="0" y="38"/>
                      <a:pt x="1" y="44"/>
                      <a:pt x="5" y="49"/>
                    </a:cubicBezTo>
                    <a:cubicBezTo>
                      <a:pt x="12" y="59"/>
                      <a:pt x="23" y="64"/>
                      <a:pt x="35" y="64"/>
                    </a:cubicBezTo>
                    <a:cubicBezTo>
                      <a:pt x="37" y="64"/>
                      <a:pt x="40" y="64"/>
                      <a:pt x="42" y="63"/>
                    </a:cubicBezTo>
                    <a:cubicBezTo>
                      <a:pt x="48" y="62"/>
                      <a:pt x="54" y="59"/>
                      <a:pt x="58" y="55"/>
                    </a:cubicBezTo>
                    <a:cubicBezTo>
                      <a:pt x="57" y="55"/>
                      <a:pt x="56" y="56"/>
                      <a:pt x="56" y="56"/>
                    </a:cubicBezTo>
                    <a:cubicBezTo>
                      <a:pt x="51" y="58"/>
                      <a:pt x="46" y="59"/>
                      <a:pt x="41" y="59"/>
                    </a:cubicBezTo>
                    <a:cubicBezTo>
                      <a:pt x="25" y="59"/>
                      <a:pt x="10" y="50"/>
                      <a:pt x="4" y="35"/>
                    </a:cubicBezTo>
                    <a:cubicBezTo>
                      <a:pt x="2" y="29"/>
                      <a:pt x="2" y="23"/>
                      <a:pt x="3" y="17"/>
                    </a:cubicBezTo>
                    <a:moveTo>
                      <a:pt x="44" y="0"/>
                    </a:moveTo>
                    <a:cubicBezTo>
                      <a:pt x="43" y="0"/>
                      <a:pt x="42" y="1"/>
                      <a:pt x="41" y="1"/>
                    </a:cubicBezTo>
                    <a:cubicBezTo>
                      <a:pt x="26" y="3"/>
                      <a:pt x="26" y="3"/>
                      <a:pt x="26" y="3"/>
                    </a:cubicBezTo>
                    <a:cubicBezTo>
                      <a:pt x="22" y="3"/>
                      <a:pt x="20" y="4"/>
                      <a:pt x="17" y="5"/>
                    </a:cubicBezTo>
                    <a:cubicBezTo>
                      <a:pt x="17" y="5"/>
                      <a:pt x="16" y="5"/>
                      <a:pt x="16" y="5"/>
                    </a:cubicBezTo>
                    <a:cubicBezTo>
                      <a:pt x="8" y="14"/>
                      <a:pt x="8" y="29"/>
                      <a:pt x="14" y="39"/>
                    </a:cubicBezTo>
                    <a:cubicBezTo>
                      <a:pt x="20" y="48"/>
                      <a:pt x="31" y="52"/>
                      <a:pt x="41" y="52"/>
                    </a:cubicBezTo>
                    <a:cubicBezTo>
                      <a:pt x="47" y="52"/>
                      <a:pt x="53" y="50"/>
                      <a:pt x="58" y="47"/>
                    </a:cubicBezTo>
                    <a:cubicBezTo>
                      <a:pt x="62" y="45"/>
                      <a:pt x="64" y="42"/>
                      <a:pt x="66" y="38"/>
                    </a:cubicBezTo>
                    <a:cubicBezTo>
                      <a:pt x="67" y="37"/>
                      <a:pt x="67" y="35"/>
                      <a:pt x="67" y="33"/>
                    </a:cubicBezTo>
                    <a:cubicBezTo>
                      <a:pt x="67" y="28"/>
                      <a:pt x="65" y="22"/>
                      <a:pt x="62" y="17"/>
                    </a:cubicBezTo>
                    <a:cubicBezTo>
                      <a:pt x="58" y="10"/>
                      <a:pt x="51" y="0"/>
                      <a:pt x="44" y="0"/>
                    </a:cubicBezTo>
                  </a:path>
                </a:pathLst>
              </a:custGeom>
              <a:solidFill>
                <a:srgbClr val="F9CE8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62" name="Freeform 8">
                <a:extLst>
                  <a:ext uri="{FF2B5EF4-FFF2-40B4-BE49-F238E27FC236}">
                    <a16:creationId xmlns:a16="http://schemas.microsoft.com/office/drawing/2014/main" id="{8E1712EC-1062-4166-9B35-22BA7173FD75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6284" y="1791"/>
                <a:ext cx="83" cy="77"/>
              </a:xfrm>
              <a:custGeom>
                <a:avLst/>
                <a:gdLst>
                  <a:gd name="T0" fmla="*/ 5 w 78"/>
                  <a:gd name="T1" fmla="*/ 23 h 73"/>
                  <a:gd name="T2" fmla="*/ 5 w 78"/>
                  <a:gd name="T3" fmla="*/ 24 h 73"/>
                  <a:gd name="T4" fmla="*/ 0 w 78"/>
                  <a:gd name="T5" fmla="*/ 43 h 73"/>
                  <a:gd name="T6" fmla="*/ 2 w 78"/>
                  <a:gd name="T7" fmla="*/ 50 h 73"/>
                  <a:gd name="T8" fmla="*/ 14 w 78"/>
                  <a:gd name="T9" fmla="*/ 67 h 73"/>
                  <a:gd name="T10" fmla="*/ 38 w 78"/>
                  <a:gd name="T11" fmla="*/ 72 h 73"/>
                  <a:gd name="T12" fmla="*/ 49 w 78"/>
                  <a:gd name="T13" fmla="*/ 73 h 73"/>
                  <a:gd name="T14" fmla="*/ 69 w 78"/>
                  <a:gd name="T15" fmla="*/ 65 h 73"/>
                  <a:gd name="T16" fmla="*/ 70 w 78"/>
                  <a:gd name="T17" fmla="*/ 63 h 73"/>
                  <a:gd name="T18" fmla="*/ 51 w 78"/>
                  <a:gd name="T19" fmla="*/ 67 h 73"/>
                  <a:gd name="T20" fmla="*/ 44 w 78"/>
                  <a:gd name="T21" fmla="*/ 67 h 73"/>
                  <a:gd name="T22" fmla="*/ 11 w 78"/>
                  <a:gd name="T23" fmla="*/ 55 h 73"/>
                  <a:gd name="T24" fmla="*/ 5 w 78"/>
                  <a:gd name="T25" fmla="*/ 26 h 73"/>
                  <a:gd name="T26" fmla="*/ 5 w 78"/>
                  <a:gd name="T27" fmla="*/ 23 h 73"/>
                  <a:gd name="T28" fmla="*/ 42 w 78"/>
                  <a:gd name="T29" fmla="*/ 0 h 73"/>
                  <a:gd name="T30" fmla="*/ 26 w 78"/>
                  <a:gd name="T31" fmla="*/ 5 h 73"/>
                  <a:gd name="T32" fmla="*/ 12 w 78"/>
                  <a:gd name="T33" fmla="*/ 25 h 73"/>
                  <a:gd name="T34" fmla="*/ 47 w 78"/>
                  <a:gd name="T35" fmla="*/ 61 h 73"/>
                  <a:gd name="T36" fmla="*/ 56 w 78"/>
                  <a:gd name="T37" fmla="*/ 61 h 73"/>
                  <a:gd name="T38" fmla="*/ 76 w 78"/>
                  <a:gd name="T39" fmla="*/ 51 h 73"/>
                  <a:gd name="T40" fmla="*/ 77 w 78"/>
                  <a:gd name="T41" fmla="*/ 50 h 73"/>
                  <a:gd name="T42" fmla="*/ 78 w 78"/>
                  <a:gd name="T43" fmla="*/ 42 h 73"/>
                  <a:gd name="T44" fmla="*/ 78 w 78"/>
                  <a:gd name="T45" fmla="*/ 38 h 73"/>
                  <a:gd name="T46" fmla="*/ 48 w 78"/>
                  <a:gd name="T47" fmla="*/ 1 h 73"/>
                  <a:gd name="T48" fmla="*/ 42 w 78"/>
                  <a:gd name="T49" fmla="*/ 0 h 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78" h="73">
                    <a:moveTo>
                      <a:pt x="5" y="23"/>
                    </a:moveTo>
                    <a:cubicBezTo>
                      <a:pt x="5" y="24"/>
                      <a:pt x="5" y="24"/>
                      <a:pt x="5" y="24"/>
                    </a:cubicBezTo>
                    <a:cubicBezTo>
                      <a:pt x="3" y="31"/>
                      <a:pt x="0" y="37"/>
                      <a:pt x="0" y="43"/>
                    </a:cubicBezTo>
                    <a:cubicBezTo>
                      <a:pt x="0" y="46"/>
                      <a:pt x="1" y="48"/>
                      <a:pt x="2" y="50"/>
                    </a:cubicBezTo>
                    <a:cubicBezTo>
                      <a:pt x="4" y="57"/>
                      <a:pt x="8" y="64"/>
                      <a:pt x="14" y="67"/>
                    </a:cubicBezTo>
                    <a:cubicBezTo>
                      <a:pt x="21" y="71"/>
                      <a:pt x="31" y="72"/>
                      <a:pt x="38" y="72"/>
                    </a:cubicBezTo>
                    <a:cubicBezTo>
                      <a:pt x="42" y="73"/>
                      <a:pt x="45" y="73"/>
                      <a:pt x="49" y="73"/>
                    </a:cubicBezTo>
                    <a:cubicBezTo>
                      <a:pt x="56" y="73"/>
                      <a:pt x="63" y="71"/>
                      <a:pt x="69" y="65"/>
                    </a:cubicBezTo>
                    <a:cubicBezTo>
                      <a:pt x="69" y="64"/>
                      <a:pt x="70" y="64"/>
                      <a:pt x="70" y="63"/>
                    </a:cubicBezTo>
                    <a:cubicBezTo>
                      <a:pt x="65" y="66"/>
                      <a:pt x="58" y="67"/>
                      <a:pt x="51" y="67"/>
                    </a:cubicBezTo>
                    <a:cubicBezTo>
                      <a:pt x="49" y="67"/>
                      <a:pt x="46" y="67"/>
                      <a:pt x="44" y="67"/>
                    </a:cubicBezTo>
                    <a:cubicBezTo>
                      <a:pt x="32" y="66"/>
                      <a:pt x="20" y="66"/>
                      <a:pt x="11" y="55"/>
                    </a:cubicBezTo>
                    <a:cubicBezTo>
                      <a:pt x="4" y="47"/>
                      <a:pt x="2" y="36"/>
                      <a:pt x="5" y="26"/>
                    </a:cubicBezTo>
                    <a:cubicBezTo>
                      <a:pt x="5" y="25"/>
                      <a:pt x="5" y="24"/>
                      <a:pt x="5" y="23"/>
                    </a:cubicBezTo>
                    <a:moveTo>
                      <a:pt x="42" y="0"/>
                    </a:moveTo>
                    <a:cubicBezTo>
                      <a:pt x="37" y="1"/>
                      <a:pt x="31" y="2"/>
                      <a:pt x="26" y="5"/>
                    </a:cubicBezTo>
                    <a:cubicBezTo>
                      <a:pt x="20" y="9"/>
                      <a:pt x="15" y="15"/>
                      <a:pt x="12" y="25"/>
                    </a:cubicBezTo>
                    <a:cubicBezTo>
                      <a:pt x="5" y="51"/>
                      <a:pt x="26" y="58"/>
                      <a:pt x="47" y="61"/>
                    </a:cubicBezTo>
                    <a:cubicBezTo>
                      <a:pt x="50" y="61"/>
                      <a:pt x="53" y="61"/>
                      <a:pt x="56" y="61"/>
                    </a:cubicBezTo>
                    <a:cubicBezTo>
                      <a:pt x="64" y="61"/>
                      <a:pt x="70" y="59"/>
                      <a:pt x="76" y="51"/>
                    </a:cubicBezTo>
                    <a:cubicBezTo>
                      <a:pt x="77" y="50"/>
                      <a:pt x="77" y="50"/>
                      <a:pt x="77" y="50"/>
                    </a:cubicBezTo>
                    <a:cubicBezTo>
                      <a:pt x="78" y="47"/>
                      <a:pt x="78" y="44"/>
                      <a:pt x="78" y="42"/>
                    </a:cubicBezTo>
                    <a:cubicBezTo>
                      <a:pt x="78" y="41"/>
                      <a:pt x="78" y="39"/>
                      <a:pt x="78" y="38"/>
                    </a:cubicBezTo>
                    <a:cubicBezTo>
                      <a:pt x="75" y="20"/>
                      <a:pt x="63" y="7"/>
                      <a:pt x="48" y="1"/>
                    </a:cubicBezTo>
                    <a:cubicBezTo>
                      <a:pt x="42" y="0"/>
                      <a:pt x="42" y="0"/>
                      <a:pt x="42" y="0"/>
                    </a:cubicBezTo>
                  </a:path>
                </a:pathLst>
              </a:custGeom>
              <a:solidFill>
                <a:srgbClr val="F9CE8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63" name="Freeform 9">
                <a:extLst>
                  <a:ext uri="{FF2B5EF4-FFF2-40B4-BE49-F238E27FC236}">
                    <a16:creationId xmlns:a16="http://schemas.microsoft.com/office/drawing/2014/main" id="{34D26DC0-7310-40FA-89CC-ACBE02A6E224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6380" y="1887"/>
                <a:ext cx="85" cy="78"/>
              </a:xfrm>
              <a:custGeom>
                <a:avLst/>
                <a:gdLst>
                  <a:gd name="T0" fmla="*/ 3 w 80"/>
                  <a:gd name="T1" fmla="*/ 21 h 73"/>
                  <a:gd name="T2" fmla="*/ 1 w 80"/>
                  <a:gd name="T3" fmla="*/ 30 h 73"/>
                  <a:gd name="T4" fmla="*/ 0 w 80"/>
                  <a:gd name="T5" fmla="*/ 33 h 73"/>
                  <a:gd name="T6" fmla="*/ 15 w 80"/>
                  <a:gd name="T7" fmla="*/ 63 h 73"/>
                  <a:gd name="T8" fmla="*/ 35 w 80"/>
                  <a:gd name="T9" fmla="*/ 72 h 73"/>
                  <a:gd name="T10" fmla="*/ 45 w 80"/>
                  <a:gd name="T11" fmla="*/ 73 h 73"/>
                  <a:gd name="T12" fmla="*/ 64 w 80"/>
                  <a:gd name="T13" fmla="*/ 66 h 73"/>
                  <a:gd name="T14" fmla="*/ 65 w 80"/>
                  <a:gd name="T15" fmla="*/ 65 h 73"/>
                  <a:gd name="T16" fmla="*/ 50 w 80"/>
                  <a:gd name="T17" fmla="*/ 69 h 73"/>
                  <a:gd name="T18" fmla="*/ 46 w 80"/>
                  <a:gd name="T19" fmla="*/ 68 h 73"/>
                  <a:gd name="T20" fmla="*/ 3 w 80"/>
                  <a:gd name="T21" fmla="*/ 21 h 73"/>
                  <a:gd name="T22" fmla="*/ 33 w 80"/>
                  <a:gd name="T23" fmla="*/ 0 h 73"/>
                  <a:gd name="T24" fmla="*/ 22 w 80"/>
                  <a:gd name="T25" fmla="*/ 2 h 73"/>
                  <a:gd name="T26" fmla="*/ 11 w 80"/>
                  <a:gd name="T27" fmla="*/ 22 h 73"/>
                  <a:gd name="T28" fmla="*/ 47 w 80"/>
                  <a:gd name="T29" fmla="*/ 61 h 73"/>
                  <a:gd name="T30" fmla="*/ 51 w 80"/>
                  <a:gd name="T31" fmla="*/ 61 h 73"/>
                  <a:gd name="T32" fmla="*/ 79 w 80"/>
                  <a:gd name="T33" fmla="*/ 41 h 73"/>
                  <a:gd name="T34" fmla="*/ 79 w 80"/>
                  <a:gd name="T35" fmla="*/ 39 h 73"/>
                  <a:gd name="T36" fmla="*/ 80 w 80"/>
                  <a:gd name="T37" fmla="*/ 33 h 73"/>
                  <a:gd name="T38" fmla="*/ 70 w 80"/>
                  <a:gd name="T39" fmla="*/ 8 h 73"/>
                  <a:gd name="T40" fmla="*/ 45 w 80"/>
                  <a:gd name="T41" fmla="*/ 1 h 73"/>
                  <a:gd name="T42" fmla="*/ 45 w 80"/>
                  <a:gd name="T43" fmla="*/ 1 h 73"/>
                  <a:gd name="T44" fmla="*/ 33 w 80"/>
                  <a:gd name="T45" fmla="*/ 0 h 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80" h="73">
                    <a:moveTo>
                      <a:pt x="3" y="21"/>
                    </a:moveTo>
                    <a:cubicBezTo>
                      <a:pt x="2" y="24"/>
                      <a:pt x="1" y="27"/>
                      <a:pt x="1" y="30"/>
                    </a:cubicBezTo>
                    <a:cubicBezTo>
                      <a:pt x="0" y="31"/>
                      <a:pt x="0" y="32"/>
                      <a:pt x="0" y="33"/>
                    </a:cubicBezTo>
                    <a:cubicBezTo>
                      <a:pt x="0" y="43"/>
                      <a:pt x="6" y="55"/>
                      <a:pt x="15" y="63"/>
                    </a:cubicBezTo>
                    <a:cubicBezTo>
                      <a:pt x="21" y="68"/>
                      <a:pt x="28" y="70"/>
                      <a:pt x="35" y="72"/>
                    </a:cubicBezTo>
                    <a:cubicBezTo>
                      <a:pt x="39" y="73"/>
                      <a:pt x="42" y="73"/>
                      <a:pt x="45" y="73"/>
                    </a:cubicBezTo>
                    <a:cubicBezTo>
                      <a:pt x="51" y="73"/>
                      <a:pt x="57" y="71"/>
                      <a:pt x="64" y="66"/>
                    </a:cubicBezTo>
                    <a:cubicBezTo>
                      <a:pt x="64" y="66"/>
                      <a:pt x="65" y="65"/>
                      <a:pt x="65" y="65"/>
                    </a:cubicBezTo>
                    <a:cubicBezTo>
                      <a:pt x="61" y="67"/>
                      <a:pt x="55" y="69"/>
                      <a:pt x="50" y="69"/>
                    </a:cubicBezTo>
                    <a:cubicBezTo>
                      <a:pt x="49" y="69"/>
                      <a:pt x="47" y="68"/>
                      <a:pt x="46" y="68"/>
                    </a:cubicBezTo>
                    <a:cubicBezTo>
                      <a:pt x="23" y="65"/>
                      <a:pt x="0" y="46"/>
                      <a:pt x="3" y="21"/>
                    </a:cubicBezTo>
                    <a:moveTo>
                      <a:pt x="33" y="0"/>
                    </a:moveTo>
                    <a:cubicBezTo>
                      <a:pt x="30" y="0"/>
                      <a:pt x="26" y="1"/>
                      <a:pt x="22" y="2"/>
                    </a:cubicBezTo>
                    <a:cubicBezTo>
                      <a:pt x="17" y="7"/>
                      <a:pt x="12" y="15"/>
                      <a:pt x="11" y="22"/>
                    </a:cubicBezTo>
                    <a:cubicBezTo>
                      <a:pt x="8" y="43"/>
                      <a:pt x="28" y="58"/>
                      <a:pt x="47" y="61"/>
                    </a:cubicBezTo>
                    <a:cubicBezTo>
                      <a:pt x="48" y="61"/>
                      <a:pt x="49" y="61"/>
                      <a:pt x="51" y="61"/>
                    </a:cubicBezTo>
                    <a:cubicBezTo>
                      <a:pt x="63" y="61"/>
                      <a:pt x="73" y="53"/>
                      <a:pt x="79" y="41"/>
                    </a:cubicBezTo>
                    <a:cubicBezTo>
                      <a:pt x="79" y="41"/>
                      <a:pt x="79" y="40"/>
                      <a:pt x="79" y="39"/>
                    </a:cubicBezTo>
                    <a:cubicBezTo>
                      <a:pt x="79" y="38"/>
                      <a:pt x="80" y="36"/>
                      <a:pt x="80" y="33"/>
                    </a:cubicBezTo>
                    <a:cubicBezTo>
                      <a:pt x="80" y="25"/>
                      <a:pt x="76" y="14"/>
                      <a:pt x="70" y="8"/>
                    </a:cubicBezTo>
                    <a:cubicBezTo>
                      <a:pt x="64" y="3"/>
                      <a:pt x="52" y="1"/>
                      <a:pt x="45" y="1"/>
                    </a:cubicBezTo>
                    <a:cubicBezTo>
                      <a:pt x="45" y="1"/>
                      <a:pt x="45" y="1"/>
                      <a:pt x="45" y="1"/>
                    </a:cubicBezTo>
                    <a:cubicBezTo>
                      <a:pt x="41" y="1"/>
                      <a:pt x="37" y="0"/>
                      <a:pt x="33" y="0"/>
                    </a:cubicBezTo>
                  </a:path>
                </a:pathLst>
              </a:custGeom>
              <a:solidFill>
                <a:srgbClr val="F9CE8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64" name="Freeform 10">
                <a:extLst>
                  <a:ext uri="{FF2B5EF4-FFF2-40B4-BE49-F238E27FC236}">
                    <a16:creationId xmlns:a16="http://schemas.microsoft.com/office/drawing/2014/main" id="{CDFBFAA5-E243-4188-A29F-2C8263A84F7D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6387" y="1732"/>
                <a:ext cx="77" cy="78"/>
              </a:xfrm>
              <a:custGeom>
                <a:avLst/>
                <a:gdLst>
                  <a:gd name="T0" fmla="*/ 4 w 72"/>
                  <a:gd name="T1" fmla="*/ 20 h 74"/>
                  <a:gd name="T2" fmla="*/ 1 w 72"/>
                  <a:gd name="T3" fmla="*/ 28 h 74"/>
                  <a:gd name="T4" fmla="*/ 0 w 72"/>
                  <a:gd name="T5" fmla="*/ 35 h 74"/>
                  <a:gd name="T6" fmla="*/ 33 w 72"/>
                  <a:gd name="T7" fmla="*/ 74 h 74"/>
                  <a:gd name="T8" fmla="*/ 36 w 72"/>
                  <a:gd name="T9" fmla="*/ 74 h 74"/>
                  <a:gd name="T10" fmla="*/ 59 w 72"/>
                  <a:gd name="T11" fmla="*/ 65 h 74"/>
                  <a:gd name="T12" fmla="*/ 44 w 72"/>
                  <a:gd name="T13" fmla="*/ 69 h 74"/>
                  <a:gd name="T14" fmla="*/ 34 w 72"/>
                  <a:gd name="T15" fmla="*/ 67 h 74"/>
                  <a:gd name="T16" fmla="*/ 4 w 72"/>
                  <a:gd name="T17" fmla="*/ 20 h 74"/>
                  <a:gd name="T18" fmla="*/ 26 w 72"/>
                  <a:gd name="T19" fmla="*/ 0 h 74"/>
                  <a:gd name="T20" fmla="*/ 23 w 72"/>
                  <a:gd name="T21" fmla="*/ 0 h 74"/>
                  <a:gd name="T22" fmla="*/ 16 w 72"/>
                  <a:gd name="T23" fmla="*/ 8 h 74"/>
                  <a:gd name="T24" fmla="*/ 10 w 72"/>
                  <a:gd name="T25" fmla="*/ 31 h 74"/>
                  <a:gd name="T26" fmla="*/ 43 w 72"/>
                  <a:gd name="T27" fmla="*/ 63 h 74"/>
                  <a:gd name="T28" fmla="*/ 44 w 72"/>
                  <a:gd name="T29" fmla="*/ 63 h 74"/>
                  <a:gd name="T30" fmla="*/ 71 w 72"/>
                  <a:gd name="T31" fmla="*/ 45 h 74"/>
                  <a:gd name="T32" fmla="*/ 72 w 72"/>
                  <a:gd name="T33" fmla="*/ 37 h 74"/>
                  <a:gd name="T34" fmla="*/ 71 w 72"/>
                  <a:gd name="T35" fmla="*/ 32 h 74"/>
                  <a:gd name="T36" fmla="*/ 57 w 72"/>
                  <a:gd name="T37" fmla="*/ 5 h 74"/>
                  <a:gd name="T38" fmla="*/ 41 w 72"/>
                  <a:gd name="T39" fmla="*/ 1 h 74"/>
                  <a:gd name="T40" fmla="*/ 37 w 72"/>
                  <a:gd name="T41" fmla="*/ 1 h 74"/>
                  <a:gd name="T42" fmla="*/ 26 w 72"/>
                  <a:gd name="T43" fmla="*/ 0 h 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72" h="74">
                    <a:moveTo>
                      <a:pt x="4" y="20"/>
                    </a:moveTo>
                    <a:cubicBezTo>
                      <a:pt x="3" y="23"/>
                      <a:pt x="2" y="26"/>
                      <a:pt x="1" y="28"/>
                    </a:cubicBezTo>
                    <a:cubicBezTo>
                      <a:pt x="1" y="31"/>
                      <a:pt x="0" y="33"/>
                      <a:pt x="0" y="35"/>
                    </a:cubicBezTo>
                    <a:cubicBezTo>
                      <a:pt x="0" y="53"/>
                      <a:pt x="13" y="70"/>
                      <a:pt x="33" y="74"/>
                    </a:cubicBezTo>
                    <a:cubicBezTo>
                      <a:pt x="34" y="74"/>
                      <a:pt x="35" y="74"/>
                      <a:pt x="36" y="74"/>
                    </a:cubicBezTo>
                    <a:cubicBezTo>
                      <a:pt x="45" y="74"/>
                      <a:pt x="53" y="70"/>
                      <a:pt x="59" y="65"/>
                    </a:cubicBezTo>
                    <a:cubicBezTo>
                      <a:pt x="55" y="67"/>
                      <a:pt x="50" y="69"/>
                      <a:pt x="44" y="69"/>
                    </a:cubicBezTo>
                    <a:cubicBezTo>
                      <a:pt x="41" y="69"/>
                      <a:pt x="38" y="68"/>
                      <a:pt x="34" y="67"/>
                    </a:cubicBezTo>
                    <a:cubicBezTo>
                      <a:pt x="15" y="62"/>
                      <a:pt x="0" y="41"/>
                      <a:pt x="4" y="20"/>
                    </a:cubicBezTo>
                    <a:moveTo>
                      <a:pt x="26" y="0"/>
                    </a:moveTo>
                    <a:cubicBezTo>
                      <a:pt x="25" y="0"/>
                      <a:pt x="24" y="0"/>
                      <a:pt x="23" y="0"/>
                    </a:cubicBezTo>
                    <a:cubicBezTo>
                      <a:pt x="20" y="2"/>
                      <a:pt x="18" y="4"/>
                      <a:pt x="16" y="8"/>
                    </a:cubicBezTo>
                    <a:cubicBezTo>
                      <a:pt x="12" y="15"/>
                      <a:pt x="10" y="23"/>
                      <a:pt x="10" y="31"/>
                    </a:cubicBezTo>
                    <a:cubicBezTo>
                      <a:pt x="12" y="47"/>
                      <a:pt x="27" y="63"/>
                      <a:pt x="43" y="63"/>
                    </a:cubicBezTo>
                    <a:cubicBezTo>
                      <a:pt x="43" y="63"/>
                      <a:pt x="44" y="63"/>
                      <a:pt x="44" y="63"/>
                    </a:cubicBezTo>
                    <a:cubicBezTo>
                      <a:pt x="57" y="63"/>
                      <a:pt x="66" y="55"/>
                      <a:pt x="71" y="45"/>
                    </a:cubicBezTo>
                    <a:cubicBezTo>
                      <a:pt x="71" y="43"/>
                      <a:pt x="72" y="40"/>
                      <a:pt x="72" y="37"/>
                    </a:cubicBezTo>
                    <a:cubicBezTo>
                      <a:pt x="72" y="36"/>
                      <a:pt x="72" y="34"/>
                      <a:pt x="71" y="32"/>
                    </a:cubicBezTo>
                    <a:cubicBezTo>
                      <a:pt x="70" y="22"/>
                      <a:pt x="65" y="13"/>
                      <a:pt x="57" y="5"/>
                    </a:cubicBezTo>
                    <a:cubicBezTo>
                      <a:pt x="52" y="2"/>
                      <a:pt x="49" y="1"/>
                      <a:pt x="41" y="1"/>
                    </a:cubicBezTo>
                    <a:cubicBezTo>
                      <a:pt x="37" y="1"/>
                      <a:pt x="37" y="1"/>
                      <a:pt x="37" y="1"/>
                    </a:cubicBezTo>
                    <a:cubicBezTo>
                      <a:pt x="34" y="1"/>
                      <a:pt x="30" y="0"/>
                      <a:pt x="26" y="0"/>
                    </a:cubicBezTo>
                  </a:path>
                </a:pathLst>
              </a:custGeom>
              <a:solidFill>
                <a:srgbClr val="F9CE8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65" name="Freeform 11">
                <a:extLst>
                  <a:ext uri="{FF2B5EF4-FFF2-40B4-BE49-F238E27FC236}">
                    <a16:creationId xmlns:a16="http://schemas.microsoft.com/office/drawing/2014/main" id="{52E1F7EE-EB32-45BB-954F-6C45F1601CB5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6159" y="1677"/>
                <a:ext cx="1061" cy="522"/>
              </a:xfrm>
              <a:custGeom>
                <a:avLst/>
                <a:gdLst>
                  <a:gd name="T0" fmla="*/ 3 w 1001"/>
                  <a:gd name="T1" fmla="*/ 183 h 493"/>
                  <a:gd name="T2" fmla="*/ 124 w 1001"/>
                  <a:gd name="T3" fmla="*/ 376 h 493"/>
                  <a:gd name="T4" fmla="*/ 242 w 1001"/>
                  <a:gd name="T5" fmla="*/ 410 h 493"/>
                  <a:gd name="T6" fmla="*/ 365 w 1001"/>
                  <a:gd name="T7" fmla="*/ 383 h 493"/>
                  <a:gd name="T8" fmla="*/ 413 w 1001"/>
                  <a:gd name="T9" fmla="*/ 386 h 493"/>
                  <a:gd name="T10" fmla="*/ 640 w 1001"/>
                  <a:gd name="T11" fmla="*/ 423 h 493"/>
                  <a:gd name="T12" fmla="*/ 704 w 1001"/>
                  <a:gd name="T13" fmla="*/ 463 h 493"/>
                  <a:gd name="T14" fmla="*/ 796 w 1001"/>
                  <a:gd name="T15" fmla="*/ 492 h 493"/>
                  <a:gd name="T16" fmla="*/ 833 w 1001"/>
                  <a:gd name="T17" fmla="*/ 491 h 493"/>
                  <a:gd name="T18" fmla="*/ 922 w 1001"/>
                  <a:gd name="T19" fmla="*/ 466 h 493"/>
                  <a:gd name="T20" fmla="*/ 825 w 1001"/>
                  <a:gd name="T21" fmla="*/ 488 h 493"/>
                  <a:gd name="T22" fmla="*/ 696 w 1001"/>
                  <a:gd name="T23" fmla="*/ 452 h 493"/>
                  <a:gd name="T24" fmla="*/ 643 w 1001"/>
                  <a:gd name="T25" fmla="*/ 414 h 493"/>
                  <a:gd name="T26" fmla="*/ 445 w 1001"/>
                  <a:gd name="T27" fmla="*/ 385 h 493"/>
                  <a:gd name="T28" fmla="*/ 379 w 1001"/>
                  <a:gd name="T29" fmla="*/ 378 h 493"/>
                  <a:gd name="T30" fmla="*/ 250 w 1001"/>
                  <a:gd name="T31" fmla="*/ 405 h 493"/>
                  <a:gd name="T32" fmla="*/ 31 w 1001"/>
                  <a:gd name="T33" fmla="*/ 273 h 493"/>
                  <a:gd name="T34" fmla="*/ 39 w 1001"/>
                  <a:gd name="T35" fmla="*/ 166 h 493"/>
                  <a:gd name="T36" fmla="*/ 45 w 1001"/>
                  <a:gd name="T37" fmla="*/ 160 h 493"/>
                  <a:gd name="T38" fmla="*/ 47 w 1001"/>
                  <a:gd name="T39" fmla="*/ 162 h 493"/>
                  <a:gd name="T40" fmla="*/ 39 w 1001"/>
                  <a:gd name="T41" fmla="*/ 166 h 493"/>
                  <a:gd name="T42" fmla="*/ 64 w 1001"/>
                  <a:gd name="T43" fmla="*/ 22 h 493"/>
                  <a:gd name="T44" fmla="*/ 66 w 1001"/>
                  <a:gd name="T45" fmla="*/ 309 h 493"/>
                  <a:gd name="T46" fmla="*/ 249 w 1001"/>
                  <a:gd name="T47" fmla="*/ 398 h 493"/>
                  <a:gd name="T48" fmla="*/ 385 w 1001"/>
                  <a:gd name="T49" fmla="*/ 371 h 493"/>
                  <a:gd name="T50" fmla="*/ 648 w 1001"/>
                  <a:gd name="T51" fmla="*/ 407 h 493"/>
                  <a:gd name="T52" fmla="*/ 767 w 1001"/>
                  <a:gd name="T53" fmla="*/ 471 h 493"/>
                  <a:gd name="T54" fmla="*/ 882 w 1001"/>
                  <a:gd name="T55" fmla="*/ 471 h 493"/>
                  <a:gd name="T56" fmla="*/ 1001 w 1001"/>
                  <a:gd name="T57" fmla="*/ 370 h 493"/>
                  <a:gd name="T58" fmla="*/ 930 w 1001"/>
                  <a:gd name="T59" fmla="*/ 437 h 493"/>
                  <a:gd name="T60" fmla="*/ 852 w 1001"/>
                  <a:gd name="T61" fmla="*/ 461 h 493"/>
                  <a:gd name="T62" fmla="*/ 727 w 1001"/>
                  <a:gd name="T63" fmla="*/ 437 h 493"/>
                  <a:gd name="T64" fmla="*/ 643 w 1001"/>
                  <a:gd name="T65" fmla="*/ 383 h 493"/>
                  <a:gd name="T66" fmla="*/ 643 w 1001"/>
                  <a:gd name="T67" fmla="*/ 382 h 493"/>
                  <a:gd name="T68" fmla="*/ 429 w 1001"/>
                  <a:gd name="T69" fmla="*/ 356 h 493"/>
                  <a:gd name="T70" fmla="*/ 370 w 1001"/>
                  <a:gd name="T71" fmla="*/ 350 h 493"/>
                  <a:gd name="T72" fmla="*/ 252 w 1001"/>
                  <a:gd name="T73" fmla="*/ 379 h 493"/>
                  <a:gd name="T74" fmla="*/ 157 w 1001"/>
                  <a:gd name="T75" fmla="*/ 348 h 493"/>
                  <a:gd name="T76" fmla="*/ 72 w 1001"/>
                  <a:gd name="T77" fmla="*/ 278 h 493"/>
                  <a:gd name="T78" fmla="*/ 37 w 1001"/>
                  <a:gd name="T79" fmla="*/ 207 h 493"/>
                  <a:gd name="T80" fmla="*/ 43 w 1001"/>
                  <a:gd name="T81" fmla="*/ 201 h 493"/>
                  <a:gd name="T82" fmla="*/ 43 w 1001"/>
                  <a:gd name="T83" fmla="*/ 195 h 493"/>
                  <a:gd name="T84" fmla="*/ 40 w 1001"/>
                  <a:gd name="T85" fmla="*/ 189 h 493"/>
                  <a:gd name="T86" fmla="*/ 33 w 1001"/>
                  <a:gd name="T87" fmla="*/ 173 h 493"/>
                  <a:gd name="T88" fmla="*/ 40 w 1001"/>
                  <a:gd name="T89" fmla="*/ 169 h 493"/>
                  <a:gd name="T90" fmla="*/ 56 w 1001"/>
                  <a:gd name="T91" fmla="*/ 138 h 493"/>
                  <a:gd name="T92" fmla="*/ 64 w 1001"/>
                  <a:gd name="T93" fmla="*/ 90 h 493"/>
                  <a:gd name="T94" fmla="*/ 42 w 1001"/>
                  <a:gd name="T95" fmla="*/ 144 h 493"/>
                  <a:gd name="T96" fmla="*/ 40 w 1001"/>
                  <a:gd name="T97" fmla="*/ 144 h 493"/>
                  <a:gd name="T98" fmla="*/ 89 w 1001"/>
                  <a:gd name="T99" fmla="*/ 0 h 4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1001" h="493">
                    <a:moveTo>
                      <a:pt x="15" y="102"/>
                    </a:moveTo>
                    <a:cubicBezTo>
                      <a:pt x="7" y="128"/>
                      <a:pt x="3" y="156"/>
                      <a:pt x="3" y="183"/>
                    </a:cubicBezTo>
                    <a:cubicBezTo>
                      <a:pt x="2" y="221"/>
                      <a:pt x="16" y="262"/>
                      <a:pt x="37" y="294"/>
                    </a:cubicBezTo>
                    <a:cubicBezTo>
                      <a:pt x="60" y="329"/>
                      <a:pt x="89" y="358"/>
                      <a:pt x="124" y="376"/>
                    </a:cubicBezTo>
                    <a:cubicBezTo>
                      <a:pt x="152" y="389"/>
                      <a:pt x="181" y="402"/>
                      <a:pt x="210" y="407"/>
                    </a:cubicBezTo>
                    <a:cubicBezTo>
                      <a:pt x="221" y="409"/>
                      <a:pt x="232" y="410"/>
                      <a:pt x="242" y="410"/>
                    </a:cubicBezTo>
                    <a:cubicBezTo>
                      <a:pt x="268" y="410"/>
                      <a:pt x="294" y="404"/>
                      <a:pt x="319" y="396"/>
                    </a:cubicBezTo>
                    <a:cubicBezTo>
                      <a:pt x="334" y="390"/>
                      <a:pt x="349" y="386"/>
                      <a:pt x="365" y="383"/>
                    </a:cubicBezTo>
                    <a:cubicBezTo>
                      <a:pt x="369" y="383"/>
                      <a:pt x="372" y="383"/>
                      <a:pt x="375" y="383"/>
                    </a:cubicBezTo>
                    <a:cubicBezTo>
                      <a:pt x="388" y="383"/>
                      <a:pt x="401" y="385"/>
                      <a:pt x="413" y="386"/>
                    </a:cubicBezTo>
                    <a:cubicBezTo>
                      <a:pt x="489" y="397"/>
                      <a:pt x="565" y="406"/>
                      <a:pt x="640" y="419"/>
                    </a:cubicBezTo>
                    <a:cubicBezTo>
                      <a:pt x="640" y="423"/>
                      <a:pt x="640" y="423"/>
                      <a:pt x="640" y="423"/>
                    </a:cubicBezTo>
                    <a:cubicBezTo>
                      <a:pt x="646" y="428"/>
                      <a:pt x="654" y="432"/>
                      <a:pt x="661" y="436"/>
                    </a:cubicBezTo>
                    <a:cubicBezTo>
                      <a:pt x="676" y="446"/>
                      <a:pt x="691" y="456"/>
                      <a:pt x="704" y="463"/>
                    </a:cubicBezTo>
                    <a:cubicBezTo>
                      <a:pt x="717" y="471"/>
                      <a:pt x="730" y="474"/>
                      <a:pt x="744" y="480"/>
                    </a:cubicBezTo>
                    <a:cubicBezTo>
                      <a:pt x="760" y="484"/>
                      <a:pt x="778" y="489"/>
                      <a:pt x="796" y="492"/>
                    </a:cubicBezTo>
                    <a:cubicBezTo>
                      <a:pt x="801" y="492"/>
                      <a:pt x="805" y="493"/>
                      <a:pt x="810" y="493"/>
                    </a:cubicBezTo>
                    <a:cubicBezTo>
                      <a:pt x="818" y="493"/>
                      <a:pt x="826" y="492"/>
                      <a:pt x="833" y="491"/>
                    </a:cubicBezTo>
                    <a:cubicBezTo>
                      <a:pt x="851" y="490"/>
                      <a:pt x="869" y="487"/>
                      <a:pt x="888" y="480"/>
                    </a:cubicBezTo>
                    <a:cubicBezTo>
                      <a:pt x="900" y="477"/>
                      <a:pt x="911" y="472"/>
                      <a:pt x="922" y="466"/>
                    </a:cubicBezTo>
                    <a:cubicBezTo>
                      <a:pt x="910" y="472"/>
                      <a:pt x="898" y="476"/>
                      <a:pt x="886" y="480"/>
                    </a:cubicBezTo>
                    <a:cubicBezTo>
                      <a:pt x="865" y="485"/>
                      <a:pt x="845" y="488"/>
                      <a:pt x="825" y="488"/>
                    </a:cubicBezTo>
                    <a:cubicBezTo>
                      <a:pt x="802" y="488"/>
                      <a:pt x="779" y="484"/>
                      <a:pt x="756" y="478"/>
                    </a:cubicBezTo>
                    <a:cubicBezTo>
                      <a:pt x="735" y="472"/>
                      <a:pt x="715" y="463"/>
                      <a:pt x="696" y="452"/>
                    </a:cubicBezTo>
                    <a:cubicBezTo>
                      <a:pt x="679" y="442"/>
                      <a:pt x="657" y="431"/>
                      <a:pt x="644" y="416"/>
                    </a:cubicBezTo>
                    <a:cubicBezTo>
                      <a:pt x="643" y="416"/>
                      <a:pt x="643" y="415"/>
                      <a:pt x="643" y="414"/>
                    </a:cubicBezTo>
                    <a:cubicBezTo>
                      <a:pt x="599" y="406"/>
                      <a:pt x="554" y="400"/>
                      <a:pt x="510" y="394"/>
                    </a:cubicBezTo>
                    <a:cubicBezTo>
                      <a:pt x="488" y="391"/>
                      <a:pt x="467" y="388"/>
                      <a:pt x="445" y="385"/>
                    </a:cubicBezTo>
                    <a:cubicBezTo>
                      <a:pt x="425" y="382"/>
                      <a:pt x="405" y="378"/>
                      <a:pt x="385" y="378"/>
                    </a:cubicBezTo>
                    <a:cubicBezTo>
                      <a:pt x="383" y="378"/>
                      <a:pt x="381" y="378"/>
                      <a:pt x="379" y="378"/>
                    </a:cubicBezTo>
                    <a:cubicBezTo>
                      <a:pt x="344" y="380"/>
                      <a:pt x="311" y="398"/>
                      <a:pt x="276" y="403"/>
                    </a:cubicBezTo>
                    <a:cubicBezTo>
                      <a:pt x="267" y="404"/>
                      <a:pt x="258" y="405"/>
                      <a:pt x="250" y="405"/>
                    </a:cubicBezTo>
                    <a:cubicBezTo>
                      <a:pt x="225" y="405"/>
                      <a:pt x="201" y="400"/>
                      <a:pt x="178" y="392"/>
                    </a:cubicBezTo>
                    <a:cubicBezTo>
                      <a:pt x="116" y="370"/>
                      <a:pt x="62" y="333"/>
                      <a:pt x="31" y="273"/>
                    </a:cubicBezTo>
                    <a:cubicBezTo>
                      <a:pt x="3" y="219"/>
                      <a:pt x="0" y="160"/>
                      <a:pt x="15" y="102"/>
                    </a:cubicBezTo>
                    <a:moveTo>
                      <a:pt x="39" y="166"/>
                    </a:moveTo>
                    <a:cubicBezTo>
                      <a:pt x="38" y="166"/>
                      <a:pt x="37" y="165"/>
                      <a:pt x="38" y="164"/>
                    </a:cubicBezTo>
                    <a:cubicBezTo>
                      <a:pt x="40" y="162"/>
                      <a:pt x="43" y="161"/>
                      <a:pt x="45" y="160"/>
                    </a:cubicBezTo>
                    <a:cubicBezTo>
                      <a:pt x="45" y="160"/>
                      <a:pt x="46" y="159"/>
                      <a:pt x="46" y="159"/>
                    </a:cubicBezTo>
                    <a:cubicBezTo>
                      <a:pt x="47" y="159"/>
                      <a:pt x="48" y="162"/>
                      <a:pt x="47" y="162"/>
                    </a:cubicBezTo>
                    <a:cubicBezTo>
                      <a:pt x="44" y="164"/>
                      <a:pt x="42" y="165"/>
                      <a:pt x="40" y="166"/>
                    </a:cubicBezTo>
                    <a:cubicBezTo>
                      <a:pt x="39" y="166"/>
                      <a:pt x="39" y="166"/>
                      <a:pt x="39" y="166"/>
                    </a:cubicBezTo>
                    <a:moveTo>
                      <a:pt x="89" y="0"/>
                    </a:moveTo>
                    <a:cubicBezTo>
                      <a:pt x="80" y="7"/>
                      <a:pt x="72" y="14"/>
                      <a:pt x="64" y="22"/>
                    </a:cubicBezTo>
                    <a:cubicBezTo>
                      <a:pt x="42" y="47"/>
                      <a:pt x="29" y="78"/>
                      <a:pt x="21" y="111"/>
                    </a:cubicBezTo>
                    <a:cubicBezTo>
                      <a:pt x="4" y="182"/>
                      <a:pt x="19" y="253"/>
                      <a:pt x="66" y="309"/>
                    </a:cubicBezTo>
                    <a:cubicBezTo>
                      <a:pt x="108" y="360"/>
                      <a:pt x="180" y="397"/>
                      <a:pt x="246" y="398"/>
                    </a:cubicBezTo>
                    <a:cubicBezTo>
                      <a:pt x="247" y="398"/>
                      <a:pt x="248" y="398"/>
                      <a:pt x="249" y="398"/>
                    </a:cubicBezTo>
                    <a:cubicBezTo>
                      <a:pt x="284" y="398"/>
                      <a:pt x="316" y="385"/>
                      <a:pt x="350" y="376"/>
                    </a:cubicBezTo>
                    <a:cubicBezTo>
                      <a:pt x="362" y="373"/>
                      <a:pt x="374" y="371"/>
                      <a:pt x="385" y="371"/>
                    </a:cubicBezTo>
                    <a:cubicBezTo>
                      <a:pt x="403" y="371"/>
                      <a:pt x="420" y="374"/>
                      <a:pt x="438" y="377"/>
                    </a:cubicBezTo>
                    <a:cubicBezTo>
                      <a:pt x="508" y="387"/>
                      <a:pt x="578" y="395"/>
                      <a:pt x="648" y="407"/>
                    </a:cubicBezTo>
                    <a:cubicBezTo>
                      <a:pt x="651" y="407"/>
                      <a:pt x="651" y="411"/>
                      <a:pt x="650" y="413"/>
                    </a:cubicBezTo>
                    <a:cubicBezTo>
                      <a:pt x="689" y="434"/>
                      <a:pt x="723" y="459"/>
                      <a:pt x="767" y="471"/>
                    </a:cubicBezTo>
                    <a:cubicBezTo>
                      <a:pt x="786" y="476"/>
                      <a:pt x="805" y="478"/>
                      <a:pt x="824" y="478"/>
                    </a:cubicBezTo>
                    <a:cubicBezTo>
                      <a:pt x="844" y="478"/>
                      <a:pt x="863" y="476"/>
                      <a:pt x="882" y="471"/>
                    </a:cubicBezTo>
                    <a:cubicBezTo>
                      <a:pt x="920" y="461"/>
                      <a:pt x="953" y="439"/>
                      <a:pt x="979" y="410"/>
                    </a:cubicBezTo>
                    <a:cubicBezTo>
                      <a:pt x="989" y="397"/>
                      <a:pt x="996" y="384"/>
                      <a:pt x="1001" y="370"/>
                    </a:cubicBezTo>
                    <a:cubicBezTo>
                      <a:pt x="995" y="379"/>
                      <a:pt x="987" y="388"/>
                      <a:pt x="979" y="396"/>
                    </a:cubicBezTo>
                    <a:cubicBezTo>
                      <a:pt x="965" y="411"/>
                      <a:pt x="949" y="426"/>
                      <a:pt x="930" y="437"/>
                    </a:cubicBezTo>
                    <a:cubicBezTo>
                      <a:pt x="925" y="442"/>
                      <a:pt x="919" y="445"/>
                      <a:pt x="912" y="448"/>
                    </a:cubicBezTo>
                    <a:cubicBezTo>
                      <a:pt x="894" y="459"/>
                      <a:pt x="873" y="461"/>
                      <a:pt x="852" y="461"/>
                    </a:cubicBezTo>
                    <a:cubicBezTo>
                      <a:pt x="850" y="461"/>
                      <a:pt x="848" y="461"/>
                      <a:pt x="845" y="461"/>
                    </a:cubicBezTo>
                    <a:cubicBezTo>
                      <a:pt x="805" y="460"/>
                      <a:pt x="761" y="458"/>
                      <a:pt x="727" y="437"/>
                    </a:cubicBezTo>
                    <a:cubicBezTo>
                      <a:pt x="698" y="421"/>
                      <a:pt x="674" y="397"/>
                      <a:pt x="643" y="383"/>
                    </a:cubicBezTo>
                    <a:cubicBezTo>
                      <a:pt x="643" y="383"/>
                      <a:pt x="643" y="383"/>
                      <a:pt x="643" y="383"/>
                    </a:cubicBezTo>
                    <a:cubicBezTo>
                      <a:pt x="643" y="383"/>
                      <a:pt x="643" y="383"/>
                      <a:pt x="643" y="383"/>
                    </a:cubicBezTo>
                    <a:cubicBezTo>
                      <a:pt x="643" y="382"/>
                      <a:pt x="643" y="382"/>
                      <a:pt x="643" y="382"/>
                    </a:cubicBezTo>
                    <a:cubicBezTo>
                      <a:pt x="605" y="377"/>
                      <a:pt x="570" y="369"/>
                      <a:pt x="532" y="366"/>
                    </a:cubicBezTo>
                    <a:cubicBezTo>
                      <a:pt x="498" y="363"/>
                      <a:pt x="462" y="359"/>
                      <a:pt x="429" y="356"/>
                    </a:cubicBezTo>
                    <a:cubicBezTo>
                      <a:pt x="413" y="353"/>
                      <a:pt x="397" y="349"/>
                      <a:pt x="381" y="349"/>
                    </a:cubicBezTo>
                    <a:cubicBezTo>
                      <a:pt x="377" y="349"/>
                      <a:pt x="374" y="349"/>
                      <a:pt x="370" y="350"/>
                    </a:cubicBezTo>
                    <a:cubicBezTo>
                      <a:pt x="349" y="352"/>
                      <a:pt x="329" y="362"/>
                      <a:pt x="310" y="368"/>
                    </a:cubicBezTo>
                    <a:cubicBezTo>
                      <a:pt x="292" y="375"/>
                      <a:pt x="272" y="379"/>
                      <a:pt x="252" y="379"/>
                    </a:cubicBezTo>
                    <a:cubicBezTo>
                      <a:pt x="237" y="379"/>
                      <a:pt x="220" y="372"/>
                      <a:pt x="205" y="369"/>
                    </a:cubicBezTo>
                    <a:cubicBezTo>
                      <a:pt x="190" y="362"/>
                      <a:pt x="172" y="356"/>
                      <a:pt x="157" y="348"/>
                    </a:cubicBezTo>
                    <a:cubicBezTo>
                      <a:pt x="143" y="342"/>
                      <a:pt x="131" y="331"/>
                      <a:pt x="118" y="322"/>
                    </a:cubicBezTo>
                    <a:cubicBezTo>
                      <a:pt x="102" y="310"/>
                      <a:pt x="84" y="295"/>
                      <a:pt x="72" y="278"/>
                    </a:cubicBezTo>
                    <a:cubicBezTo>
                      <a:pt x="61" y="262"/>
                      <a:pt x="52" y="244"/>
                      <a:pt x="46" y="225"/>
                    </a:cubicBezTo>
                    <a:cubicBezTo>
                      <a:pt x="37" y="207"/>
                      <a:pt x="37" y="207"/>
                      <a:pt x="37" y="207"/>
                    </a:cubicBezTo>
                    <a:cubicBezTo>
                      <a:pt x="37" y="207"/>
                      <a:pt x="37" y="207"/>
                      <a:pt x="37" y="207"/>
                    </a:cubicBezTo>
                    <a:cubicBezTo>
                      <a:pt x="39" y="205"/>
                      <a:pt x="41" y="203"/>
                      <a:pt x="43" y="201"/>
                    </a:cubicBezTo>
                    <a:cubicBezTo>
                      <a:pt x="41" y="201"/>
                      <a:pt x="40" y="199"/>
                      <a:pt x="41" y="197"/>
                    </a:cubicBezTo>
                    <a:cubicBezTo>
                      <a:pt x="42" y="197"/>
                      <a:pt x="42" y="196"/>
                      <a:pt x="43" y="195"/>
                    </a:cubicBezTo>
                    <a:cubicBezTo>
                      <a:pt x="41" y="191"/>
                      <a:pt x="41" y="191"/>
                      <a:pt x="41" y="191"/>
                    </a:cubicBezTo>
                    <a:cubicBezTo>
                      <a:pt x="40" y="189"/>
                      <a:pt x="40" y="189"/>
                      <a:pt x="40" y="189"/>
                    </a:cubicBezTo>
                    <a:cubicBezTo>
                      <a:pt x="39" y="189"/>
                      <a:pt x="37" y="187"/>
                      <a:pt x="38" y="185"/>
                    </a:cubicBezTo>
                    <a:cubicBezTo>
                      <a:pt x="33" y="173"/>
                      <a:pt x="33" y="173"/>
                      <a:pt x="33" y="173"/>
                    </a:cubicBezTo>
                    <a:cubicBezTo>
                      <a:pt x="33" y="173"/>
                      <a:pt x="33" y="173"/>
                      <a:pt x="33" y="173"/>
                    </a:cubicBezTo>
                    <a:cubicBezTo>
                      <a:pt x="35" y="172"/>
                      <a:pt x="37" y="171"/>
                      <a:pt x="40" y="169"/>
                    </a:cubicBezTo>
                    <a:cubicBezTo>
                      <a:pt x="59" y="167"/>
                      <a:pt x="59" y="167"/>
                      <a:pt x="59" y="167"/>
                    </a:cubicBezTo>
                    <a:cubicBezTo>
                      <a:pt x="57" y="157"/>
                      <a:pt x="56" y="147"/>
                      <a:pt x="56" y="138"/>
                    </a:cubicBezTo>
                    <a:cubicBezTo>
                      <a:pt x="56" y="130"/>
                      <a:pt x="57" y="122"/>
                      <a:pt x="58" y="115"/>
                    </a:cubicBezTo>
                    <a:cubicBezTo>
                      <a:pt x="59" y="106"/>
                      <a:pt x="61" y="98"/>
                      <a:pt x="64" y="90"/>
                    </a:cubicBezTo>
                    <a:cubicBezTo>
                      <a:pt x="50" y="90"/>
                      <a:pt x="50" y="90"/>
                      <a:pt x="50" y="90"/>
                    </a:cubicBezTo>
                    <a:cubicBezTo>
                      <a:pt x="45" y="108"/>
                      <a:pt x="42" y="126"/>
                      <a:pt x="42" y="144"/>
                    </a:cubicBezTo>
                    <a:cubicBezTo>
                      <a:pt x="42" y="145"/>
                      <a:pt x="41" y="145"/>
                      <a:pt x="41" y="145"/>
                    </a:cubicBezTo>
                    <a:cubicBezTo>
                      <a:pt x="40" y="145"/>
                      <a:pt x="40" y="145"/>
                      <a:pt x="40" y="144"/>
                    </a:cubicBezTo>
                    <a:cubicBezTo>
                      <a:pt x="34" y="113"/>
                      <a:pt x="46" y="76"/>
                      <a:pt x="59" y="47"/>
                    </a:cubicBezTo>
                    <a:cubicBezTo>
                      <a:pt x="66" y="30"/>
                      <a:pt x="77" y="14"/>
                      <a:pt x="89" y="0"/>
                    </a:cubicBezTo>
                  </a:path>
                </a:pathLst>
              </a:custGeom>
              <a:solidFill>
                <a:srgbClr val="6F686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66" name="Freeform 12">
                <a:extLst>
                  <a:ext uri="{FF2B5EF4-FFF2-40B4-BE49-F238E27FC236}">
                    <a16:creationId xmlns:a16="http://schemas.microsoft.com/office/drawing/2014/main" id="{9962F62F-794F-47F1-BB54-B88DED17A35F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6194" y="1631"/>
                <a:ext cx="1040" cy="534"/>
              </a:xfrm>
              <a:custGeom>
                <a:avLst/>
                <a:gdLst>
                  <a:gd name="T0" fmla="*/ 575 w 981"/>
                  <a:gd name="T1" fmla="*/ 263 h 504"/>
                  <a:gd name="T2" fmla="*/ 575 w 981"/>
                  <a:gd name="T3" fmla="*/ 263 h 504"/>
                  <a:gd name="T4" fmla="*/ 733 w 981"/>
                  <a:gd name="T5" fmla="*/ 257 h 504"/>
                  <a:gd name="T6" fmla="*/ 472 w 981"/>
                  <a:gd name="T7" fmla="*/ 246 h 504"/>
                  <a:gd name="T8" fmla="*/ 516 w 981"/>
                  <a:gd name="T9" fmla="*/ 284 h 504"/>
                  <a:gd name="T10" fmla="*/ 245 w 981"/>
                  <a:gd name="T11" fmla="*/ 250 h 504"/>
                  <a:gd name="T12" fmla="*/ 821 w 981"/>
                  <a:gd name="T13" fmla="*/ 233 h 504"/>
                  <a:gd name="T14" fmla="*/ 817 w 981"/>
                  <a:gd name="T15" fmla="*/ 270 h 504"/>
                  <a:gd name="T16" fmla="*/ 876 w 981"/>
                  <a:gd name="T17" fmla="*/ 287 h 504"/>
                  <a:gd name="T18" fmla="*/ 803 w 981"/>
                  <a:gd name="T19" fmla="*/ 212 h 504"/>
                  <a:gd name="T20" fmla="*/ 617 w 981"/>
                  <a:gd name="T21" fmla="*/ 194 h 504"/>
                  <a:gd name="T22" fmla="*/ 542 w 981"/>
                  <a:gd name="T23" fmla="*/ 186 h 504"/>
                  <a:gd name="T24" fmla="*/ 467 w 981"/>
                  <a:gd name="T25" fmla="*/ 162 h 504"/>
                  <a:gd name="T26" fmla="*/ 467 w 981"/>
                  <a:gd name="T27" fmla="*/ 162 h 504"/>
                  <a:gd name="T28" fmla="*/ 239 w 981"/>
                  <a:gd name="T29" fmla="*/ 100 h 504"/>
                  <a:gd name="T30" fmla="*/ 783 w 981"/>
                  <a:gd name="T31" fmla="*/ 410 h 504"/>
                  <a:gd name="T32" fmla="*/ 795 w 981"/>
                  <a:gd name="T33" fmla="*/ 420 h 504"/>
                  <a:gd name="T34" fmla="*/ 230 w 981"/>
                  <a:gd name="T35" fmla="*/ 390 h 504"/>
                  <a:gd name="T36" fmla="*/ 377 w 981"/>
                  <a:gd name="T37" fmla="*/ 318 h 504"/>
                  <a:gd name="T38" fmla="*/ 571 w 981"/>
                  <a:gd name="T39" fmla="*/ 257 h 504"/>
                  <a:gd name="T40" fmla="*/ 609 w 981"/>
                  <a:gd name="T41" fmla="*/ 322 h 504"/>
                  <a:gd name="T42" fmla="*/ 519 w 981"/>
                  <a:gd name="T43" fmla="*/ 308 h 504"/>
                  <a:gd name="T44" fmla="*/ 470 w 981"/>
                  <a:gd name="T45" fmla="*/ 281 h 504"/>
                  <a:gd name="T46" fmla="*/ 233 w 981"/>
                  <a:gd name="T47" fmla="*/ 234 h 504"/>
                  <a:gd name="T48" fmla="*/ 178 w 981"/>
                  <a:gd name="T49" fmla="*/ 263 h 504"/>
                  <a:gd name="T50" fmla="*/ 827 w 981"/>
                  <a:gd name="T51" fmla="*/ 260 h 504"/>
                  <a:gd name="T52" fmla="*/ 872 w 981"/>
                  <a:gd name="T53" fmla="*/ 329 h 504"/>
                  <a:gd name="T54" fmla="*/ 801 w 981"/>
                  <a:gd name="T55" fmla="*/ 382 h 504"/>
                  <a:gd name="T56" fmla="*/ 761 w 981"/>
                  <a:gd name="T57" fmla="*/ 324 h 504"/>
                  <a:gd name="T58" fmla="*/ 704 w 981"/>
                  <a:gd name="T59" fmla="*/ 278 h 504"/>
                  <a:gd name="T60" fmla="*/ 760 w 981"/>
                  <a:gd name="T61" fmla="*/ 249 h 504"/>
                  <a:gd name="T62" fmla="*/ 621 w 981"/>
                  <a:gd name="T63" fmla="*/ 185 h 504"/>
                  <a:gd name="T64" fmla="*/ 623 w 981"/>
                  <a:gd name="T65" fmla="*/ 212 h 504"/>
                  <a:gd name="T66" fmla="*/ 334 w 981"/>
                  <a:gd name="T67" fmla="*/ 177 h 504"/>
                  <a:gd name="T68" fmla="*/ 285 w 981"/>
                  <a:gd name="T69" fmla="*/ 204 h 504"/>
                  <a:gd name="T70" fmla="*/ 349 w 981"/>
                  <a:gd name="T71" fmla="*/ 220 h 504"/>
                  <a:gd name="T72" fmla="*/ 546 w 981"/>
                  <a:gd name="T73" fmla="*/ 174 h 504"/>
                  <a:gd name="T74" fmla="*/ 542 w 981"/>
                  <a:gd name="T75" fmla="*/ 194 h 504"/>
                  <a:gd name="T76" fmla="*/ 532 w 981"/>
                  <a:gd name="T77" fmla="*/ 185 h 504"/>
                  <a:gd name="T78" fmla="*/ 864 w 981"/>
                  <a:gd name="T79" fmla="*/ 385 h 504"/>
                  <a:gd name="T80" fmla="*/ 674 w 981"/>
                  <a:gd name="T81" fmla="*/ 274 h 504"/>
                  <a:gd name="T82" fmla="*/ 455 w 981"/>
                  <a:gd name="T83" fmla="*/ 165 h 504"/>
                  <a:gd name="T84" fmla="*/ 462 w 981"/>
                  <a:gd name="T85" fmla="*/ 185 h 504"/>
                  <a:gd name="T86" fmla="*/ 111 w 981"/>
                  <a:gd name="T87" fmla="*/ 156 h 504"/>
                  <a:gd name="T88" fmla="*/ 140 w 981"/>
                  <a:gd name="T89" fmla="*/ 143 h 504"/>
                  <a:gd name="T90" fmla="*/ 90 w 981"/>
                  <a:gd name="T91" fmla="*/ 175 h 504"/>
                  <a:gd name="T92" fmla="*/ 218 w 981"/>
                  <a:gd name="T93" fmla="*/ 169 h 504"/>
                  <a:gd name="T94" fmla="*/ 137 w 981"/>
                  <a:gd name="T95" fmla="*/ 22 h 504"/>
                  <a:gd name="T96" fmla="*/ 257 w 981"/>
                  <a:gd name="T97" fmla="*/ 26 h 504"/>
                  <a:gd name="T98" fmla="*/ 157 w 981"/>
                  <a:gd name="T99" fmla="*/ 0 h 504"/>
                  <a:gd name="T100" fmla="*/ 26 w 981"/>
                  <a:gd name="T101" fmla="*/ 210 h 504"/>
                  <a:gd name="T102" fmla="*/ 15 w 981"/>
                  <a:gd name="T103" fmla="*/ 229 h 504"/>
                  <a:gd name="T104" fmla="*/ 12 w 981"/>
                  <a:gd name="T105" fmla="*/ 243 h 504"/>
                  <a:gd name="T106" fmla="*/ 172 w 981"/>
                  <a:gd name="T107" fmla="*/ 412 h 504"/>
                  <a:gd name="T108" fmla="*/ 610 w 981"/>
                  <a:gd name="T109" fmla="*/ 426 h 504"/>
                  <a:gd name="T110" fmla="*/ 780 w 981"/>
                  <a:gd name="T111" fmla="*/ 497 h 504"/>
                  <a:gd name="T112" fmla="*/ 111 w 981"/>
                  <a:gd name="T113" fmla="*/ 377 h 504"/>
                  <a:gd name="T114" fmla="*/ 311 w 981"/>
                  <a:gd name="T115" fmla="*/ 386 h 504"/>
                  <a:gd name="T116" fmla="*/ 862 w 981"/>
                  <a:gd name="T117" fmla="*/ 489 h 504"/>
                  <a:gd name="T118" fmla="*/ 702 w 981"/>
                  <a:gd name="T119" fmla="*/ 85 h 5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981" h="504">
                    <a:moveTo>
                      <a:pt x="818" y="332"/>
                    </a:moveTo>
                    <a:cubicBezTo>
                      <a:pt x="818" y="332"/>
                      <a:pt x="818" y="332"/>
                      <a:pt x="818" y="332"/>
                    </a:cubicBezTo>
                    <a:cubicBezTo>
                      <a:pt x="815" y="338"/>
                      <a:pt x="814" y="345"/>
                      <a:pt x="814" y="353"/>
                    </a:cubicBezTo>
                    <a:cubicBezTo>
                      <a:pt x="814" y="356"/>
                      <a:pt x="814" y="360"/>
                      <a:pt x="814" y="363"/>
                    </a:cubicBezTo>
                    <a:cubicBezTo>
                      <a:pt x="814" y="364"/>
                      <a:pt x="814" y="365"/>
                      <a:pt x="814" y="366"/>
                    </a:cubicBezTo>
                    <a:cubicBezTo>
                      <a:pt x="819" y="361"/>
                      <a:pt x="818" y="354"/>
                      <a:pt x="818" y="347"/>
                    </a:cubicBezTo>
                    <a:cubicBezTo>
                      <a:pt x="818" y="342"/>
                      <a:pt x="818" y="337"/>
                      <a:pt x="819" y="332"/>
                    </a:cubicBezTo>
                    <a:cubicBezTo>
                      <a:pt x="819" y="332"/>
                      <a:pt x="819" y="332"/>
                      <a:pt x="818" y="332"/>
                    </a:cubicBezTo>
                    <a:moveTo>
                      <a:pt x="575" y="263"/>
                    </a:moveTo>
                    <a:cubicBezTo>
                      <a:pt x="575" y="263"/>
                      <a:pt x="574" y="264"/>
                      <a:pt x="573" y="264"/>
                    </a:cubicBezTo>
                    <a:cubicBezTo>
                      <a:pt x="569" y="266"/>
                      <a:pt x="569" y="268"/>
                      <a:pt x="570" y="270"/>
                    </a:cubicBezTo>
                    <a:cubicBezTo>
                      <a:pt x="579" y="271"/>
                      <a:pt x="589" y="285"/>
                      <a:pt x="595" y="290"/>
                    </a:cubicBezTo>
                    <a:cubicBezTo>
                      <a:pt x="605" y="297"/>
                      <a:pt x="621" y="306"/>
                      <a:pt x="623" y="319"/>
                    </a:cubicBezTo>
                    <a:cubicBezTo>
                      <a:pt x="626" y="319"/>
                      <a:pt x="629" y="316"/>
                      <a:pt x="628" y="311"/>
                    </a:cubicBezTo>
                    <a:cubicBezTo>
                      <a:pt x="628" y="309"/>
                      <a:pt x="625" y="306"/>
                      <a:pt x="624" y="304"/>
                    </a:cubicBezTo>
                    <a:cubicBezTo>
                      <a:pt x="620" y="298"/>
                      <a:pt x="614" y="293"/>
                      <a:pt x="608" y="289"/>
                    </a:cubicBezTo>
                    <a:cubicBezTo>
                      <a:pt x="600" y="282"/>
                      <a:pt x="591" y="275"/>
                      <a:pt x="582" y="268"/>
                    </a:cubicBezTo>
                    <a:cubicBezTo>
                      <a:pt x="579" y="266"/>
                      <a:pt x="578" y="263"/>
                      <a:pt x="575" y="263"/>
                    </a:cubicBezTo>
                    <a:moveTo>
                      <a:pt x="727" y="251"/>
                    </a:moveTo>
                    <a:cubicBezTo>
                      <a:pt x="726" y="251"/>
                      <a:pt x="725" y="251"/>
                      <a:pt x="723" y="251"/>
                    </a:cubicBezTo>
                    <a:cubicBezTo>
                      <a:pt x="718" y="252"/>
                      <a:pt x="716" y="254"/>
                      <a:pt x="715" y="256"/>
                    </a:cubicBezTo>
                    <a:cubicBezTo>
                      <a:pt x="716" y="256"/>
                      <a:pt x="718" y="257"/>
                      <a:pt x="720" y="257"/>
                    </a:cubicBezTo>
                    <a:cubicBezTo>
                      <a:pt x="721" y="257"/>
                      <a:pt x="722" y="256"/>
                      <a:pt x="723" y="256"/>
                    </a:cubicBezTo>
                    <a:cubicBezTo>
                      <a:pt x="724" y="256"/>
                      <a:pt x="724" y="256"/>
                      <a:pt x="725" y="256"/>
                    </a:cubicBezTo>
                    <a:cubicBezTo>
                      <a:pt x="726" y="256"/>
                      <a:pt x="726" y="256"/>
                      <a:pt x="726" y="256"/>
                    </a:cubicBezTo>
                    <a:cubicBezTo>
                      <a:pt x="727" y="256"/>
                      <a:pt x="727" y="256"/>
                      <a:pt x="728" y="256"/>
                    </a:cubicBezTo>
                    <a:cubicBezTo>
                      <a:pt x="729" y="256"/>
                      <a:pt x="731" y="256"/>
                      <a:pt x="733" y="257"/>
                    </a:cubicBezTo>
                    <a:cubicBezTo>
                      <a:pt x="733" y="257"/>
                      <a:pt x="733" y="257"/>
                      <a:pt x="733" y="257"/>
                    </a:cubicBezTo>
                    <a:cubicBezTo>
                      <a:pt x="736" y="257"/>
                      <a:pt x="739" y="258"/>
                      <a:pt x="742" y="259"/>
                    </a:cubicBezTo>
                    <a:cubicBezTo>
                      <a:pt x="745" y="260"/>
                      <a:pt x="748" y="261"/>
                      <a:pt x="752" y="261"/>
                    </a:cubicBezTo>
                    <a:cubicBezTo>
                      <a:pt x="753" y="261"/>
                      <a:pt x="754" y="261"/>
                      <a:pt x="755" y="261"/>
                    </a:cubicBezTo>
                    <a:cubicBezTo>
                      <a:pt x="755" y="261"/>
                      <a:pt x="760" y="258"/>
                      <a:pt x="760" y="256"/>
                    </a:cubicBezTo>
                    <a:cubicBezTo>
                      <a:pt x="759" y="256"/>
                      <a:pt x="758" y="256"/>
                      <a:pt x="757" y="256"/>
                    </a:cubicBezTo>
                    <a:cubicBezTo>
                      <a:pt x="757" y="256"/>
                      <a:pt x="757" y="256"/>
                      <a:pt x="757" y="256"/>
                    </a:cubicBezTo>
                    <a:cubicBezTo>
                      <a:pt x="747" y="256"/>
                      <a:pt x="738" y="251"/>
                      <a:pt x="727" y="251"/>
                    </a:cubicBezTo>
                    <a:moveTo>
                      <a:pt x="472" y="246"/>
                    </a:moveTo>
                    <a:cubicBezTo>
                      <a:pt x="471" y="246"/>
                      <a:pt x="471" y="246"/>
                      <a:pt x="471" y="246"/>
                    </a:cubicBezTo>
                    <a:cubicBezTo>
                      <a:pt x="466" y="247"/>
                      <a:pt x="465" y="249"/>
                      <a:pt x="465" y="252"/>
                    </a:cubicBezTo>
                    <a:cubicBezTo>
                      <a:pt x="466" y="252"/>
                      <a:pt x="467" y="252"/>
                      <a:pt x="469" y="253"/>
                    </a:cubicBezTo>
                    <a:cubicBezTo>
                      <a:pt x="476" y="253"/>
                      <a:pt x="482" y="258"/>
                      <a:pt x="488" y="263"/>
                    </a:cubicBezTo>
                    <a:cubicBezTo>
                      <a:pt x="494" y="269"/>
                      <a:pt x="502" y="275"/>
                      <a:pt x="507" y="282"/>
                    </a:cubicBezTo>
                    <a:cubicBezTo>
                      <a:pt x="510" y="285"/>
                      <a:pt x="512" y="289"/>
                      <a:pt x="514" y="294"/>
                    </a:cubicBezTo>
                    <a:cubicBezTo>
                      <a:pt x="516" y="296"/>
                      <a:pt x="517" y="298"/>
                      <a:pt x="518" y="301"/>
                    </a:cubicBezTo>
                    <a:cubicBezTo>
                      <a:pt x="519" y="300"/>
                      <a:pt x="519" y="300"/>
                      <a:pt x="520" y="299"/>
                    </a:cubicBezTo>
                    <a:cubicBezTo>
                      <a:pt x="524" y="293"/>
                      <a:pt x="520" y="289"/>
                      <a:pt x="516" y="284"/>
                    </a:cubicBezTo>
                    <a:cubicBezTo>
                      <a:pt x="507" y="272"/>
                      <a:pt x="496" y="262"/>
                      <a:pt x="484" y="253"/>
                    </a:cubicBezTo>
                    <a:cubicBezTo>
                      <a:pt x="482" y="251"/>
                      <a:pt x="476" y="246"/>
                      <a:pt x="472" y="246"/>
                    </a:cubicBezTo>
                    <a:moveTo>
                      <a:pt x="216" y="237"/>
                    </a:moveTo>
                    <a:cubicBezTo>
                      <a:pt x="211" y="237"/>
                      <a:pt x="206" y="238"/>
                      <a:pt x="200" y="242"/>
                    </a:cubicBezTo>
                    <a:cubicBezTo>
                      <a:pt x="199" y="242"/>
                      <a:pt x="198" y="243"/>
                      <a:pt x="197" y="244"/>
                    </a:cubicBezTo>
                    <a:cubicBezTo>
                      <a:pt x="201" y="243"/>
                      <a:pt x="205" y="242"/>
                      <a:pt x="208" y="242"/>
                    </a:cubicBezTo>
                    <a:cubicBezTo>
                      <a:pt x="212" y="242"/>
                      <a:pt x="216" y="243"/>
                      <a:pt x="220" y="243"/>
                    </a:cubicBezTo>
                    <a:cubicBezTo>
                      <a:pt x="220" y="243"/>
                      <a:pt x="220" y="243"/>
                      <a:pt x="220" y="243"/>
                    </a:cubicBezTo>
                    <a:cubicBezTo>
                      <a:pt x="227" y="243"/>
                      <a:pt x="239" y="245"/>
                      <a:pt x="245" y="250"/>
                    </a:cubicBezTo>
                    <a:cubicBezTo>
                      <a:pt x="251" y="256"/>
                      <a:pt x="255" y="267"/>
                      <a:pt x="255" y="275"/>
                    </a:cubicBezTo>
                    <a:cubicBezTo>
                      <a:pt x="255" y="278"/>
                      <a:pt x="254" y="280"/>
                      <a:pt x="254" y="281"/>
                    </a:cubicBezTo>
                    <a:cubicBezTo>
                      <a:pt x="254" y="282"/>
                      <a:pt x="254" y="283"/>
                      <a:pt x="254" y="283"/>
                    </a:cubicBezTo>
                    <a:cubicBezTo>
                      <a:pt x="256" y="278"/>
                      <a:pt x="258" y="272"/>
                      <a:pt x="258" y="266"/>
                    </a:cubicBezTo>
                    <a:cubicBezTo>
                      <a:pt x="257" y="249"/>
                      <a:pt x="248" y="240"/>
                      <a:pt x="234" y="237"/>
                    </a:cubicBezTo>
                    <a:cubicBezTo>
                      <a:pt x="234" y="238"/>
                      <a:pt x="233" y="239"/>
                      <a:pt x="232" y="239"/>
                    </a:cubicBezTo>
                    <a:cubicBezTo>
                      <a:pt x="232" y="239"/>
                      <a:pt x="232" y="239"/>
                      <a:pt x="231" y="239"/>
                    </a:cubicBezTo>
                    <a:cubicBezTo>
                      <a:pt x="226" y="238"/>
                      <a:pt x="221" y="237"/>
                      <a:pt x="216" y="237"/>
                    </a:cubicBezTo>
                    <a:moveTo>
                      <a:pt x="821" y="233"/>
                    </a:moveTo>
                    <a:cubicBezTo>
                      <a:pt x="820" y="235"/>
                      <a:pt x="819" y="237"/>
                      <a:pt x="818" y="240"/>
                    </a:cubicBezTo>
                    <a:cubicBezTo>
                      <a:pt x="818" y="245"/>
                      <a:pt x="817" y="252"/>
                      <a:pt x="817" y="258"/>
                    </a:cubicBezTo>
                    <a:cubicBezTo>
                      <a:pt x="817" y="260"/>
                      <a:pt x="817" y="262"/>
                      <a:pt x="817" y="264"/>
                    </a:cubicBezTo>
                    <a:cubicBezTo>
                      <a:pt x="817" y="264"/>
                      <a:pt x="817" y="264"/>
                      <a:pt x="817" y="264"/>
                    </a:cubicBezTo>
                    <a:cubicBezTo>
                      <a:pt x="817" y="266"/>
                      <a:pt x="817" y="267"/>
                      <a:pt x="817" y="268"/>
                    </a:cubicBezTo>
                    <a:cubicBezTo>
                      <a:pt x="817" y="269"/>
                      <a:pt x="817" y="270"/>
                      <a:pt x="818" y="270"/>
                    </a:cubicBezTo>
                    <a:cubicBezTo>
                      <a:pt x="818" y="270"/>
                      <a:pt x="818" y="270"/>
                      <a:pt x="818" y="270"/>
                    </a:cubicBezTo>
                    <a:cubicBezTo>
                      <a:pt x="817" y="270"/>
                      <a:pt x="817" y="270"/>
                      <a:pt x="817" y="270"/>
                    </a:cubicBezTo>
                    <a:cubicBezTo>
                      <a:pt x="817" y="270"/>
                      <a:pt x="817" y="270"/>
                      <a:pt x="817" y="270"/>
                    </a:cubicBezTo>
                    <a:cubicBezTo>
                      <a:pt x="820" y="272"/>
                      <a:pt x="821" y="273"/>
                      <a:pt x="823" y="273"/>
                    </a:cubicBezTo>
                    <a:cubicBezTo>
                      <a:pt x="824" y="273"/>
                      <a:pt x="825" y="273"/>
                      <a:pt x="827" y="273"/>
                    </a:cubicBezTo>
                    <a:cubicBezTo>
                      <a:pt x="832" y="274"/>
                      <a:pt x="839" y="276"/>
                      <a:pt x="847" y="276"/>
                    </a:cubicBezTo>
                    <a:cubicBezTo>
                      <a:pt x="852" y="278"/>
                      <a:pt x="862" y="278"/>
                      <a:pt x="869" y="282"/>
                    </a:cubicBezTo>
                    <a:cubicBezTo>
                      <a:pt x="875" y="288"/>
                      <a:pt x="874" y="299"/>
                      <a:pt x="874" y="305"/>
                    </a:cubicBezTo>
                    <a:cubicBezTo>
                      <a:pt x="874" y="305"/>
                      <a:pt x="874" y="305"/>
                      <a:pt x="874" y="305"/>
                    </a:cubicBezTo>
                    <a:cubicBezTo>
                      <a:pt x="873" y="308"/>
                      <a:pt x="873" y="312"/>
                      <a:pt x="873" y="316"/>
                    </a:cubicBezTo>
                    <a:cubicBezTo>
                      <a:pt x="875" y="313"/>
                      <a:pt x="875" y="308"/>
                      <a:pt x="876" y="303"/>
                    </a:cubicBezTo>
                    <a:cubicBezTo>
                      <a:pt x="876" y="298"/>
                      <a:pt x="877" y="293"/>
                      <a:pt x="876" y="287"/>
                    </a:cubicBezTo>
                    <a:cubicBezTo>
                      <a:pt x="873" y="263"/>
                      <a:pt x="834" y="278"/>
                      <a:pt x="821" y="263"/>
                    </a:cubicBezTo>
                    <a:cubicBezTo>
                      <a:pt x="821" y="262"/>
                      <a:pt x="821" y="262"/>
                      <a:pt x="821" y="262"/>
                    </a:cubicBezTo>
                    <a:cubicBezTo>
                      <a:pt x="818" y="258"/>
                      <a:pt x="819" y="252"/>
                      <a:pt x="820" y="247"/>
                    </a:cubicBezTo>
                    <a:cubicBezTo>
                      <a:pt x="820" y="243"/>
                      <a:pt x="820" y="238"/>
                      <a:pt x="821" y="233"/>
                    </a:cubicBezTo>
                    <a:moveTo>
                      <a:pt x="791" y="204"/>
                    </a:moveTo>
                    <a:cubicBezTo>
                      <a:pt x="786" y="204"/>
                      <a:pt x="782" y="205"/>
                      <a:pt x="780" y="208"/>
                    </a:cubicBezTo>
                    <a:cubicBezTo>
                      <a:pt x="780" y="208"/>
                      <a:pt x="780" y="208"/>
                      <a:pt x="780" y="208"/>
                    </a:cubicBezTo>
                    <a:cubicBezTo>
                      <a:pt x="781" y="208"/>
                      <a:pt x="782" y="208"/>
                      <a:pt x="783" y="208"/>
                    </a:cubicBezTo>
                    <a:cubicBezTo>
                      <a:pt x="789" y="208"/>
                      <a:pt x="797" y="211"/>
                      <a:pt x="803" y="212"/>
                    </a:cubicBezTo>
                    <a:cubicBezTo>
                      <a:pt x="810" y="214"/>
                      <a:pt x="817" y="216"/>
                      <a:pt x="821" y="223"/>
                    </a:cubicBezTo>
                    <a:cubicBezTo>
                      <a:pt x="821" y="224"/>
                      <a:pt x="822" y="226"/>
                      <a:pt x="822" y="227"/>
                    </a:cubicBezTo>
                    <a:cubicBezTo>
                      <a:pt x="822" y="228"/>
                      <a:pt x="822" y="228"/>
                      <a:pt x="822" y="228"/>
                    </a:cubicBezTo>
                    <a:cubicBezTo>
                      <a:pt x="824" y="218"/>
                      <a:pt x="823" y="213"/>
                      <a:pt x="812" y="209"/>
                    </a:cubicBezTo>
                    <a:cubicBezTo>
                      <a:pt x="807" y="207"/>
                      <a:pt x="798" y="204"/>
                      <a:pt x="791" y="204"/>
                    </a:cubicBezTo>
                    <a:moveTo>
                      <a:pt x="621" y="190"/>
                    </a:moveTo>
                    <a:cubicBezTo>
                      <a:pt x="620" y="190"/>
                      <a:pt x="618" y="190"/>
                      <a:pt x="617" y="191"/>
                    </a:cubicBezTo>
                    <a:cubicBezTo>
                      <a:pt x="616" y="192"/>
                      <a:pt x="616" y="192"/>
                      <a:pt x="615" y="193"/>
                    </a:cubicBezTo>
                    <a:cubicBezTo>
                      <a:pt x="616" y="194"/>
                      <a:pt x="616" y="194"/>
                      <a:pt x="617" y="194"/>
                    </a:cubicBezTo>
                    <a:cubicBezTo>
                      <a:pt x="618" y="195"/>
                      <a:pt x="619" y="196"/>
                      <a:pt x="620" y="197"/>
                    </a:cubicBezTo>
                    <a:cubicBezTo>
                      <a:pt x="622" y="197"/>
                      <a:pt x="624" y="198"/>
                      <a:pt x="625" y="200"/>
                    </a:cubicBezTo>
                    <a:cubicBezTo>
                      <a:pt x="627" y="198"/>
                      <a:pt x="628" y="196"/>
                      <a:pt x="629" y="195"/>
                    </a:cubicBezTo>
                    <a:cubicBezTo>
                      <a:pt x="629" y="194"/>
                      <a:pt x="630" y="194"/>
                      <a:pt x="630" y="194"/>
                    </a:cubicBezTo>
                    <a:cubicBezTo>
                      <a:pt x="628" y="191"/>
                      <a:pt x="625" y="190"/>
                      <a:pt x="621" y="190"/>
                    </a:cubicBezTo>
                    <a:moveTo>
                      <a:pt x="545" y="178"/>
                    </a:moveTo>
                    <a:cubicBezTo>
                      <a:pt x="542" y="178"/>
                      <a:pt x="541" y="180"/>
                      <a:pt x="541" y="183"/>
                    </a:cubicBezTo>
                    <a:cubicBezTo>
                      <a:pt x="541" y="183"/>
                      <a:pt x="541" y="183"/>
                      <a:pt x="542" y="184"/>
                    </a:cubicBezTo>
                    <a:cubicBezTo>
                      <a:pt x="542" y="184"/>
                      <a:pt x="542" y="185"/>
                      <a:pt x="542" y="186"/>
                    </a:cubicBezTo>
                    <a:cubicBezTo>
                      <a:pt x="543" y="187"/>
                      <a:pt x="544" y="188"/>
                      <a:pt x="544" y="190"/>
                    </a:cubicBezTo>
                    <a:cubicBezTo>
                      <a:pt x="544" y="190"/>
                      <a:pt x="544" y="190"/>
                      <a:pt x="544" y="190"/>
                    </a:cubicBezTo>
                    <a:cubicBezTo>
                      <a:pt x="545" y="190"/>
                      <a:pt x="545" y="190"/>
                      <a:pt x="545" y="190"/>
                    </a:cubicBezTo>
                    <a:cubicBezTo>
                      <a:pt x="548" y="189"/>
                      <a:pt x="547" y="185"/>
                      <a:pt x="548" y="183"/>
                    </a:cubicBezTo>
                    <a:cubicBezTo>
                      <a:pt x="548" y="182"/>
                      <a:pt x="549" y="181"/>
                      <a:pt x="550" y="181"/>
                    </a:cubicBezTo>
                    <a:cubicBezTo>
                      <a:pt x="551" y="181"/>
                      <a:pt x="552" y="181"/>
                      <a:pt x="552" y="182"/>
                    </a:cubicBezTo>
                    <a:cubicBezTo>
                      <a:pt x="551" y="180"/>
                      <a:pt x="549" y="179"/>
                      <a:pt x="547" y="178"/>
                    </a:cubicBezTo>
                    <a:cubicBezTo>
                      <a:pt x="546" y="178"/>
                      <a:pt x="546" y="178"/>
                      <a:pt x="545" y="178"/>
                    </a:cubicBezTo>
                    <a:moveTo>
                      <a:pt x="467" y="162"/>
                    </a:moveTo>
                    <a:cubicBezTo>
                      <a:pt x="465" y="162"/>
                      <a:pt x="463" y="163"/>
                      <a:pt x="462" y="165"/>
                    </a:cubicBezTo>
                    <a:cubicBezTo>
                      <a:pt x="461" y="166"/>
                      <a:pt x="461" y="166"/>
                      <a:pt x="461" y="166"/>
                    </a:cubicBezTo>
                    <a:cubicBezTo>
                      <a:pt x="461" y="167"/>
                      <a:pt x="461" y="167"/>
                      <a:pt x="461" y="167"/>
                    </a:cubicBezTo>
                    <a:cubicBezTo>
                      <a:pt x="462" y="167"/>
                      <a:pt x="462" y="167"/>
                      <a:pt x="462" y="167"/>
                    </a:cubicBezTo>
                    <a:cubicBezTo>
                      <a:pt x="463" y="167"/>
                      <a:pt x="463" y="167"/>
                      <a:pt x="464" y="167"/>
                    </a:cubicBezTo>
                    <a:cubicBezTo>
                      <a:pt x="467" y="167"/>
                      <a:pt x="470" y="169"/>
                      <a:pt x="471" y="172"/>
                    </a:cubicBezTo>
                    <a:cubicBezTo>
                      <a:pt x="472" y="172"/>
                      <a:pt x="472" y="171"/>
                      <a:pt x="473" y="171"/>
                    </a:cubicBezTo>
                    <a:cubicBezTo>
                      <a:pt x="473" y="168"/>
                      <a:pt x="471" y="164"/>
                      <a:pt x="469" y="163"/>
                    </a:cubicBezTo>
                    <a:cubicBezTo>
                      <a:pt x="469" y="162"/>
                      <a:pt x="468" y="162"/>
                      <a:pt x="467" y="162"/>
                    </a:cubicBezTo>
                    <a:moveTo>
                      <a:pt x="232" y="89"/>
                    </a:moveTo>
                    <a:cubicBezTo>
                      <a:pt x="232" y="91"/>
                      <a:pt x="231" y="93"/>
                      <a:pt x="229" y="93"/>
                    </a:cubicBezTo>
                    <a:cubicBezTo>
                      <a:pt x="229" y="93"/>
                      <a:pt x="229" y="93"/>
                      <a:pt x="228" y="93"/>
                    </a:cubicBezTo>
                    <a:cubicBezTo>
                      <a:pt x="225" y="92"/>
                      <a:pt x="221" y="92"/>
                      <a:pt x="218" y="92"/>
                    </a:cubicBezTo>
                    <a:cubicBezTo>
                      <a:pt x="213" y="92"/>
                      <a:pt x="209" y="93"/>
                      <a:pt x="205" y="95"/>
                    </a:cubicBezTo>
                    <a:cubicBezTo>
                      <a:pt x="206" y="95"/>
                      <a:pt x="207" y="95"/>
                      <a:pt x="208" y="95"/>
                    </a:cubicBezTo>
                    <a:cubicBezTo>
                      <a:pt x="212" y="95"/>
                      <a:pt x="216" y="96"/>
                      <a:pt x="219" y="96"/>
                    </a:cubicBezTo>
                    <a:cubicBezTo>
                      <a:pt x="223" y="96"/>
                      <a:pt x="223" y="96"/>
                      <a:pt x="223" y="96"/>
                    </a:cubicBezTo>
                    <a:cubicBezTo>
                      <a:pt x="231" y="96"/>
                      <a:pt x="234" y="97"/>
                      <a:pt x="239" y="100"/>
                    </a:cubicBezTo>
                    <a:cubicBezTo>
                      <a:pt x="247" y="108"/>
                      <a:pt x="252" y="117"/>
                      <a:pt x="253" y="127"/>
                    </a:cubicBezTo>
                    <a:cubicBezTo>
                      <a:pt x="254" y="129"/>
                      <a:pt x="254" y="131"/>
                      <a:pt x="254" y="132"/>
                    </a:cubicBezTo>
                    <a:cubicBezTo>
                      <a:pt x="254" y="135"/>
                      <a:pt x="253" y="138"/>
                      <a:pt x="253" y="140"/>
                    </a:cubicBezTo>
                    <a:cubicBezTo>
                      <a:pt x="262" y="122"/>
                      <a:pt x="255" y="94"/>
                      <a:pt x="232" y="89"/>
                    </a:cubicBezTo>
                    <a:moveTo>
                      <a:pt x="776" y="414"/>
                    </a:moveTo>
                    <a:cubicBezTo>
                      <a:pt x="774" y="414"/>
                      <a:pt x="773" y="412"/>
                      <a:pt x="774" y="411"/>
                    </a:cubicBezTo>
                    <a:cubicBezTo>
                      <a:pt x="777" y="410"/>
                      <a:pt x="779" y="408"/>
                      <a:pt x="781" y="407"/>
                    </a:cubicBezTo>
                    <a:cubicBezTo>
                      <a:pt x="782" y="407"/>
                      <a:pt x="782" y="407"/>
                      <a:pt x="782" y="407"/>
                    </a:cubicBezTo>
                    <a:cubicBezTo>
                      <a:pt x="784" y="407"/>
                      <a:pt x="785" y="409"/>
                      <a:pt x="783" y="410"/>
                    </a:cubicBezTo>
                    <a:cubicBezTo>
                      <a:pt x="781" y="412"/>
                      <a:pt x="779" y="413"/>
                      <a:pt x="776" y="414"/>
                    </a:cubicBezTo>
                    <a:cubicBezTo>
                      <a:pt x="776" y="414"/>
                      <a:pt x="776" y="414"/>
                      <a:pt x="776" y="414"/>
                    </a:cubicBezTo>
                    <a:moveTo>
                      <a:pt x="795" y="420"/>
                    </a:moveTo>
                    <a:cubicBezTo>
                      <a:pt x="794" y="420"/>
                      <a:pt x="793" y="418"/>
                      <a:pt x="794" y="417"/>
                    </a:cubicBezTo>
                    <a:cubicBezTo>
                      <a:pt x="800" y="412"/>
                      <a:pt x="805" y="408"/>
                      <a:pt x="809" y="402"/>
                    </a:cubicBezTo>
                    <a:cubicBezTo>
                      <a:pt x="810" y="401"/>
                      <a:pt x="810" y="401"/>
                      <a:pt x="811" y="401"/>
                    </a:cubicBezTo>
                    <a:cubicBezTo>
                      <a:pt x="812" y="401"/>
                      <a:pt x="814" y="402"/>
                      <a:pt x="813" y="404"/>
                    </a:cubicBezTo>
                    <a:cubicBezTo>
                      <a:pt x="809" y="411"/>
                      <a:pt x="803" y="417"/>
                      <a:pt x="796" y="420"/>
                    </a:cubicBezTo>
                    <a:cubicBezTo>
                      <a:pt x="796" y="420"/>
                      <a:pt x="795" y="420"/>
                      <a:pt x="795" y="420"/>
                    </a:cubicBezTo>
                    <a:moveTo>
                      <a:pt x="216" y="391"/>
                    </a:moveTo>
                    <a:cubicBezTo>
                      <a:pt x="213" y="391"/>
                      <a:pt x="210" y="391"/>
                      <a:pt x="207" y="390"/>
                    </a:cubicBezTo>
                    <a:cubicBezTo>
                      <a:pt x="207" y="390"/>
                      <a:pt x="207" y="389"/>
                      <a:pt x="207" y="389"/>
                    </a:cubicBezTo>
                    <a:cubicBezTo>
                      <a:pt x="207" y="389"/>
                      <a:pt x="207" y="389"/>
                      <a:pt x="207" y="389"/>
                    </a:cubicBezTo>
                    <a:cubicBezTo>
                      <a:pt x="211" y="390"/>
                      <a:pt x="214" y="390"/>
                      <a:pt x="217" y="390"/>
                    </a:cubicBezTo>
                    <a:cubicBezTo>
                      <a:pt x="219" y="390"/>
                      <a:pt x="221" y="390"/>
                      <a:pt x="223" y="390"/>
                    </a:cubicBezTo>
                    <a:cubicBezTo>
                      <a:pt x="225" y="390"/>
                      <a:pt x="227" y="390"/>
                      <a:pt x="230" y="390"/>
                    </a:cubicBezTo>
                    <a:cubicBezTo>
                      <a:pt x="230" y="390"/>
                      <a:pt x="230" y="390"/>
                      <a:pt x="230" y="390"/>
                    </a:cubicBezTo>
                    <a:cubicBezTo>
                      <a:pt x="230" y="390"/>
                      <a:pt x="230" y="390"/>
                      <a:pt x="230" y="390"/>
                    </a:cubicBezTo>
                    <a:cubicBezTo>
                      <a:pt x="226" y="390"/>
                      <a:pt x="221" y="391"/>
                      <a:pt x="216" y="391"/>
                    </a:cubicBezTo>
                    <a:moveTo>
                      <a:pt x="127" y="366"/>
                    </a:moveTo>
                    <a:cubicBezTo>
                      <a:pt x="119" y="362"/>
                      <a:pt x="112" y="357"/>
                      <a:pt x="106" y="351"/>
                    </a:cubicBezTo>
                    <a:cubicBezTo>
                      <a:pt x="106" y="351"/>
                      <a:pt x="106" y="351"/>
                      <a:pt x="106" y="351"/>
                    </a:cubicBezTo>
                    <a:cubicBezTo>
                      <a:pt x="113" y="356"/>
                      <a:pt x="119" y="362"/>
                      <a:pt x="127" y="366"/>
                    </a:cubicBezTo>
                    <a:cubicBezTo>
                      <a:pt x="127" y="366"/>
                      <a:pt x="127" y="366"/>
                      <a:pt x="127" y="366"/>
                    </a:cubicBezTo>
                    <a:moveTo>
                      <a:pt x="349" y="350"/>
                    </a:moveTo>
                    <a:cubicBezTo>
                      <a:pt x="349" y="350"/>
                      <a:pt x="349" y="349"/>
                      <a:pt x="349" y="349"/>
                    </a:cubicBezTo>
                    <a:cubicBezTo>
                      <a:pt x="359" y="338"/>
                      <a:pt x="369" y="330"/>
                      <a:pt x="377" y="318"/>
                    </a:cubicBezTo>
                    <a:cubicBezTo>
                      <a:pt x="385" y="305"/>
                      <a:pt x="393" y="291"/>
                      <a:pt x="401" y="278"/>
                    </a:cubicBezTo>
                    <a:cubicBezTo>
                      <a:pt x="401" y="278"/>
                      <a:pt x="401" y="278"/>
                      <a:pt x="401" y="278"/>
                    </a:cubicBezTo>
                    <a:cubicBezTo>
                      <a:pt x="402" y="278"/>
                      <a:pt x="403" y="278"/>
                      <a:pt x="402" y="279"/>
                    </a:cubicBezTo>
                    <a:cubicBezTo>
                      <a:pt x="394" y="293"/>
                      <a:pt x="388" y="307"/>
                      <a:pt x="379" y="321"/>
                    </a:cubicBezTo>
                    <a:cubicBezTo>
                      <a:pt x="371" y="333"/>
                      <a:pt x="360" y="340"/>
                      <a:pt x="350" y="350"/>
                    </a:cubicBezTo>
                    <a:cubicBezTo>
                      <a:pt x="350" y="350"/>
                      <a:pt x="350" y="350"/>
                      <a:pt x="349" y="350"/>
                    </a:cubicBezTo>
                    <a:moveTo>
                      <a:pt x="564" y="269"/>
                    </a:moveTo>
                    <a:cubicBezTo>
                      <a:pt x="564" y="265"/>
                      <a:pt x="565" y="259"/>
                      <a:pt x="569" y="258"/>
                    </a:cubicBezTo>
                    <a:cubicBezTo>
                      <a:pt x="570" y="257"/>
                      <a:pt x="571" y="257"/>
                      <a:pt x="571" y="257"/>
                    </a:cubicBezTo>
                    <a:cubicBezTo>
                      <a:pt x="575" y="257"/>
                      <a:pt x="579" y="262"/>
                      <a:pt x="582" y="264"/>
                    </a:cubicBezTo>
                    <a:cubicBezTo>
                      <a:pt x="600" y="275"/>
                      <a:pt x="624" y="285"/>
                      <a:pt x="633" y="305"/>
                    </a:cubicBezTo>
                    <a:cubicBezTo>
                      <a:pt x="636" y="311"/>
                      <a:pt x="637" y="317"/>
                      <a:pt x="632" y="322"/>
                    </a:cubicBezTo>
                    <a:cubicBezTo>
                      <a:pt x="629" y="324"/>
                      <a:pt x="627" y="325"/>
                      <a:pt x="624" y="325"/>
                    </a:cubicBezTo>
                    <a:cubicBezTo>
                      <a:pt x="623" y="325"/>
                      <a:pt x="622" y="324"/>
                      <a:pt x="621" y="324"/>
                    </a:cubicBezTo>
                    <a:cubicBezTo>
                      <a:pt x="620" y="325"/>
                      <a:pt x="620" y="325"/>
                      <a:pt x="619" y="325"/>
                    </a:cubicBezTo>
                    <a:cubicBezTo>
                      <a:pt x="618" y="325"/>
                      <a:pt x="617" y="324"/>
                      <a:pt x="616" y="323"/>
                    </a:cubicBezTo>
                    <a:cubicBezTo>
                      <a:pt x="615" y="324"/>
                      <a:pt x="614" y="324"/>
                      <a:pt x="613" y="324"/>
                    </a:cubicBezTo>
                    <a:cubicBezTo>
                      <a:pt x="612" y="324"/>
                      <a:pt x="610" y="324"/>
                      <a:pt x="609" y="322"/>
                    </a:cubicBezTo>
                    <a:cubicBezTo>
                      <a:pt x="609" y="322"/>
                      <a:pt x="608" y="322"/>
                      <a:pt x="608" y="321"/>
                    </a:cubicBezTo>
                    <a:cubicBezTo>
                      <a:pt x="593" y="306"/>
                      <a:pt x="573" y="297"/>
                      <a:pt x="559" y="280"/>
                    </a:cubicBezTo>
                    <a:cubicBezTo>
                      <a:pt x="555" y="276"/>
                      <a:pt x="559" y="270"/>
                      <a:pt x="564" y="269"/>
                    </a:cubicBezTo>
                    <a:moveTo>
                      <a:pt x="459" y="252"/>
                    </a:moveTo>
                    <a:cubicBezTo>
                      <a:pt x="457" y="244"/>
                      <a:pt x="463" y="240"/>
                      <a:pt x="470" y="240"/>
                    </a:cubicBezTo>
                    <a:cubicBezTo>
                      <a:pt x="473" y="240"/>
                      <a:pt x="476" y="241"/>
                      <a:pt x="479" y="242"/>
                    </a:cubicBezTo>
                    <a:cubicBezTo>
                      <a:pt x="497" y="249"/>
                      <a:pt x="518" y="271"/>
                      <a:pt x="526" y="288"/>
                    </a:cubicBezTo>
                    <a:cubicBezTo>
                      <a:pt x="529" y="293"/>
                      <a:pt x="530" y="299"/>
                      <a:pt x="527" y="303"/>
                    </a:cubicBezTo>
                    <a:cubicBezTo>
                      <a:pt x="526" y="307"/>
                      <a:pt x="523" y="308"/>
                      <a:pt x="519" y="308"/>
                    </a:cubicBezTo>
                    <a:cubicBezTo>
                      <a:pt x="519" y="311"/>
                      <a:pt x="516" y="314"/>
                      <a:pt x="511" y="314"/>
                    </a:cubicBezTo>
                    <a:cubicBezTo>
                      <a:pt x="508" y="315"/>
                      <a:pt x="506" y="315"/>
                      <a:pt x="503" y="315"/>
                    </a:cubicBezTo>
                    <a:cubicBezTo>
                      <a:pt x="503" y="311"/>
                      <a:pt x="503" y="311"/>
                      <a:pt x="503" y="311"/>
                    </a:cubicBezTo>
                    <a:cubicBezTo>
                      <a:pt x="502" y="311"/>
                      <a:pt x="502" y="311"/>
                      <a:pt x="502" y="310"/>
                    </a:cubicBezTo>
                    <a:cubicBezTo>
                      <a:pt x="502" y="310"/>
                      <a:pt x="502" y="310"/>
                      <a:pt x="502" y="310"/>
                    </a:cubicBezTo>
                    <a:cubicBezTo>
                      <a:pt x="502" y="310"/>
                      <a:pt x="501" y="310"/>
                      <a:pt x="500" y="310"/>
                    </a:cubicBezTo>
                    <a:cubicBezTo>
                      <a:pt x="499" y="310"/>
                      <a:pt x="498" y="310"/>
                      <a:pt x="497" y="309"/>
                    </a:cubicBezTo>
                    <a:cubicBezTo>
                      <a:pt x="492" y="306"/>
                      <a:pt x="488" y="301"/>
                      <a:pt x="484" y="296"/>
                    </a:cubicBezTo>
                    <a:cubicBezTo>
                      <a:pt x="479" y="292"/>
                      <a:pt x="475" y="287"/>
                      <a:pt x="470" y="281"/>
                    </a:cubicBezTo>
                    <a:cubicBezTo>
                      <a:pt x="464" y="276"/>
                      <a:pt x="457" y="270"/>
                      <a:pt x="450" y="265"/>
                    </a:cubicBezTo>
                    <a:cubicBezTo>
                      <a:pt x="444" y="260"/>
                      <a:pt x="449" y="251"/>
                      <a:pt x="455" y="251"/>
                    </a:cubicBezTo>
                    <a:cubicBezTo>
                      <a:pt x="456" y="251"/>
                      <a:pt x="457" y="251"/>
                      <a:pt x="458" y="252"/>
                    </a:cubicBezTo>
                    <a:cubicBezTo>
                      <a:pt x="458" y="252"/>
                      <a:pt x="459" y="252"/>
                      <a:pt x="459" y="252"/>
                    </a:cubicBezTo>
                    <a:moveTo>
                      <a:pt x="178" y="263"/>
                    </a:moveTo>
                    <a:cubicBezTo>
                      <a:pt x="178" y="262"/>
                      <a:pt x="178" y="262"/>
                      <a:pt x="178" y="261"/>
                    </a:cubicBezTo>
                    <a:cubicBezTo>
                      <a:pt x="182" y="241"/>
                      <a:pt x="199" y="231"/>
                      <a:pt x="217" y="231"/>
                    </a:cubicBezTo>
                    <a:cubicBezTo>
                      <a:pt x="222" y="231"/>
                      <a:pt x="227" y="232"/>
                      <a:pt x="232" y="234"/>
                    </a:cubicBezTo>
                    <a:cubicBezTo>
                      <a:pt x="233" y="234"/>
                      <a:pt x="233" y="234"/>
                      <a:pt x="233" y="234"/>
                    </a:cubicBezTo>
                    <a:cubicBezTo>
                      <a:pt x="253" y="236"/>
                      <a:pt x="266" y="247"/>
                      <a:pt x="264" y="270"/>
                    </a:cubicBezTo>
                    <a:cubicBezTo>
                      <a:pt x="263" y="286"/>
                      <a:pt x="254" y="301"/>
                      <a:pt x="240" y="307"/>
                    </a:cubicBezTo>
                    <a:cubicBezTo>
                      <a:pt x="240" y="307"/>
                      <a:pt x="239" y="308"/>
                      <a:pt x="239" y="308"/>
                    </a:cubicBezTo>
                    <a:cubicBezTo>
                      <a:pt x="232" y="313"/>
                      <a:pt x="226" y="315"/>
                      <a:pt x="220" y="315"/>
                    </a:cubicBezTo>
                    <a:cubicBezTo>
                      <a:pt x="217" y="315"/>
                      <a:pt x="214" y="315"/>
                      <a:pt x="210" y="314"/>
                    </a:cubicBezTo>
                    <a:cubicBezTo>
                      <a:pt x="203" y="312"/>
                      <a:pt x="196" y="310"/>
                      <a:pt x="190" y="305"/>
                    </a:cubicBezTo>
                    <a:cubicBezTo>
                      <a:pt x="181" y="297"/>
                      <a:pt x="175" y="285"/>
                      <a:pt x="175" y="275"/>
                    </a:cubicBezTo>
                    <a:cubicBezTo>
                      <a:pt x="175" y="274"/>
                      <a:pt x="175" y="273"/>
                      <a:pt x="176" y="272"/>
                    </a:cubicBezTo>
                    <a:cubicBezTo>
                      <a:pt x="176" y="269"/>
                      <a:pt x="177" y="266"/>
                      <a:pt x="178" y="263"/>
                    </a:cubicBezTo>
                    <a:moveTo>
                      <a:pt x="769" y="218"/>
                    </a:moveTo>
                    <a:cubicBezTo>
                      <a:pt x="770" y="212"/>
                      <a:pt x="771" y="205"/>
                      <a:pt x="775" y="201"/>
                    </a:cubicBezTo>
                    <a:cubicBezTo>
                      <a:pt x="779" y="197"/>
                      <a:pt x="784" y="196"/>
                      <a:pt x="789" y="196"/>
                    </a:cubicBezTo>
                    <a:cubicBezTo>
                      <a:pt x="794" y="196"/>
                      <a:pt x="798" y="197"/>
                      <a:pt x="803" y="198"/>
                    </a:cubicBezTo>
                    <a:cubicBezTo>
                      <a:pt x="812" y="200"/>
                      <a:pt x="827" y="203"/>
                      <a:pt x="831" y="214"/>
                    </a:cubicBezTo>
                    <a:cubicBezTo>
                      <a:pt x="834" y="221"/>
                      <a:pt x="829" y="229"/>
                      <a:pt x="828" y="236"/>
                    </a:cubicBezTo>
                    <a:cubicBezTo>
                      <a:pt x="828" y="240"/>
                      <a:pt x="827" y="244"/>
                      <a:pt x="827" y="248"/>
                    </a:cubicBezTo>
                    <a:cubicBezTo>
                      <a:pt x="827" y="248"/>
                      <a:pt x="827" y="248"/>
                      <a:pt x="827" y="248"/>
                    </a:cubicBezTo>
                    <a:cubicBezTo>
                      <a:pt x="827" y="248"/>
                      <a:pt x="827" y="260"/>
                      <a:pt x="827" y="260"/>
                    </a:cubicBezTo>
                    <a:cubicBezTo>
                      <a:pt x="828" y="260"/>
                      <a:pt x="828" y="261"/>
                      <a:pt x="828" y="261"/>
                    </a:cubicBezTo>
                    <a:cubicBezTo>
                      <a:pt x="828" y="261"/>
                      <a:pt x="828" y="261"/>
                      <a:pt x="828" y="261"/>
                    </a:cubicBezTo>
                    <a:cubicBezTo>
                      <a:pt x="829" y="261"/>
                      <a:pt x="829" y="261"/>
                      <a:pt x="830" y="261"/>
                    </a:cubicBezTo>
                    <a:cubicBezTo>
                      <a:pt x="830" y="261"/>
                      <a:pt x="831" y="261"/>
                      <a:pt x="832" y="261"/>
                    </a:cubicBezTo>
                    <a:cubicBezTo>
                      <a:pt x="832" y="261"/>
                      <a:pt x="833" y="261"/>
                      <a:pt x="834" y="261"/>
                    </a:cubicBezTo>
                    <a:cubicBezTo>
                      <a:pt x="839" y="261"/>
                      <a:pt x="844" y="263"/>
                      <a:pt x="849" y="264"/>
                    </a:cubicBezTo>
                    <a:cubicBezTo>
                      <a:pt x="857" y="265"/>
                      <a:pt x="864" y="266"/>
                      <a:pt x="872" y="268"/>
                    </a:cubicBezTo>
                    <a:cubicBezTo>
                      <a:pt x="884" y="273"/>
                      <a:pt x="885" y="286"/>
                      <a:pt x="884" y="298"/>
                    </a:cubicBezTo>
                    <a:cubicBezTo>
                      <a:pt x="883" y="309"/>
                      <a:pt x="884" y="324"/>
                      <a:pt x="872" y="329"/>
                    </a:cubicBezTo>
                    <a:cubicBezTo>
                      <a:pt x="871" y="329"/>
                      <a:pt x="871" y="329"/>
                      <a:pt x="870" y="329"/>
                    </a:cubicBezTo>
                    <a:cubicBezTo>
                      <a:pt x="870" y="330"/>
                      <a:pt x="869" y="330"/>
                      <a:pt x="869" y="330"/>
                    </a:cubicBezTo>
                    <a:cubicBezTo>
                      <a:pt x="866" y="333"/>
                      <a:pt x="861" y="334"/>
                      <a:pt x="856" y="334"/>
                    </a:cubicBezTo>
                    <a:cubicBezTo>
                      <a:pt x="850" y="334"/>
                      <a:pt x="843" y="333"/>
                      <a:pt x="840" y="332"/>
                    </a:cubicBezTo>
                    <a:cubicBezTo>
                      <a:pt x="834" y="332"/>
                      <a:pt x="829" y="332"/>
                      <a:pt x="824" y="332"/>
                    </a:cubicBezTo>
                    <a:cubicBezTo>
                      <a:pt x="822" y="344"/>
                      <a:pt x="827" y="356"/>
                      <a:pt x="822" y="368"/>
                    </a:cubicBezTo>
                    <a:cubicBezTo>
                      <a:pt x="819" y="373"/>
                      <a:pt x="816" y="376"/>
                      <a:pt x="811" y="377"/>
                    </a:cubicBezTo>
                    <a:cubicBezTo>
                      <a:pt x="810" y="379"/>
                      <a:pt x="809" y="380"/>
                      <a:pt x="807" y="381"/>
                    </a:cubicBezTo>
                    <a:cubicBezTo>
                      <a:pt x="806" y="382"/>
                      <a:pt x="803" y="382"/>
                      <a:pt x="801" y="382"/>
                    </a:cubicBezTo>
                    <a:cubicBezTo>
                      <a:pt x="798" y="382"/>
                      <a:pt x="795" y="382"/>
                      <a:pt x="793" y="381"/>
                    </a:cubicBezTo>
                    <a:cubicBezTo>
                      <a:pt x="793" y="381"/>
                      <a:pt x="792" y="381"/>
                      <a:pt x="791" y="381"/>
                    </a:cubicBezTo>
                    <a:cubicBezTo>
                      <a:pt x="787" y="381"/>
                      <a:pt x="783" y="380"/>
                      <a:pt x="779" y="379"/>
                    </a:cubicBezTo>
                    <a:cubicBezTo>
                      <a:pt x="772" y="375"/>
                      <a:pt x="765" y="374"/>
                      <a:pt x="759" y="372"/>
                    </a:cubicBezTo>
                    <a:cubicBezTo>
                      <a:pt x="755" y="369"/>
                      <a:pt x="754" y="365"/>
                      <a:pt x="754" y="361"/>
                    </a:cubicBezTo>
                    <a:cubicBezTo>
                      <a:pt x="754" y="357"/>
                      <a:pt x="755" y="354"/>
                      <a:pt x="756" y="351"/>
                    </a:cubicBezTo>
                    <a:cubicBezTo>
                      <a:pt x="756" y="348"/>
                      <a:pt x="756" y="346"/>
                      <a:pt x="757" y="343"/>
                    </a:cubicBezTo>
                    <a:cubicBezTo>
                      <a:pt x="758" y="338"/>
                      <a:pt x="759" y="332"/>
                      <a:pt x="761" y="327"/>
                    </a:cubicBezTo>
                    <a:cubicBezTo>
                      <a:pt x="761" y="326"/>
                      <a:pt x="761" y="325"/>
                      <a:pt x="761" y="324"/>
                    </a:cubicBezTo>
                    <a:cubicBezTo>
                      <a:pt x="761" y="324"/>
                      <a:pt x="761" y="324"/>
                      <a:pt x="761" y="324"/>
                    </a:cubicBezTo>
                    <a:cubicBezTo>
                      <a:pt x="760" y="320"/>
                      <a:pt x="760" y="320"/>
                      <a:pt x="760" y="320"/>
                    </a:cubicBezTo>
                    <a:cubicBezTo>
                      <a:pt x="758" y="320"/>
                      <a:pt x="757" y="320"/>
                      <a:pt x="756" y="320"/>
                    </a:cubicBezTo>
                    <a:cubicBezTo>
                      <a:pt x="742" y="320"/>
                      <a:pt x="729" y="314"/>
                      <a:pt x="715" y="314"/>
                    </a:cubicBezTo>
                    <a:cubicBezTo>
                      <a:pt x="708" y="312"/>
                      <a:pt x="705" y="309"/>
                      <a:pt x="705" y="302"/>
                    </a:cubicBezTo>
                    <a:cubicBezTo>
                      <a:pt x="705" y="302"/>
                      <a:pt x="705" y="302"/>
                      <a:pt x="705" y="301"/>
                    </a:cubicBezTo>
                    <a:cubicBezTo>
                      <a:pt x="705" y="301"/>
                      <a:pt x="705" y="301"/>
                      <a:pt x="705" y="301"/>
                    </a:cubicBezTo>
                    <a:cubicBezTo>
                      <a:pt x="704" y="296"/>
                      <a:pt x="704" y="290"/>
                      <a:pt x="704" y="285"/>
                    </a:cubicBezTo>
                    <a:cubicBezTo>
                      <a:pt x="704" y="282"/>
                      <a:pt x="704" y="280"/>
                      <a:pt x="704" y="278"/>
                    </a:cubicBezTo>
                    <a:cubicBezTo>
                      <a:pt x="704" y="278"/>
                      <a:pt x="704" y="278"/>
                      <a:pt x="704" y="278"/>
                    </a:cubicBezTo>
                    <a:cubicBezTo>
                      <a:pt x="704" y="276"/>
                      <a:pt x="704" y="274"/>
                      <a:pt x="704" y="271"/>
                    </a:cubicBezTo>
                    <a:cubicBezTo>
                      <a:pt x="704" y="267"/>
                      <a:pt x="704" y="261"/>
                      <a:pt x="707" y="258"/>
                    </a:cubicBezTo>
                    <a:cubicBezTo>
                      <a:pt x="708" y="251"/>
                      <a:pt x="710" y="245"/>
                      <a:pt x="718" y="243"/>
                    </a:cubicBezTo>
                    <a:cubicBezTo>
                      <a:pt x="719" y="243"/>
                      <a:pt x="720" y="243"/>
                      <a:pt x="722" y="243"/>
                    </a:cubicBezTo>
                    <a:cubicBezTo>
                      <a:pt x="727" y="243"/>
                      <a:pt x="735" y="244"/>
                      <a:pt x="740" y="245"/>
                    </a:cubicBezTo>
                    <a:cubicBezTo>
                      <a:pt x="742" y="245"/>
                      <a:pt x="745" y="246"/>
                      <a:pt x="747" y="247"/>
                    </a:cubicBezTo>
                    <a:cubicBezTo>
                      <a:pt x="751" y="248"/>
                      <a:pt x="755" y="249"/>
                      <a:pt x="759" y="249"/>
                    </a:cubicBezTo>
                    <a:cubicBezTo>
                      <a:pt x="760" y="249"/>
                      <a:pt x="760" y="249"/>
                      <a:pt x="760" y="249"/>
                    </a:cubicBezTo>
                    <a:cubicBezTo>
                      <a:pt x="761" y="249"/>
                      <a:pt x="762" y="248"/>
                      <a:pt x="763" y="248"/>
                    </a:cubicBezTo>
                    <a:cubicBezTo>
                      <a:pt x="762" y="247"/>
                      <a:pt x="762" y="246"/>
                      <a:pt x="762" y="245"/>
                    </a:cubicBezTo>
                    <a:cubicBezTo>
                      <a:pt x="762" y="245"/>
                      <a:pt x="763" y="245"/>
                      <a:pt x="763" y="244"/>
                    </a:cubicBezTo>
                    <a:cubicBezTo>
                      <a:pt x="764" y="241"/>
                      <a:pt x="764" y="238"/>
                      <a:pt x="765" y="235"/>
                    </a:cubicBezTo>
                    <a:cubicBezTo>
                      <a:pt x="766" y="230"/>
                      <a:pt x="766" y="225"/>
                      <a:pt x="768" y="220"/>
                    </a:cubicBezTo>
                    <a:cubicBezTo>
                      <a:pt x="768" y="219"/>
                      <a:pt x="768" y="218"/>
                      <a:pt x="769" y="218"/>
                    </a:cubicBezTo>
                    <a:moveTo>
                      <a:pt x="611" y="193"/>
                    </a:moveTo>
                    <a:cubicBezTo>
                      <a:pt x="611" y="191"/>
                      <a:pt x="612" y="190"/>
                      <a:pt x="613" y="188"/>
                    </a:cubicBezTo>
                    <a:cubicBezTo>
                      <a:pt x="615" y="186"/>
                      <a:pt x="618" y="185"/>
                      <a:pt x="621" y="185"/>
                    </a:cubicBezTo>
                    <a:cubicBezTo>
                      <a:pt x="630" y="185"/>
                      <a:pt x="640" y="192"/>
                      <a:pt x="635" y="200"/>
                    </a:cubicBezTo>
                    <a:cubicBezTo>
                      <a:pt x="634" y="200"/>
                      <a:pt x="634" y="200"/>
                      <a:pt x="633" y="200"/>
                    </a:cubicBezTo>
                    <a:cubicBezTo>
                      <a:pt x="633" y="200"/>
                      <a:pt x="633" y="200"/>
                      <a:pt x="633" y="200"/>
                    </a:cubicBezTo>
                    <a:cubicBezTo>
                      <a:pt x="631" y="202"/>
                      <a:pt x="629" y="203"/>
                      <a:pt x="627" y="204"/>
                    </a:cubicBezTo>
                    <a:cubicBezTo>
                      <a:pt x="627" y="205"/>
                      <a:pt x="627" y="205"/>
                      <a:pt x="627" y="205"/>
                    </a:cubicBezTo>
                    <a:cubicBezTo>
                      <a:pt x="626" y="205"/>
                      <a:pt x="626" y="205"/>
                      <a:pt x="626" y="205"/>
                    </a:cubicBezTo>
                    <a:cubicBezTo>
                      <a:pt x="626" y="205"/>
                      <a:pt x="626" y="205"/>
                      <a:pt x="625" y="205"/>
                    </a:cubicBezTo>
                    <a:cubicBezTo>
                      <a:pt x="625" y="205"/>
                      <a:pt x="625" y="205"/>
                      <a:pt x="625" y="205"/>
                    </a:cubicBezTo>
                    <a:cubicBezTo>
                      <a:pt x="625" y="208"/>
                      <a:pt x="625" y="210"/>
                      <a:pt x="623" y="212"/>
                    </a:cubicBezTo>
                    <a:cubicBezTo>
                      <a:pt x="622" y="213"/>
                      <a:pt x="620" y="213"/>
                      <a:pt x="619" y="213"/>
                    </a:cubicBezTo>
                    <a:cubicBezTo>
                      <a:pt x="618" y="213"/>
                      <a:pt x="617" y="213"/>
                      <a:pt x="617" y="213"/>
                    </a:cubicBezTo>
                    <a:cubicBezTo>
                      <a:pt x="616" y="213"/>
                      <a:pt x="614" y="212"/>
                      <a:pt x="613" y="212"/>
                    </a:cubicBezTo>
                    <a:cubicBezTo>
                      <a:pt x="611" y="211"/>
                      <a:pt x="608" y="210"/>
                      <a:pt x="607" y="206"/>
                    </a:cubicBezTo>
                    <a:cubicBezTo>
                      <a:pt x="605" y="204"/>
                      <a:pt x="604" y="201"/>
                      <a:pt x="605" y="198"/>
                    </a:cubicBezTo>
                    <a:cubicBezTo>
                      <a:pt x="605" y="195"/>
                      <a:pt x="608" y="193"/>
                      <a:pt x="611" y="193"/>
                    </a:cubicBezTo>
                    <a:moveTo>
                      <a:pt x="321" y="185"/>
                    </a:moveTo>
                    <a:cubicBezTo>
                      <a:pt x="320" y="185"/>
                      <a:pt x="319" y="183"/>
                      <a:pt x="320" y="182"/>
                    </a:cubicBezTo>
                    <a:cubicBezTo>
                      <a:pt x="326" y="180"/>
                      <a:pt x="329" y="177"/>
                      <a:pt x="334" y="177"/>
                    </a:cubicBezTo>
                    <a:cubicBezTo>
                      <a:pt x="336" y="177"/>
                      <a:pt x="338" y="177"/>
                      <a:pt x="340" y="179"/>
                    </a:cubicBezTo>
                    <a:cubicBezTo>
                      <a:pt x="348" y="183"/>
                      <a:pt x="353" y="192"/>
                      <a:pt x="356" y="200"/>
                    </a:cubicBezTo>
                    <a:cubicBezTo>
                      <a:pt x="362" y="217"/>
                      <a:pt x="355" y="234"/>
                      <a:pt x="340" y="242"/>
                    </a:cubicBezTo>
                    <a:cubicBezTo>
                      <a:pt x="336" y="246"/>
                      <a:pt x="330" y="249"/>
                      <a:pt x="324" y="250"/>
                    </a:cubicBezTo>
                    <a:cubicBezTo>
                      <a:pt x="322" y="251"/>
                      <a:pt x="319" y="251"/>
                      <a:pt x="317" y="251"/>
                    </a:cubicBezTo>
                    <a:cubicBezTo>
                      <a:pt x="305" y="251"/>
                      <a:pt x="294" y="246"/>
                      <a:pt x="287" y="236"/>
                    </a:cubicBezTo>
                    <a:cubicBezTo>
                      <a:pt x="283" y="231"/>
                      <a:pt x="282" y="225"/>
                      <a:pt x="282" y="219"/>
                    </a:cubicBezTo>
                    <a:cubicBezTo>
                      <a:pt x="282" y="215"/>
                      <a:pt x="283" y="210"/>
                      <a:pt x="284" y="207"/>
                    </a:cubicBezTo>
                    <a:cubicBezTo>
                      <a:pt x="284" y="206"/>
                      <a:pt x="285" y="205"/>
                      <a:pt x="285" y="204"/>
                    </a:cubicBezTo>
                    <a:cubicBezTo>
                      <a:pt x="288" y="190"/>
                      <a:pt x="298" y="179"/>
                      <a:pt x="314" y="178"/>
                    </a:cubicBezTo>
                    <a:cubicBezTo>
                      <a:pt x="314" y="178"/>
                      <a:pt x="314" y="178"/>
                      <a:pt x="314" y="178"/>
                    </a:cubicBezTo>
                    <a:cubicBezTo>
                      <a:pt x="318" y="178"/>
                      <a:pt x="318" y="184"/>
                      <a:pt x="315" y="185"/>
                    </a:cubicBezTo>
                    <a:cubicBezTo>
                      <a:pt x="309" y="186"/>
                      <a:pt x="303" y="188"/>
                      <a:pt x="299" y="192"/>
                    </a:cubicBezTo>
                    <a:cubicBezTo>
                      <a:pt x="302" y="191"/>
                      <a:pt x="304" y="190"/>
                      <a:pt x="308" y="190"/>
                    </a:cubicBezTo>
                    <a:cubicBezTo>
                      <a:pt x="323" y="188"/>
                      <a:pt x="323" y="188"/>
                      <a:pt x="323" y="188"/>
                    </a:cubicBezTo>
                    <a:cubicBezTo>
                      <a:pt x="324" y="188"/>
                      <a:pt x="325" y="187"/>
                      <a:pt x="326" y="187"/>
                    </a:cubicBezTo>
                    <a:cubicBezTo>
                      <a:pt x="333" y="187"/>
                      <a:pt x="340" y="197"/>
                      <a:pt x="344" y="204"/>
                    </a:cubicBezTo>
                    <a:cubicBezTo>
                      <a:pt x="347" y="209"/>
                      <a:pt x="349" y="215"/>
                      <a:pt x="349" y="220"/>
                    </a:cubicBezTo>
                    <a:cubicBezTo>
                      <a:pt x="349" y="222"/>
                      <a:pt x="349" y="224"/>
                      <a:pt x="348" y="225"/>
                    </a:cubicBezTo>
                    <a:cubicBezTo>
                      <a:pt x="353" y="217"/>
                      <a:pt x="353" y="207"/>
                      <a:pt x="349" y="198"/>
                    </a:cubicBezTo>
                    <a:cubicBezTo>
                      <a:pt x="346" y="193"/>
                      <a:pt x="340" y="183"/>
                      <a:pt x="334" y="182"/>
                    </a:cubicBezTo>
                    <a:cubicBezTo>
                      <a:pt x="333" y="182"/>
                      <a:pt x="333" y="182"/>
                      <a:pt x="332" y="182"/>
                    </a:cubicBezTo>
                    <a:cubicBezTo>
                      <a:pt x="329" y="182"/>
                      <a:pt x="325" y="184"/>
                      <a:pt x="321" y="185"/>
                    </a:cubicBezTo>
                    <a:cubicBezTo>
                      <a:pt x="321" y="185"/>
                      <a:pt x="321" y="185"/>
                      <a:pt x="321" y="185"/>
                    </a:cubicBezTo>
                    <a:moveTo>
                      <a:pt x="537" y="181"/>
                    </a:moveTo>
                    <a:cubicBezTo>
                      <a:pt x="538" y="177"/>
                      <a:pt x="540" y="174"/>
                      <a:pt x="545" y="174"/>
                    </a:cubicBezTo>
                    <a:cubicBezTo>
                      <a:pt x="545" y="174"/>
                      <a:pt x="545" y="174"/>
                      <a:pt x="546" y="174"/>
                    </a:cubicBezTo>
                    <a:cubicBezTo>
                      <a:pt x="548" y="174"/>
                      <a:pt x="551" y="176"/>
                      <a:pt x="553" y="177"/>
                    </a:cubicBezTo>
                    <a:cubicBezTo>
                      <a:pt x="556" y="180"/>
                      <a:pt x="557" y="184"/>
                      <a:pt x="558" y="187"/>
                    </a:cubicBezTo>
                    <a:cubicBezTo>
                      <a:pt x="559" y="188"/>
                      <a:pt x="558" y="189"/>
                      <a:pt x="557" y="189"/>
                    </a:cubicBezTo>
                    <a:cubicBezTo>
                      <a:pt x="557" y="189"/>
                      <a:pt x="556" y="189"/>
                      <a:pt x="556" y="188"/>
                    </a:cubicBezTo>
                    <a:cubicBezTo>
                      <a:pt x="555" y="187"/>
                      <a:pt x="554" y="185"/>
                      <a:pt x="554" y="184"/>
                    </a:cubicBezTo>
                    <a:cubicBezTo>
                      <a:pt x="555" y="188"/>
                      <a:pt x="553" y="193"/>
                      <a:pt x="548" y="195"/>
                    </a:cubicBezTo>
                    <a:cubicBezTo>
                      <a:pt x="547" y="195"/>
                      <a:pt x="547" y="195"/>
                      <a:pt x="546" y="195"/>
                    </a:cubicBezTo>
                    <a:cubicBezTo>
                      <a:pt x="545" y="195"/>
                      <a:pt x="544" y="195"/>
                      <a:pt x="543" y="194"/>
                    </a:cubicBezTo>
                    <a:cubicBezTo>
                      <a:pt x="542" y="194"/>
                      <a:pt x="542" y="194"/>
                      <a:pt x="542" y="194"/>
                    </a:cubicBezTo>
                    <a:cubicBezTo>
                      <a:pt x="542" y="195"/>
                      <a:pt x="541" y="196"/>
                      <a:pt x="539" y="196"/>
                    </a:cubicBezTo>
                    <a:cubicBezTo>
                      <a:pt x="538" y="197"/>
                      <a:pt x="537" y="197"/>
                      <a:pt x="536" y="197"/>
                    </a:cubicBezTo>
                    <a:cubicBezTo>
                      <a:pt x="536" y="197"/>
                      <a:pt x="536" y="197"/>
                      <a:pt x="536" y="197"/>
                    </a:cubicBezTo>
                    <a:cubicBezTo>
                      <a:pt x="534" y="197"/>
                      <a:pt x="532" y="196"/>
                      <a:pt x="531" y="194"/>
                    </a:cubicBezTo>
                    <a:cubicBezTo>
                      <a:pt x="530" y="192"/>
                      <a:pt x="530" y="189"/>
                      <a:pt x="532" y="188"/>
                    </a:cubicBezTo>
                    <a:cubicBezTo>
                      <a:pt x="532" y="188"/>
                      <a:pt x="532" y="188"/>
                      <a:pt x="532" y="188"/>
                    </a:cubicBezTo>
                    <a:cubicBezTo>
                      <a:pt x="532" y="187"/>
                      <a:pt x="532" y="187"/>
                      <a:pt x="532" y="187"/>
                    </a:cubicBezTo>
                    <a:cubicBezTo>
                      <a:pt x="532" y="187"/>
                      <a:pt x="532" y="186"/>
                      <a:pt x="532" y="185"/>
                    </a:cubicBezTo>
                    <a:cubicBezTo>
                      <a:pt x="532" y="185"/>
                      <a:pt x="532" y="185"/>
                      <a:pt x="532" y="185"/>
                    </a:cubicBezTo>
                    <a:cubicBezTo>
                      <a:pt x="532" y="184"/>
                      <a:pt x="533" y="183"/>
                      <a:pt x="533" y="182"/>
                    </a:cubicBezTo>
                    <a:cubicBezTo>
                      <a:pt x="534" y="181"/>
                      <a:pt x="536" y="181"/>
                      <a:pt x="537" y="181"/>
                    </a:cubicBezTo>
                    <a:cubicBezTo>
                      <a:pt x="537" y="181"/>
                      <a:pt x="537" y="181"/>
                      <a:pt x="537" y="181"/>
                    </a:cubicBezTo>
                    <a:moveTo>
                      <a:pt x="799" y="173"/>
                    </a:moveTo>
                    <a:cubicBezTo>
                      <a:pt x="797" y="173"/>
                      <a:pt x="796" y="171"/>
                      <a:pt x="798" y="171"/>
                    </a:cubicBezTo>
                    <a:cubicBezTo>
                      <a:pt x="803" y="169"/>
                      <a:pt x="807" y="169"/>
                      <a:pt x="812" y="169"/>
                    </a:cubicBezTo>
                    <a:cubicBezTo>
                      <a:pt x="850" y="169"/>
                      <a:pt x="887" y="216"/>
                      <a:pt x="899" y="246"/>
                    </a:cubicBezTo>
                    <a:cubicBezTo>
                      <a:pt x="907" y="267"/>
                      <a:pt x="905" y="290"/>
                      <a:pt x="904" y="312"/>
                    </a:cubicBezTo>
                    <a:cubicBezTo>
                      <a:pt x="901" y="344"/>
                      <a:pt x="890" y="366"/>
                      <a:pt x="864" y="385"/>
                    </a:cubicBezTo>
                    <a:cubicBezTo>
                      <a:pt x="864" y="384"/>
                      <a:pt x="864" y="384"/>
                      <a:pt x="864" y="384"/>
                    </a:cubicBezTo>
                    <a:cubicBezTo>
                      <a:pt x="889" y="365"/>
                      <a:pt x="897" y="344"/>
                      <a:pt x="899" y="311"/>
                    </a:cubicBezTo>
                    <a:cubicBezTo>
                      <a:pt x="900" y="288"/>
                      <a:pt x="900" y="265"/>
                      <a:pt x="890" y="244"/>
                    </a:cubicBezTo>
                    <a:cubicBezTo>
                      <a:pt x="874" y="208"/>
                      <a:pt x="840" y="173"/>
                      <a:pt x="799" y="173"/>
                    </a:cubicBezTo>
                    <a:cubicBezTo>
                      <a:pt x="799" y="173"/>
                      <a:pt x="799" y="173"/>
                      <a:pt x="799" y="173"/>
                    </a:cubicBezTo>
                    <a:cubicBezTo>
                      <a:pt x="799" y="173"/>
                      <a:pt x="799" y="173"/>
                      <a:pt x="799" y="173"/>
                    </a:cubicBezTo>
                    <a:moveTo>
                      <a:pt x="749" y="397"/>
                    </a:moveTo>
                    <a:cubicBezTo>
                      <a:pt x="749" y="397"/>
                      <a:pt x="749" y="397"/>
                      <a:pt x="749" y="397"/>
                    </a:cubicBezTo>
                    <a:cubicBezTo>
                      <a:pt x="693" y="385"/>
                      <a:pt x="674" y="325"/>
                      <a:pt x="674" y="274"/>
                    </a:cubicBezTo>
                    <a:cubicBezTo>
                      <a:pt x="674" y="247"/>
                      <a:pt x="683" y="222"/>
                      <a:pt x="699" y="201"/>
                    </a:cubicBezTo>
                    <a:cubicBezTo>
                      <a:pt x="719" y="177"/>
                      <a:pt x="744" y="169"/>
                      <a:pt x="774" y="163"/>
                    </a:cubicBezTo>
                    <a:cubicBezTo>
                      <a:pt x="775" y="163"/>
                      <a:pt x="775" y="163"/>
                      <a:pt x="775" y="163"/>
                    </a:cubicBezTo>
                    <a:cubicBezTo>
                      <a:pt x="778" y="163"/>
                      <a:pt x="779" y="168"/>
                      <a:pt x="776" y="169"/>
                    </a:cubicBezTo>
                    <a:cubicBezTo>
                      <a:pt x="746" y="178"/>
                      <a:pt x="720" y="184"/>
                      <a:pt x="701" y="211"/>
                    </a:cubicBezTo>
                    <a:cubicBezTo>
                      <a:pt x="684" y="233"/>
                      <a:pt x="680" y="259"/>
                      <a:pt x="681" y="287"/>
                    </a:cubicBezTo>
                    <a:cubicBezTo>
                      <a:pt x="682" y="333"/>
                      <a:pt x="701" y="382"/>
                      <a:pt x="750" y="395"/>
                    </a:cubicBezTo>
                    <a:cubicBezTo>
                      <a:pt x="751" y="395"/>
                      <a:pt x="751" y="397"/>
                      <a:pt x="749" y="397"/>
                    </a:cubicBezTo>
                    <a:moveTo>
                      <a:pt x="455" y="165"/>
                    </a:moveTo>
                    <a:cubicBezTo>
                      <a:pt x="456" y="161"/>
                      <a:pt x="459" y="157"/>
                      <a:pt x="464" y="155"/>
                    </a:cubicBezTo>
                    <a:cubicBezTo>
                      <a:pt x="465" y="155"/>
                      <a:pt x="466" y="155"/>
                      <a:pt x="467" y="155"/>
                    </a:cubicBezTo>
                    <a:cubicBezTo>
                      <a:pt x="474" y="155"/>
                      <a:pt x="479" y="163"/>
                      <a:pt x="479" y="169"/>
                    </a:cubicBezTo>
                    <a:cubicBezTo>
                      <a:pt x="480" y="170"/>
                      <a:pt x="480" y="172"/>
                      <a:pt x="479" y="173"/>
                    </a:cubicBezTo>
                    <a:cubicBezTo>
                      <a:pt x="477" y="177"/>
                      <a:pt x="474" y="179"/>
                      <a:pt x="469" y="180"/>
                    </a:cubicBezTo>
                    <a:cubicBezTo>
                      <a:pt x="469" y="180"/>
                      <a:pt x="469" y="180"/>
                      <a:pt x="469" y="181"/>
                    </a:cubicBezTo>
                    <a:cubicBezTo>
                      <a:pt x="469" y="181"/>
                      <a:pt x="469" y="181"/>
                      <a:pt x="469" y="181"/>
                    </a:cubicBezTo>
                    <a:cubicBezTo>
                      <a:pt x="469" y="181"/>
                      <a:pt x="468" y="182"/>
                      <a:pt x="468" y="182"/>
                    </a:cubicBezTo>
                    <a:cubicBezTo>
                      <a:pt x="466" y="184"/>
                      <a:pt x="464" y="185"/>
                      <a:pt x="462" y="185"/>
                    </a:cubicBezTo>
                    <a:cubicBezTo>
                      <a:pt x="460" y="185"/>
                      <a:pt x="459" y="185"/>
                      <a:pt x="457" y="184"/>
                    </a:cubicBezTo>
                    <a:cubicBezTo>
                      <a:pt x="456" y="182"/>
                      <a:pt x="453" y="181"/>
                      <a:pt x="452" y="178"/>
                    </a:cubicBezTo>
                    <a:cubicBezTo>
                      <a:pt x="451" y="177"/>
                      <a:pt x="449" y="176"/>
                      <a:pt x="449" y="174"/>
                    </a:cubicBezTo>
                    <a:cubicBezTo>
                      <a:pt x="447" y="170"/>
                      <a:pt x="451" y="166"/>
                      <a:pt x="455" y="165"/>
                    </a:cubicBezTo>
                    <a:moveTo>
                      <a:pt x="90" y="174"/>
                    </a:moveTo>
                    <a:cubicBezTo>
                      <a:pt x="96" y="154"/>
                      <a:pt x="112" y="142"/>
                      <a:pt x="133" y="139"/>
                    </a:cubicBezTo>
                    <a:cubicBezTo>
                      <a:pt x="134" y="139"/>
                      <a:pt x="134" y="139"/>
                      <a:pt x="134" y="139"/>
                    </a:cubicBezTo>
                    <a:cubicBezTo>
                      <a:pt x="137" y="139"/>
                      <a:pt x="138" y="145"/>
                      <a:pt x="135" y="146"/>
                    </a:cubicBezTo>
                    <a:cubicBezTo>
                      <a:pt x="126" y="148"/>
                      <a:pt x="118" y="151"/>
                      <a:pt x="111" y="156"/>
                    </a:cubicBezTo>
                    <a:cubicBezTo>
                      <a:pt x="116" y="153"/>
                      <a:pt x="122" y="152"/>
                      <a:pt x="127" y="151"/>
                    </a:cubicBezTo>
                    <a:cubicBezTo>
                      <a:pt x="133" y="152"/>
                      <a:pt x="133" y="152"/>
                      <a:pt x="133" y="152"/>
                    </a:cubicBezTo>
                    <a:cubicBezTo>
                      <a:pt x="148" y="158"/>
                      <a:pt x="160" y="171"/>
                      <a:pt x="163" y="189"/>
                    </a:cubicBezTo>
                    <a:cubicBezTo>
                      <a:pt x="163" y="190"/>
                      <a:pt x="163" y="192"/>
                      <a:pt x="163" y="193"/>
                    </a:cubicBezTo>
                    <a:cubicBezTo>
                      <a:pt x="163" y="195"/>
                      <a:pt x="163" y="198"/>
                      <a:pt x="162" y="201"/>
                    </a:cubicBezTo>
                    <a:cubicBezTo>
                      <a:pt x="168" y="193"/>
                      <a:pt x="168" y="182"/>
                      <a:pt x="166" y="173"/>
                    </a:cubicBezTo>
                    <a:cubicBezTo>
                      <a:pt x="162" y="160"/>
                      <a:pt x="151" y="150"/>
                      <a:pt x="139" y="145"/>
                    </a:cubicBezTo>
                    <a:cubicBezTo>
                      <a:pt x="137" y="144"/>
                      <a:pt x="138" y="143"/>
                      <a:pt x="139" y="143"/>
                    </a:cubicBezTo>
                    <a:cubicBezTo>
                      <a:pt x="139" y="143"/>
                      <a:pt x="139" y="143"/>
                      <a:pt x="140" y="143"/>
                    </a:cubicBezTo>
                    <a:cubicBezTo>
                      <a:pt x="158" y="151"/>
                      <a:pt x="176" y="170"/>
                      <a:pt x="171" y="192"/>
                    </a:cubicBezTo>
                    <a:cubicBezTo>
                      <a:pt x="168" y="203"/>
                      <a:pt x="162" y="210"/>
                      <a:pt x="155" y="214"/>
                    </a:cubicBezTo>
                    <a:cubicBezTo>
                      <a:pt x="155" y="215"/>
                      <a:pt x="154" y="215"/>
                      <a:pt x="154" y="216"/>
                    </a:cubicBezTo>
                    <a:cubicBezTo>
                      <a:pt x="148" y="222"/>
                      <a:pt x="141" y="224"/>
                      <a:pt x="134" y="224"/>
                    </a:cubicBezTo>
                    <a:cubicBezTo>
                      <a:pt x="130" y="224"/>
                      <a:pt x="127" y="224"/>
                      <a:pt x="123" y="223"/>
                    </a:cubicBezTo>
                    <a:cubicBezTo>
                      <a:pt x="116" y="223"/>
                      <a:pt x="106" y="222"/>
                      <a:pt x="99" y="218"/>
                    </a:cubicBezTo>
                    <a:cubicBezTo>
                      <a:pt x="93" y="215"/>
                      <a:pt x="89" y="208"/>
                      <a:pt x="87" y="201"/>
                    </a:cubicBezTo>
                    <a:cubicBezTo>
                      <a:pt x="86" y="199"/>
                      <a:pt x="85" y="197"/>
                      <a:pt x="85" y="194"/>
                    </a:cubicBezTo>
                    <a:cubicBezTo>
                      <a:pt x="85" y="188"/>
                      <a:pt x="88" y="182"/>
                      <a:pt x="90" y="175"/>
                    </a:cubicBezTo>
                    <a:cubicBezTo>
                      <a:pt x="90" y="175"/>
                      <a:pt x="90" y="175"/>
                      <a:pt x="90" y="174"/>
                    </a:cubicBezTo>
                    <a:moveTo>
                      <a:pt x="186" y="115"/>
                    </a:moveTo>
                    <a:cubicBezTo>
                      <a:pt x="186" y="115"/>
                      <a:pt x="186" y="115"/>
                      <a:pt x="186" y="114"/>
                    </a:cubicBezTo>
                    <a:cubicBezTo>
                      <a:pt x="189" y="96"/>
                      <a:pt x="201" y="83"/>
                      <a:pt x="217" y="83"/>
                    </a:cubicBezTo>
                    <a:cubicBezTo>
                      <a:pt x="221" y="83"/>
                      <a:pt x="226" y="84"/>
                      <a:pt x="231" y="86"/>
                    </a:cubicBezTo>
                    <a:cubicBezTo>
                      <a:pt x="231" y="86"/>
                      <a:pt x="231" y="86"/>
                      <a:pt x="231" y="86"/>
                    </a:cubicBezTo>
                    <a:cubicBezTo>
                      <a:pt x="254" y="86"/>
                      <a:pt x="263" y="106"/>
                      <a:pt x="262" y="125"/>
                    </a:cubicBezTo>
                    <a:cubicBezTo>
                      <a:pt x="260" y="139"/>
                      <a:pt x="253" y="153"/>
                      <a:pt x="241" y="160"/>
                    </a:cubicBezTo>
                    <a:cubicBezTo>
                      <a:pt x="235" y="165"/>
                      <a:pt x="227" y="169"/>
                      <a:pt x="218" y="169"/>
                    </a:cubicBezTo>
                    <a:cubicBezTo>
                      <a:pt x="217" y="169"/>
                      <a:pt x="216" y="169"/>
                      <a:pt x="215" y="169"/>
                    </a:cubicBezTo>
                    <a:cubicBezTo>
                      <a:pt x="195" y="165"/>
                      <a:pt x="182" y="148"/>
                      <a:pt x="182" y="130"/>
                    </a:cubicBezTo>
                    <a:cubicBezTo>
                      <a:pt x="182" y="128"/>
                      <a:pt x="183" y="126"/>
                      <a:pt x="183" y="123"/>
                    </a:cubicBezTo>
                    <a:cubicBezTo>
                      <a:pt x="184" y="121"/>
                      <a:pt x="185" y="118"/>
                      <a:pt x="186" y="115"/>
                    </a:cubicBezTo>
                    <a:moveTo>
                      <a:pt x="49" y="265"/>
                    </a:moveTo>
                    <a:cubicBezTo>
                      <a:pt x="48" y="265"/>
                      <a:pt x="48" y="265"/>
                      <a:pt x="48" y="264"/>
                    </a:cubicBezTo>
                    <a:cubicBezTo>
                      <a:pt x="29" y="218"/>
                      <a:pt x="17" y="164"/>
                      <a:pt x="38" y="116"/>
                    </a:cubicBezTo>
                    <a:cubicBezTo>
                      <a:pt x="57" y="73"/>
                      <a:pt x="93" y="39"/>
                      <a:pt x="136" y="22"/>
                    </a:cubicBezTo>
                    <a:cubicBezTo>
                      <a:pt x="137" y="22"/>
                      <a:pt x="137" y="22"/>
                      <a:pt x="137" y="22"/>
                    </a:cubicBezTo>
                    <a:cubicBezTo>
                      <a:pt x="139" y="22"/>
                      <a:pt x="139" y="25"/>
                      <a:pt x="138" y="25"/>
                    </a:cubicBezTo>
                    <a:cubicBezTo>
                      <a:pt x="113" y="37"/>
                      <a:pt x="94" y="47"/>
                      <a:pt x="77" y="68"/>
                    </a:cubicBezTo>
                    <a:cubicBezTo>
                      <a:pt x="62" y="87"/>
                      <a:pt x="47" y="104"/>
                      <a:pt x="39" y="126"/>
                    </a:cubicBezTo>
                    <a:cubicBezTo>
                      <a:pt x="24" y="170"/>
                      <a:pt x="36" y="221"/>
                      <a:pt x="50" y="264"/>
                    </a:cubicBezTo>
                    <a:cubicBezTo>
                      <a:pt x="50" y="264"/>
                      <a:pt x="49" y="265"/>
                      <a:pt x="49" y="265"/>
                    </a:cubicBezTo>
                    <a:moveTo>
                      <a:pt x="408" y="176"/>
                    </a:moveTo>
                    <a:cubicBezTo>
                      <a:pt x="408" y="176"/>
                      <a:pt x="407" y="175"/>
                      <a:pt x="407" y="175"/>
                    </a:cubicBezTo>
                    <a:cubicBezTo>
                      <a:pt x="396" y="125"/>
                      <a:pt x="362" y="84"/>
                      <a:pt x="321" y="57"/>
                    </a:cubicBezTo>
                    <a:cubicBezTo>
                      <a:pt x="301" y="43"/>
                      <a:pt x="280" y="33"/>
                      <a:pt x="257" y="26"/>
                    </a:cubicBezTo>
                    <a:cubicBezTo>
                      <a:pt x="236" y="19"/>
                      <a:pt x="215" y="20"/>
                      <a:pt x="193" y="15"/>
                    </a:cubicBezTo>
                    <a:cubicBezTo>
                      <a:pt x="192" y="15"/>
                      <a:pt x="193" y="13"/>
                      <a:pt x="194" y="13"/>
                    </a:cubicBezTo>
                    <a:cubicBezTo>
                      <a:pt x="194" y="13"/>
                      <a:pt x="194" y="13"/>
                      <a:pt x="194" y="13"/>
                    </a:cubicBezTo>
                    <a:cubicBezTo>
                      <a:pt x="210" y="15"/>
                      <a:pt x="225" y="14"/>
                      <a:pt x="241" y="17"/>
                    </a:cubicBezTo>
                    <a:cubicBezTo>
                      <a:pt x="252" y="20"/>
                      <a:pt x="264" y="23"/>
                      <a:pt x="274" y="27"/>
                    </a:cubicBezTo>
                    <a:cubicBezTo>
                      <a:pt x="299" y="36"/>
                      <a:pt x="320" y="50"/>
                      <a:pt x="341" y="66"/>
                    </a:cubicBezTo>
                    <a:cubicBezTo>
                      <a:pt x="374" y="91"/>
                      <a:pt x="402" y="134"/>
                      <a:pt x="410" y="174"/>
                    </a:cubicBezTo>
                    <a:cubicBezTo>
                      <a:pt x="410" y="175"/>
                      <a:pt x="409" y="176"/>
                      <a:pt x="408" y="176"/>
                    </a:cubicBezTo>
                    <a:moveTo>
                      <a:pt x="157" y="0"/>
                    </a:moveTo>
                    <a:cubicBezTo>
                      <a:pt x="146" y="0"/>
                      <a:pt x="135" y="1"/>
                      <a:pt x="125" y="4"/>
                    </a:cubicBezTo>
                    <a:cubicBezTo>
                      <a:pt x="119" y="5"/>
                      <a:pt x="113" y="8"/>
                      <a:pt x="107" y="10"/>
                    </a:cubicBezTo>
                    <a:cubicBezTo>
                      <a:pt x="100" y="14"/>
                      <a:pt x="93" y="19"/>
                      <a:pt x="86" y="25"/>
                    </a:cubicBezTo>
                    <a:cubicBezTo>
                      <a:pt x="53" y="53"/>
                      <a:pt x="29" y="91"/>
                      <a:pt x="17" y="133"/>
                    </a:cubicBezTo>
                    <a:cubicBezTo>
                      <a:pt x="31" y="133"/>
                      <a:pt x="31" y="133"/>
                      <a:pt x="31" y="133"/>
                    </a:cubicBezTo>
                    <a:cubicBezTo>
                      <a:pt x="31" y="133"/>
                      <a:pt x="31" y="133"/>
                      <a:pt x="31" y="133"/>
                    </a:cubicBezTo>
                    <a:cubicBezTo>
                      <a:pt x="28" y="141"/>
                      <a:pt x="26" y="149"/>
                      <a:pt x="25" y="158"/>
                    </a:cubicBezTo>
                    <a:cubicBezTo>
                      <a:pt x="24" y="165"/>
                      <a:pt x="23" y="173"/>
                      <a:pt x="23" y="181"/>
                    </a:cubicBezTo>
                    <a:cubicBezTo>
                      <a:pt x="23" y="190"/>
                      <a:pt x="24" y="200"/>
                      <a:pt x="26" y="210"/>
                    </a:cubicBezTo>
                    <a:cubicBezTo>
                      <a:pt x="26" y="210"/>
                      <a:pt x="26" y="210"/>
                      <a:pt x="26" y="210"/>
                    </a:cubicBezTo>
                    <a:cubicBezTo>
                      <a:pt x="7" y="212"/>
                      <a:pt x="7" y="212"/>
                      <a:pt x="7" y="212"/>
                    </a:cubicBezTo>
                    <a:cubicBezTo>
                      <a:pt x="4" y="214"/>
                      <a:pt x="2" y="215"/>
                      <a:pt x="0" y="216"/>
                    </a:cubicBezTo>
                    <a:cubicBezTo>
                      <a:pt x="0" y="216"/>
                      <a:pt x="0" y="216"/>
                      <a:pt x="0" y="216"/>
                    </a:cubicBezTo>
                    <a:cubicBezTo>
                      <a:pt x="5" y="228"/>
                      <a:pt x="5" y="228"/>
                      <a:pt x="5" y="228"/>
                    </a:cubicBezTo>
                    <a:cubicBezTo>
                      <a:pt x="6" y="228"/>
                      <a:pt x="6" y="228"/>
                      <a:pt x="6" y="228"/>
                    </a:cubicBezTo>
                    <a:cubicBezTo>
                      <a:pt x="8" y="225"/>
                      <a:pt x="11" y="224"/>
                      <a:pt x="14" y="223"/>
                    </a:cubicBezTo>
                    <a:cubicBezTo>
                      <a:pt x="14" y="223"/>
                      <a:pt x="15" y="223"/>
                      <a:pt x="15" y="223"/>
                    </a:cubicBezTo>
                    <a:cubicBezTo>
                      <a:pt x="18" y="223"/>
                      <a:pt x="19" y="228"/>
                      <a:pt x="15" y="229"/>
                    </a:cubicBezTo>
                    <a:cubicBezTo>
                      <a:pt x="13" y="229"/>
                      <a:pt x="12" y="231"/>
                      <a:pt x="9" y="232"/>
                    </a:cubicBezTo>
                    <a:cubicBezTo>
                      <a:pt x="9" y="232"/>
                      <a:pt x="8" y="233"/>
                      <a:pt x="8" y="233"/>
                    </a:cubicBezTo>
                    <a:cubicBezTo>
                      <a:pt x="8" y="233"/>
                      <a:pt x="8" y="232"/>
                      <a:pt x="7" y="232"/>
                    </a:cubicBezTo>
                    <a:cubicBezTo>
                      <a:pt x="8" y="234"/>
                      <a:pt x="8" y="234"/>
                      <a:pt x="8" y="234"/>
                    </a:cubicBezTo>
                    <a:cubicBezTo>
                      <a:pt x="10" y="238"/>
                      <a:pt x="10" y="238"/>
                      <a:pt x="10" y="238"/>
                    </a:cubicBezTo>
                    <a:cubicBezTo>
                      <a:pt x="12" y="236"/>
                      <a:pt x="14" y="234"/>
                      <a:pt x="17" y="233"/>
                    </a:cubicBezTo>
                    <a:cubicBezTo>
                      <a:pt x="17" y="232"/>
                      <a:pt x="18" y="232"/>
                      <a:pt x="18" y="232"/>
                    </a:cubicBezTo>
                    <a:cubicBezTo>
                      <a:pt x="20" y="232"/>
                      <a:pt x="22" y="235"/>
                      <a:pt x="20" y="236"/>
                    </a:cubicBezTo>
                    <a:cubicBezTo>
                      <a:pt x="17" y="238"/>
                      <a:pt x="15" y="241"/>
                      <a:pt x="12" y="243"/>
                    </a:cubicBezTo>
                    <a:cubicBezTo>
                      <a:pt x="12" y="244"/>
                      <a:pt x="11" y="244"/>
                      <a:pt x="10" y="244"/>
                    </a:cubicBezTo>
                    <a:cubicBezTo>
                      <a:pt x="10" y="244"/>
                      <a:pt x="10" y="244"/>
                      <a:pt x="10" y="244"/>
                    </a:cubicBezTo>
                    <a:cubicBezTo>
                      <a:pt x="8" y="246"/>
                      <a:pt x="6" y="248"/>
                      <a:pt x="4" y="250"/>
                    </a:cubicBezTo>
                    <a:cubicBezTo>
                      <a:pt x="4" y="250"/>
                      <a:pt x="4" y="250"/>
                      <a:pt x="4" y="250"/>
                    </a:cubicBezTo>
                    <a:cubicBezTo>
                      <a:pt x="13" y="268"/>
                      <a:pt x="13" y="268"/>
                      <a:pt x="13" y="268"/>
                    </a:cubicBezTo>
                    <a:cubicBezTo>
                      <a:pt x="19" y="287"/>
                      <a:pt x="28" y="305"/>
                      <a:pt x="39" y="321"/>
                    </a:cubicBezTo>
                    <a:cubicBezTo>
                      <a:pt x="51" y="338"/>
                      <a:pt x="69" y="353"/>
                      <a:pt x="85" y="365"/>
                    </a:cubicBezTo>
                    <a:cubicBezTo>
                      <a:pt x="98" y="374"/>
                      <a:pt x="110" y="385"/>
                      <a:pt x="124" y="391"/>
                    </a:cubicBezTo>
                    <a:cubicBezTo>
                      <a:pt x="139" y="399"/>
                      <a:pt x="157" y="405"/>
                      <a:pt x="172" y="412"/>
                    </a:cubicBezTo>
                    <a:cubicBezTo>
                      <a:pt x="187" y="415"/>
                      <a:pt x="204" y="422"/>
                      <a:pt x="219" y="422"/>
                    </a:cubicBezTo>
                    <a:cubicBezTo>
                      <a:pt x="239" y="422"/>
                      <a:pt x="259" y="418"/>
                      <a:pt x="277" y="411"/>
                    </a:cubicBezTo>
                    <a:cubicBezTo>
                      <a:pt x="296" y="405"/>
                      <a:pt x="316" y="395"/>
                      <a:pt x="337" y="393"/>
                    </a:cubicBezTo>
                    <a:cubicBezTo>
                      <a:pt x="341" y="392"/>
                      <a:pt x="344" y="392"/>
                      <a:pt x="348" y="392"/>
                    </a:cubicBezTo>
                    <a:cubicBezTo>
                      <a:pt x="364" y="392"/>
                      <a:pt x="380" y="396"/>
                      <a:pt x="396" y="399"/>
                    </a:cubicBezTo>
                    <a:cubicBezTo>
                      <a:pt x="429" y="402"/>
                      <a:pt x="465" y="406"/>
                      <a:pt x="499" y="409"/>
                    </a:cubicBezTo>
                    <a:cubicBezTo>
                      <a:pt x="537" y="412"/>
                      <a:pt x="572" y="420"/>
                      <a:pt x="610" y="425"/>
                    </a:cubicBezTo>
                    <a:cubicBezTo>
                      <a:pt x="610" y="425"/>
                      <a:pt x="610" y="425"/>
                      <a:pt x="610" y="425"/>
                    </a:cubicBezTo>
                    <a:cubicBezTo>
                      <a:pt x="610" y="426"/>
                      <a:pt x="610" y="426"/>
                      <a:pt x="610" y="426"/>
                    </a:cubicBezTo>
                    <a:cubicBezTo>
                      <a:pt x="610" y="426"/>
                      <a:pt x="610" y="426"/>
                      <a:pt x="610" y="426"/>
                    </a:cubicBezTo>
                    <a:cubicBezTo>
                      <a:pt x="641" y="440"/>
                      <a:pt x="665" y="464"/>
                      <a:pt x="694" y="480"/>
                    </a:cubicBezTo>
                    <a:cubicBezTo>
                      <a:pt x="728" y="501"/>
                      <a:pt x="772" y="503"/>
                      <a:pt x="812" y="504"/>
                    </a:cubicBezTo>
                    <a:cubicBezTo>
                      <a:pt x="815" y="504"/>
                      <a:pt x="817" y="504"/>
                      <a:pt x="819" y="504"/>
                    </a:cubicBezTo>
                    <a:cubicBezTo>
                      <a:pt x="840" y="504"/>
                      <a:pt x="861" y="502"/>
                      <a:pt x="879" y="491"/>
                    </a:cubicBezTo>
                    <a:cubicBezTo>
                      <a:pt x="886" y="488"/>
                      <a:pt x="892" y="485"/>
                      <a:pt x="897" y="480"/>
                    </a:cubicBezTo>
                    <a:cubicBezTo>
                      <a:pt x="890" y="485"/>
                      <a:pt x="882" y="489"/>
                      <a:pt x="874" y="492"/>
                    </a:cubicBezTo>
                    <a:cubicBezTo>
                      <a:pt x="858" y="498"/>
                      <a:pt x="841" y="500"/>
                      <a:pt x="824" y="500"/>
                    </a:cubicBezTo>
                    <a:cubicBezTo>
                      <a:pt x="809" y="500"/>
                      <a:pt x="794" y="498"/>
                      <a:pt x="780" y="497"/>
                    </a:cubicBezTo>
                    <a:cubicBezTo>
                      <a:pt x="751" y="494"/>
                      <a:pt x="724" y="488"/>
                      <a:pt x="699" y="474"/>
                    </a:cubicBezTo>
                    <a:cubicBezTo>
                      <a:pt x="671" y="459"/>
                      <a:pt x="646" y="439"/>
                      <a:pt x="619" y="422"/>
                    </a:cubicBezTo>
                    <a:cubicBezTo>
                      <a:pt x="588" y="419"/>
                      <a:pt x="558" y="412"/>
                      <a:pt x="527" y="409"/>
                    </a:cubicBezTo>
                    <a:cubicBezTo>
                      <a:pt x="496" y="405"/>
                      <a:pt x="466" y="402"/>
                      <a:pt x="435" y="399"/>
                    </a:cubicBezTo>
                    <a:cubicBezTo>
                      <a:pt x="409" y="397"/>
                      <a:pt x="382" y="389"/>
                      <a:pt x="356" y="389"/>
                    </a:cubicBezTo>
                    <a:cubicBezTo>
                      <a:pt x="352" y="389"/>
                      <a:pt x="348" y="389"/>
                      <a:pt x="344" y="390"/>
                    </a:cubicBezTo>
                    <a:cubicBezTo>
                      <a:pt x="313" y="393"/>
                      <a:pt x="286" y="410"/>
                      <a:pt x="257" y="416"/>
                    </a:cubicBezTo>
                    <a:cubicBezTo>
                      <a:pt x="248" y="418"/>
                      <a:pt x="240" y="418"/>
                      <a:pt x="231" y="418"/>
                    </a:cubicBezTo>
                    <a:cubicBezTo>
                      <a:pt x="189" y="418"/>
                      <a:pt x="144" y="400"/>
                      <a:pt x="111" y="377"/>
                    </a:cubicBezTo>
                    <a:cubicBezTo>
                      <a:pt x="92" y="363"/>
                      <a:pt x="72" y="347"/>
                      <a:pt x="55" y="330"/>
                    </a:cubicBezTo>
                    <a:cubicBezTo>
                      <a:pt x="37" y="310"/>
                      <a:pt x="26" y="286"/>
                      <a:pt x="17" y="260"/>
                    </a:cubicBezTo>
                    <a:cubicBezTo>
                      <a:pt x="17" y="259"/>
                      <a:pt x="18" y="258"/>
                      <a:pt x="19" y="258"/>
                    </a:cubicBezTo>
                    <a:cubicBezTo>
                      <a:pt x="20" y="258"/>
                      <a:pt x="20" y="258"/>
                      <a:pt x="21" y="259"/>
                    </a:cubicBezTo>
                    <a:cubicBezTo>
                      <a:pt x="38" y="305"/>
                      <a:pt x="59" y="329"/>
                      <a:pt x="96" y="355"/>
                    </a:cubicBezTo>
                    <a:cubicBezTo>
                      <a:pt x="116" y="370"/>
                      <a:pt x="136" y="380"/>
                      <a:pt x="159" y="390"/>
                    </a:cubicBezTo>
                    <a:cubicBezTo>
                      <a:pt x="180" y="398"/>
                      <a:pt x="205" y="408"/>
                      <a:pt x="228" y="408"/>
                    </a:cubicBezTo>
                    <a:cubicBezTo>
                      <a:pt x="231" y="408"/>
                      <a:pt x="233" y="408"/>
                      <a:pt x="236" y="408"/>
                    </a:cubicBezTo>
                    <a:cubicBezTo>
                      <a:pt x="262" y="406"/>
                      <a:pt x="286" y="395"/>
                      <a:pt x="311" y="386"/>
                    </a:cubicBezTo>
                    <a:cubicBezTo>
                      <a:pt x="326" y="381"/>
                      <a:pt x="340" y="379"/>
                      <a:pt x="355" y="379"/>
                    </a:cubicBezTo>
                    <a:cubicBezTo>
                      <a:pt x="364" y="379"/>
                      <a:pt x="373" y="380"/>
                      <a:pt x="382" y="381"/>
                    </a:cubicBezTo>
                    <a:cubicBezTo>
                      <a:pt x="411" y="386"/>
                      <a:pt x="440" y="389"/>
                      <a:pt x="468" y="392"/>
                    </a:cubicBezTo>
                    <a:cubicBezTo>
                      <a:pt x="519" y="397"/>
                      <a:pt x="570" y="404"/>
                      <a:pt x="621" y="412"/>
                    </a:cubicBezTo>
                    <a:cubicBezTo>
                      <a:pt x="625" y="412"/>
                      <a:pt x="626" y="416"/>
                      <a:pt x="625" y="419"/>
                    </a:cubicBezTo>
                    <a:cubicBezTo>
                      <a:pt x="650" y="430"/>
                      <a:pt x="670" y="449"/>
                      <a:pt x="693" y="463"/>
                    </a:cubicBezTo>
                    <a:cubicBezTo>
                      <a:pt x="717" y="478"/>
                      <a:pt x="743" y="486"/>
                      <a:pt x="771" y="489"/>
                    </a:cubicBezTo>
                    <a:cubicBezTo>
                      <a:pt x="787" y="491"/>
                      <a:pt x="805" y="493"/>
                      <a:pt x="822" y="493"/>
                    </a:cubicBezTo>
                    <a:cubicBezTo>
                      <a:pt x="836" y="493"/>
                      <a:pt x="849" y="492"/>
                      <a:pt x="862" y="489"/>
                    </a:cubicBezTo>
                    <a:cubicBezTo>
                      <a:pt x="892" y="481"/>
                      <a:pt x="918" y="459"/>
                      <a:pt x="939" y="437"/>
                    </a:cubicBezTo>
                    <a:cubicBezTo>
                      <a:pt x="955" y="420"/>
                      <a:pt x="968" y="403"/>
                      <a:pt x="976" y="382"/>
                    </a:cubicBezTo>
                    <a:cubicBezTo>
                      <a:pt x="978" y="373"/>
                      <a:pt x="979" y="365"/>
                      <a:pt x="980" y="356"/>
                    </a:cubicBezTo>
                    <a:cubicBezTo>
                      <a:pt x="981" y="343"/>
                      <a:pt x="981" y="330"/>
                      <a:pt x="980" y="318"/>
                    </a:cubicBezTo>
                    <a:cubicBezTo>
                      <a:pt x="979" y="289"/>
                      <a:pt x="977" y="259"/>
                      <a:pt x="965" y="231"/>
                    </a:cubicBezTo>
                    <a:cubicBezTo>
                      <a:pt x="949" y="192"/>
                      <a:pt x="917" y="163"/>
                      <a:pt x="888" y="134"/>
                    </a:cubicBezTo>
                    <a:cubicBezTo>
                      <a:pt x="887" y="135"/>
                      <a:pt x="887" y="135"/>
                      <a:pt x="887" y="135"/>
                    </a:cubicBezTo>
                    <a:cubicBezTo>
                      <a:pt x="864" y="123"/>
                      <a:pt x="839" y="112"/>
                      <a:pt x="814" y="107"/>
                    </a:cubicBezTo>
                    <a:cubicBezTo>
                      <a:pt x="777" y="99"/>
                      <a:pt x="739" y="91"/>
                      <a:pt x="702" y="85"/>
                    </a:cubicBezTo>
                    <a:cubicBezTo>
                      <a:pt x="616" y="69"/>
                      <a:pt x="529" y="61"/>
                      <a:pt x="443" y="45"/>
                    </a:cubicBezTo>
                    <a:cubicBezTo>
                      <a:pt x="363" y="33"/>
                      <a:pt x="284" y="14"/>
                      <a:pt x="204" y="4"/>
                    </a:cubicBezTo>
                    <a:cubicBezTo>
                      <a:pt x="188" y="2"/>
                      <a:pt x="172" y="0"/>
                      <a:pt x="157" y="0"/>
                    </a:cubicBezTo>
                  </a:path>
                </a:pathLst>
              </a:custGeom>
              <a:solidFill>
                <a:srgbClr val="6F686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67" name="Freeform 13">
                <a:extLst>
                  <a:ext uri="{FF2B5EF4-FFF2-40B4-BE49-F238E27FC236}">
                    <a16:creationId xmlns:a16="http://schemas.microsoft.com/office/drawing/2014/main" id="{C5FE663D-2BA6-4CE6-913B-EEE0D6C70470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6782" y="1916"/>
                <a:ext cx="73" cy="59"/>
              </a:xfrm>
              <a:custGeom>
                <a:avLst/>
                <a:gdLst>
                  <a:gd name="T0" fmla="*/ 15 w 68"/>
                  <a:gd name="T1" fmla="*/ 1 h 56"/>
                  <a:gd name="T2" fmla="*/ 16 w 68"/>
                  <a:gd name="T3" fmla="*/ 4 h 56"/>
                  <a:gd name="T4" fmla="*/ 30 w 68"/>
                  <a:gd name="T5" fmla="*/ 18 h 56"/>
                  <a:gd name="T6" fmla="*/ 63 w 68"/>
                  <a:gd name="T7" fmla="*/ 43 h 56"/>
                  <a:gd name="T8" fmla="*/ 64 w 68"/>
                  <a:gd name="T9" fmla="*/ 50 h 56"/>
                  <a:gd name="T10" fmla="*/ 66 w 68"/>
                  <a:gd name="T11" fmla="*/ 51 h 56"/>
                  <a:gd name="T12" fmla="*/ 68 w 68"/>
                  <a:gd name="T13" fmla="*/ 50 h 56"/>
                  <a:gd name="T14" fmla="*/ 40 w 68"/>
                  <a:gd name="T15" fmla="*/ 21 h 56"/>
                  <a:gd name="T16" fmla="*/ 15 w 68"/>
                  <a:gd name="T17" fmla="*/ 1 h 56"/>
                  <a:gd name="T18" fmla="*/ 9 w 68"/>
                  <a:gd name="T19" fmla="*/ 0 h 56"/>
                  <a:gd name="T20" fmla="*/ 4 w 68"/>
                  <a:gd name="T21" fmla="*/ 11 h 56"/>
                  <a:gd name="T22" fmla="*/ 53 w 68"/>
                  <a:gd name="T23" fmla="*/ 52 h 56"/>
                  <a:gd name="T24" fmla="*/ 54 w 68"/>
                  <a:gd name="T25" fmla="*/ 53 h 56"/>
                  <a:gd name="T26" fmla="*/ 58 w 68"/>
                  <a:gd name="T27" fmla="*/ 55 h 56"/>
                  <a:gd name="T28" fmla="*/ 61 w 68"/>
                  <a:gd name="T29" fmla="*/ 54 h 56"/>
                  <a:gd name="T30" fmla="*/ 64 w 68"/>
                  <a:gd name="T31" fmla="*/ 56 h 56"/>
                  <a:gd name="T32" fmla="*/ 66 w 68"/>
                  <a:gd name="T33" fmla="*/ 55 h 56"/>
                  <a:gd name="T34" fmla="*/ 60 w 68"/>
                  <a:gd name="T35" fmla="*/ 51 h 56"/>
                  <a:gd name="T36" fmla="*/ 59 w 68"/>
                  <a:gd name="T37" fmla="*/ 50 h 56"/>
                  <a:gd name="T38" fmla="*/ 29 w 68"/>
                  <a:gd name="T39" fmla="*/ 27 h 56"/>
                  <a:gd name="T40" fmla="*/ 9 w 68"/>
                  <a:gd name="T41" fmla="*/ 4 h 56"/>
                  <a:gd name="T42" fmla="*/ 9 w 68"/>
                  <a:gd name="T43" fmla="*/ 0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68" h="56">
                    <a:moveTo>
                      <a:pt x="15" y="1"/>
                    </a:moveTo>
                    <a:cubicBezTo>
                      <a:pt x="15" y="2"/>
                      <a:pt x="16" y="3"/>
                      <a:pt x="16" y="4"/>
                    </a:cubicBezTo>
                    <a:cubicBezTo>
                      <a:pt x="19" y="10"/>
                      <a:pt x="26" y="14"/>
                      <a:pt x="30" y="18"/>
                    </a:cubicBezTo>
                    <a:cubicBezTo>
                      <a:pt x="41" y="27"/>
                      <a:pt x="50" y="38"/>
                      <a:pt x="63" y="43"/>
                    </a:cubicBezTo>
                    <a:cubicBezTo>
                      <a:pt x="67" y="44"/>
                      <a:pt x="66" y="48"/>
                      <a:pt x="64" y="50"/>
                    </a:cubicBezTo>
                    <a:cubicBezTo>
                      <a:pt x="65" y="50"/>
                      <a:pt x="66" y="51"/>
                      <a:pt x="66" y="51"/>
                    </a:cubicBezTo>
                    <a:cubicBezTo>
                      <a:pt x="67" y="51"/>
                      <a:pt x="67" y="51"/>
                      <a:pt x="68" y="50"/>
                    </a:cubicBezTo>
                    <a:cubicBezTo>
                      <a:pt x="66" y="37"/>
                      <a:pt x="50" y="28"/>
                      <a:pt x="40" y="21"/>
                    </a:cubicBezTo>
                    <a:cubicBezTo>
                      <a:pt x="34" y="16"/>
                      <a:pt x="24" y="2"/>
                      <a:pt x="15" y="1"/>
                    </a:cubicBezTo>
                    <a:moveTo>
                      <a:pt x="9" y="0"/>
                    </a:moveTo>
                    <a:cubicBezTo>
                      <a:pt x="4" y="1"/>
                      <a:pt x="0" y="7"/>
                      <a:pt x="4" y="11"/>
                    </a:cubicBezTo>
                    <a:cubicBezTo>
                      <a:pt x="18" y="28"/>
                      <a:pt x="38" y="37"/>
                      <a:pt x="53" y="52"/>
                    </a:cubicBezTo>
                    <a:cubicBezTo>
                      <a:pt x="53" y="53"/>
                      <a:pt x="54" y="53"/>
                      <a:pt x="54" y="53"/>
                    </a:cubicBezTo>
                    <a:cubicBezTo>
                      <a:pt x="55" y="55"/>
                      <a:pt x="57" y="55"/>
                      <a:pt x="58" y="55"/>
                    </a:cubicBezTo>
                    <a:cubicBezTo>
                      <a:pt x="59" y="55"/>
                      <a:pt x="60" y="55"/>
                      <a:pt x="61" y="54"/>
                    </a:cubicBezTo>
                    <a:cubicBezTo>
                      <a:pt x="62" y="55"/>
                      <a:pt x="63" y="56"/>
                      <a:pt x="64" y="56"/>
                    </a:cubicBezTo>
                    <a:cubicBezTo>
                      <a:pt x="65" y="56"/>
                      <a:pt x="65" y="56"/>
                      <a:pt x="66" y="55"/>
                    </a:cubicBezTo>
                    <a:cubicBezTo>
                      <a:pt x="64" y="55"/>
                      <a:pt x="61" y="53"/>
                      <a:pt x="60" y="51"/>
                    </a:cubicBezTo>
                    <a:cubicBezTo>
                      <a:pt x="59" y="51"/>
                      <a:pt x="59" y="50"/>
                      <a:pt x="59" y="50"/>
                    </a:cubicBezTo>
                    <a:cubicBezTo>
                      <a:pt x="47" y="46"/>
                      <a:pt x="38" y="35"/>
                      <a:pt x="29" y="27"/>
                    </a:cubicBezTo>
                    <a:cubicBezTo>
                      <a:pt x="22" y="20"/>
                      <a:pt x="12" y="14"/>
                      <a:pt x="9" y="4"/>
                    </a:cubicBezTo>
                    <a:cubicBezTo>
                      <a:pt x="9" y="3"/>
                      <a:pt x="9" y="2"/>
                      <a:pt x="9" y="0"/>
                    </a:cubicBezTo>
                  </a:path>
                </a:pathLst>
              </a:custGeom>
              <a:solidFill>
                <a:srgbClr val="EF827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68" name="Freeform 14">
                <a:extLst>
                  <a:ext uri="{FF2B5EF4-FFF2-40B4-BE49-F238E27FC236}">
                    <a16:creationId xmlns:a16="http://schemas.microsoft.com/office/drawing/2014/main" id="{C388525F-38F3-4212-84AC-85181B901585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6756" y="1823"/>
                <a:ext cx="15" cy="17"/>
              </a:xfrm>
              <a:custGeom>
                <a:avLst/>
                <a:gdLst>
                  <a:gd name="T0" fmla="*/ 11 w 14"/>
                  <a:gd name="T1" fmla="*/ 2 h 16"/>
                  <a:gd name="T2" fmla="*/ 11 w 14"/>
                  <a:gd name="T3" fmla="*/ 3 h 16"/>
                  <a:gd name="T4" fmla="*/ 14 w 14"/>
                  <a:gd name="T5" fmla="*/ 9 h 16"/>
                  <a:gd name="T6" fmla="*/ 12 w 14"/>
                  <a:gd name="T7" fmla="*/ 5 h 16"/>
                  <a:gd name="T8" fmla="*/ 12 w 14"/>
                  <a:gd name="T9" fmla="*/ 3 h 16"/>
                  <a:gd name="T10" fmla="*/ 11 w 14"/>
                  <a:gd name="T11" fmla="*/ 2 h 16"/>
                  <a:gd name="T12" fmla="*/ 7 w 14"/>
                  <a:gd name="T13" fmla="*/ 0 h 16"/>
                  <a:gd name="T14" fmla="*/ 3 w 14"/>
                  <a:gd name="T15" fmla="*/ 1 h 16"/>
                  <a:gd name="T16" fmla="*/ 2 w 14"/>
                  <a:gd name="T17" fmla="*/ 4 h 16"/>
                  <a:gd name="T18" fmla="*/ 2 w 14"/>
                  <a:gd name="T19" fmla="*/ 4 h 16"/>
                  <a:gd name="T20" fmla="*/ 2 w 14"/>
                  <a:gd name="T21" fmla="*/ 6 h 16"/>
                  <a:gd name="T22" fmla="*/ 2 w 14"/>
                  <a:gd name="T23" fmla="*/ 7 h 16"/>
                  <a:gd name="T24" fmla="*/ 2 w 14"/>
                  <a:gd name="T25" fmla="*/ 7 h 16"/>
                  <a:gd name="T26" fmla="*/ 1 w 14"/>
                  <a:gd name="T27" fmla="*/ 13 h 16"/>
                  <a:gd name="T28" fmla="*/ 6 w 14"/>
                  <a:gd name="T29" fmla="*/ 16 h 16"/>
                  <a:gd name="T30" fmla="*/ 6 w 14"/>
                  <a:gd name="T31" fmla="*/ 16 h 16"/>
                  <a:gd name="T32" fmla="*/ 9 w 14"/>
                  <a:gd name="T33" fmla="*/ 15 h 16"/>
                  <a:gd name="T34" fmla="*/ 12 w 14"/>
                  <a:gd name="T35" fmla="*/ 13 h 16"/>
                  <a:gd name="T36" fmla="*/ 13 w 14"/>
                  <a:gd name="T37" fmla="*/ 13 h 16"/>
                  <a:gd name="T38" fmla="*/ 7 w 14"/>
                  <a:gd name="T39" fmla="*/ 4 h 16"/>
                  <a:gd name="T40" fmla="*/ 7 w 14"/>
                  <a:gd name="T41" fmla="*/ 0 h 16"/>
                  <a:gd name="T42" fmla="*/ 7 w 14"/>
                  <a:gd name="T43" fmla="*/ 0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4" h="16">
                    <a:moveTo>
                      <a:pt x="11" y="2"/>
                    </a:moveTo>
                    <a:cubicBezTo>
                      <a:pt x="11" y="2"/>
                      <a:pt x="11" y="3"/>
                      <a:pt x="11" y="3"/>
                    </a:cubicBezTo>
                    <a:cubicBezTo>
                      <a:pt x="11" y="5"/>
                      <a:pt x="12" y="8"/>
                      <a:pt x="14" y="9"/>
                    </a:cubicBezTo>
                    <a:cubicBezTo>
                      <a:pt x="14" y="7"/>
                      <a:pt x="13" y="6"/>
                      <a:pt x="12" y="5"/>
                    </a:cubicBezTo>
                    <a:cubicBezTo>
                      <a:pt x="12" y="4"/>
                      <a:pt x="12" y="3"/>
                      <a:pt x="12" y="3"/>
                    </a:cubicBezTo>
                    <a:cubicBezTo>
                      <a:pt x="11" y="2"/>
                      <a:pt x="11" y="2"/>
                      <a:pt x="11" y="2"/>
                    </a:cubicBezTo>
                    <a:moveTo>
                      <a:pt x="7" y="0"/>
                    </a:moveTo>
                    <a:cubicBezTo>
                      <a:pt x="6" y="0"/>
                      <a:pt x="4" y="0"/>
                      <a:pt x="3" y="1"/>
                    </a:cubicBezTo>
                    <a:cubicBezTo>
                      <a:pt x="3" y="2"/>
                      <a:pt x="2" y="3"/>
                      <a:pt x="2" y="4"/>
                    </a:cubicBezTo>
                    <a:cubicBezTo>
                      <a:pt x="2" y="4"/>
                      <a:pt x="2" y="4"/>
                      <a:pt x="2" y="4"/>
                    </a:cubicBezTo>
                    <a:cubicBezTo>
                      <a:pt x="2" y="5"/>
                      <a:pt x="2" y="6"/>
                      <a:pt x="2" y="6"/>
                    </a:cubicBezTo>
                    <a:cubicBezTo>
                      <a:pt x="2" y="6"/>
                      <a:pt x="2" y="6"/>
                      <a:pt x="2" y="7"/>
                    </a:cubicBezTo>
                    <a:cubicBezTo>
                      <a:pt x="2" y="7"/>
                      <a:pt x="2" y="7"/>
                      <a:pt x="2" y="7"/>
                    </a:cubicBezTo>
                    <a:cubicBezTo>
                      <a:pt x="0" y="8"/>
                      <a:pt x="0" y="11"/>
                      <a:pt x="1" y="13"/>
                    </a:cubicBezTo>
                    <a:cubicBezTo>
                      <a:pt x="2" y="15"/>
                      <a:pt x="4" y="16"/>
                      <a:pt x="6" y="16"/>
                    </a:cubicBezTo>
                    <a:cubicBezTo>
                      <a:pt x="6" y="16"/>
                      <a:pt x="6" y="16"/>
                      <a:pt x="6" y="16"/>
                    </a:cubicBezTo>
                    <a:cubicBezTo>
                      <a:pt x="7" y="16"/>
                      <a:pt x="8" y="16"/>
                      <a:pt x="9" y="15"/>
                    </a:cubicBezTo>
                    <a:cubicBezTo>
                      <a:pt x="11" y="15"/>
                      <a:pt x="12" y="14"/>
                      <a:pt x="12" y="13"/>
                    </a:cubicBezTo>
                    <a:cubicBezTo>
                      <a:pt x="12" y="13"/>
                      <a:pt x="12" y="13"/>
                      <a:pt x="13" y="13"/>
                    </a:cubicBezTo>
                    <a:cubicBezTo>
                      <a:pt x="9" y="12"/>
                      <a:pt x="7" y="8"/>
                      <a:pt x="7" y="4"/>
                    </a:cubicBezTo>
                    <a:cubicBezTo>
                      <a:pt x="7" y="3"/>
                      <a:pt x="7" y="1"/>
                      <a:pt x="7" y="0"/>
                    </a:cubicBezTo>
                    <a:cubicBezTo>
                      <a:pt x="7" y="0"/>
                      <a:pt x="7" y="0"/>
                      <a:pt x="7" y="0"/>
                    </a:cubicBezTo>
                  </a:path>
                </a:pathLst>
              </a:custGeom>
              <a:solidFill>
                <a:srgbClr val="EF827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69" name="Freeform 15">
                <a:extLst>
                  <a:ext uri="{FF2B5EF4-FFF2-40B4-BE49-F238E27FC236}">
                    <a16:creationId xmlns:a16="http://schemas.microsoft.com/office/drawing/2014/main" id="{7D34B51B-A90F-4B0E-8CC2-584044E46C57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6668" y="1806"/>
                <a:ext cx="25" cy="19"/>
              </a:xfrm>
              <a:custGeom>
                <a:avLst/>
                <a:gdLst>
                  <a:gd name="T0" fmla="*/ 14 w 24"/>
                  <a:gd name="T1" fmla="*/ 1 h 18"/>
                  <a:gd name="T2" fmla="*/ 18 w 24"/>
                  <a:gd name="T3" fmla="*/ 8 h 18"/>
                  <a:gd name="T4" fmla="*/ 20 w 24"/>
                  <a:gd name="T5" fmla="*/ 8 h 18"/>
                  <a:gd name="T6" fmla="*/ 24 w 24"/>
                  <a:gd name="T7" fmla="*/ 7 h 18"/>
                  <a:gd name="T8" fmla="*/ 17 w 24"/>
                  <a:gd name="T9" fmla="*/ 2 h 18"/>
                  <a:gd name="T10" fmla="*/ 15 w 24"/>
                  <a:gd name="T11" fmla="*/ 2 h 18"/>
                  <a:gd name="T12" fmla="*/ 15 w 24"/>
                  <a:gd name="T13" fmla="*/ 2 h 18"/>
                  <a:gd name="T14" fmla="*/ 14 w 24"/>
                  <a:gd name="T15" fmla="*/ 2 h 18"/>
                  <a:gd name="T16" fmla="*/ 14 w 24"/>
                  <a:gd name="T17" fmla="*/ 1 h 18"/>
                  <a:gd name="T18" fmla="*/ 7 w 24"/>
                  <a:gd name="T19" fmla="*/ 10 h 18"/>
                  <a:gd name="T20" fmla="*/ 7 w 24"/>
                  <a:gd name="T21" fmla="*/ 10 h 18"/>
                  <a:gd name="T22" fmla="*/ 7 w 24"/>
                  <a:gd name="T23" fmla="*/ 10 h 18"/>
                  <a:gd name="T24" fmla="*/ 7 w 24"/>
                  <a:gd name="T25" fmla="*/ 10 h 18"/>
                  <a:gd name="T26" fmla="*/ 7 w 24"/>
                  <a:gd name="T27" fmla="*/ 10 h 18"/>
                  <a:gd name="T28" fmla="*/ 7 w 24"/>
                  <a:gd name="T29" fmla="*/ 10 h 18"/>
                  <a:gd name="T30" fmla="*/ 7 w 24"/>
                  <a:gd name="T31" fmla="*/ 10 h 18"/>
                  <a:gd name="T32" fmla="*/ 7 w 24"/>
                  <a:gd name="T33" fmla="*/ 10 h 18"/>
                  <a:gd name="T34" fmla="*/ 7 w 24"/>
                  <a:gd name="T35" fmla="*/ 10 h 18"/>
                  <a:gd name="T36" fmla="*/ 7 w 24"/>
                  <a:gd name="T37" fmla="*/ 10 h 18"/>
                  <a:gd name="T38" fmla="*/ 7 w 24"/>
                  <a:gd name="T39" fmla="*/ 10 h 18"/>
                  <a:gd name="T40" fmla="*/ 7 w 24"/>
                  <a:gd name="T41" fmla="*/ 10 h 18"/>
                  <a:gd name="T42" fmla="*/ 8 w 24"/>
                  <a:gd name="T43" fmla="*/ 0 h 18"/>
                  <a:gd name="T44" fmla="*/ 2 w 24"/>
                  <a:gd name="T45" fmla="*/ 9 h 18"/>
                  <a:gd name="T46" fmla="*/ 5 w 24"/>
                  <a:gd name="T47" fmla="*/ 13 h 18"/>
                  <a:gd name="T48" fmla="*/ 8 w 24"/>
                  <a:gd name="T49" fmla="*/ 15 h 18"/>
                  <a:gd name="T50" fmla="*/ 13 w 24"/>
                  <a:gd name="T51" fmla="*/ 18 h 18"/>
                  <a:gd name="T52" fmla="*/ 14 w 24"/>
                  <a:gd name="T53" fmla="*/ 18 h 18"/>
                  <a:gd name="T54" fmla="*/ 17 w 24"/>
                  <a:gd name="T55" fmla="*/ 18 h 18"/>
                  <a:gd name="T56" fmla="*/ 17 w 24"/>
                  <a:gd name="T57" fmla="*/ 18 h 18"/>
                  <a:gd name="T58" fmla="*/ 22 w 24"/>
                  <a:gd name="T59" fmla="*/ 16 h 18"/>
                  <a:gd name="T60" fmla="*/ 22 w 24"/>
                  <a:gd name="T61" fmla="*/ 16 h 18"/>
                  <a:gd name="T62" fmla="*/ 22 w 24"/>
                  <a:gd name="T63" fmla="*/ 15 h 18"/>
                  <a:gd name="T64" fmla="*/ 22 w 24"/>
                  <a:gd name="T65" fmla="*/ 15 h 18"/>
                  <a:gd name="T66" fmla="*/ 21 w 24"/>
                  <a:gd name="T67" fmla="*/ 15 h 18"/>
                  <a:gd name="T68" fmla="*/ 15 w 24"/>
                  <a:gd name="T69" fmla="*/ 13 h 18"/>
                  <a:gd name="T70" fmla="*/ 11 w 24"/>
                  <a:gd name="T71" fmla="*/ 10 h 18"/>
                  <a:gd name="T72" fmla="*/ 8 w 24"/>
                  <a:gd name="T73" fmla="*/ 0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24" h="18">
                    <a:moveTo>
                      <a:pt x="14" y="1"/>
                    </a:moveTo>
                    <a:cubicBezTo>
                      <a:pt x="14" y="4"/>
                      <a:pt x="16" y="6"/>
                      <a:pt x="18" y="8"/>
                    </a:cubicBezTo>
                    <a:cubicBezTo>
                      <a:pt x="19" y="8"/>
                      <a:pt x="20" y="8"/>
                      <a:pt x="20" y="8"/>
                    </a:cubicBezTo>
                    <a:cubicBezTo>
                      <a:pt x="22" y="8"/>
                      <a:pt x="23" y="8"/>
                      <a:pt x="24" y="7"/>
                    </a:cubicBezTo>
                    <a:cubicBezTo>
                      <a:pt x="23" y="4"/>
                      <a:pt x="20" y="2"/>
                      <a:pt x="17" y="2"/>
                    </a:cubicBezTo>
                    <a:cubicBezTo>
                      <a:pt x="16" y="2"/>
                      <a:pt x="16" y="2"/>
                      <a:pt x="15" y="2"/>
                    </a:cubicBezTo>
                    <a:cubicBezTo>
                      <a:pt x="15" y="2"/>
                      <a:pt x="15" y="2"/>
                      <a:pt x="15" y="2"/>
                    </a:cubicBezTo>
                    <a:cubicBezTo>
                      <a:pt x="15" y="2"/>
                      <a:pt x="15" y="2"/>
                      <a:pt x="14" y="2"/>
                    </a:cubicBezTo>
                    <a:cubicBezTo>
                      <a:pt x="14" y="2"/>
                      <a:pt x="14" y="2"/>
                      <a:pt x="14" y="1"/>
                    </a:cubicBezTo>
                    <a:moveTo>
                      <a:pt x="7" y="10"/>
                    </a:moveTo>
                    <a:cubicBezTo>
                      <a:pt x="7" y="10"/>
                      <a:pt x="7" y="10"/>
                      <a:pt x="7" y="10"/>
                    </a:cubicBezTo>
                    <a:cubicBezTo>
                      <a:pt x="7" y="10"/>
                      <a:pt x="7" y="10"/>
                      <a:pt x="7" y="10"/>
                    </a:cubicBezTo>
                    <a:cubicBezTo>
                      <a:pt x="7" y="10"/>
                      <a:pt x="7" y="10"/>
                      <a:pt x="7" y="10"/>
                    </a:cubicBezTo>
                    <a:moveTo>
                      <a:pt x="7" y="10"/>
                    </a:moveTo>
                    <a:cubicBezTo>
                      <a:pt x="7" y="10"/>
                      <a:pt x="7" y="10"/>
                      <a:pt x="7" y="10"/>
                    </a:cubicBezTo>
                    <a:cubicBezTo>
                      <a:pt x="7" y="10"/>
                      <a:pt x="7" y="10"/>
                      <a:pt x="7" y="10"/>
                    </a:cubicBezTo>
                    <a:cubicBezTo>
                      <a:pt x="7" y="10"/>
                      <a:pt x="7" y="10"/>
                      <a:pt x="7" y="10"/>
                    </a:cubicBezTo>
                    <a:cubicBezTo>
                      <a:pt x="7" y="10"/>
                      <a:pt x="7" y="10"/>
                      <a:pt x="7" y="10"/>
                    </a:cubicBezTo>
                    <a:moveTo>
                      <a:pt x="7" y="10"/>
                    </a:moveTo>
                    <a:cubicBezTo>
                      <a:pt x="7" y="10"/>
                      <a:pt x="7" y="10"/>
                      <a:pt x="7" y="10"/>
                    </a:cubicBezTo>
                    <a:cubicBezTo>
                      <a:pt x="7" y="10"/>
                      <a:pt x="7" y="10"/>
                      <a:pt x="7" y="10"/>
                    </a:cubicBezTo>
                    <a:moveTo>
                      <a:pt x="8" y="0"/>
                    </a:moveTo>
                    <a:cubicBezTo>
                      <a:pt x="4" y="1"/>
                      <a:pt x="0" y="5"/>
                      <a:pt x="2" y="9"/>
                    </a:cubicBezTo>
                    <a:cubicBezTo>
                      <a:pt x="2" y="11"/>
                      <a:pt x="4" y="12"/>
                      <a:pt x="5" y="13"/>
                    </a:cubicBezTo>
                    <a:cubicBezTo>
                      <a:pt x="6" y="14"/>
                      <a:pt x="7" y="14"/>
                      <a:pt x="8" y="15"/>
                    </a:cubicBezTo>
                    <a:cubicBezTo>
                      <a:pt x="9" y="17"/>
                      <a:pt x="11" y="18"/>
                      <a:pt x="13" y="18"/>
                    </a:cubicBezTo>
                    <a:cubicBezTo>
                      <a:pt x="13" y="18"/>
                      <a:pt x="13" y="18"/>
                      <a:pt x="14" y="18"/>
                    </a:cubicBezTo>
                    <a:cubicBezTo>
                      <a:pt x="15" y="18"/>
                      <a:pt x="16" y="18"/>
                      <a:pt x="17" y="18"/>
                    </a:cubicBezTo>
                    <a:cubicBezTo>
                      <a:pt x="17" y="18"/>
                      <a:pt x="17" y="18"/>
                      <a:pt x="17" y="18"/>
                    </a:cubicBezTo>
                    <a:cubicBezTo>
                      <a:pt x="19" y="18"/>
                      <a:pt x="21" y="17"/>
                      <a:pt x="22" y="16"/>
                    </a:cubicBezTo>
                    <a:cubicBezTo>
                      <a:pt x="22" y="16"/>
                      <a:pt x="22" y="16"/>
                      <a:pt x="22" y="16"/>
                    </a:cubicBezTo>
                    <a:cubicBezTo>
                      <a:pt x="22" y="15"/>
                      <a:pt x="22" y="15"/>
                      <a:pt x="22" y="15"/>
                    </a:cubicBezTo>
                    <a:cubicBezTo>
                      <a:pt x="22" y="15"/>
                      <a:pt x="22" y="15"/>
                      <a:pt x="22" y="15"/>
                    </a:cubicBezTo>
                    <a:cubicBezTo>
                      <a:pt x="21" y="15"/>
                      <a:pt x="21" y="15"/>
                      <a:pt x="21" y="15"/>
                    </a:cubicBezTo>
                    <a:cubicBezTo>
                      <a:pt x="19" y="15"/>
                      <a:pt x="16" y="14"/>
                      <a:pt x="15" y="13"/>
                    </a:cubicBezTo>
                    <a:cubicBezTo>
                      <a:pt x="14" y="12"/>
                      <a:pt x="12" y="11"/>
                      <a:pt x="11" y="10"/>
                    </a:cubicBezTo>
                    <a:cubicBezTo>
                      <a:pt x="9" y="7"/>
                      <a:pt x="8" y="4"/>
                      <a:pt x="8" y="0"/>
                    </a:cubicBezTo>
                  </a:path>
                </a:pathLst>
              </a:custGeom>
              <a:solidFill>
                <a:srgbClr val="EF827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70" name="Freeform 16">
                <a:extLst>
                  <a:ext uri="{FF2B5EF4-FFF2-40B4-BE49-F238E27FC236}">
                    <a16:creationId xmlns:a16="http://schemas.microsoft.com/office/drawing/2014/main" id="{9F77DDFC-7241-49B3-9E67-6768565E21EB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6665" y="1897"/>
                <a:ext cx="77" cy="68"/>
              </a:xfrm>
              <a:custGeom>
                <a:avLst/>
                <a:gdLst>
                  <a:gd name="T0" fmla="*/ 22 w 73"/>
                  <a:gd name="T1" fmla="*/ 2 h 64"/>
                  <a:gd name="T2" fmla="*/ 22 w 73"/>
                  <a:gd name="T3" fmla="*/ 2 h 64"/>
                  <a:gd name="T4" fmla="*/ 21 w 73"/>
                  <a:gd name="T5" fmla="*/ 2 h 64"/>
                  <a:gd name="T6" fmla="*/ 27 w 73"/>
                  <a:gd name="T7" fmla="*/ 11 h 64"/>
                  <a:gd name="T8" fmla="*/ 31 w 73"/>
                  <a:gd name="T9" fmla="*/ 16 h 64"/>
                  <a:gd name="T10" fmla="*/ 66 w 73"/>
                  <a:gd name="T11" fmla="*/ 48 h 64"/>
                  <a:gd name="T12" fmla="*/ 67 w 73"/>
                  <a:gd name="T13" fmla="*/ 54 h 64"/>
                  <a:gd name="T14" fmla="*/ 73 w 73"/>
                  <a:gd name="T15" fmla="*/ 51 h 64"/>
                  <a:gd name="T16" fmla="*/ 70 w 73"/>
                  <a:gd name="T17" fmla="*/ 43 h 64"/>
                  <a:gd name="T18" fmla="*/ 63 w 73"/>
                  <a:gd name="T19" fmla="*/ 31 h 64"/>
                  <a:gd name="T20" fmla="*/ 44 w 73"/>
                  <a:gd name="T21" fmla="*/ 12 h 64"/>
                  <a:gd name="T22" fmla="*/ 25 w 73"/>
                  <a:gd name="T23" fmla="*/ 2 h 64"/>
                  <a:gd name="T24" fmla="*/ 22 w 73"/>
                  <a:gd name="T25" fmla="*/ 2 h 64"/>
                  <a:gd name="T26" fmla="*/ 11 w 73"/>
                  <a:gd name="T27" fmla="*/ 0 h 64"/>
                  <a:gd name="T28" fmla="*/ 6 w 73"/>
                  <a:gd name="T29" fmla="*/ 14 h 64"/>
                  <a:gd name="T30" fmla="*/ 26 w 73"/>
                  <a:gd name="T31" fmla="*/ 30 h 64"/>
                  <a:gd name="T32" fmla="*/ 36 w 73"/>
                  <a:gd name="T33" fmla="*/ 38 h 64"/>
                  <a:gd name="T34" fmla="*/ 40 w 73"/>
                  <a:gd name="T35" fmla="*/ 45 h 64"/>
                  <a:gd name="T36" fmla="*/ 53 w 73"/>
                  <a:gd name="T37" fmla="*/ 58 h 64"/>
                  <a:gd name="T38" fmla="*/ 56 w 73"/>
                  <a:gd name="T39" fmla="*/ 59 h 64"/>
                  <a:gd name="T40" fmla="*/ 58 w 73"/>
                  <a:gd name="T41" fmla="*/ 59 h 64"/>
                  <a:gd name="T42" fmla="*/ 58 w 73"/>
                  <a:gd name="T43" fmla="*/ 59 h 64"/>
                  <a:gd name="T44" fmla="*/ 58 w 73"/>
                  <a:gd name="T45" fmla="*/ 59 h 64"/>
                  <a:gd name="T46" fmla="*/ 59 w 73"/>
                  <a:gd name="T47" fmla="*/ 60 h 64"/>
                  <a:gd name="T48" fmla="*/ 63 w 73"/>
                  <a:gd name="T49" fmla="*/ 64 h 64"/>
                  <a:gd name="T50" fmla="*/ 63 w 73"/>
                  <a:gd name="T51" fmla="*/ 63 h 64"/>
                  <a:gd name="T52" fmla="*/ 73 w 73"/>
                  <a:gd name="T53" fmla="*/ 58 h 64"/>
                  <a:gd name="T54" fmla="*/ 61 w 73"/>
                  <a:gd name="T55" fmla="*/ 59 h 64"/>
                  <a:gd name="T56" fmla="*/ 61 w 73"/>
                  <a:gd name="T57" fmla="*/ 59 h 64"/>
                  <a:gd name="T58" fmla="*/ 61 w 73"/>
                  <a:gd name="T59" fmla="*/ 56 h 64"/>
                  <a:gd name="T60" fmla="*/ 65 w 73"/>
                  <a:gd name="T61" fmla="*/ 54 h 64"/>
                  <a:gd name="T62" fmla="*/ 63 w 73"/>
                  <a:gd name="T63" fmla="*/ 54 h 64"/>
                  <a:gd name="T64" fmla="*/ 35 w 73"/>
                  <a:gd name="T65" fmla="*/ 29 h 64"/>
                  <a:gd name="T66" fmla="*/ 17 w 73"/>
                  <a:gd name="T67" fmla="*/ 6 h 64"/>
                  <a:gd name="T68" fmla="*/ 15 w 73"/>
                  <a:gd name="T69" fmla="*/ 1 h 64"/>
                  <a:gd name="T70" fmla="*/ 14 w 73"/>
                  <a:gd name="T71" fmla="*/ 1 h 64"/>
                  <a:gd name="T72" fmla="*/ 11 w 73"/>
                  <a:gd name="T73" fmla="*/ 0 h 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73" h="64">
                    <a:moveTo>
                      <a:pt x="22" y="2"/>
                    </a:moveTo>
                    <a:cubicBezTo>
                      <a:pt x="22" y="2"/>
                      <a:pt x="22" y="2"/>
                      <a:pt x="22" y="2"/>
                    </a:cubicBezTo>
                    <a:cubicBezTo>
                      <a:pt x="22" y="2"/>
                      <a:pt x="21" y="2"/>
                      <a:pt x="21" y="2"/>
                    </a:cubicBezTo>
                    <a:cubicBezTo>
                      <a:pt x="22" y="5"/>
                      <a:pt x="25" y="9"/>
                      <a:pt x="27" y="11"/>
                    </a:cubicBezTo>
                    <a:cubicBezTo>
                      <a:pt x="28" y="13"/>
                      <a:pt x="30" y="14"/>
                      <a:pt x="31" y="16"/>
                    </a:cubicBezTo>
                    <a:cubicBezTo>
                      <a:pt x="42" y="28"/>
                      <a:pt x="52" y="39"/>
                      <a:pt x="66" y="48"/>
                    </a:cubicBezTo>
                    <a:cubicBezTo>
                      <a:pt x="69" y="49"/>
                      <a:pt x="68" y="52"/>
                      <a:pt x="67" y="54"/>
                    </a:cubicBezTo>
                    <a:cubicBezTo>
                      <a:pt x="69" y="53"/>
                      <a:pt x="71" y="52"/>
                      <a:pt x="73" y="51"/>
                    </a:cubicBezTo>
                    <a:cubicBezTo>
                      <a:pt x="73" y="48"/>
                      <a:pt x="72" y="45"/>
                      <a:pt x="70" y="43"/>
                    </a:cubicBezTo>
                    <a:cubicBezTo>
                      <a:pt x="68" y="38"/>
                      <a:pt x="66" y="34"/>
                      <a:pt x="63" y="31"/>
                    </a:cubicBezTo>
                    <a:cubicBezTo>
                      <a:pt x="58" y="24"/>
                      <a:pt x="50" y="18"/>
                      <a:pt x="44" y="12"/>
                    </a:cubicBezTo>
                    <a:cubicBezTo>
                      <a:pt x="38" y="7"/>
                      <a:pt x="32" y="2"/>
                      <a:pt x="25" y="2"/>
                    </a:cubicBezTo>
                    <a:cubicBezTo>
                      <a:pt x="24" y="2"/>
                      <a:pt x="23" y="2"/>
                      <a:pt x="22" y="2"/>
                    </a:cubicBezTo>
                    <a:moveTo>
                      <a:pt x="11" y="0"/>
                    </a:moveTo>
                    <a:cubicBezTo>
                      <a:pt x="5" y="0"/>
                      <a:pt x="0" y="9"/>
                      <a:pt x="6" y="14"/>
                    </a:cubicBezTo>
                    <a:cubicBezTo>
                      <a:pt x="13" y="19"/>
                      <a:pt x="20" y="25"/>
                      <a:pt x="26" y="30"/>
                    </a:cubicBezTo>
                    <a:cubicBezTo>
                      <a:pt x="29" y="33"/>
                      <a:pt x="32" y="36"/>
                      <a:pt x="36" y="38"/>
                    </a:cubicBezTo>
                    <a:cubicBezTo>
                      <a:pt x="37" y="41"/>
                      <a:pt x="39" y="43"/>
                      <a:pt x="40" y="45"/>
                    </a:cubicBezTo>
                    <a:cubicBezTo>
                      <a:pt x="44" y="50"/>
                      <a:pt x="48" y="55"/>
                      <a:pt x="53" y="58"/>
                    </a:cubicBezTo>
                    <a:cubicBezTo>
                      <a:pt x="54" y="59"/>
                      <a:pt x="55" y="59"/>
                      <a:pt x="56" y="59"/>
                    </a:cubicBezTo>
                    <a:cubicBezTo>
                      <a:pt x="57" y="59"/>
                      <a:pt x="58" y="59"/>
                      <a:pt x="58" y="59"/>
                    </a:cubicBezTo>
                    <a:cubicBezTo>
                      <a:pt x="58" y="59"/>
                      <a:pt x="58" y="59"/>
                      <a:pt x="58" y="59"/>
                    </a:cubicBezTo>
                    <a:cubicBezTo>
                      <a:pt x="58" y="59"/>
                      <a:pt x="58" y="59"/>
                      <a:pt x="58" y="59"/>
                    </a:cubicBezTo>
                    <a:cubicBezTo>
                      <a:pt x="58" y="60"/>
                      <a:pt x="58" y="60"/>
                      <a:pt x="59" y="60"/>
                    </a:cubicBezTo>
                    <a:cubicBezTo>
                      <a:pt x="59" y="62"/>
                      <a:pt x="61" y="64"/>
                      <a:pt x="63" y="64"/>
                    </a:cubicBezTo>
                    <a:cubicBezTo>
                      <a:pt x="63" y="64"/>
                      <a:pt x="63" y="63"/>
                      <a:pt x="63" y="63"/>
                    </a:cubicBezTo>
                    <a:cubicBezTo>
                      <a:pt x="68" y="63"/>
                      <a:pt x="71" y="61"/>
                      <a:pt x="73" y="58"/>
                    </a:cubicBezTo>
                    <a:cubicBezTo>
                      <a:pt x="69" y="58"/>
                      <a:pt x="65" y="58"/>
                      <a:pt x="61" y="59"/>
                    </a:cubicBezTo>
                    <a:cubicBezTo>
                      <a:pt x="61" y="59"/>
                      <a:pt x="61" y="59"/>
                      <a:pt x="61" y="59"/>
                    </a:cubicBezTo>
                    <a:cubicBezTo>
                      <a:pt x="60" y="59"/>
                      <a:pt x="59" y="57"/>
                      <a:pt x="61" y="56"/>
                    </a:cubicBezTo>
                    <a:cubicBezTo>
                      <a:pt x="62" y="55"/>
                      <a:pt x="63" y="55"/>
                      <a:pt x="65" y="54"/>
                    </a:cubicBezTo>
                    <a:cubicBezTo>
                      <a:pt x="64" y="54"/>
                      <a:pt x="64" y="54"/>
                      <a:pt x="63" y="54"/>
                    </a:cubicBezTo>
                    <a:cubicBezTo>
                      <a:pt x="53" y="48"/>
                      <a:pt x="43" y="39"/>
                      <a:pt x="35" y="29"/>
                    </a:cubicBezTo>
                    <a:cubicBezTo>
                      <a:pt x="29" y="22"/>
                      <a:pt x="21" y="15"/>
                      <a:pt x="17" y="6"/>
                    </a:cubicBezTo>
                    <a:cubicBezTo>
                      <a:pt x="16" y="4"/>
                      <a:pt x="15" y="3"/>
                      <a:pt x="15" y="1"/>
                    </a:cubicBezTo>
                    <a:cubicBezTo>
                      <a:pt x="15" y="1"/>
                      <a:pt x="14" y="1"/>
                      <a:pt x="14" y="1"/>
                    </a:cubicBezTo>
                    <a:cubicBezTo>
                      <a:pt x="13" y="0"/>
                      <a:pt x="12" y="0"/>
                      <a:pt x="11" y="0"/>
                    </a:cubicBezTo>
                  </a:path>
                </a:pathLst>
              </a:custGeom>
              <a:solidFill>
                <a:srgbClr val="EF827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71" name="Freeform 17">
                <a:extLst>
                  <a:ext uri="{FF2B5EF4-FFF2-40B4-BE49-F238E27FC236}">
                    <a16:creationId xmlns:a16="http://schemas.microsoft.com/office/drawing/2014/main" id="{D9B43BB7-AB16-4CB1-B81F-07151990A07D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6834" y="1836"/>
                <a:ext cx="23" cy="21"/>
              </a:xfrm>
              <a:custGeom>
                <a:avLst/>
                <a:gdLst>
                  <a:gd name="T0" fmla="*/ 11 w 21"/>
                  <a:gd name="T1" fmla="*/ 0 h 20"/>
                  <a:gd name="T2" fmla="*/ 15 w 21"/>
                  <a:gd name="T3" fmla="*/ 8 h 20"/>
                  <a:gd name="T4" fmla="*/ 16 w 21"/>
                  <a:gd name="T5" fmla="*/ 8 h 20"/>
                  <a:gd name="T6" fmla="*/ 19 w 21"/>
                  <a:gd name="T7" fmla="*/ 8 h 20"/>
                  <a:gd name="T8" fmla="*/ 19 w 21"/>
                  <a:gd name="T9" fmla="*/ 7 h 20"/>
                  <a:gd name="T10" fmla="*/ 18 w 21"/>
                  <a:gd name="T11" fmla="*/ 6 h 20"/>
                  <a:gd name="T12" fmla="*/ 16 w 21"/>
                  <a:gd name="T13" fmla="*/ 4 h 20"/>
                  <a:gd name="T14" fmla="*/ 13 w 21"/>
                  <a:gd name="T15" fmla="*/ 1 h 20"/>
                  <a:gd name="T16" fmla="*/ 11 w 21"/>
                  <a:gd name="T17" fmla="*/ 0 h 20"/>
                  <a:gd name="T18" fmla="*/ 8 w 21"/>
                  <a:gd name="T19" fmla="*/ 12 h 20"/>
                  <a:gd name="T20" fmla="*/ 8 w 21"/>
                  <a:gd name="T21" fmla="*/ 11 h 20"/>
                  <a:gd name="T22" fmla="*/ 8 w 21"/>
                  <a:gd name="T23" fmla="*/ 11 h 20"/>
                  <a:gd name="T24" fmla="*/ 8 w 21"/>
                  <a:gd name="T25" fmla="*/ 12 h 20"/>
                  <a:gd name="T26" fmla="*/ 7 w 21"/>
                  <a:gd name="T27" fmla="*/ 0 h 20"/>
                  <a:gd name="T28" fmla="*/ 1 w 21"/>
                  <a:gd name="T29" fmla="*/ 5 h 20"/>
                  <a:gd name="T30" fmla="*/ 3 w 21"/>
                  <a:gd name="T31" fmla="*/ 13 h 20"/>
                  <a:gd name="T32" fmla="*/ 6 w 21"/>
                  <a:gd name="T33" fmla="*/ 16 h 20"/>
                  <a:gd name="T34" fmla="*/ 9 w 21"/>
                  <a:gd name="T35" fmla="*/ 19 h 20"/>
                  <a:gd name="T36" fmla="*/ 13 w 21"/>
                  <a:gd name="T37" fmla="*/ 20 h 20"/>
                  <a:gd name="T38" fmla="*/ 15 w 21"/>
                  <a:gd name="T39" fmla="*/ 20 h 20"/>
                  <a:gd name="T40" fmla="*/ 19 w 21"/>
                  <a:gd name="T41" fmla="*/ 19 h 20"/>
                  <a:gd name="T42" fmla="*/ 21 w 21"/>
                  <a:gd name="T43" fmla="*/ 12 h 20"/>
                  <a:gd name="T44" fmla="*/ 21 w 21"/>
                  <a:gd name="T45" fmla="*/ 12 h 20"/>
                  <a:gd name="T46" fmla="*/ 18 w 21"/>
                  <a:gd name="T47" fmla="*/ 13 h 20"/>
                  <a:gd name="T48" fmla="*/ 12 w 21"/>
                  <a:gd name="T49" fmla="*/ 11 h 20"/>
                  <a:gd name="T50" fmla="*/ 7 w 21"/>
                  <a:gd name="T51" fmla="*/ 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1" h="20">
                    <a:moveTo>
                      <a:pt x="11" y="0"/>
                    </a:moveTo>
                    <a:cubicBezTo>
                      <a:pt x="10" y="3"/>
                      <a:pt x="12" y="7"/>
                      <a:pt x="15" y="8"/>
                    </a:cubicBezTo>
                    <a:cubicBezTo>
                      <a:pt x="15" y="8"/>
                      <a:pt x="16" y="8"/>
                      <a:pt x="16" y="8"/>
                    </a:cubicBezTo>
                    <a:cubicBezTo>
                      <a:pt x="17" y="8"/>
                      <a:pt x="18" y="8"/>
                      <a:pt x="19" y="8"/>
                    </a:cubicBezTo>
                    <a:cubicBezTo>
                      <a:pt x="19" y="8"/>
                      <a:pt x="19" y="7"/>
                      <a:pt x="19" y="7"/>
                    </a:cubicBezTo>
                    <a:cubicBezTo>
                      <a:pt x="18" y="7"/>
                      <a:pt x="18" y="6"/>
                      <a:pt x="18" y="6"/>
                    </a:cubicBezTo>
                    <a:cubicBezTo>
                      <a:pt x="17" y="5"/>
                      <a:pt x="17" y="4"/>
                      <a:pt x="16" y="4"/>
                    </a:cubicBezTo>
                    <a:cubicBezTo>
                      <a:pt x="15" y="3"/>
                      <a:pt x="14" y="2"/>
                      <a:pt x="13" y="1"/>
                    </a:cubicBezTo>
                    <a:cubicBezTo>
                      <a:pt x="12" y="1"/>
                      <a:pt x="12" y="1"/>
                      <a:pt x="11" y="0"/>
                    </a:cubicBezTo>
                    <a:moveTo>
                      <a:pt x="8" y="12"/>
                    </a:moveTo>
                    <a:cubicBezTo>
                      <a:pt x="8" y="11"/>
                      <a:pt x="8" y="11"/>
                      <a:pt x="8" y="11"/>
                    </a:cubicBezTo>
                    <a:cubicBezTo>
                      <a:pt x="8" y="11"/>
                      <a:pt x="8" y="11"/>
                      <a:pt x="8" y="11"/>
                    </a:cubicBezTo>
                    <a:cubicBezTo>
                      <a:pt x="8" y="11"/>
                      <a:pt x="8" y="11"/>
                      <a:pt x="8" y="12"/>
                    </a:cubicBezTo>
                    <a:moveTo>
                      <a:pt x="7" y="0"/>
                    </a:moveTo>
                    <a:cubicBezTo>
                      <a:pt x="4" y="0"/>
                      <a:pt x="1" y="2"/>
                      <a:pt x="1" y="5"/>
                    </a:cubicBezTo>
                    <a:cubicBezTo>
                      <a:pt x="0" y="8"/>
                      <a:pt x="1" y="11"/>
                      <a:pt x="3" y="13"/>
                    </a:cubicBezTo>
                    <a:cubicBezTo>
                      <a:pt x="4" y="14"/>
                      <a:pt x="5" y="15"/>
                      <a:pt x="6" y="16"/>
                    </a:cubicBezTo>
                    <a:cubicBezTo>
                      <a:pt x="7" y="17"/>
                      <a:pt x="8" y="18"/>
                      <a:pt x="9" y="19"/>
                    </a:cubicBezTo>
                    <a:cubicBezTo>
                      <a:pt x="10" y="19"/>
                      <a:pt x="12" y="20"/>
                      <a:pt x="13" y="20"/>
                    </a:cubicBezTo>
                    <a:cubicBezTo>
                      <a:pt x="13" y="20"/>
                      <a:pt x="14" y="20"/>
                      <a:pt x="15" y="20"/>
                    </a:cubicBezTo>
                    <a:cubicBezTo>
                      <a:pt x="16" y="20"/>
                      <a:pt x="18" y="20"/>
                      <a:pt x="19" y="19"/>
                    </a:cubicBezTo>
                    <a:cubicBezTo>
                      <a:pt x="21" y="17"/>
                      <a:pt x="21" y="15"/>
                      <a:pt x="21" y="12"/>
                    </a:cubicBezTo>
                    <a:cubicBezTo>
                      <a:pt x="21" y="12"/>
                      <a:pt x="21" y="12"/>
                      <a:pt x="21" y="12"/>
                    </a:cubicBezTo>
                    <a:cubicBezTo>
                      <a:pt x="20" y="12"/>
                      <a:pt x="19" y="13"/>
                      <a:pt x="18" y="13"/>
                    </a:cubicBezTo>
                    <a:cubicBezTo>
                      <a:pt x="16" y="13"/>
                      <a:pt x="14" y="12"/>
                      <a:pt x="12" y="11"/>
                    </a:cubicBezTo>
                    <a:cubicBezTo>
                      <a:pt x="8" y="9"/>
                      <a:pt x="6" y="4"/>
                      <a:pt x="7" y="0"/>
                    </a:cubicBezTo>
                  </a:path>
                </a:pathLst>
              </a:custGeom>
              <a:solidFill>
                <a:srgbClr val="EF827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72" name="Freeform 18">
                <a:extLst>
                  <a:ext uri="{FF2B5EF4-FFF2-40B4-BE49-F238E27FC236}">
                    <a16:creationId xmlns:a16="http://schemas.microsoft.com/office/drawing/2014/main" id="{5ACC2C5E-B63B-437F-8CB3-D67F600040D6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212" y="1904"/>
                <a:ext cx="646" cy="174"/>
              </a:xfrm>
              <a:custGeom>
                <a:avLst/>
                <a:gdLst>
                  <a:gd name="T0" fmla="*/ 2 w 609"/>
                  <a:gd name="T1" fmla="*/ 0 h 164"/>
                  <a:gd name="T2" fmla="*/ 0 w 609"/>
                  <a:gd name="T3" fmla="*/ 2 h 164"/>
                  <a:gd name="T4" fmla="*/ 38 w 609"/>
                  <a:gd name="T5" fmla="*/ 72 h 164"/>
                  <a:gd name="T6" fmla="*/ 94 w 609"/>
                  <a:gd name="T7" fmla="*/ 119 h 164"/>
                  <a:gd name="T8" fmla="*/ 214 w 609"/>
                  <a:gd name="T9" fmla="*/ 160 h 164"/>
                  <a:gd name="T10" fmla="*/ 240 w 609"/>
                  <a:gd name="T11" fmla="*/ 158 h 164"/>
                  <a:gd name="T12" fmla="*/ 327 w 609"/>
                  <a:gd name="T13" fmla="*/ 132 h 164"/>
                  <a:gd name="T14" fmla="*/ 339 w 609"/>
                  <a:gd name="T15" fmla="*/ 131 h 164"/>
                  <a:gd name="T16" fmla="*/ 418 w 609"/>
                  <a:gd name="T17" fmla="*/ 141 h 164"/>
                  <a:gd name="T18" fmla="*/ 510 w 609"/>
                  <a:gd name="T19" fmla="*/ 151 h 164"/>
                  <a:gd name="T20" fmla="*/ 602 w 609"/>
                  <a:gd name="T21" fmla="*/ 164 h 164"/>
                  <a:gd name="T22" fmla="*/ 598 w 609"/>
                  <a:gd name="T23" fmla="*/ 162 h 164"/>
                  <a:gd name="T24" fmla="*/ 599 w 609"/>
                  <a:gd name="T25" fmla="*/ 158 h 164"/>
                  <a:gd name="T26" fmla="*/ 600 w 609"/>
                  <a:gd name="T27" fmla="*/ 158 h 164"/>
                  <a:gd name="T28" fmla="*/ 608 w 609"/>
                  <a:gd name="T29" fmla="*/ 161 h 164"/>
                  <a:gd name="T30" fmla="*/ 604 w 609"/>
                  <a:gd name="T31" fmla="*/ 154 h 164"/>
                  <a:gd name="T32" fmla="*/ 451 w 609"/>
                  <a:gd name="T33" fmla="*/ 134 h 164"/>
                  <a:gd name="T34" fmla="*/ 365 w 609"/>
                  <a:gd name="T35" fmla="*/ 123 h 164"/>
                  <a:gd name="T36" fmla="*/ 338 w 609"/>
                  <a:gd name="T37" fmla="*/ 121 h 164"/>
                  <a:gd name="T38" fmla="*/ 294 w 609"/>
                  <a:gd name="T39" fmla="*/ 128 h 164"/>
                  <a:gd name="T40" fmla="*/ 219 w 609"/>
                  <a:gd name="T41" fmla="*/ 150 h 164"/>
                  <a:gd name="T42" fmla="*/ 211 w 609"/>
                  <a:gd name="T43" fmla="*/ 150 h 164"/>
                  <a:gd name="T44" fmla="*/ 142 w 609"/>
                  <a:gd name="T45" fmla="*/ 132 h 164"/>
                  <a:gd name="T46" fmla="*/ 79 w 609"/>
                  <a:gd name="T47" fmla="*/ 97 h 164"/>
                  <a:gd name="T48" fmla="*/ 4 w 609"/>
                  <a:gd name="T49" fmla="*/ 1 h 164"/>
                  <a:gd name="T50" fmla="*/ 2 w 609"/>
                  <a:gd name="T51" fmla="*/ 0 h 1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609" h="164">
                    <a:moveTo>
                      <a:pt x="2" y="0"/>
                    </a:moveTo>
                    <a:cubicBezTo>
                      <a:pt x="1" y="0"/>
                      <a:pt x="0" y="1"/>
                      <a:pt x="0" y="2"/>
                    </a:cubicBezTo>
                    <a:cubicBezTo>
                      <a:pt x="9" y="28"/>
                      <a:pt x="20" y="52"/>
                      <a:pt x="38" y="72"/>
                    </a:cubicBezTo>
                    <a:cubicBezTo>
                      <a:pt x="55" y="89"/>
                      <a:pt x="75" y="105"/>
                      <a:pt x="94" y="119"/>
                    </a:cubicBezTo>
                    <a:cubicBezTo>
                      <a:pt x="127" y="142"/>
                      <a:pt x="172" y="160"/>
                      <a:pt x="214" y="160"/>
                    </a:cubicBezTo>
                    <a:cubicBezTo>
                      <a:pt x="223" y="160"/>
                      <a:pt x="231" y="160"/>
                      <a:pt x="240" y="158"/>
                    </a:cubicBezTo>
                    <a:cubicBezTo>
                      <a:pt x="269" y="152"/>
                      <a:pt x="296" y="135"/>
                      <a:pt x="327" y="132"/>
                    </a:cubicBezTo>
                    <a:cubicBezTo>
                      <a:pt x="331" y="131"/>
                      <a:pt x="335" y="131"/>
                      <a:pt x="339" y="131"/>
                    </a:cubicBezTo>
                    <a:cubicBezTo>
                      <a:pt x="365" y="131"/>
                      <a:pt x="392" y="139"/>
                      <a:pt x="418" y="141"/>
                    </a:cubicBezTo>
                    <a:cubicBezTo>
                      <a:pt x="449" y="144"/>
                      <a:pt x="479" y="147"/>
                      <a:pt x="510" y="151"/>
                    </a:cubicBezTo>
                    <a:cubicBezTo>
                      <a:pt x="541" y="154"/>
                      <a:pt x="571" y="161"/>
                      <a:pt x="602" y="164"/>
                    </a:cubicBezTo>
                    <a:cubicBezTo>
                      <a:pt x="601" y="163"/>
                      <a:pt x="600" y="162"/>
                      <a:pt x="598" y="162"/>
                    </a:cubicBezTo>
                    <a:cubicBezTo>
                      <a:pt x="596" y="160"/>
                      <a:pt x="597" y="158"/>
                      <a:pt x="599" y="158"/>
                    </a:cubicBezTo>
                    <a:cubicBezTo>
                      <a:pt x="600" y="158"/>
                      <a:pt x="600" y="158"/>
                      <a:pt x="600" y="158"/>
                    </a:cubicBezTo>
                    <a:cubicBezTo>
                      <a:pt x="603" y="159"/>
                      <a:pt x="605" y="160"/>
                      <a:pt x="608" y="161"/>
                    </a:cubicBezTo>
                    <a:cubicBezTo>
                      <a:pt x="609" y="158"/>
                      <a:pt x="608" y="154"/>
                      <a:pt x="604" y="154"/>
                    </a:cubicBezTo>
                    <a:cubicBezTo>
                      <a:pt x="553" y="146"/>
                      <a:pt x="502" y="139"/>
                      <a:pt x="451" y="134"/>
                    </a:cubicBezTo>
                    <a:cubicBezTo>
                      <a:pt x="423" y="131"/>
                      <a:pt x="394" y="128"/>
                      <a:pt x="365" y="123"/>
                    </a:cubicBezTo>
                    <a:cubicBezTo>
                      <a:pt x="356" y="122"/>
                      <a:pt x="347" y="121"/>
                      <a:pt x="338" y="121"/>
                    </a:cubicBezTo>
                    <a:cubicBezTo>
                      <a:pt x="323" y="121"/>
                      <a:pt x="309" y="123"/>
                      <a:pt x="294" y="128"/>
                    </a:cubicBezTo>
                    <a:cubicBezTo>
                      <a:pt x="269" y="137"/>
                      <a:pt x="245" y="148"/>
                      <a:pt x="219" y="150"/>
                    </a:cubicBezTo>
                    <a:cubicBezTo>
                      <a:pt x="216" y="150"/>
                      <a:pt x="214" y="150"/>
                      <a:pt x="211" y="150"/>
                    </a:cubicBezTo>
                    <a:cubicBezTo>
                      <a:pt x="188" y="150"/>
                      <a:pt x="163" y="140"/>
                      <a:pt x="142" y="132"/>
                    </a:cubicBezTo>
                    <a:cubicBezTo>
                      <a:pt x="119" y="122"/>
                      <a:pt x="99" y="112"/>
                      <a:pt x="79" y="97"/>
                    </a:cubicBezTo>
                    <a:cubicBezTo>
                      <a:pt x="42" y="71"/>
                      <a:pt x="21" y="47"/>
                      <a:pt x="4" y="1"/>
                    </a:cubicBezTo>
                    <a:cubicBezTo>
                      <a:pt x="3" y="0"/>
                      <a:pt x="3" y="0"/>
                      <a:pt x="2" y="0"/>
                    </a:cubicBezTo>
                  </a:path>
                </a:pathLst>
              </a:custGeom>
              <a:solidFill>
                <a:srgbClr val="544D4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73" name="Freeform 19">
                <a:extLst>
                  <a:ext uri="{FF2B5EF4-FFF2-40B4-BE49-F238E27FC236}">
                    <a16:creationId xmlns:a16="http://schemas.microsoft.com/office/drawing/2014/main" id="{05F04794-2AF1-400A-BEB3-33784AC88E67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6844" y="1758"/>
                <a:ext cx="405" cy="403"/>
              </a:xfrm>
              <a:custGeom>
                <a:avLst/>
                <a:gdLst>
                  <a:gd name="T0" fmla="*/ 363 w 382"/>
                  <a:gd name="T1" fmla="*/ 262 h 380"/>
                  <a:gd name="T2" fmla="*/ 326 w 382"/>
                  <a:gd name="T3" fmla="*/ 317 h 380"/>
                  <a:gd name="T4" fmla="*/ 249 w 382"/>
                  <a:gd name="T5" fmla="*/ 369 h 380"/>
                  <a:gd name="T6" fmla="*/ 209 w 382"/>
                  <a:gd name="T7" fmla="*/ 373 h 380"/>
                  <a:gd name="T8" fmla="*/ 158 w 382"/>
                  <a:gd name="T9" fmla="*/ 369 h 380"/>
                  <a:gd name="T10" fmla="*/ 80 w 382"/>
                  <a:gd name="T11" fmla="*/ 343 h 380"/>
                  <a:gd name="T12" fmla="*/ 12 w 382"/>
                  <a:gd name="T13" fmla="*/ 299 h 380"/>
                  <a:gd name="T14" fmla="*/ 4 w 382"/>
                  <a:gd name="T15" fmla="*/ 296 h 380"/>
                  <a:gd name="T16" fmla="*/ 3 w 382"/>
                  <a:gd name="T17" fmla="*/ 296 h 380"/>
                  <a:gd name="T18" fmla="*/ 2 w 382"/>
                  <a:gd name="T19" fmla="*/ 300 h 380"/>
                  <a:gd name="T20" fmla="*/ 6 w 382"/>
                  <a:gd name="T21" fmla="*/ 302 h 380"/>
                  <a:gd name="T22" fmla="*/ 86 w 382"/>
                  <a:gd name="T23" fmla="*/ 354 h 380"/>
                  <a:gd name="T24" fmla="*/ 167 w 382"/>
                  <a:gd name="T25" fmla="*/ 377 h 380"/>
                  <a:gd name="T26" fmla="*/ 211 w 382"/>
                  <a:gd name="T27" fmla="*/ 380 h 380"/>
                  <a:gd name="T28" fmla="*/ 261 w 382"/>
                  <a:gd name="T29" fmla="*/ 372 h 380"/>
                  <a:gd name="T30" fmla="*/ 284 w 382"/>
                  <a:gd name="T31" fmla="*/ 360 h 380"/>
                  <a:gd name="T32" fmla="*/ 284 w 382"/>
                  <a:gd name="T33" fmla="*/ 360 h 380"/>
                  <a:gd name="T34" fmla="*/ 333 w 382"/>
                  <a:gd name="T35" fmla="*/ 319 h 380"/>
                  <a:gd name="T36" fmla="*/ 355 w 382"/>
                  <a:gd name="T37" fmla="*/ 293 h 380"/>
                  <a:gd name="T38" fmla="*/ 363 w 382"/>
                  <a:gd name="T39" fmla="*/ 262 h 380"/>
                  <a:gd name="T40" fmla="*/ 281 w 382"/>
                  <a:gd name="T41" fmla="*/ 0 h 380"/>
                  <a:gd name="T42" fmla="*/ 279 w 382"/>
                  <a:gd name="T43" fmla="*/ 1 h 380"/>
                  <a:gd name="T44" fmla="*/ 283 w 382"/>
                  <a:gd name="T45" fmla="*/ 3 h 380"/>
                  <a:gd name="T46" fmla="*/ 281 w 382"/>
                  <a:gd name="T47" fmla="*/ 11 h 380"/>
                  <a:gd name="T48" fmla="*/ 329 w 382"/>
                  <a:gd name="T49" fmla="*/ 62 h 380"/>
                  <a:gd name="T50" fmla="*/ 366 w 382"/>
                  <a:gd name="T51" fmla="*/ 153 h 380"/>
                  <a:gd name="T52" fmla="*/ 370 w 382"/>
                  <a:gd name="T53" fmla="*/ 229 h 380"/>
                  <a:gd name="T54" fmla="*/ 372 w 382"/>
                  <a:gd name="T55" fmla="*/ 228 h 380"/>
                  <a:gd name="T56" fmla="*/ 375 w 382"/>
                  <a:gd name="T57" fmla="*/ 231 h 380"/>
                  <a:gd name="T58" fmla="*/ 375 w 382"/>
                  <a:gd name="T59" fmla="*/ 250 h 380"/>
                  <a:gd name="T60" fmla="*/ 375 w 382"/>
                  <a:gd name="T61" fmla="*/ 153 h 380"/>
                  <a:gd name="T62" fmla="*/ 283 w 382"/>
                  <a:gd name="T63" fmla="*/ 1 h 380"/>
                  <a:gd name="T64" fmla="*/ 281 w 382"/>
                  <a:gd name="T65" fmla="*/ 0 h 3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382" h="380">
                    <a:moveTo>
                      <a:pt x="363" y="262"/>
                    </a:moveTo>
                    <a:cubicBezTo>
                      <a:pt x="355" y="283"/>
                      <a:pt x="342" y="300"/>
                      <a:pt x="326" y="317"/>
                    </a:cubicBezTo>
                    <a:cubicBezTo>
                      <a:pt x="305" y="339"/>
                      <a:pt x="279" y="361"/>
                      <a:pt x="249" y="369"/>
                    </a:cubicBezTo>
                    <a:cubicBezTo>
                      <a:pt x="236" y="372"/>
                      <a:pt x="223" y="373"/>
                      <a:pt x="209" y="373"/>
                    </a:cubicBezTo>
                    <a:cubicBezTo>
                      <a:pt x="192" y="373"/>
                      <a:pt x="174" y="371"/>
                      <a:pt x="158" y="369"/>
                    </a:cubicBezTo>
                    <a:cubicBezTo>
                      <a:pt x="130" y="366"/>
                      <a:pt x="104" y="358"/>
                      <a:pt x="80" y="343"/>
                    </a:cubicBezTo>
                    <a:cubicBezTo>
                      <a:pt x="57" y="329"/>
                      <a:pt x="37" y="310"/>
                      <a:pt x="12" y="299"/>
                    </a:cubicBezTo>
                    <a:cubicBezTo>
                      <a:pt x="9" y="298"/>
                      <a:pt x="7" y="297"/>
                      <a:pt x="4" y="296"/>
                    </a:cubicBezTo>
                    <a:cubicBezTo>
                      <a:pt x="4" y="296"/>
                      <a:pt x="4" y="296"/>
                      <a:pt x="3" y="296"/>
                    </a:cubicBezTo>
                    <a:cubicBezTo>
                      <a:pt x="1" y="296"/>
                      <a:pt x="0" y="298"/>
                      <a:pt x="2" y="300"/>
                    </a:cubicBezTo>
                    <a:cubicBezTo>
                      <a:pt x="4" y="300"/>
                      <a:pt x="5" y="301"/>
                      <a:pt x="6" y="302"/>
                    </a:cubicBezTo>
                    <a:cubicBezTo>
                      <a:pt x="33" y="319"/>
                      <a:pt x="58" y="339"/>
                      <a:pt x="86" y="354"/>
                    </a:cubicBezTo>
                    <a:cubicBezTo>
                      <a:pt x="111" y="368"/>
                      <a:pt x="138" y="374"/>
                      <a:pt x="167" y="377"/>
                    </a:cubicBezTo>
                    <a:cubicBezTo>
                      <a:pt x="181" y="378"/>
                      <a:pt x="196" y="380"/>
                      <a:pt x="211" y="380"/>
                    </a:cubicBezTo>
                    <a:cubicBezTo>
                      <a:pt x="228" y="380"/>
                      <a:pt x="245" y="378"/>
                      <a:pt x="261" y="372"/>
                    </a:cubicBezTo>
                    <a:cubicBezTo>
                      <a:pt x="269" y="369"/>
                      <a:pt x="277" y="365"/>
                      <a:pt x="284" y="360"/>
                    </a:cubicBezTo>
                    <a:cubicBezTo>
                      <a:pt x="284" y="360"/>
                      <a:pt x="284" y="360"/>
                      <a:pt x="284" y="360"/>
                    </a:cubicBezTo>
                    <a:cubicBezTo>
                      <a:pt x="303" y="349"/>
                      <a:pt x="319" y="334"/>
                      <a:pt x="333" y="319"/>
                    </a:cubicBezTo>
                    <a:cubicBezTo>
                      <a:pt x="341" y="311"/>
                      <a:pt x="349" y="302"/>
                      <a:pt x="355" y="293"/>
                    </a:cubicBezTo>
                    <a:cubicBezTo>
                      <a:pt x="359" y="283"/>
                      <a:pt x="361" y="273"/>
                      <a:pt x="363" y="262"/>
                    </a:cubicBezTo>
                    <a:moveTo>
                      <a:pt x="281" y="0"/>
                    </a:moveTo>
                    <a:cubicBezTo>
                      <a:pt x="280" y="0"/>
                      <a:pt x="280" y="1"/>
                      <a:pt x="279" y="1"/>
                    </a:cubicBezTo>
                    <a:cubicBezTo>
                      <a:pt x="280" y="2"/>
                      <a:pt x="282" y="2"/>
                      <a:pt x="283" y="3"/>
                    </a:cubicBezTo>
                    <a:cubicBezTo>
                      <a:pt x="287" y="5"/>
                      <a:pt x="285" y="10"/>
                      <a:pt x="281" y="11"/>
                    </a:cubicBezTo>
                    <a:cubicBezTo>
                      <a:pt x="296" y="29"/>
                      <a:pt x="314" y="44"/>
                      <a:pt x="329" y="62"/>
                    </a:cubicBezTo>
                    <a:cubicBezTo>
                      <a:pt x="350" y="90"/>
                      <a:pt x="362" y="119"/>
                      <a:pt x="366" y="153"/>
                    </a:cubicBezTo>
                    <a:cubicBezTo>
                      <a:pt x="369" y="178"/>
                      <a:pt x="372" y="204"/>
                      <a:pt x="370" y="229"/>
                    </a:cubicBezTo>
                    <a:cubicBezTo>
                      <a:pt x="370" y="229"/>
                      <a:pt x="371" y="228"/>
                      <a:pt x="372" y="228"/>
                    </a:cubicBezTo>
                    <a:cubicBezTo>
                      <a:pt x="374" y="228"/>
                      <a:pt x="375" y="229"/>
                      <a:pt x="375" y="231"/>
                    </a:cubicBezTo>
                    <a:cubicBezTo>
                      <a:pt x="376" y="238"/>
                      <a:pt x="375" y="244"/>
                      <a:pt x="375" y="250"/>
                    </a:cubicBezTo>
                    <a:cubicBezTo>
                      <a:pt x="382" y="219"/>
                      <a:pt x="379" y="184"/>
                      <a:pt x="375" y="153"/>
                    </a:cubicBezTo>
                    <a:cubicBezTo>
                      <a:pt x="368" y="91"/>
                      <a:pt x="331" y="40"/>
                      <a:pt x="283" y="1"/>
                    </a:cubicBezTo>
                    <a:cubicBezTo>
                      <a:pt x="283" y="1"/>
                      <a:pt x="282" y="0"/>
                      <a:pt x="281" y="0"/>
                    </a:cubicBezTo>
                  </a:path>
                </a:pathLst>
              </a:custGeom>
              <a:solidFill>
                <a:srgbClr val="544D4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74" name="Freeform 20">
                <a:extLst>
                  <a:ext uri="{FF2B5EF4-FFF2-40B4-BE49-F238E27FC236}">
                    <a16:creationId xmlns:a16="http://schemas.microsoft.com/office/drawing/2014/main" id="{2BFC5672-E209-4FB9-8753-BF9D1817C7FA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202" y="1877"/>
                <a:ext cx="16" cy="13"/>
              </a:xfrm>
              <a:custGeom>
                <a:avLst/>
                <a:gdLst>
                  <a:gd name="T0" fmla="*/ 11 w 15"/>
                  <a:gd name="T1" fmla="*/ 0 h 12"/>
                  <a:gd name="T2" fmla="*/ 10 w 15"/>
                  <a:gd name="T3" fmla="*/ 1 h 12"/>
                  <a:gd name="T4" fmla="*/ 3 w 15"/>
                  <a:gd name="T5" fmla="*/ 6 h 12"/>
                  <a:gd name="T6" fmla="*/ 3 w 15"/>
                  <a:gd name="T7" fmla="*/ 6 h 12"/>
                  <a:gd name="T8" fmla="*/ 1 w 15"/>
                  <a:gd name="T9" fmla="*/ 8 h 12"/>
                  <a:gd name="T10" fmla="*/ 3 w 15"/>
                  <a:gd name="T11" fmla="*/ 12 h 12"/>
                  <a:gd name="T12" fmla="*/ 3 w 15"/>
                  <a:gd name="T13" fmla="*/ 12 h 12"/>
                  <a:gd name="T14" fmla="*/ 5 w 15"/>
                  <a:gd name="T15" fmla="*/ 11 h 12"/>
                  <a:gd name="T16" fmla="*/ 13 w 15"/>
                  <a:gd name="T17" fmla="*/ 4 h 12"/>
                  <a:gd name="T18" fmla="*/ 11 w 15"/>
                  <a:gd name="T19" fmla="*/ 0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5" h="12">
                    <a:moveTo>
                      <a:pt x="11" y="0"/>
                    </a:moveTo>
                    <a:cubicBezTo>
                      <a:pt x="11" y="0"/>
                      <a:pt x="10" y="0"/>
                      <a:pt x="10" y="1"/>
                    </a:cubicBezTo>
                    <a:cubicBezTo>
                      <a:pt x="7" y="2"/>
                      <a:pt x="5" y="4"/>
                      <a:pt x="3" y="6"/>
                    </a:cubicBezTo>
                    <a:cubicBezTo>
                      <a:pt x="3" y="6"/>
                      <a:pt x="3" y="6"/>
                      <a:pt x="3" y="6"/>
                    </a:cubicBezTo>
                    <a:cubicBezTo>
                      <a:pt x="2" y="7"/>
                      <a:pt x="2" y="8"/>
                      <a:pt x="1" y="8"/>
                    </a:cubicBezTo>
                    <a:cubicBezTo>
                      <a:pt x="0" y="10"/>
                      <a:pt x="1" y="12"/>
                      <a:pt x="3" y="12"/>
                    </a:cubicBezTo>
                    <a:cubicBezTo>
                      <a:pt x="3" y="12"/>
                      <a:pt x="3" y="12"/>
                      <a:pt x="3" y="12"/>
                    </a:cubicBezTo>
                    <a:cubicBezTo>
                      <a:pt x="4" y="12"/>
                      <a:pt x="5" y="12"/>
                      <a:pt x="5" y="11"/>
                    </a:cubicBezTo>
                    <a:cubicBezTo>
                      <a:pt x="8" y="9"/>
                      <a:pt x="10" y="6"/>
                      <a:pt x="13" y="4"/>
                    </a:cubicBezTo>
                    <a:cubicBezTo>
                      <a:pt x="15" y="3"/>
                      <a:pt x="13" y="0"/>
                      <a:pt x="11" y="0"/>
                    </a:cubicBezTo>
                  </a:path>
                </a:pathLst>
              </a:custGeom>
              <a:solidFill>
                <a:srgbClr val="544D4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75" name="Freeform 21">
                <a:extLst>
                  <a:ext uri="{FF2B5EF4-FFF2-40B4-BE49-F238E27FC236}">
                    <a16:creationId xmlns:a16="http://schemas.microsoft.com/office/drawing/2014/main" id="{A476B62A-4163-4968-851E-F971EEA3E153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199" y="1867"/>
                <a:ext cx="16" cy="11"/>
              </a:xfrm>
              <a:custGeom>
                <a:avLst/>
                <a:gdLst>
                  <a:gd name="T0" fmla="*/ 11 w 15"/>
                  <a:gd name="T1" fmla="*/ 0 h 10"/>
                  <a:gd name="T2" fmla="*/ 10 w 15"/>
                  <a:gd name="T3" fmla="*/ 0 h 10"/>
                  <a:gd name="T4" fmla="*/ 2 w 15"/>
                  <a:gd name="T5" fmla="*/ 5 h 10"/>
                  <a:gd name="T6" fmla="*/ 1 w 15"/>
                  <a:gd name="T7" fmla="*/ 5 h 10"/>
                  <a:gd name="T8" fmla="*/ 1 w 15"/>
                  <a:gd name="T9" fmla="*/ 5 h 10"/>
                  <a:gd name="T10" fmla="*/ 3 w 15"/>
                  <a:gd name="T11" fmla="*/ 9 h 10"/>
                  <a:gd name="T12" fmla="*/ 3 w 15"/>
                  <a:gd name="T13" fmla="*/ 9 h 10"/>
                  <a:gd name="T14" fmla="*/ 4 w 15"/>
                  <a:gd name="T15" fmla="*/ 10 h 10"/>
                  <a:gd name="T16" fmla="*/ 5 w 15"/>
                  <a:gd name="T17" fmla="*/ 9 h 10"/>
                  <a:gd name="T18" fmla="*/ 11 w 15"/>
                  <a:gd name="T19" fmla="*/ 6 h 10"/>
                  <a:gd name="T20" fmla="*/ 11 w 15"/>
                  <a:gd name="T21" fmla="*/ 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5" h="10">
                    <a:moveTo>
                      <a:pt x="11" y="0"/>
                    </a:moveTo>
                    <a:cubicBezTo>
                      <a:pt x="11" y="0"/>
                      <a:pt x="10" y="0"/>
                      <a:pt x="10" y="0"/>
                    </a:cubicBezTo>
                    <a:cubicBezTo>
                      <a:pt x="7" y="1"/>
                      <a:pt x="4" y="2"/>
                      <a:pt x="2" y="5"/>
                    </a:cubicBezTo>
                    <a:cubicBezTo>
                      <a:pt x="2" y="5"/>
                      <a:pt x="2" y="5"/>
                      <a:pt x="1" y="5"/>
                    </a:cubicBezTo>
                    <a:cubicBezTo>
                      <a:pt x="1" y="5"/>
                      <a:pt x="1" y="5"/>
                      <a:pt x="1" y="5"/>
                    </a:cubicBezTo>
                    <a:cubicBezTo>
                      <a:pt x="0" y="7"/>
                      <a:pt x="2" y="9"/>
                      <a:pt x="3" y="9"/>
                    </a:cubicBezTo>
                    <a:cubicBezTo>
                      <a:pt x="3" y="9"/>
                      <a:pt x="3" y="9"/>
                      <a:pt x="3" y="9"/>
                    </a:cubicBezTo>
                    <a:cubicBezTo>
                      <a:pt x="4" y="9"/>
                      <a:pt x="4" y="10"/>
                      <a:pt x="4" y="10"/>
                    </a:cubicBezTo>
                    <a:cubicBezTo>
                      <a:pt x="4" y="10"/>
                      <a:pt x="5" y="9"/>
                      <a:pt x="5" y="9"/>
                    </a:cubicBezTo>
                    <a:cubicBezTo>
                      <a:pt x="8" y="8"/>
                      <a:pt x="9" y="6"/>
                      <a:pt x="11" y="6"/>
                    </a:cubicBezTo>
                    <a:cubicBezTo>
                      <a:pt x="15" y="5"/>
                      <a:pt x="14" y="0"/>
                      <a:pt x="11" y="0"/>
                    </a:cubicBezTo>
                  </a:path>
                </a:pathLst>
              </a:custGeom>
              <a:solidFill>
                <a:srgbClr val="544D4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76" name="Freeform 22">
                <a:extLst>
                  <a:ext uri="{FF2B5EF4-FFF2-40B4-BE49-F238E27FC236}">
                    <a16:creationId xmlns:a16="http://schemas.microsoft.com/office/drawing/2014/main" id="{A87EC68C-F900-4007-9DB2-8613C6A64E0A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199" y="1845"/>
                <a:ext cx="11" cy="7"/>
              </a:xfrm>
              <a:custGeom>
                <a:avLst/>
                <a:gdLst>
                  <a:gd name="T0" fmla="*/ 9 w 11"/>
                  <a:gd name="T1" fmla="*/ 0 h 7"/>
                  <a:gd name="T2" fmla="*/ 8 w 11"/>
                  <a:gd name="T3" fmla="*/ 1 h 7"/>
                  <a:gd name="T4" fmla="*/ 1 w 11"/>
                  <a:gd name="T5" fmla="*/ 5 h 7"/>
                  <a:gd name="T6" fmla="*/ 2 w 11"/>
                  <a:gd name="T7" fmla="*/ 7 h 7"/>
                  <a:gd name="T8" fmla="*/ 3 w 11"/>
                  <a:gd name="T9" fmla="*/ 7 h 7"/>
                  <a:gd name="T10" fmla="*/ 10 w 11"/>
                  <a:gd name="T11" fmla="*/ 3 h 7"/>
                  <a:gd name="T12" fmla="*/ 9 w 11"/>
                  <a:gd name="T13" fmla="*/ 0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1" h="7">
                    <a:moveTo>
                      <a:pt x="9" y="0"/>
                    </a:moveTo>
                    <a:cubicBezTo>
                      <a:pt x="9" y="0"/>
                      <a:pt x="8" y="1"/>
                      <a:pt x="8" y="1"/>
                    </a:cubicBezTo>
                    <a:cubicBezTo>
                      <a:pt x="6" y="2"/>
                      <a:pt x="3" y="3"/>
                      <a:pt x="1" y="5"/>
                    </a:cubicBezTo>
                    <a:cubicBezTo>
                      <a:pt x="0" y="6"/>
                      <a:pt x="1" y="7"/>
                      <a:pt x="2" y="7"/>
                    </a:cubicBezTo>
                    <a:cubicBezTo>
                      <a:pt x="2" y="7"/>
                      <a:pt x="2" y="7"/>
                      <a:pt x="3" y="7"/>
                    </a:cubicBezTo>
                    <a:cubicBezTo>
                      <a:pt x="5" y="6"/>
                      <a:pt x="7" y="5"/>
                      <a:pt x="10" y="3"/>
                    </a:cubicBezTo>
                    <a:cubicBezTo>
                      <a:pt x="11" y="3"/>
                      <a:pt x="10" y="0"/>
                      <a:pt x="9" y="0"/>
                    </a:cubicBezTo>
                  </a:path>
                </a:pathLst>
              </a:custGeom>
              <a:solidFill>
                <a:srgbClr val="544D4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77" name="Freeform 23">
                <a:extLst>
                  <a:ext uri="{FF2B5EF4-FFF2-40B4-BE49-F238E27FC236}">
                    <a16:creationId xmlns:a16="http://schemas.microsoft.com/office/drawing/2014/main" id="{BDD9F95F-BA6D-4CC0-8D62-F4CFAA5BBBD8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195" y="1617"/>
                <a:ext cx="953" cy="213"/>
              </a:xfrm>
              <a:custGeom>
                <a:avLst/>
                <a:gdLst>
                  <a:gd name="T0" fmla="*/ 165 w 899"/>
                  <a:gd name="T1" fmla="*/ 0 h 201"/>
                  <a:gd name="T2" fmla="*/ 151 w 899"/>
                  <a:gd name="T3" fmla="*/ 1 h 201"/>
                  <a:gd name="T4" fmla="*/ 102 w 899"/>
                  <a:gd name="T5" fmla="*/ 17 h 201"/>
                  <a:gd name="T6" fmla="*/ 109 w 899"/>
                  <a:gd name="T7" fmla="*/ 14 h 201"/>
                  <a:gd name="T8" fmla="*/ 109 w 899"/>
                  <a:gd name="T9" fmla="*/ 14 h 201"/>
                  <a:gd name="T10" fmla="*/ 110 w 899"/>
                  <a:gd name="T11" fmla="*/ 15 h 201"/>
                  <a:gd name="T12" fmla="*/ 55 w 899"/>
                  <a:gd name="T13" fmla="*/ 56 h 201"/>
                  <a:gd name="T14" fmla="*/ 25 w 899"/>
                  <a:gd name="T15" fmla="*/ 103 h 201"/>
                  <a:gd name="T16" fmla="*/ 6 w 899"/>
                  <a:gd name="T17" fmla="*/ 200 h 201"/>
                  <a:gd name="T18" fmla="*/ 7 w 899"/>
                  <a:gd name="T19" fmla="*/ 201 h 201"/>
                  <a:gd name="T20" fmla="*/ 8 w 899"/>
                  <a:gd name="T21" fmla="*/ 200 h 201"/>
                  <a:gd name="T22" fmla="*/ 16 w 899"/>
                  <a:gd name="T23" fmla="*/ 146 h 201"/>
                  <a:gd name="T24" fmla="*/ 16 w 899"/>
                  <a:gd name="T25" fmla="*/ 146 h 201"/>
                  <a:gd name="T26" fmla="*/ 85 w 899"/>
                  <a:gd name="T27" fmla="*/ 38 h 201"/>
                  <a:gd name="T28" fmla="*/ 106 w 899"/>
                  <a:gd name="T29" fmla="*/ 23 h 201"/>
                  <a:gd name="T30" fmla="*/ 166 w 899"/>
                  <a:gd name="T31" fmla="*/ 9 h 201"/>
                  <a:gd name="T32" fmla="*/ 180 w 899"/>
                  <a:gd name="T33" fmla="*/ 9 h 201"/>
                  <a:gd name="T34" fmla="*/ 278 w 899"/>
                  <a:gd name="T35" fmla="*/ 23 h 201"/>
                  <a:gd name="T36" fmla="*/ 479 w 899"/>
                  <a:gd name="T37" fmla="*/ 60 h 201"/>
                  <a:gd name="T38" fmla="*/ 675 w 899"/>
                  <a:gd name="T39" fmla="*/ 88 h 201"/>
                  <a:gd name="T40" fmla="*/ 890 w 899"/>
                  <a:gd name="T41" fmla="*/ 143 h 201"/>
                  <a:gd name="T42" fmla="*/ 893 w 899"/>
                  <a:gd name="T43" fmla="*/ 144 h 201"/>
                  <a:gd name="T44" fmla="*/ 893 w 899"/>
                  <a:gd name="T45" fmla="*/ 144 h 201"/>
                  <a:gd name="T46" fmla="*/ 895 w 899"/>
                  <a:gd name="T47" fmla="*/ 136 h 201"/>
                  <a:gd name="T48" fmla="*/ 891 w 899"/>
                  <a:gd name="T49" fmla="*/ 134 h 201"/>
                  <a:gd name="T50" fmla="*/ 697 w 899"/>
                  <a:gd name="T51" fmla="*/ 83 h 201"/>
                  <a:gd name="T52" fmla="*/ 473 w 899"/>
                  <a:gd name="T53" fmla="*/ 50 h 201"/>
                  <a:gd name="T54" fmla="*/ 426 w 899"/>
                  <a:gd name="T55" fmla="*/ 42 h 201"/>
                  <a:gd name="T56" fmla="*/ 421 w 899"/>
                  <a:gd name="T57" fmla="*/ 44 h 201"/>
                  <a:gd name="T58" fmla="*/ 415 w 899"/>
                  <a:gd name="T59" fmla="*/ 40 h 201"/>
                  <a:gd name="T60" fmla="*/ 256 w 899"/>
                  <a:gd name="T61" fmla="*/ 11 h 201"/>
                  <a:gd name="T62" fmla="*/ 165 w 899"/>
                  <a:gd name="T63" fmla="*/ 0 h 2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899" h="201">
                    <a:moveTo>
                      <a:pt x="165" y="0"/>
                    </a:moveTo>
                    <a:cubicBezTo>
                      <a:pt x="161" y="0"/>
                      <a:pt x="156" y="1"/>
                      <a:pt x="151" y="1"/>
                    </a:cubicBezTo>
                    <a:cubicBezTo>
                      <a:pt x="133" y="2"/>
                      <a:pt x="117" y="8"/>
                      <a:pt x="102" y="17"/>
                    </a:cubicBezTo>
                    <a:cubicBezTo>
                      <a:pt x="104" y="15"/>
                      <a:pt x="107" y="14"/>
                      <a:pt x="109" y="14"/>
                    </a:cubicBezTo>
                    <a:cubicBezTo>
                      <a:pt x="109" y="14"/>
                      <a:pt x="109" y="14"/>
                      <a:pt x="109" y="14"/>
                    </a:cubicBezTo>
                    <a:cubicBezTo>
                      <a:pt x="110" y="14"/>
                      <a:pt x="110" y="14"/>
                      <a:pt x="110" y="15"/>
                    </a:cubicBezTo>
                    <a:cubicBezTo>
                      <a:pt x="94" y="31"/>
                      <a:pt x="74" y="42"/>
                      <a:pt x="55" y="56"/>
                    </a:cubicBezTo>
                    <a:cubicBezTo>
                      <a:pt x="43" y="70"/>
                      <a:pt x="32" y="86"/>
                      <a:pt x="25" y="103"/>
                    </a:cubicBezTo>
                    <a:cubicBezTo>
                      <a:pt x="12" y="132"/>
                      <a:pt x="0" y="169"/>
                      <a:pt x="6" y="200"/>
                    </a:cubicBezTo>
                    <a:cubicBezTo>
                      <a:pt x="6" y="201"/>
                      <a:pt x="6" y="201"/>
                      <a:pt x="7" y="201"/>
                    </a:cubicBezTo>
                    <a:cubicBezTo>
                      <a:pt x="7" y="201"/>
                      <a:pt x="8" y="201"/>
                      <a:pt x="8" y="200"/>
                    </a:cubicBezTo>
                    <a:cubicBezTo>
                      <a:pt x="8" y="182"/>
                      <a:pt x="11" y="164"/>
                      <a:pt x="16" y="146"/>
                    </a:cubicBezTo>
                    <a:cubicBezTo>
                      <a:pt x="16" y="146"/>
                      <a:pt x="16" y="146"/>
                      <a:pt x="16" y="146"/>
                    </a:cubicBezTo>
                    <a:cubicBezTo>
                      <a:pt x="28" y="104"/>
                      <a:pt x="52" y="66"/>
                      <a:pt x="85" y="38"/>
                    </a:cubicBezTo>
                    <a:cubicBezTo>
                      <a:pt x="92" y="32"/>
                      <a:pt x="99" y="27"/>
                      <a:pt x="106" y="23"/>
                    </a:cubicBezTo>
                    <a:cubicBezTo>
                      <a:pt x="124" y="13"/>
                      <a:pt x="144" y="9"/>
                      <a:pt x="166" y="9"/>
                    </a:cubicBezTo>
                    <a:cubicBezTo>
                      <a:pt x="171" y="9"/>
                      <a:pt x="175" y="9"/>
                      <a:pt x="180" y="9"/>
                    </a:cubicBezTo>
                    <a:cubicBezTo>
                      <a:pt x="213" y="12"/>
                      <a:pt x="246" y="17"/>
                      <a:pt x="278" y="23"/>
                    </a:cubicBezTo>
                    <a:cubicBezTo>
                      <a:pt x="345" y="35"/>
                      <a:pt x="412" y="49"/>
                      <a:pt x="479" y="60"/>
                    </a:cubicBezTo>
                    <a:cubicBezTo>
                      <a:pt x="544" y="70"/>
                      <a:pt x="610" y="78"/>
                      <a:pt x="675" y="88"/>
                    </a:cubicBezTo>
                    <a:cubicBezTo>
                      <a:pt x="747" y="100"/>
                      <a:pt x="825" y="110"/>
                      <a:pt x="890" y="143"/>
                    </a:cubicBezTo>
                    <a:cubicBezTo>
                      <a:pt x="891" y="144"/>
                      <a:pt x="892" y="144"/>
                      <a:pt x="893" y="144"/>
                    </a:cubicBezTo>
                    <a:cubicBezTo>
                      <a:pt x="893" y="144"/>
                      <a:pt x="893" y="144"/>
                      <a:pt x="893" y="144"/>
                    </a:cubicBezTo>
                    <a:cubicBezTo>
                      <a:pt x="897" y="143"/>
                      <a:pt x="899" y="138"/>
                      <a:pt x="895" y="136"/>
                    </a:cubicBezTo>
                    <a:cubicBezTo>
                      <a:pt x="894" y="135"/>
                      <a:pt x="892" y="135"/>
                      <a:pt x="891" y="134"/>
                    </a:cubicBezTo>
                    <a:cubicBezTo>
                      <a:pt x="831" y="104"/>
                      <a:pt x="763" y="94"/>
                      <a:pt x="697" y="83"/>
                    </a:cubicBezTo>
                    <a:cubicBezTo>
                      <a:pt x="623" y="70"/>
                      <a:pt x="547" y="62"/>
                      <a:pt x="473" y="50"/>
                    </a:cubicBezTo>
                    <a:cubicBezTo>
                      <a:pt x="457" y="47"/>
                      <a:pt x="442" y="45"/>
                      <a:pt x="426" y="42"/>
                    </a:cubicBezTo>
                    <a:cubicBezTo>
                      <a:pt x="425" y="43"/>
                      <a:pt x="423" y="44"/>
                      <a:pt x="421" y="44"/>
                    </a:cubicBezTo>
                    <a:cubicBezTo>
                      <a:pt x="419" y="44"/>
                      <a:pt x="416" y="42"/>
                      <a:pt x="415" y="40"/>
                    </a:cubicBezTo>
                    <a:cubicBezTo>
                      <a:pt x="362" y="30"/>
                      <a:pt x="309" y="20"/>
                      <a:pt x="256" y="11"/>
                    </a:cubicBezTo>
                    <a:cubicBezTo>
                      <a:pt x="226" y="6"/>
                      <a:pt x="196" y="0"/>
                      <a:pt x="165" y="0"/>
                    </a:cubicBezTo>
                  </a:path>
                </a:pathLst>
              </a:custGeom>
              <a:solidFill>
                <a:srgbClr val="544D4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78" name="Freeform 24">
                <a:extLst>
                  <a:ext uri="{FF2B5EF4-FFF2-40B4-BE49-F238E27FC236}">
                    <a16:creationId xmlns:a16="http://schemas.microsoft.com/office/drawing/2014/main" id="{6F9E04E3-D85F-429C-A647-DDE7864BF007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635" y="1660"/>
                <a:ext cx="12" cy="4"/>
              </a:xfrm>
              <a:custGeom>
                <a:avLst/>
                <a:gdLst>
                  <a:gd name="T0" fmla="*/ 0 w 11"/>
                  <a:gd name="T1" fmla="*/ 0 h 4"/>
                  <a:gd name="T2" fmla="*/ 6 w 11"/>
                  <a:gd name="T3" fmla="*/ 4 h 4"/>
                  <a:gd name="T4" fmla="*/ 11 w 11"/>
                  <a:gd name="T5" fmla="*/ 2 h 4"/>
                  <a:gd name="T6" fmla="*/ 0 w 11"/>
                  <a:gd name="T7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1" h="4">
                    <a:moveTo>
                      <a:pt x="0" y="0"/>
                    </a:moveTo>
                    <a:cubicBezTo>
                      <a:pt x="1" y="2"/>
                      <a:pt x="4" y="4"/>
                      <a:pt x="6" y="4"/>
                    </a:cubicBezTo>
                    <a:cubicBezTo>
                      <a:pt x="8" y="4"/>
                      <a:pt x="10" y="3"/>
                      <a:pt x="11" y="2"/>
                    </a:cubicBezTo>
                    <a:cubicBezTo>
                      <a:pt x="8" y="1"/>
                      <a:pt x="4" y="1"/>
                      <a:pt x="0" y="0"/>
                    </a:cubicBezTo>
                  </a:path>
                </a:pathLst>
              </a:custGeom>
              <a:solidFill>
                <a:srgbClr val="14161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79" name="Freeform 25">
                <a:extLst>
                  <a:ext uri="{FF2B5EF4-FFF2-40B4-BE49-F238E27FC236}">
                    <a16:creationId xmlns:a16="http://schemas.microsoft.com/office/drawing/2014/main" id="{6968F08C-AE07-4D97-AE76-2C90BA4C423D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159" y="1632"/>
                <a:ext cx="690" cy="483"/>
              </a:xfrm>
              <a:custGeom>
                <a:avLst/>
                <a:gdLst>
                  <a:gd name="T0" fmla="*/ 143 w 651"/>
                  <a:gd name="T1" fmla="*/ 0 h 456"/>
                  <a:gd name="T2" fmla="*/ 143 w 651"/>
                  <a:gd name="T3" fmla="*/ 0 h 456"/>
                  <a:gd name="T4" fmla="*/ 136 w 651"/>
                  <a:gd name="T5" fmla="*/ 3 h 456"/>
                  <a:gd name="T6" fmla="*/ 61 w 651"/>
                  <a:gd name="T7" fmla="*/ 56 h 456"/>
                  <a:gd name="T8" fmla="*/ 19 w 651"/>
                  <a:gd name="T9" fmla="*/ 130 h 456"/>
                  <a:gd name="T10" fmla="*/ 15 w 651"/>
                  <a:gd name="T11" fmla="*/ 144 h 456"/>
                  <a:gd name="T12" fmla="*/ 31 w 651"/>
                  <a:gd name="T13" fmla="*/ 315 h 456"/>
                  <a:gd name="T14" fmla="*/ 178 w 651"/>
                  <a:gd name="T15" fmla="*/ 434 h 456"/>
                  <a:gd name="T16" fmla="*/ 250 w 651"/>
                  <a:gd name="T17" fmla="*/ 447 h 456"/>
                  <a:gd name="T18" fmla="*/ 276 w 651"/>
                  <a:gd name="T19" fmla="*/ 445 h 456"/>
                  <a:gd name="T20" fmla="*/ 379 w 651"/>
                  <a:gd name="T21" fmla="*/ 420 h 456"/>
                  <a:gd name="T22" fmla="*/ 385 w 651"/>
                  <a:gd name="T23" fmla="*/ 420 h 456"/>
                  <a:gd name="T24" fmla="*/ 445 w 651"/>
                  <a:gd name="T25" fmla="*/ 427 h 456"/>
                  <a:gd name="T26" fmla="*/ 510 w 651"/>
                  <a:gd name="T27" fmla="*/ 436 h 456"/>
                  <a:gd name="T28" fmla="*/ 643 w 651"/>
                  <a:gd name="T29" fmla="*/ 456 h 456"/>
                  <a:gd name="T30" fmla="*/ 646 w 651"/>
                  <a:gd name="T31" fmla="*/ 453 h 456"/>
                  <a:gd name="T32" fmla="*/ 648 w 651"/>
                  <a:gd name="T33" fmla="*/ 454 h 456"/>
                  <a:gd name="T34" fmla="*/ 650 w 651"/>
                  <a:gd name="T35" fmla="*/ 455 h 456"/>
                  <a:gd name="T36" fmla="*/ 648 w 651"/>
                  <a:gd name="T37" fmla="*/ 449 h 456"/>
                  <a:gd name="T38" fmla="*/ 438 w 651"/>
                  <a:gd name="T39" fmla="*/ 419 h 456"/>
                  <a:gd name="T40" fmla="*/ 385 w 651"/>
                  <a:gd name="T41" fmla="*/ 413 h 456"/>
                  <a:gd name="T42" fmla="*/ 350 w 651"/>
                  <a:gd name="T43" fmla="*/ 418 h 456"/>
                  <a:gd name="T44" fmla="*/ 249 w 651"/>
                  <a:gd name="T45" fmla="*/ 440 h 456"/>
                  <a:gd name="T46" fmla="*/ 246 w 651"/>
                  <a:gd name="T47" fmla="*/ 440 h 456"/>
                  <a:gd name="T48" fmla="*/ 66 w 651"/>
                  <a:gd name="T49" fmla="*/ 351 h 456"/>
                  <a:gd name="T50" fmla="*/ 21 w 651"/>
                  <a:gd name="T51" fmla="*/ 153 h 456"/>
                  <a:gd name="T52" fmla="*/ 64 w 651"/>
                  <a:gd name="T53" fmla="*/ 64 h 456"/>
                  <a:gd name="T54" fmla="*/ 89 w 651"/>
                  <a:gd name="T55" fmla="*/ 42 h 456"/>
                  <a:gd name="T56" fmla="*/ 144 w 651"/>
                  <a:gd name="T57" fmla="*/ 1 h 456"/>
                  <a:gd name="T58" fmla="*/ 143 w 651"/>
                  <a:gd name="T59" fmla="*/ 0 h 4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651" h="456">
                    <a:moveTo>
                      <a:pt x="143" y="0"/>
                    </a:moveTo>
                    <a:cubicBezTo>
                      <a:pt x="143" y="0"/>
                      <a:pt x="143" y="0"/>
                      <a:pt x="143" y="0"/>
                    </a:cubicBezTo>
                    <a:cubicBezTo>
                      <a:pt x="141" y="0"/>
                      <a:pt x="138" y="1"/>
                      <a:pt x="136" y="3"/>
                    </a:cubicBezTo>
                    <a:cubicBezTo>
                      <a:pt x="108" y="14"/>
                      <a:pt x="81" y="36"/>
                      <a:pt x="61" y="56"/>
                    </a:cubicBezTo>
                    <a:cubicBezTo>
                      <a:pt x="40" y="78"/>
                      <a:pt x="28" y="102"/>
                      <a:pt x="19" y="130"/>
                    </a:cubicBezTo>
                    <a:cubicBezTo>
                      <a:pt x="18" y="135"/>
                      <a:pt x="16" y="140"/>
                      <a:pt x="15" y="144"/>
                    </a:cubicBezTo>
                    <a:cubicBezTo>
                      <a:pt x="0" y="202"/>
                      <a:pt x="3" y="261"/>
                      <a:pt x="31" y="315"/>
                    </a:cubicBezTo>
                    <a:cubicBezTo>
                      <a:pt x="62" y="375"/>
                      <a:pt x="116" y="412"/>
                      <a:pt x="178" y="434"/>
                    </a:cubicBezTo>
                    <a:cubicBezTo>
                      <a:pt x="201" y="442"/>
                      <a:pt x="225" y="447"/>
                      <a:pt x="250" y="447"/>
                    </a:cubicBezTo>
                    <a:cubicBezTo>
                      <a:pt x="258" y="447"/>
                      <a:pt x="267" y="446"/>
                      <a:pt x="276" y="445"/>
                    </a:cubicBezTo>
                    <a:cubicBezTo>
                      <a:pt x="311" y="440"/>
                      <a:pt x="344" y="422"/>
                      <a:pt x="379" y="420"/>
                    </a:cubicBezTo>
                    <a:cubicBezTo>
                      <a:pt x="381" y="420"/>
                      <a:pt x="383" y="420"/>
                      <a:pt x="385" y="420"/>
                    </a:cubicBezTo>
                    <a:cubicBezTo>
                      <a:pt x="405" y="420"/>
                      <a:pt x="425" y="424"/>
                      <a:pt x="445" y="427"/>
                    </a:cubicBezTo>
                    <a:cubicBezTo>
                      <a:pt x="467" y="430"/>
                      <a:pt x="488" y="433"/>
                      <a:pt x="510" y="436"/>
                    </a:cubicBezTo>
                    <a:cubicBezTo>
                      <a:pt x="554" y="442"/>
                      <a:pt x="599" y="448"/>
                      <a:pt x="643" y="456"/>
                    </a:cubicBezTo>
                    <a:cubicBezTo>
                      <a:pt x="643" y="454"/>
                      <a:pt x="645" y="453"/>
                      <a:pt x="646" y="453"/>
                    </a:cubicBezTo>
                    <a:cubicBezTo>
                      <a:pt x="647" y="453"/>
                      <a:pt x="647" y="453"/>
                      <a:pt x="648" y="454"/>
                    </a:cubicBezTo>
                    <a:cubicBezTo>
                      <a:pt x="649" y="454"/>
                      <a:pt x="649" y="455"/>
                      <a:pt x="650" y="455"/>
                    </a:cubicBezTo>
                    <a:cubicBezTo>
                      <a:pt x="651" y="453"/>
                      <a:pt x="651" y="449"/>
                      <a:pt x="648" y="449"/>
                    </a:cubicBezTo>
                    <a:cubicBezTo>
                      <a:pt x="578" y="437"/>
                      <a:pt x="508" y="429"/>
                      <a:pt x="438" y="419"/>
                    </a:cubicBezTo>
                    <a:cubicBezTo>
                      <a:pt x="420" y="416"/>
                      <a:pt x="403" y="413"/>
                      <a:pt x="385" y="413"/>
                    </a:cubicBezTo>
                    <a:cubicBezTo>
                      <a:pt x="374" y="413"/>
                      <a:pt x="362" y="415"/>
                      <a:pt x="350" y="418"/>
                    </a:cubicBezTo>
                    <a:cubicBezTo>
                      <a:pt x="316" y="427"/>
                      <a:pt x="284" y="440"/>
                      <a:pt x="249" y="440"/>
                    </a:cubicBezTo>
                    <a:cubicBezTo>
                      <a:pt x="248" y="440"/>
                      <a:pt x="247" y="440"/>
                      <a:pt x="246" y="440"/>
                    </a:cubicBezTo>
                    <a:cubicBezTo>
                      <a:pt x="180" y="439"/>
                      <a:pt x="108" y="402"/>
                      <a:pt x="66" y="351"/>
                    </a:cubicBezTo>
                    <a:cubicBezTo>
                      <a:pt x="19" y="295"/>
                      <a:pt x="4" y="224"/>
                      <a:pt x="21" y="153"/>
                    </a:cubicBezTo>
                    <a:cubicBezTo>
                      <a:pt x="29" y="120"/>
                      <a:pt x="42" y="89"/>
                      <a:pt x="64" y="64"/>
                    </a:cubicBezTo>
                    <a:cubicBezTo>
                      <a:pt x="72" y="56"/>
                      <a:pt x="80" y="49"/>
                      <a:pt x="89" y="42"/>
                    </a:cubicBezTo>
                    <a:cubicBezTo>
                      <a:pt x="108" y="28"/>
                      <a:pt x="128" y="17"/>
                      <a:pt x="144" y="1"/>
                    </a:cubicBezTo>
                    <a:cubicBezTo>
                      <a:pt x="144" y="0"/>
                      <a:pt x="144" y="0"/>
                      <a:pt x="143" y="0"/>
                    </a:cubicBezTo>
                  </a:path>
                </a:pathLst>
              </a:custGeom>
              <a:solidFill>
                <a:srgbClr val="544D4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80" name="Freeform 26">
                <a:extLst>
                  <a:ext uri="{FF2B5EF4-FFF2-40B4-BE49-F238E27FC236}">
                    <a16:creationId xmlns:a16="http://schemas.microsoft.com/office/drawing/2014/main" id="{34BC11E4-BD0F-4E40-AA17-88F08FAEE388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841" y="2000"/>
                <a:ext cx="401" cy="193"/>
              </a:xfrm>
              <a:custGeom>
                <a:avLst/>
                <a:gdLst>
                  <a:gd name="T0" fmla="*/ 375 w 379"/>
                  <a:gd name="T1" fmla="*/ 0 h 183"/>
                  <a:gd name="T2" fmla="*/ 373 w 379"/>
                  <a:gd name="T3" fmla="*/ 1 h 183"/>
                  <a:gd name="T4" fmla="*/ 371 w 379"/>
                  <a:gd name="T5" fmla="*/ 3 h 183"/>
                  <a:gd name="T6" fmla="*/ 370 w 379"/>
                  <a:gd name="T7" fmla="*/ 8 h 183"/>
                  <a:gd name="T8" fmla="*/ 366 w 379"/>
                  <a:gd name="T9" fmla="*/ 34 h 183"/>
                  <a:gd name="T10" fmla="*/ 358 w 379"/>
                  <a:gd name="T11" fmla="*/ 65 h 183"/>
                  <a:gd name="T12" fmla="*/ 336 w 379"/>
                  <a:gd name="T13" fmla="*/ 105 h 183"/>
                  <a:gd name="T14" fmla="*/ 239 w 379"/>
                  <a:gd name="T15" fmla="*/ 166 h 183"/>
                  <a:gd name="T16" fmla="*/ 181 w 379"/>
                  <a:gd name="T17" fmla="*/ 173 h 183"/>
                  <a:gd name="T18" fmla="*/ 124 w 379"/>
                  <a:gd name="T19" fmla="*/ 166 h 183"/>
                  <a:gd name="T20" fmla="*/ 7 w 379"/>
                  <a:gd name="T21" fmla="*/ 108 h 183"/>
                  <a:gd name="T22" fmla="*/ 5 w 379"/>
                  <a:gd name="T23" fmla="*/ 107 h 183"/>
                  <a:gd name="T24" fmla="*/ 3 w 379"/>
                  <a:gd name="T25" fmla="*/ 106 h 183"/>
                  <a:gd name="T26" fmla="*/ 0 w 379"/>
                  <a:gd name="T27" fmla="*/ 109 h 183"/>
                  <a:gd name="T28" fmla="*/ 1 w 379"/>
                  <a:gd name="T29" fmla="*/ 111 h 183"/>
                  <a:gd name="T30" fmla="*/ 53 w 379"/>
                  <a:gd name="T31" fmla="*/ 147 h 183"/>
                  <a:gd name="T32" fmla="*/ 113 w 379"/>
                  <a:gd name="T33" fmla="*/ 173 h 183"/>
                  <a:gd name="T34" fmla="*/ 182 w 379"/>
                  <a:gd name="T35" fmla="*/ 183 h 183"/>
                  <a:gd name="T36" fmla="*/ 243 w 379"/>
                  <a:gd name="T37" fmla="*/ 175 h 183"/>
                  <a:gd name="T38" fmla="*/ 279 w 379"/>
                  <a:gd name="T39" fmla="*/ 161 h 183"/>
                  <a:gd name="T40" fmla="*/ 378 w 379"/>
                  <a:gd name="T41" fmla="*/ 22 h 183"/>
                  <a:gd name="T42" fmla="*/ 378 w 379"/>
                  <a:gd name="T43" fmla="*/ 3 h 183"/>
                  <a:gd name="T44" fmla="*/ 375 w 379"/>
                  <a:gd name="T45" fmla="*/ 0 h 1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379" h="183">
                    <a:moveTo>
                      <a:pt x="375" y="0"/>
                    </a:moveTo>
                    <a:cubicBezTo>
                      <a:pt x="374" y="0"/>
                      <a:pt x="373" y="1"/>
                      <a:pt x="373" y="1"/>
                    </a:cubicBezTo>
                    <a:cubicBezTo>
                      <a:pt x="372" y="1"/>
                      <a:pt x="372" y="2"/>
                      <a:pt x="371" y="3"/>
                    </a:cubicBezTo>
                    <a:cubicBezTo>
                      <a:pt x="371" y="5"/>
                      <a:pt x="371" y="7"/>
                      <a:pt x="370" y="8"/>
                    </a:cubicBezTo>
                    <a:cubicBezTo>
                      <a:pt x="369" y="17"/>
                      <a:pt x="368" y="25"/>
                      <a:pt x="366" y="34"/>
                    </a:cubicBezTo>
                    <a:cubicBezTo>
                      <a:pt x="364" y="45"/>
                      <a:pt x="362" y="55"/>
                      <a:pt x="358" y="65"/>
                    </a:cubicBezTo>
                    <a:cubicBezTo>
                      <a:pt x="353" y="79"/>
                      <a:pt x="346" y="92"/>
                      <a:pt x="336" y="105"/>
                    </a:cubicBezTo>
                    <a:cubicBezTo>
                      <a:pt x="310" y="134"/>
                      <a:pt x="277" y="156"/>
                      <a:pt x="239" y="166"/>
                    </a:cubicBezTo>
                    <a:cubicBezTo>
                      <a:pt x="220" y="171"/>
                      <a:pt x="201" y="173"/>
                      <a:pt x="181" y="173"/>
                    </a:cubicBezTo>
                    <a:cubicBezTo>
                      <a:pt x="162" y="173"/>
                      <a:pt x="143" y="171"/>
                      <a:pt x="124" y="166"/>
                    </a:cubicBezTo>
                    <a:cubicBezTo>
                      <a:pt x="80" y="154"/>
                      <a:pt x="46" y="129"/>
                      <a:pt x="7" y="108"/>
                    </a:cubicBezTo>
                    <a:cubicBezTo>
                      <a:pt x="6" y="108"/>
                      <a:pt x="6" y="107"/>
                      <a:pt x="5" y="107"/>
                    </a:cubicBezTo>
                    <a:cubicBezTo>
                      <a:pt x="4" y="106"/>
                      <a:pt x="4" y="106"/>
                      <a:pt x="3" y="106"/>
                    </a:cubicBezTo>
                    <a:cubicBezTo>
                      <a:pt x="2" y="106"/>
                      <a:pt x="0" y="107"/>
                      <a:pt x="0" y="109"/>
                    </a:cubicBezTo>
                    <a:cubicBezTo>
                      <a:pt x="0" y="110"/>
                      <a:pt x="0" y="111"/>
                      <a:pt x="1" y="111"/>
                    </a:cubicBezTo>
                    <a:cubicBezTo>
                      <a:pt x="14" y="126"/>
                      <a:pt x="36" y="137"/>
                      <a:pt x="53" y="147"/>
                    </a:cubicBezTo>
                    <a:cubicBezTo>
                      <a:pt x="72" y="158"/>
                      <a:pt x="92" y="167"/>
                      <a:pt x="113" y="173"/>
                    </a:cubicBezTo>
                    <a:cubicBezTo>
                      <a:pt x="136" y="179"/>
                      <a:pt x="159" y="183"/>
                      <a:pt x="182" y="183"/>
                    </a:cubicBezTo>
                    <a:cubicBezTo>
                      <a:pt x="202" y="183"/>
                      <a:pt x="222" y="180"/>
                      <a:pt x="243" y="175"/>
                    </a:cubicBezTo>
                    <a:cubicBezTo>
                      <a:pt x="255" y="171"/>
                      <a:pt x="267" y="167"/>
                      <a:pt x="279" y="161"/>
                    </a:cubicBezTo>
                    <a:cubicBezTo>
                      <a:pt x="333" y="134"/>
                      <a:pt x="373" y="83"/>
                      <a:pt x="378" y="22"/>
                    </a:cubicBezTo>
                    <a:cubicBezTo>
                      <a:pt x="378" y="16"/>
                      <a:pt x="379" y="10"/>
                      <a:pt x="378" y="3"/>
                    </a:cubicBezTo>
                    <a:cubicBezTo>
                      <a:pt x="378" y="1"/>
                      <a:pt x="377" y="0"/>
                      <a:pt x="375" y="0"/>
                    </a:cubicBezTo>
                  </a:path>
                </a:pathLst>
              </a:custGeom>
              <a:solidFill>
                <a:srgbClr val="544D4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81" name="Freeform 27">
                <a:extLst>
                  <a:ext uri="{FF2B5EF4-FFF2-40B4-BE49-F238E27FC236}">
                    <a16:creationId xmlns:a16="http://schemas.microsoft.com/office/drawing/2014/main" id="{3BEF3175-1E36-4185-AEE2-9F1783DA84A0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7002" y="1839"/>
                <a:ext cx="76" cy="70"/>
              </a:xfrm>
              <a:custGeom>
                <a:avLst/>
                <a:gdLst>
                  <a:gd name="T0" fmla="*/ 0 w 72"/>
                  <a:gd name="T1" fmla="*/ 49 h 66"/>
                  <a:gd name="T2" fmla="*/ 1 w 72"/>
                  <a:gd name="T3" fmla="*/ 52 h 66"/>
                  <a:gd name="T4" fmla="*/ 1 w 72"/>
                  <a:gd name="T5" fmla="*/ 52 h 66"/>
                  <a:gd name="T6" fmla="*/ 1 w 72"/>
                  <a:gd name="T7" fmla="*/ 52 h 66"/>
                  <a:gd name="T8" fmla="*/ 0 w 72"/>
                  <a:gd name="T9" fmla="*/ 49 h 66"/>
                  <a:gd name="T10" fmla="*/ 27 w 72"/>
                  <a:gd name="T11" fmla="*/ 0 h 66"/>
                  <a:gd name="T12" fmla="*/ 13 w 72"/>
                  <a:gd name="T13" fmla="*/ 5 h 66"/>
                  <a:gd name="T14" fmla="*/ 7 w 72"/>
                  <a:gd name="T15" fmla="*/ 22 h 66"/>
                  <a:gd name="T16" fmla="*/ 7 w 72"/>
                  <a:gd name="T17" fmla="*/ 22 h 66"/>
                  <a:gd name="T18" fmla="*/ 6 w 72"/>
                  <a:gd name="T19" fmla="*/ 22 h 66"/>
                  <a:gd name="T20" fmla="*/ 3 w 72"/>
                  <a:gd name="T21" fmla="*/ 39 h 66"/>
                  <a:gd name="T22" fmla="*/ 3 w 72"/>
                  <a:gd name="T23" fmla="*/ 39 h 66"/>
                  <a:gd name="T24" fmla="*/ 1 w 72"/>
                  <a:gd name="T25" fmla="*/ 48 h 66"/>
                  <a:gd name="T26" fmla="*/ 3 w 72"/>
                  <a:gd name="T27" fmla="*/ 47 h 66"/>
                  <a:gd name="T28" fmla="*/ 4 w 72"/>
                  <a:gd name="T29" fmla="*/ 47 h 66"/>
                  <a:gd name="T30" fmla="*/ 6 w 72"/>
                  <a:gd name="T31" fmla="*/ 48 h 66"/>
                  <a:gd name="T32" fmla="*/ 7 w 72"/>
                  <a:gd name="T33" fmla="*/ 51 h 66"/>
                  <a:gd name="T34" fmla="*/ 7 w 72"/>
                  <a:gd name="T35" fmla="*/ 54 h 66"/>
                  <a:gd name="T36" fmla="*/ 9 w 72"/>
                  <a:gd name="T37" fmla="*/ 52 h 66"/>
                  <a:gd name="T38" fmla="*/ 18 w 72"/>
                  <a:gd name="T39" fmla="*/ 12 h 66"/>
                  <a:gd name="T40" fmla="*/ 18 w 72"/>
                  <a:gd name="T41" fmla="*/ 12 h 66"/>
                  <a:gd name="T42" fmla="*/ 18 w 72"/>
                  <a:gd name="T43" fmla="*/ 12 h 66"/>
                  <a:gd name="T44" fmla="*/ 29 w 72"/>
                  <a:gd name="T45" fmla="*/ 8 h 66"/>
                  <a:gd name="T46" fmla="*/ 50 w 72"/>
                  <a:gd name="T47" fmla="*/ 13 h 66"/>
                  <a:gd name="T48" fmla="*/ 60 w 72"/>
                  <a:gd name="T49" fmla="*/ 32 h 66"/>
                  <a:gd name="T50" fmla="*/ 60 w 72"/>
                  <a:gd name="T51" fmla="*/ 32 h 66"/>
                  <a:gd name="T52" fmla="*/ 59 w 72"/>
                  <a:gd name="T53" fmla="*/ 37 h 66"/>
                  <a:gd name="T54" fmla="*/ 58 w 72"/>
                  <a:gd name="T55" fmla="*/ 51 h 66"/>
                  <a:gd name="T56" fmla="*/ 59 w 72"/>
                  <a:gd name="T57" fmla="*/ 66 h 66"/>
                  <a:gd name="T58" fmla="*/ 60 w 72"/>
                  <a:gd name="T59" fmla="*/ 64 h 66"/>
                  <a:gd name="T60" fmla="*/ 61 w 72"/>
                  <a:gd name="T61" fmla="*/ 64 h 66"/>
                  <a:gd name="T62" fmla="*/ 66 w 72"/>
                  <a:gd name="T63" fmla="*/ 65 h 66"/>
                  <a:gd name="T64" fmla="*/ 65 w 72"/>
                  <a:gd name="T65" fmla="*/ 64 h 66"/>
                  <a:gd name="T66" fmla="*/ 65 w 72"/>
                  <a:gd name="T67" fmla="*/ 52 h 66"/>
                  <a:gd name="T68" fmla="*/ 65 w 72"/>
                  <a:gd name="T69" fmla="*/ 52 h 66"/>
                  <a:gd name="T70" fmla="*/ 66 w 72"/>
                  <a:gd name="T71" fmla="*/ 40 h 66"/>
                  <a:gd name="T72" fmla="*/ 69 w 72"/>
                  <a:gd name="T73" fmla="*/ 18 h 66"/>
                  <a:gd name="T74" fmla="*/ 41 w 72"/>
                  <a:gd name="T75" fmla="*/ 2 h 66"/>
                  <a:gd name="T76" fmla="*/ 27 w 72"/>
                  <a:gd name="T77" fmla="*/ 0 h 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72" h="66">
                    <a:moveTo>
                      <a:pt x="0" y="49"/>
                    </a:moveTo>
                    <a:cubicBezTo>
                      <a:pt x="0" y="50"/>
                      <a:pt x="0" y="51"/>
                      <a:pt x="1" y="52"/>
                    </a:cubicBezTo>
                    <a:cubicBezTo>
                      <a:pt x="1" y="52"/>
                      <a:pt x="1" y="52"/>
                      <a:pt x="1" y="52"/>
                    </a:cubicBezTo>
                    <a:cubicBezTo>
                      <a:pt x="1" y="52"/>
                      <a:pt x="1" y="52"/>
                      <a:pt x="1" y="52"/>
                    </a:cubicBezTo>
                    <a:cubicBezTo>
                      <a:pt x="1" y="51"/>
                      <a:pt x="0" y="50"/>
                      <a:pt x="0" y="49"/>
                    </a:cubicBezTo>
                    <a:moveTo>
                      <a:pt x="27" y="0"/>
                    </a:moveTo>
                    <a:cubicBezTo>
                      <a:pt x="22" y="0"/>
                      <a:pt x="17" y="1"/>
                      <a:pt x="13" y="5"/>
                    </a:cubicBezTo>
                    <a:cubicBezTo>
                      <a:pt x="9" y="9"/>
                      <a:pt x="8" y="16"/>
                      <a:pt x="7" y="22"/>
                    </a:cubicBezTo>
                    <a:cubicBezTo>
                      <a:pt x="7" y="22"/>
                      <a:pt x="7" y="22"/>
                      <a:pt x="7" y="22"/>
                    </a:cubicBezTo>
                    <a:cubicBezTo>
                      <a:pt x="7" y="22"/>
                      <a:pt x="7" y="22"/>
                      <a:pt x="6" y="22"/>
                    </a:cubicBezTo>
                    <a:cubicBezTo>
                      <a:pt x="5" y="28"/>
                      <a:pt x="4" y="34"/>
                      <a:pt x="3" y="39"/>
                    </a:cubicBezTo>
                    <a:cubicBezTo>
                      <a:pt x="3" y="39"/>
                      <a:pt x="3" y="39"/>
                      <a:pt x="3" y="39"/>
                    </a:cubicBezTo>
                    <a:cubicBezTo>
                      <a:pt x="2" y="42"/>
                      <a:pt x="2" y="45"/>
                      <a:pt x="1" y="48"/>
                    </a:cubicBezTo>
                    <a:cubicBezTo>
                      <a:pt x="1" y="48"/>
                      <a:pt x="2" y="47"/>
                      <a:pt x="3" y="47"/>
                    </a:cubicBezTo>
                    <a:cubicBezTo>
                      <a:pt x="3" y="47"/>
                      <a:pt x="3" y="47"/>
                      <a:pt x="4" y="47"/>
                    </a:cubicBezTo>
                    <a:cubicBezTo>
                      <a:pt x="5" y="48"/>
                      <a:pt x="5" y="48"/>
                      <a:pt x="6" y="48"/>
                    </a:cubicBezTo>
                    <a:cubicBezTo>
                      <a:pt x="7" y="49"/>
                      <a:pt x="7" y="50"/>
                      <a:pt x="7" y="51"/>
                    </a:cubicBezTo>
                    <a:cubicBezTo>
                      <a:pt x="7" y="52"/>
                      <a:pt x="7" y="53"/>
                      <a:pt x="7" y="54"/>
                    </a:cubicBezTo>
                    <a:cubicBezTo>
                      <a:pt x="7" y="54"/>
                      <a:pt x="8" y="53"/>
                      <a:pt x="9" y="52"/>
                    </a:cubicBezTo>
                    <a:cubicBezTo>
                      <a:pt x="14" y="41"/>
                      <a:pt x="11" y="23"/>
                      <a:pt x="18" y="12"/>
                    </a:cubicBezTo>
                    <a:cubicBezTo>
                      <a:pt x="18" y="12"/>
                      <a:pt x="18" y="12"/>
                      <a:pt x="18" y="12"/>
                    </a:cubicBezTo>
                    <a:cubicBezTo>
                      <a:pt x="18" y="12"/>
                      <a:pt x="18" y="12"/>
                      <a:pt x="18" y="12"/>
                    </a:cubicBezTo>
                    <a:cubicBezTo>
                      <a:pt x="20" y="9"/>
                      <a:pt x="24" y="8"/>
                      <a:pt x="29" y="8"/>
                    </a:cubicBezTo>
                    <a:cubicBezTo>
                      <a:pt x="36" y="8"/>
                      <a:pt x="45" y="11"/>
                      <a:pt x="50" y="13"/>
                    </a:cubicBezTo>
                    <a:cubicBezTo>
                      <a:pt x="61" y="17"/>
                      <a:pt x="62" y="22"/>
                      <a:pt x="60" y="32"/>
                    </a:cubicBezTo>
                    <a:cubicBezTo>
                      <a:pt x="60" y="32"/>
                      <a:pt x="60" y="32"/>
                      <a:pt x="60" y="32"/>
                    </a:cubicBezTo>
                    <a:cubicBezTo>
                      <a:pt x="59" y="34"/>
                      <a:pt x="59" y="35"/>
                      <a:pt x="59" y="37"/>
                    </a:cubicBezTo>
                    <a:cubicBezTo>
                      <a:pt x="58" y="42"/>
                      <a:pt x="58" y="47"/>
                      <a:pt x="58" y="51"/>
                    </a:cubicBezTo>
                    <a:cubicBezTo>
                      <a:pt x="57" y="56"/>
                      <a:pt x="56" y="62"/>
                      <a:pt x="59" y="66"/>
                    </a:cubicBezTo>
                    <a:cubicBezTo>
                      <a:pt x="59" y="65"/>
                      <a:pt x="59" y="64"/>
                      <a:pt x="60" y="64"/>
                    </a:cubicBezTo>
                    <a:cubicBezTo>
                      <a:pt x="61" y="64"/>
                      <a:pt x="61" y="64"/>
                      <a:pt x="61" y="64"/>
                    </a:cubicBezTo>
                    <a:cubicBezTo>
                      <a:pt x="63" y="65"/>
                      <a:pt x="65" y="65"/>
                      <a:pt x="66" y="65"/>
                    </a:cubicBezTo>
                    <a:cubicBezTo>
                      <a:pt x="66" y="65"/>
                      <a:pt x="66" y="64"/>
                      <a:pt x="65" y="64"/>
                    </a:cubicBezTo>
                    <a:cubicBezTo>
                      <a:pt x="65" y="64"/>
                      <a:pt x="65" y="52"/>
                      <a:pt x="65" y="52"/>
                    </a:cubicBezTo>
                    <a:cubicBezTo>
                      <a:pt x="65" y="52"/>
                      <a:pt x="65" y="52"/>
                      <a:pt x="65" y="52"/>
                    </a:cubicBezTo>
                    <a:cubicBezTo>
                      <a:pt x="65" y="48"/>
                      <a:pt x="66" y="44"/>
                      <a:pt x="66" y="40"/>
                    </a:cubicBezTo>
                    <a:cubicBezTo>
                      <a:pt x="67" y="33"/>
                      <a:pt x="72" y="25"/>
                      <a:pt x="69" y="18"/>
                    </a:cubicBezTo>
                    <a:cubicBezTo>
                      <a:pt x="65" y="7"/>
                      <a:pt x="50" y="4"/>
                      <a:pt x="41" y="2"/>
                    </a:cubicBezTo>
                    <a:cubicBezTo>
                      <a:pt x="36" y="1"/>
                      <a:pt x="32" y="0"/>
                      <a:pt x="27" y="0"/>
                    </a:cubicBezTo>
                  </a:path>
                </a:pathLst>
              </a:custGeom>
              <a:solidFill>
                <a:srgbClr val="544D4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82" name="Freeform 28">
                <a:extLst>
                  <a:ext uri="{FF2B5EF4-FFF2-40B4-BE49-F238E27FC236}">
                    <a16:creationId xmlns:a16="http://schemas.microsoft.com/office/drawing/2014/main" id="{6A692451-9890-4A97-8407-15EF3617B702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939" y="1888"/>
                <a:ext cx="72" cy="78"/>
              </a:xfrm>
              <a:custGeom>
                <a:avLst/>
                <a:gdLst>
                  <a:gd name="T0" fmla="*/ 19 w 68"/>
                  <a:gd name="T1" fmla="*/ 0 h 73"/>
                  <a:gd name="T2" fmla="*/ 15 w 68"/>
                  <a:gd name="T3" fmla="*/ 0 h 73"/>
                  <a:gd name="T4" fmla="*/ 4 w 68"/>
                  <a:gd name="T5" fmla="*/ 15 h 73"/>
                  <a:gd name="T6" fmla="*/ 4 w 68"/>
                  <a:gd name="T7" fmla="*/ 15 h 73"/>
                  <a:gd name="T8" fmla="*/ 3 w 68"/>
                  <a:gd name="T9" fmla="*/ 22 h 73"/>
                  <a:gd name="T10" fmla="*/ 10 w 68"/>
                  <a:gd name="T11" fmla="*/ 62 h 73"/>
                  <a:gd name="T12" fmla="*/ 33 w 68"/>
                  <a:gd name="T13" fmla="*/ 69 h 73"/>
                  <a:gd name="T14" fmla="*/ 60 w 68"/>
                  <a:gd name="T15" fmla="*/ 73 h 73"/>
                  <a:gd name="T16" fmla="*/ 60 w 68"/>
                  <a:gd name="T17" fmla="*/ 72 h 73"/>
                  <a:gd name="T18" fmla="*/ 64 w 68"/>
                  <a:gd name="T19" fmla="*/ 69 h 73"/>
                  <a:gd name="T20" fmla="*/ 67 w 68"/>
                  <a:gd name="T21" fmla="*/ 70 h 73"/>
                  <a:gd name="T22" fmla="*/ 64 w 68"/>
                  <a:gd name="T23" fmla="*/ 65 h 73"/>
                  <a:gd name="T24" fmla="*/ 63 w 68"/>
                  <a:gd name="T25" fmla="*/ 65 h 73"/>
                  <a:gd name="T26" fmla="*/ 61 w 68"/>
                  <a:gd name="T27" fmla="*/ 65 h 73"/>
                  <a:gd name="T28" fmla="*/ 36 w 68"/>
                  <a:gd name="T29" fmla="*/ 61 h 73"/>
                  <a:gd name="T30" fmla="*/ 12 w 68"/>
                  <a:gd name="T31" fmla="*/ 50 h 73"/>
                  <a:gd name="T32" fmla="*/ 11 w 68"/>
                  <a:gd name="T33" fmla="*/ 24 h 73"/>
                  <a:gd name="T34" fmla="*/ 12 w 68"/>
                  <a:gd name="T35" fmla="*/ 13 h 73"/>
                  <a:gd name="T36" fmla="*/ 12 w 68"/>
                  <a:gd name="T37" fmla="*/ 13 h 73"/>
                  <a:gd name="T38" fmla="*/ 20 w 68"/>
                  <a:gd name="T39" fmla="*/ 8 h 73"/>
                  <a:gd name="T40" fmla="*/ 24 w 68"/>
                  <a:gd name="T41" fmla="*/ 8 h 73"/>
                  <a:gd name="T42" fmla="*/ 54 w 68"/>
                  <a:gd name="T43" fmla="*/ 13 h 73"/>
                  <a:gd name="T44" fmla="*/ 54 w 68"/>
                  <a:gd name="T45" fmla="*/ 13 h 73"/>
                  <a:gd name="T46" fmla="*/ 57 w 68"/>
                  <a:gd name="T47" fmla="*/ 13 h 73"/>
                  <a:gd name="T48" fmla="*/ 57 w 68"/>
                  <a:gd name="T49" fmla="*/ 13 h 73"/>
                  <a:gd name="T50" fmla="*/ 66 w 68"/>
                  <a:gd name="T51" fmla="*/ 7 h 73"/>
                  <a:gd name="T52" fmla="*/ 66 w 68"/>
                  <a:gd name="T53" fmla="*/ 4 h 73"/>
                  <a:gd name="T54" fmla="*/ 65 w 68"/>
                  <a:gd name="T55" fmla="*/ 1 h 73"/>
                  <a:gd name="T56" fmla="*/ 63 w 68"/>
                  <a:gd name="T57" fmla="*/ 0 h 73"/>
                  <a:gd name="T58" fmla="*/ 62 w 68"/>
                  <a:gd name="T59" fmla="*/ 0 h 73"/>
                  <a:gd name="T60" fmla="*/ 60 w 68"/>
                  <a:gd name="T61" fmla="*/ 1 h 73"/>
                  <a:gd name="T62" fmla="*/ 59 w 68"/>
                  <a:gd name="T63" fmla="*/ 2 h 73"/>
                  <a:gd name="T64" fmla="*/ 60 w 68"/>
                  <a:gd name="T65" fmla="*/ 5 h 73"/>
                  <a:gd name="T66" fmla="*/ 60 w 68"/>
                  <a:gd name="T67" fmla="*/ 5 h 73"/>
                  <a:gd name="T68" fmla="*/ 60 w 68"/>
                  <a:gd name="T69" fmla="*/ 5 h 73"/>
                  <a:gd name="T70" fmla="*/ 57 w 68"/>
                  <a:gd name="T71" fmla="*/ 6 h 73"/>
                  <a:gd name="T72" fmla="*/ 56 w 68"/>
                  <a:gd name="T73" fmla="*/ 6 h 73"/>
                  <a:gd name="T74" fmla="*/ 44 w 68"/>
                  <a:gd name="T75" fmla="*/ 4 h 73"/>
                  <a:gd name="T76" fmla="*/ 37 w 68"/>
                  <a:gd name="T77" fmla="*/ 2 h 73"/>
                  <a:gd name="T78" fmla="*/ 19 w 68"/>
                  <a:gd name="T79" fmla="*/ 0 h 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</a:cxnLst>
                <a:rect l="0" t="0" r="r" b="b"/>
                <a:pathLst>
                  <a:path w="68" h="73">
                    <a:moveTo>
                      <a:pt x="19" y="0"/>
                    </a:moveTo>
                    <a:cubicBezTo>
                      <a:pt x="17" y="0"/>
                      <a:pt x="16" y="0"/>
                      <a:pt x="15" y="0"/>
                    </a:cubicBezTo>
                    <a:cubicBezTo>
                      <a:pt x="7" y="2"/>
                      <a:pt x="5" y="8"/>
                      <a:pt x="4" y="15"/>
                    </a:cubicBezTo>
                    <a:cubicBezTo>
                      <a:pt x="4" y="15"/>
                      <a:pt x="4" y="15"/>
                      <a:pt x="4" y="15"/>
                    </a:cubicBezTo>
                    <a:cubicBezTo>
                      <a:pt x="3" y="17"/>
                      <a:pt x="3" y="20"/>
                      <a:pt x="3" y="22"/>
                    </a:cubicBezTo>
                    <a:cubicBezTo>
                      <a:pt x="3" y="33"/>
                      <a:pt x="0" y="54"/>
                      <a:pt x="10" y="62"/>
                    </a:cubicBezTo>
                    <a:cubicBezTo>
                      <a:pt x="16" y="68"/>
                      <a:pt x="26" y="67"/>
                      <a:pt x="33" y="69"/>
                    </a:cubicBezTo>
                    <a:cubicBezTo>
                      <a:pt x="42" y="71"/>
                      <a:pt x="51" y="73"/>
                      <a:pt x="60" y="73"/>
                    </a:cubicBezTo>
                    <a:cubicBezTo>
                      <a:pt x="60" y="73"/>
                      <a:pt x="60" y="72"/>
                      <a:pt x="60" y="72"/>
                    </a:cubicBezTo>
                    <a:cubicBezTo>
                      <a:pt x="61" y="70"/>
                      <a:pt x="62" y="69"/>
                      <a:pt x="64" y="69"/>
                    </a:cubicBezTo>
                    <a:cubicBezTo>
                      <a:pt x="65" y="69"/>
                      <a:pt x="66" y="69"/>
                      <a:pt x="67" y="70"/>
                    </a:cubicBezTo>
                    <a:cubicBezTo>
                      <a:pt x="68" y="68"/>
                      <a:pt x="67" y="65"/>
                      <a:pt x="64" y="65"/>
                    </a:cubicBezTo>
                    <a:cubicBezTo>
                      <a:pt x="64" y="65"/>
                      <a:pt x="63" y="65"/>
                      <a:pt x="63" y="65"/>
                    </a:cubicBezTo>
                    <a:cubicBezTo>
                      <a:pt x="63" y="65"/>
                      <a:pt x="62" y="65"/>
                      <a:pt x="61" y="65"/>
                    </a:cubicBezTo>
                    <a:cubicBezTo>
                      <a:pt x="52" y="65"/>
                      <a:pt x="44" y="63"/>
                      <a:pt x="36" y="61"/>
                    </a:cubicBezTo>
                    <a:cubicBezTo>
                      <a:pt x="26" y="59"/>
                      <a:pt x="16" y="61"/>
                      <a:pt x="12" y="50"/>
                    </a:cubicBezTo>
                    <a:cubicBezTo>
                      <a:pt x="10" y="42"/>
                      <a:pt x="11" y="32"/>
                      <a:pt x="11" y="24"/>
                    </a:cubicBezTo>
                    <a:cubicBezTo>
                      <a:pt x="11" y="19"/>
                      <a:pt x="10" y="16"/>
                      <a:pt x="12" y="13"/>
                    </a:cubicBezTo>
                    <a:cubicBezTo>
                      <a:pt x="12" y="13"/>
                      <a:pt x="12" y="13"/>
                      <a:pt x="12" y="13"/>
                    </a:cubicBezTo>
                    <a:cubicBezTo>
                      <a:pt x="13" y="11"/>
                      <a:pt x="15" y="9"/>
                      <a:pt x="20" y="8"/>
                    </a:cubicBezTo>
                    <a:cubicBezTo>
                      <a:pt x="22" y="8"/>
                      <a:pt x="23" y="8"/>
                      <a:pt x="24" y="8"/>
                    </a:cubicBezTo>
                    <a:cubicBezTo>
                      <a:pt x="35" y="8"/>
                      <a:pt x="44" y="13"/>
                      <a:pt x="54" y="13"/>
                    </a:cubicBezTo>
                    <a:cubicBezTo>
                      <a:pt x="54" y="13"/>
                      <a:pt x="54" y="13"/>
                      <a:pt x="54" y="13"/>
                    </a:cubicBezTo>
                    <a:cubicBezTo>
                      <a:pt x="55" y="13"/>
                      <a:pt x="56" y="13"/>
                      <a:pt x="57" y="13"/>
                    </a:cubicBezTo>
                    <a:cubicBezTo>
                      <a:pt x="57" y="13"/>
                      <a:pt x="57" y="13"/>
                      <a:pt x="57" y="13"/>
                    </a:cubicBezTo>
                    <a:cubicBezTo>
                      <a:pt x="61" y="12"/>
                      <a:pt x="64" y="10"/>
                      <a:pt x="66" y="7"/>
                    </a:cubicBezTo>
                    <a:cubicBezTo>
                      <a:pt x="66" y="6"/>
                      <a:pt x="66" y="5"/>
                      <a:pt x="66" y="4"/>
                    </a:cubicBezTo>
                    <a:cubicBezTo>
                      <a:pt x="66" y="3"/>
                      <a:pt x="66" y="2"/>
                      <a:pt x="65" y="1"/>
                    </a:cubicBezTo>
                    <a:cubicBezTo>
                      <a:pt x="64" y="1"/>
                      <a:pt x="64" y="1"/>
                      <a:pt x="63" y="0"/>
                    </a:cubicBezTo>
                    <a:cubicBezTo>
                      <a:pt x="62" y="0"/>
                      <a:pt x="62" y="0"/>
                      <a:pt x="62" y="0"/>
                    </a:cubicBezTo>
                    <a:cubicBezTo>
                      <a:pt x="61" y="0"/>
                      <a:pt x="60" y="1"/>
                      <a:pt x="60" y="1"/>
                    </a:cubicBezTo>
                    <a:cubicBezTo>
                      <a:pt x="60" y="2"/>
                      <a:pt x="59" y="2"/>
                      <a:pt x="59" y="2"/>
                    </a:cubicBezTo>
                    <a:cubicBezTo>
                      <a:pt x="59" y="3"/>
                      <a:pt x="60" y="4"/>
                      <a:pt x="60" y="5"/>
                    </a:cubicBezTo>
                    <a:cubicBezTo>
                      <a:pt x="60" y="5"/>
                      <a:pt x="60" y="5"/>
                      <a:pt x="60" y="5"/>
                    </a:cubicBezTo>
                    <a:cubicBezTo>
                      <a:pt x="60" y="5"/>
                      <a:pt x="60" y="5"/>
                      <a:pt x="60" y="5"/>
                    </a:cubicBezTo>
                    <a:cubicBezTo>
                      <a:pt x="59" y="5"/>
                      <a:pt x="58" y="6"/>
                      <a:pt x="57" y="6"/>
                    </a:cubicBezTo>
                    <a:cubicBezTo>
                      <a:pt x="57" y="6"/>
                      <a:pt x="57" y="6"/>
                      <a:pt x="56" y="6"/>
                    </a:cubicBezTo>
                    <a:cubicBezTo>
                      <a:pt x="52" y="6"/>
                      <a:pt x="48" y="5"/>
                      <a:pt x="44" y="4"/>
                    </a:cubicBezTo>
                    <a:cubicBezTo>
                      <a:pt x="42" y="3"/>
                      <a:pt x="39" y="2"/>
                      <a:pt x="37" y="2"/>
                    </a:cubicBezTo>
                    <a:cubicBezTo>
                      <a:pt x="32" y="1"/>
                      <a:pt x="24" y="0"/>
                      <a:pt x="19" y="0"/>
                    </a:cubicBezTo>
                  </a:path>
                </a:pathLst>
              </a:custGeom>
              <a:solidFill>
                <a:srgbClr val="544D4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83" name="Freeform 29">
                <a:extLst>
                  <a:ext uri="{FF2B5EF4-FFF2-40B4-BE49-F238E27FC236}">
                    <a16:creationId xmlns:a16="http://schemas.microsoft.com/office/drawing/2014/main" id="{07FE08C6-FFDF-43FF-A712-572EC8C35C4D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7061" y="1906"/>
                <a:ext cx="71" cy="75"/>
              </a:xfrm>
              <a:custGeom>
                <a:avLst/>
                <a:gdLst>
                  <a:gd name="T0" fmla="*/ 4 w 67"/>
                  <a:gd name="T1" fmla="*/ 0 h 70"/>
                  <a:gd name="T2" fmla="*/ 3 w 67"/>
                  <a:gd name="T3" fmla="*/ 2 h 70"/>
                  <a:gd name="T4" fmla="*/ 3 w 67"/>
                  <a:gd name="T5" fmla="*/ 3 h 70"/>
                  <a:gd name="T6" fmla="*/ 58 w 67"/>
                  <a:gd name="T7" fmla="*/ 27 h 70"/>
                  <a:gd name="T8" fmla="*/ 58 w 67"/>
                  <a:gd name="T9" fmla="*/ 43 h 70"/>
                  <a:gd name="T10" fmla="*/ 55 w 67"/>
                  <a:gd name="T11" fmla="*/ 56 h 70"/>
                  <a:gd name="T12" fmla="*/ 45 w 67"/>
                  <a:gd name="T13" fmla="*/ 62 h 70"/>
                  <a:gd name="T14" fmla="*/ 43 w 67"/>
                  <a:gd name="T15" fmla="*/ 62 h 70"/>
                  <a:gd name="T16" fmla="*/ 29 w 67"/>
                  <a:gd name="T17" fmla="*/ 60 h 70"/>
                  <a:gd name="T18" fmla="*/ 17 w 67"/>
                  <a:gd name="T19" fmla="*/ 59 h 70"/>
                  <a:gd name="T20" fmla="*/ 5 w 67"/>
                  <a:gd name="T21" fmla="*/ 60 h 70"/>
                  <a:gd name="T22" fmla="*/ 3 w 67"/>
                  <a:gd name="T23" fmla="*/ 66 h 70"/>
                  <a:gd name="T24" fmla="*/ 5 w 67"/>
                  <a:gd name="T25" fmla="*/ 63 h 70"/>
                  <a:gd name="T26" fmla="*/ 7 w 67"/>
                  <a:gd name="T27" fmla="*/ 62 h 70"/>
                  <a:gd name="T28" fmla="*/ 8 w 67"/>
                  <a:gd name="T29" fmla="*/ 65 h 70"/>
                  <a:gd name="T30" fmla="*/ 7 w 67"/>
                  <a:gd name="T31" fmla="*/ 67 h 70"/>
                  <a:gd name="T32" fmla="*/ 35 w 67"/>
                  <a:gd name="T33" fmla="*/ 69 h 70"/>
                  <a:gd name="T34" fmla="*/ 44 w 67"/>
                  <a:gd name="T35" fmla="*/ 70 h 70"/>
                  <a:gd name="T36" fmla="*/ 52 w 67"/>
                  <a:gd name="T37" fmla="*/ 69 h 70"/>
                  <a:gd name="T38" fmla="*/ 54 w 67"/>
                  <a:gd name="T39" fmla="*/ 69 h 70"/>
                  <a:gd name="T40" fmla="*/ 66 w 67"/>
                  <a:gd name="T41" fmla="*/ 38 h 70"/>
                  <a:gd name="T42" fmla="*/ 54 w 67"/>
                  <a:gd name="T43" fmla="*/ 8 h 70"/>
                  <a:gd name="T44" fmla="*/ 31 w 67"/>
                  <a:gd name="T45" fmla="*/ 4 h 70"/>
                  <a:gd name="T46" fmla="*/ 16 w 67"/>
                  <a:gd name="T47" fmla="*/ 1 h 70"/>
                  <a:gd name="T48" fmla="*/ 14 w 67"/>
                  <a:gd name="T49" fmla="*/ 1 h 70"/>
                  <a:gd name="T50" fmla="*/ 12 w 67"/>
                  <a:gd name="T51" fmla="*/ 1 h 70"/>
                  <a:gd name="T52" fmla="*/ 10 w 67"/>
                  <a:gd name="T53" fmla="*/ 1 h 70"/>
                  <a:gd name="T54" fmla="*/ 10 w 67"/>
                  <a:gd name="T55" fmla="*/ 1 h 70"/>
                  <a:gd name="T56" fmla="*/ 5 w 67"/>
                  <a:gd name="T57" fmla="*/ 0 h 70"/>
                  <a:gd name="T58" fmla="*/ 4 w 67"/>
                  <a:gd name="T59" fmla="*/ 0 h 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67" h="70">
                    <a:moveTo>
                      <a:pt x="4" y="0"/>
                    </a:moveTo>
                    <a:cubicBezTo>
                      <a:pt x="3" y="0"/>
                      <a:pt x="3" y="1"/>
                      <a:pt x="3" y="2"/>
                    </a:cubicBezTo>
                    <a:cubicBezTo>
                      <a:pt x="3" y="2"/>
                      <a:pt x="3" y="2"/>
                      <a:pt x="3" y="3"/>
                    </a:cubicBezTo>
                    <a:cubicBezTo>
                      <a:pt x="16" y="18"/>
                      <a:pt x="55" y="3"/>
                      <a:pt x="58" y="27"/>
                    </a:cubicBezTo>
                    <a:cubicBezTo>
                      <a:pt x="59" y="33"/>
                      <a:pt x="58" y="38"/>
                      <a:pt x="58" y="43"/>
                    </a:cubicBezTo>
                    <a:cubicBezTo>
                      <a:pt x="57" y="48"/>
                      <a:pt x="57" y="53"/>
                      <a:pt x="55" y="56"/>
                    </a:cubicBezTo>
                    <a:cubicBezTo>
                      <a:pt x="53" y="59"/>
                      <a:pt x="50" y="61"/>
                      <a:pt x="45" y="62"/>
                    </a:cubicBezTo>
                    <a:cubicBezTo>
                      <a:pt x="44" y="62"/>
                      <a:pt x="44" y="62"/>
                      <a:pt x="43" y="62"/>
                    </a:cubicBezTo>
                    <a:cubicBezTo>
                      <a:pt x="38" y="62"/>
                      <a:pt x="34" y="60"/>
                      <a:pt x="29" y="60"/>
                    </a:cubicBezTo>
                    <a:cubicBezTo>
                      <a:pt x="25" y="59"/>
                      <a:pt x="21" y="59"/>
                      <a:pt x="17" y="59"/>
                    </a:cubicBezTo>
                    <a:cubicBezTo>
                      <a:pt x="13" y="59"/>
                      <a:pt x="8" y="59"/>
                      <a:pt x="5" y="60"/>
                    </a:cubicBezTo>
                    <a:cubicBezTo>
                      <a:pt x="1" y="60"/>
                      <a:pt x="0" y="65"/>
                      <a:pt x="3" y="66"/>
                    </a:cubicBezTo>
                    <a:cubicBezTo>
                      <a:pt x="4" y="65"/>
                      <a:pt x="4" y="64"/>
                      <a:pt x="5" y="63"/>
                    </a:cubicBezTo>
                    <a:cubicBezTo>
                      <a:pt x="5" y="62"/>
                      <a:pt x="6" y="62"/>
                      <a:pt x="7" y="62"/>
                    </a:cubicBezTo>
                    <a:cubicBezTo>
                      <a:pt x="8" y="62"/>
                      <a:pt x="9" y="63"/>
                      <a:pt x="8" y="65"/>
                    </a:cubicBezTo>
                    <a:cubicBezTo>
                      <a:pt x="8" y="66"/>
                      <a:pt x="8" y="66"/>
                      <a:pt x="7" y="67"/>
                    </a:cubicBezTo>
                    <a:cubicBezTo>
                      <a:pt x="17" y="68"/>
                      <a:pt x="26" y="68"/>
                      <a:pt x="35" y="69"/>
                    </a:cubicBezTo>
                    <a:cubicBezTo>
                      <a:pt x="38" y="70"/>
                      <a:pt x="41" y="70"/>
                      <a:pt x="44" y="70"/>
                    </a:cubicBezTo>
                    <a:cubicBezTo>
                      <a:pt x="47" y="70"/>
                      <a:pt x="49" y="70"/>
                      <a:pt x="52" y="69"/>
                    </a:cubicBezTo>
                    <a:cubicBezTo>
                      <a:pt x="53" y="69"/>
                      <a:pt x="53" y="69"/>
                      <a:pt x="54" y="69"/>
                    </a:cubicBezTo>
                    <a:cubicBezTo>
                      <a:pt x="66" y="64"/>
                      <a:pt x="65" y="49"/>
                      <a:pt x="66" y="38"/>
                    </a:cubicBezTo>
                    <a:cubicBezTo>
                      <a:pt x="67" y="26"/>
                      <a:pt x="66" y="13"/>
                      <a:pt x="54" y="8"/>
                    </a:cubicBezTo>
                    <a:cubicBezTo>
                      <a:pt x="46" y="6"/>
                      <a:pt x="39" y="5"/>
                      <a:pt x="31" y="4"/>
                    </a:cubicBezTo>
                    <a:cubicBezTo>
                      <a:pt x="26" y="3"/>
                      <a:pt x="21" y="1"/>
                      <a:pt x="16" y="1"/>
                    </a:cubicBezTo>
                    <a:cubicBezTo>
                      <a:pt x="15" y="1"/>
                      <a:pt x="14" y="1"/>
                      <a:pt x="14" y="1"/>
                    </a:cubicBezTo>
                    <a:cubicBezTo>
                      <a:pt x="13" y="1"/>
                      <a:pt x="12" y="1"/>
                      <a:pt x="12" y="1"/>
                    </a:cubicBezTo>
                    <a:cubicBezTo>
                      <a:pt x="11" y="1"/>
                      <a:pt x="11" y="1"/>
                      <a:pt x="10" y="1"/>
                    </a:cubicBezTo>
                    <a:cubicBezTo>
                      <a:pt x="10" y="1"/>
                      <a:pt x="10" y="1"/>
                      <a:pt x="10" y="1"/>
                    </a:cubicBezTo>
                    <a:cubicBezTo>
                      <a:pt x="9" y="1"/>
                      <a:pt x="7" y="1"/>
                      <a:pt x="5" y="0"/>
                    </a:cubicBezTo>
                    <a:cubicBezTo>
                      <a:pt x="5" y="0"/>
                      <a:pt x="5" y="0"/>
                      <a:pt x="4" y="0"/>
                    </a:cubicBezTo>
                  </a:path>
                </a:pathLst>
              </a:custGeom>
              <a:solidFill>
                <a:srgbClr val="544D4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84" name="Freeform 30">
                <a:extLst>
                  <a:ext uri="{FF2B5EF4-FFF2-40B4-BE49-F238E27FC236}">
                    <a16:creationId xmlns:a16="http://schemas.microsoft.com/office/drawing/2014/main" id="{E52A5CD0-1EA1-4BEE-B90C-80468D2477BE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994" y="1962"/>
                <a:ext cx="77" cy="69"/>
              </a:xfrm>
              <a:custGeom>
                <a:avLst/>
                <a:gdLst>
                  <a:gd name="T0" fmla="*/ 12 w 72"/>
                  <a:gd name="T1" fmla="*/ 0 h 66"/>
                  <a:gd name="T2" fmla="*/ 8 w 72"/>
                  <a:gd name="T3" fmla="*/ 3 h 66"/>
                  <a:gd name="T4" fmla="*/ 8 w 72"/>
                  <a:gd name="T5" fmla="*/ 4 h 66"/>
                  <a:gd name="T6" fmla="*/ 6 w 72"/>
                  <a:gd name="T7" fmla="*/ 15 h 66"/>
                  <a:gd name="T8" fmla="*/ 6 w 72"/>
                  <a:gd name="T9" fmla="*/ 15 h 66"/>
                  <a:gd name="T10" fmla="*/ 2 w 72"/>
                  <a:gd name="T11" fmla="*/ 31 h 66"/>
                  <a:gd name="T12" fmla="*/ 1 w 72"/>
                  <a:gd name="T13" fmla="*/ 39 h 66"/>
                  <a:gd name="T14" fmla="*/ 1 w 72"/>
                  <a:gd name="T15" fmla="*/ 39 h 66"/>
                  <a:gd name="T16" fmla="*/ 2 w 72"/>
                  <a:gd name="T17" fmla="*/ 48 h 66"/>
                  <a:gd name="T18" fmla="*/ 10 w 72"/>
                  <a:gd name="T19" fmla="*/ 56 h 66"/>
                  <a:gd name="T20" fmla="*/ 36 w 72"/>
                  <a:gd name="T21" fmla="*/ 65 h 66"/>
                  <a:gd name="T22" fmla="*/ 48 w 72"/>
                  <a:gd name="T23" fmla="*/ 66 h 66"/>
                  <a:gd name="T24" fmla="*/ 56 w 72"/>
                  <a:gd name="T25" fmla="*/ 65 h 66"/>
                  <a:gd name="T26" fmla="*/ 67 w 72"/>
                  <a:gd name="T27" fmla="*/ 56 h 66"/>
                  <a:gd name="T28" fmla="*/ 69 w 72"/>
                  <a:gd name="T29" fmla="*/ 20 h 66"/>
                  <a:gd name="T30" fmla="*/ 70 w 72"/>
                  <a:gd name="T31" fmla="*/ 15 h 66"/>
                  <a:gd name="T32" fmla="*/ 71 w 72"/>
                  <a:gd name="T33" fmla="*/ 13 h 66"/>
                  <a:gd name="T34" fmla="*/ 70 w 72"/>
                  <a:gd name="T35" fmla="*/ 10 h 66"/>
                  <a:gd name="T36" fmla="*/ 68 w 72"/>
                  <a:gd name="T37" fmla="*/ 11 h 66"/>
                  <a:gd name="T38" fmla="*/ 66 w 72"/>
                  <a:gd name="T39" fmla="*/ 14 h 66"/>
                  <a:gd name="T40" fmla="*/ 64 w 72"/>
                  <a:gd name="T41" fmla="*/ 20 h 66"/>
                  <a:gd name="T42" fmla="*/ 63 w 72"/>
                  <a:gd name="T43" fmla="*/ 35 h 66"/>
                  <a:gd name="T44" fmla="*/ 59 w 72"/>
                  <a:gd name="T45" fmla="*/ 54 h 66"/>
                  <a:gd name="T46" fmla="*/ 59 w 72"/>
                  <a:gd name="T47" fmla="*/ 54 h 66"/>
                  <a:gd name="T48" fmla="*/ 52 w 72"/>
                  <a:gd name="T49" fmla="*/ 58 h 66"/>
                  <a:gd name="T50" fmla="*/ 45 w 72"/>
                  <a:gd name="T51" fmla="*/ 57 h 66"/>
                  <a:gd name="T52" fmla="*/ 24 w 72"/>
                  <a:gd name="T53" fmla="*/ 51 h 66"/>
                  <a:gd name="T54" fmla="*/ 10 w 72"/>
                  <a:gd name="T55" fmla="*/ 38 h 66"/>
                  <a:gd name="T56" fmla="*/ 16 w 72"/>
                  <a:gd name="T57" fmla="*/ 4 h 66"/>
                  <a:gd name="T58" fmla="*/ 15 w 72"/>
                  <a:gd name="T59" fmla="*/ 1 h 66"/>
                  <a:gd name="T60" fmla="*/ 12 w 72"/>
                  <a:gd name="T61" fmla="*/ 0 h 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72" h="66">
                    <a:moveTo>
                      <a:pt x="12" y="0"/>
                    </a:moveTo>
                    <a:cubicBezTo>
                      <a:pt x="10" y="0"/>
                      <a:pt x="9" y="1"/>
                      <a:pt x="8" y="3"/>
                    </a:cubicBezTo>
                    <a:cubicBezTo>
                      <a:pt x="8" y="3"/>
                      <a:pt x="8" y="4"/>
                      <a:pt x="8" y="4"/>
                    </a:cubicBezTo>
                    <a:cubicBezTo>
                      <a:pt x="7" y="8"/>
                      <a:pt x="6" y="11"/>
                      <a:pt x="6" y="15"/>
                    </a:cubicBezTo>
                    <a:cubicBezTo>
                      <a:pt x="6" y="15"/>
                      <a:pt x="6" y="15"/>
                      <a:pt x="6" y="15"/>
                    </a:cubicBezTo>
                    <a:cubicBezTo>
                      <a:pt x="4" y="20"/>
                      <a:pt x="3" y="26"/>
                      <a:pt x="2" y="31"/>
                    </a:cubicBezTo>
                    <a:cubicBezTo>
                      <a:pt x="1" y="34"/>
                      <a:pt x="1" y="36"/>
                      <a:pt x="1" y="39"/>
                    </a:cubicBezTo>
                    <a:cubicBezTo>
                      <a:pt x="1" y="39"/>
                      <a:pt x="1" y="39"/>
                      <a:pt x="1" y="39"/>
                    </a:cubicBezTo>
                    <a:cubicBezTo>
                      <a:pt x="0" y="42"/>
                      <a:pt x="1" y="45"/>
                      <a:pt x="2" y="48"/>
                    </a:cubicBezTo>
                    <a:cubicBezTo>
                      <a:pt x="4" y="52"/>
                      <a:pt x="6" y="55"/>
                      <a:pt x="10" y="56"/>
                    </a:cubicBezTo>
                    <a:cubicBezTo>
                      <a:pt x="18" y="60"/>
                      <a:pt x="28" y="64"/>
                      <a:pt x="36" y="65"/>
                    </a:cubicBezTo>
                    <a:cubicBezTo>
                      <a:pt x="40" y="66"/>
                      <a:pt x="44" y="66"/>
                      <a:pt x="48" y="66"/>
                    </a:cubicBezTo>
                    <a:cubicBezTo>
                      <a:pt x="51" y="66"/>
                      <a:pt x="54" y="66"/>
                      <a:pt x="56" y="65"/>
                    </a:cubicBezTo>
                    <a:cubicBezTo>
                      <a:pt x="61" y="64"/>
                      <a:pt x="64" y="61"/>
                      <a:pt x="67" y="56"/>
                    </a:cubicBezTo>
                    <a:cubicBezTo>
                      <a:pt x="72" y="44"/>
                      <a:pt x="67" y="32"/>
                      <a:pt x="69" y="20"/>
                    </a:cubicBezTo>
                    <a:cubicBezTo>
                      <a:pt x="70" y="18"/>
                      <a:pt x="70" y="17"/>
                      <a:pt x="70" y="15"/>
                    </a:cubicBezTo>
                    <a:cubicBezTo>
                      <a:pt x="71" y="14"/>
                      <a:pt x="71" y="14"/>
                      <a:pt x="71" y="13"/>
                    </a:cubicBezTo>
                    <a:cubicBezTo>
                      <a:pt x="72" y="11"/>
                      <a:pt x="71" y="10"/>
                      <a:pt x="70" y="10"/>
                    </a:cubicBezTo>
                    <a:cubicBezTo>
                      <a:pt x="69" y="10"/>
                      <a:pt x="68" y="10"/>
                      <a:pt x="68" y="11"/>
                    </a:cubicBezTo>
                    <a:cubicBezTo>
                      <a:pt x="67" y="12"/>
                      <a:pt x="67" y="13"/>
                      <a:pt x="66" y="14"/>
                    </a:cubicBezTo>
                    <a:cubicBezTo>
                      <a:pt x="65" y="16"/>
                      <a:pt x="65" y="18"/>
                      <a:pt x="64" y="20"/>
                    </a:cubicBezTo>
                    <a:cubicBezTo>
                      <a:pt x="63" y="25"/>
                      <a:pt x="63" y="30"/>
                      <a:pt x="63" y="35"/>
                    </a:cubicBezTo>
                    <a:cubicBezTo>
                      <a:pt x="63" y="42"/>
                      <a:pt x="64" y="49"/>
                      <a:pt x="59" y="54"/>
                    </a:cubicBezTo>
                    <a:cubicBezTo>
                      <a:pt x="59" y="54"/>
                      <a:pt x="59" y="54"/>
                      <a:pt x="59" y="54"/>
                    </a:cubicBezTo>
                    <a:cubicBezTo>
                      <a:pt x="56" y="57"/>
                      <a:pt x="54" y="58"/>
                      <a:pt x="52" y="58"/>
                    </a:cubicBezTo>
                    <a:cubicBezTo>
                      <a:pt x="50" y="58"/>
                      <a:pt x="48" y="57"/>
                      <a:pt x="45" y="57"/>
                    </a:cubicBezTo>
                    <a:cubicBezTo>
                      <a:pt x="37" y="56"/>
                      <a:pt x="31" y="53"/>
                      <a:pt x="24" y="51"/>
                    </a:cubicBezTo>
                    <a:cubicBezTo>
                      <a:pt x="17" y="48"/>
                      <a:pt x="11" y="47"/>
                      <a:pt x="10" y="38"/>
                    </a:cubicBezTo>
                    <a:cubicBezTo>
                      <a:pt x="10" y="27"/>
                      <a:pt x="17" y="16"/>
                      <a:pt x="16" y="4"/>
                    </a:cubicBezTo>
                    <a:cubicBezTo>
                      <a:pt x="16" y="3"/>
                      <a:pt x="16" y="2"/>
                      <a:pt x="15" y="1"/>
                    </a:cubicBezTo>
                    <a:cubicBezTo>
                      <a:pt x="14" y="0"/>
                      <a:pt x="13" y="0"/>
                      <a:pt x="12" y="0"/>
                    </a:cubicBezTo>
                  </a:path>
                </a:pathLst>
              </a:custGeom>
              <a:solidFill>
                <a:srgbClr val="544D4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85" name="Freeform 31">
                <a:extLst>
                  <a:ext uri="{FF2B5EF4-FFF2-40B4-BE49-F238E27FC236}">
                    <a16:creationId xmlns:a16="http://schemas.microsoft.com/office/drawing/2014/main" id="{892001ED-4BF7-481C-AF4E-C6878AA83A12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7033" y="1918"/>
                <a:ext cx="30" cy="34"/>
              </a:xfrm>
              <a:custGeom>
                <a:avLst/>
                <a:gdLst>
                  <a:gd name="T0" fmla="*/ 11 w 29"/>
                  <a:gd name="T1" fmla="*/ 0 h 32"/>
                  <a:gd name="T2" fmla="*/ 10 w 29"/>
                  <a:gd name="T3" fmla="*/ 4 h 32"/>
                  <a:gd name="T4" fmla="*/ 15 w 29"/>
                  <a:gd name="T5" fmla="*/ 18 h 32"/>
                  <a:gd name="T6" fmla="*/ 7 w 29"/>
                  <a:gd name="T7" fmla="*/ 25 h 32"/>
                  <a:gd name="T8" fmla="*/ 3 w 29"/>
                  <a:gd name="T9" fmla="*/ 25 h 32"/>
                  <a:gd name="T10" fmla="*/ 2 w 29"/>
                  <a:gd name="T11" fmla="*/ 25 h 32"/>
                  <a:gd name="T12" fmla="*/ 1 w 29"/>
                  <a:gd name="T13" fmla="*/ 28 h 32"/>
                  <a:gd name="T14" fmla="*/ 8 w 29"/>
                  <a:gd name="T15" fmla="*/ 32 h 32"/>
                  <a:gd name="T16" fmla="*/ 11 w 29"/>
                  <a:gd name="T17" fmla="*/ 0 h 32"/>
                  <a:gd name="T18" fmla="*/ 11 w 29"/>
                  <a:gd name="T19" fmla="*/ 0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9" h="32">
                    <a:moveTo>
                      <a:pt x="11" y="0"/>
                    </a:moveTo>
                    <a:cubicBezTo>
                      <a:pt x="9" y="0"/>
                      <a:pt x="8" y="3"/>
                      <a:pt x="10" y="4"/>
                    </a:cubicBezTo>
                    <a:cubicBezTo>
                      <a:pt x="16" y="6"/>
                      <a:pt x="16" y="13"/>
                      <a:pt x="15" y="18"/>
                    </a:cubicBezTo>
                    <a:cubicBezTo>
                      <a:pt x="13" y="23"/>
                      <a:pt x="11" y="25"/>
                      <a:pt x="7" y="25"/>
                    </a:cubicBezTo>
                    <a:cubicBezTo>
                      <a:pt x="5" y="25"/>
                      <a:pt x="4" y="25"/>
                      <a:pt x="3" y="25"/>
                    </a:cubicBezTo>
                    <a:cubicBezTo>
                      <a:pt x="2" y="25"/>
                      <a:pt x="2" y="25"/>
                      <a:pt x="2" y="25"/>
                    </a:cubicBezTo>
                    <a:cubicBezTo>
                      <a:pt x="0" y="25"/>
                      <a:pt x="0" y="27"/>
                      <a:pt x="1" y="28"/>
                    </a:cubicBezTo>
                    <a:cubicBezTo>
                      <a:pt x="3" y="31"/>
                      <a:pt x="6" y="32"/>
                      <a:pt x="8" y="32"/>
                    </a:cubicBezTo>
                    <a:cubicBezTo>
                      <a:pt x="20" y="32"/>
                      <a:pt x="29" y="2"/>
                      <a:pt x="11" y="0"/>
                    </a:cubicBezTo>
                    <a:cubicBezTo>
                      <a:pt x="11" y="0"/>
                      <a:pt x="11" y="0"/>
                      <a:pt x="11" y="0"/>
                    </a:cubicBezTo>
                  </a:path>
                </a:pathLst>
              </a:custGeom>
              <a:solidFill>
                <a:srgbClr val="544D4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86" name="Freeform 32">
                <a:extLst>
                  <a:ext uri="{FF2B5EF4-FFF2-40B4-BE49-F238E27FC236}">
                    <a16:creationId xmlns:a16="http://schemas.microsoft.com/office/drawing/2014/main" id="{DF36D7B3-CDBD-4B75-B232-0D3159B64C3A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7038" y="1810"/>
                <a:ext cx="117" cy="229"/>
              </a:xfrm>
              <a:custGeom>
                <a:avLst/>
                <a:gdLst>
                  <a:gd name="T0" fmla="*/ 16 w 111"/>
                  <a:gd name="T1" fmla="*/ 0 h 216"/>
                  <a:gd name="T2" fmla="*/ 2 w 111"/>
                  <a:gd name="T3" fmla="*/ 2 h 216"/>
                  <a:gd name="T4" fmla="*/ 3 w 111"/>
                  <a:gd name="T5" fmla="*/ 4 h 216"/>
                  <a:gd name="T6" fmla="*/ 3 w 111"/>
                  <a:gd name="T7" fmla="*/ 4 h 216"/>
                  <a:gd name="T8" fmla="*/ 3 w 111"/>
                  <a:gd name="T9" fmla="*/ 4 h 216"/>
                  <a:gd name="T10" fmla="*/ 94 w 111"/>
                  <a:gd name="T11" fmla="*/ 75 h 216"/>
                  <a:gd name="T12" fmla="*/ 103 w 111"/>
                  <a:gd name="T13" fmla="*/ 142 h 216"/>
                  <a:gd name="T14" fmla="*/ 68 w 111"/>
                  <a:gd name="T15" fmla="*/ 215 h 216"/>
                  <a:gd name="T16" fmla="*/ 68 w 111"/>
                  <a:gd name="T17" fmla="*/ 216 h 216"/>
                  <a:gd name="T18" fmla="*/ 108 w 111"/>
                  <a:gd name="T19" fmla="*/ 143 h 216"/>
                  <a:gd name="T20" fmla="*/ 103 w 111"/>
                  <a:gd name="T21" fmla="*/ 77 h 216"/>
                  <a:gd name="T22" fmla="*/ 16 w 111"/>
                  <a:gd name="T23" fmla="*/ 0 h 2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11" h="216">
                    <a:moveTo>
                      <a:pt x="16" y="0"/>
                    </a:moveTo>
                    <a:cubicBezTo>
                      <a:pt x="11" y="0"/>
                      <a:pt x="7" y="0"/>
                      <a:pt x="2" y="2"/>
                    </a:cubicBezTo>
                    <a:cubicBezTo>
                      <a:pt x="0" y="2"/>
                      <a:pt x="1" y="4"/>
                      <a:pt x="3" y="4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44" y="4"/>
                      <a:pt x="78" y="39"/>
                      <a:pt x="94" y="75"/>
                    </a:cubicBezTo>
                    <a:cubicBezTo>
                      <a:pt x="104" y="96"/>
                      <a:pt x="104" y="119"/>
                      <a:pt x="103" y="142"/>
                    </a:cubicBezTo>
                    <a:cubicBezTo>
                      <a:pt x="101" y="175"/>
                      <a:pt x="93" y="196"/>
                      <a:pt x="68" y="215"/>
                    </a:cubicBezTo>
                    <a:cubicBezTo>
                      <a:pt x="68" y="216"/>
                      <a:pt x="68" y="216"/>
                      <a:pt x="68" y="216"/>
                    </a:cubicBezTo>
                    <a:cubicBezTo>
                      <a:pt x="94" y="197"/>
                      <a:pt x="105" y="175"/>
                      <a:pt x="108" y="143"/>
                    </a:cubicBezTo>
                    <a:cubicBezTo>
                      <a:pt x="109" y="121"/>
                      <a:pt x="111" y="98"/>
                      <a:pt x="103" y="77"/>
                    </a:cubicBezTo>
                    <a:cubicBezTo>
                      <a:pt x="91" y="47"/>
                      <a:pt x="54" y="0"/>
                      <a:pt x="16" y="0"/>
                    </a:cubicBezTo>
                  </a:path>
                </a:pathLst>
              </a:custGeom>
              <a:solidFill>
                <a:srgbClr val="544D4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87" name="Freeform 33">
                <a:extLst>
                  <a:ext uri="{FF2B5EF4-FFF2-40B4-BE49-F238E27FC236}">
                    <a16:creationId xmlns:a16="http://schemas.microsoft.com/office/drawing/2014/main" id="{462ABB80-E6A2-43F9-8792-318B401C6E2B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7035" y="2056"/>
                <a:ext cx="22" cy="20"/>
              </a:xfrm>
              <a:custGeom>
                <a:avLst/>
                <a:gdLst>
                  <a:gd name="T0" fmla="*/ 18 w 21"/>
                  <a:gd name="T1" fmla="*/ 0 h 19"/>
                  <a:gd name="T2" fmla="*/ 16 w 21"/>
                  <a:gd name="T3" fmla="*/ 1 h 19"/>
                  <a:gd name="T4" fmla="*/ 1 w 21"/>
                  <a:gd name="T5" fmla="*/ 16 h 19"/>
                  <a:gd name="T6" fmla="*/ 2 w 21"/>
                  <a:gd name="T7" fmla="*/ 19 h 19"/>
                  <a:gd name="T8" fmla="*/ 3 w 21"/>
                  <a:gd name="T9" fmla="*/ 19 h 19"/>
                  <a:gd name="T10" fmla="*/ 20 w 21"/>
                  <a:gd name="T11" fmla="*/ 3 h 19"/>
                  <a:gd name="T12" fmla="*/ 18 w 21"/>
                  <a:gd name="T13" fmla="*/ 0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1" h="19">
                    <a:moveTo>
                      <a:pt x="18" y="0"/>
                    </a:moveTo>
                    <a:cubicBezTo>
                      <a:pt x="17" y="0"/>
                      <a:pt x="17" y="0"/>
                      <a:pt x="16" y="1"/>
                    </a:cubicBezTo>
                    <a:cubicBezTo>
                      <a:pt x="12" y="7"/>
                      <a:pt x="7" y="11"/>
                      <a:pt x="1" y="16"/>
                    </a:cubicBezTo>
                    <a:cubicBezTo>
                      <a:pt x="0" y="17"/>
                      <a:pt x="1" y="19"/>
                      <a:pt x="2" y="19"/>
                    </a:cubicBezTo>
                    <a:cubicBezTo>
                      <a:pt x="2" y="19"/>
                      <a:pt x="3" y="19"/>
                      <a:pt x="3" y="19"/>
                    </a:cubicBezTo>
                    <a:cubicBezTo>
                      <a:pt x="10" y="16"/>
                      <a:pt x="16" y="10"/>
                      <a:pt x="20" y="3"/>
                    </a:cubicBezTo>
                    <a:cubicBezTo>
                      <a:pt x="21" y="1"/>
                      <a:pt x="19" y="0"/>
                      <a:pt x="18" y="0"/>
                    </a:cubicBezTo>
                  </a:path>
                </a:pathLst>
              </a:custGeom>
              <a:solidFill>
                <a:srgbClr val="544D4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88" name="Freeform 34">
                <a:extLst>
                  <a:ext uri="{FF2B5EF4-FFF2-40B4-BE49-F238E27FC236}">
                    <a16:creationId xmlns:a16="http://schemas.microsoft.com/office/drawing/2014/main" id="{6F0A5ED0-2BFB-4B12-A85E-58AE32785B7C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7013" y="2062"/>
                <a:ext cx="13" cy="7"/>
              </a:xfrm>
              <a:custGeom>
                <a:avLst/>
                <a:gdLst>
                  <a:gd name="T0" fmla="*/ 9 w 12"/>
                  <a:gd name="T1" fmla="*/ 0 h 7"/>
                  <a:gd name="T2" fmla="*/ 8 w 12"/>
                  <a:gd name="T3" fmla="*/ 0 h 7"/>
                  <a:gd name="T4" fmla="*/ 1 w 12"/>
                  <a:gd name="T5" fmla="*/ 4 h 7"/>
                  <a:gd name="T6" fmla="*/ 3 w 12"/>
                  <a:gd name="T7" fmla="*/ 7 h 7"/>
                  <a:gd name="T8" fmla="*/ 3 w 12"/>
                  <a:gd name="T9" fmla="*/ 7 h 7"/>
                  <a:gd name="T10" fmla="*/ 10 w 12"/>
                  <a:gd name="T11" fmla="*/ 3 h 7"/>
                  <a:gd name="T12" fmla="*/ 9 w 12"/>
                  <a:gd name="T13" fmla="*/ 0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2" h="7">
                    <a:moveTo>
                      <a:pt x="9" y="0"/>
                    </a:moveTo>
                    <a:cubicBezTo>
                      <a:pt x="9" y="0"/>
                      <a:pt x="9" y="0"/>
                      <a:pt x="8" y="0"/>
                    </a:cubicBezTo>
                    <a:cubicBezTo>
                      <a:pt x="6" y="1"/>
                      <a:pt x="4" y="3"/>
                      <a:pt x="1" y="4"/>
                    </a:cubicBezTo>
                    <a:cubicBezTo>
                      <a:pt x="0" y="5"/>
                      <a:pt x="1" y="7"/>
                      <a:pt x="3" y="7"/>
                    </a:cubicBezTo>
                    <a:cubicBezTo>
                      <a:pt x="3" y="7"/>
                      <a:pt x="3" y="7"/>
                      <a:pt x="3" y="7"/>
                    </a:cubicBezTo>
                    <a:cubicBezTo>
                      <a:pt x="6" y="6"/>
                      <a:pt x="8" y="5"/>
                      <a:pt x="10" y="3"/>
                    </a:cubicBezTo>
                    <a:cubicBezTo>
                      <a:pt x="12" y="2"/>
                      <a:pt x="11" y="0"/>
                      <a:pt x="9" y="0"/>
                    </a:cubicBezTo>
                  </a:path>
                </a:pathLst>
              </a:custGeom>
              <a:solidFill>
                <a:srgbClr val="544D4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89" name="Freeform 35">
                <a:extLst>
                  <a:ext uri="{FF2B5EF4-FFF2-40B4-BE49-F238E27FC236}">
                    <a16:creationId xmlns:a16="http://schemas.microsoft.com/office/drawing/2014/main" id="{AEB79A70-39E9-4960-89FB-853F5C0C9DBD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909" y="1804"/>
                <a:ext cx="111" cy="247"/>
              </a:xfrm>
              <a:custGeom>
                <a:avLst/>
                <a:gdLst>
                  <a:gd name="T0" fmla="*/ 101 w 105"/>
                  <a:gd name="T1" fmla="*/ 0 h 234"/>
                  <a:gd name="T2" fmla="*/ 100 w 105"/>
                  <a:gd name="T3" fmla="*/ 0 h 234"/>
                  <a:gd name="T4" fmla="*/ 25 w 105"/>
                  <a:gd name="T5" fmla="*/ 38 h 234"/>
                  <a:gd name="T6" fmla="*/ 0 w 105"/>
                  <a:gd name="T7" fmla="*/ 111 h 234"/>
                  <a:gd name="T8" fmla="*/ 75 w 105"/>
                  <a:gd name="T9" fmla="*/ 234 h 234"/>
                  <a:gd name="T10" fmla="*/ 75 w 105"/>
                  <a:gd name="T11" fmla="*/ 234 h 234"/>
                  <a:gd name="T12" fmla="*/ 76 w 105"/>
                  <a:gd name="T13" fmla="*/ 232 h 234"/>
                  <a:gd name="T14" fmla="*/ 7 w 105"/>
                  <a:gd name="T15" fmla="*/ 124 h 234"/>
                  <a:gd name="T16" fmla="*/ 27 w 105"/>
                  <a:gd name="T17" fmla="*/ 48 h 234"/>
                  <a:gd name="T18" fmla="*/ 102 w 105"/>
                  <a:gd name="T19" fmla="*/ 6 h 234"/>
                  <a:gd name="T20" fmla="*/ 101 w 105"/>
                  <a:gd name="T21" fmla="*/ 0 h 2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05" h="234">
                    <a:moveTo>
                      <a:pt x="101" y="0"/>
                    </a:moveTo>
                    <a:cubicBezTo>
                      <a:pt x="101" y="0"/>
                      <a:pt x="101" y="0"/>
                      <a:pt x="100" y="0"/>
                    </a:cubicBezTo>
                    <a:cubicBezTo>
                      <a:pt x="70" y="6"/>
                      <a:pt x="45" y="14"/>
                      <a:pt x="25" y="38"/>
                    </a:cubicBezTo>
                    <a:cubicBezTo>
                      <a:pt x="9" y="59"/>
                      <a:pt x="0" y="84"/>
                      <a:pt x="0" y="111"/>
                    </a:cubicBezTo>
                    <a:cubicBezTo>
                      <a:pt x="0" y="162"/>
                      <a:pt x="19" y="222"/>
                      <a:pt x="75" y="234"/>
                    </a:cubicBezTo>
                    <a:cubicBezTo>
                      <a:pt x="75" y="234"/>
                      <a:pt x="75" y="234"/>
                      <a:pt x="75" y="234"/>
                    </a:cubicBezTo>
                    <a:cubicBezTo>
                      <a:pt x="77" y="234"/>
                      <a:pt x="77" y="232"/>
                      <a:pt x="76" y="232"/>
                    </a:cubicBezTo>
                    <a:cubicBezTo>
                      <a:pt x="27" y="219"/>
                      <a:pt x="8" y="170"/>
                      <a:pt x="7" y="124"/>
                    </a:cubicBezTo>
                    <a:cubicBezTo>
                      <a:pt x="6" y="96"/>
                      <a:pt x="10" y="70"/>
                      <a:pt x="27" y="48"/>
                    </a:cubicBezTo>
                    <a:cubicBezTo>
                      <a:pt x="46" y="21"/>
                      <a:pt x="72" y="15"/>
                      <a:pt x="102" y="6"/>
                    </a:cubicBezTo>
                    <a:cubicBezTo>
                      <a:pt x="105" y="5"/>
                      <a:pt x="104" y="0"/>
                      <a:pt x="101" y="0"/>
                    </a:cubicBezTo>
                  </a:path>
                </a:pathLst>
              </a:custGeom>
              <a:solidFill>
                <a:srgbClr val="544D4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90" name="Freeform 36">
                <a:extLst>
                  <a:ext uri="{FF2B5EF4-FFF2-40B4-BE49-F238E27FC236}">
                    <a16:creationId xmlns:a16="http://schemas.microsoft.com/office/drawing/2014/main" id="{EBE84059-6943-4251-850D-DED36659CA59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398" y="1645"/>
                <a:ext cx="231" cy="173"/>
              </a:xfrm>
              <a:custGeom>
                <a:avLst/>
                <a:gdLst>
                  <a:gd name="T0" fmla="*/ 2 w 218"/>
                  <a:gd name="T1" fmla="*/ 0 h 163"/>
                  <a:gd name="T2" fmla="*/ 1 w 218"/>
                  <a:gd name="T3" fmla="*/ 2 h 163"/>
                  <a:gd name="T4" fmla="*/ 65 w 218"/>
                  <a:gd name="T5" fmla="*/ 13 h 163"/>
                  <a:gd name="T6" fmla="*/ 129 w 218"/>
                  <a:gd name="T7" fmla="*/ 44 h 163"/>
                  <a:gd name="T8" fmla="*/ 215 w 218"/>
                  <a:gd name="T9" fmla="*/ 162 h 163"/>
                  <a:gd name="T10" fmla="*/ 216 w 218"/>
                  <a:gd name="T11" fmla="*/ 163 h 163"/>
                  <a:gd name="T12" fmla="*/ 218 w 218"/>
                  <a:gd name="T13" fmla="*/ 161 h 163"/>
                  <a:gd name="T14" fmla="*/ 149 w 218"/>
                  <a:gd name="T15" fmla="*/ 53 h 163"/>
                  <a:gd name="T16" fmla="*/ 82 w 218"/>
                  <a:gd name="T17" fmla="*/ 14 h 163"/>
                  <a:gd name="T18" fmla="*/ 49 w 218"/>
                  <a:gd name="T19" fmla="*/ 4 h 163"/>
                  <a:gd name="T20" fmla="*/ 2 w 218"/>
                  <a:gd name="T21" fmla="*/ 0 h 163"/>
                  <a:gd name="T22" fmla="*/ 2 w 218"/>
                  <a:gd name="T23" fmla="*/ 0 h 1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218" h="163">
                    <a:moveTo>
                      <a:pt x="2" y="0"/>
                    </a:moveTo>
                    <a:cubicBezTo>
                      <a:pt x="1" y="0"/>
                      <a:pt x="0" y="2"/>
                      <a:pt x="1" y="2"/>
                    </a:cubicBezTo>
                    <a:cubicBezTo>
                      <a:pt x="23" y="7"/>
                      <a:pt x="44" y="6"/>
                      <a:pt x="65" y="13"/>
                    </a:cubicBezTo>
                    <a:cubicBezTo>
                      <a:pt x="88" y="20"/>
                      <a:pt x="109" y="30"/>
                      <a:pt x="129" y="44"/>
                    </a:cubicBezTo>
                    <a:cubicBezTo>
                      <a:pt x="170" y="71"/>
                      <a:pt x="204" y="112"/>
                      <a:pt x="215" y="162"/>
                    </a:cubicBezTo>
                    <a:cubicBezTo>
                      <a:pt x="215" y="162"/>
                      <a:pt x="216" y="163"/>
                      <a:pt x="216" y="163"/>
                    </a:cubicBezTo>
                    <a:cubicBezTo>
                      <a:pt x="217" y="163"/>
                      <a:pt x="218" y="162"/>
                      <a:pt x="218" y="161"/>
                    </a:cubicBezTo>
                    <a:cubicBezTo>
                      <a:pt x="210" y="121"/>
                      <a:pt x="182" y="78"/>
                      <a:pt x="149" y="53"/>
                    </a:cubicBezTo>
                    <a:cubicBezTo>
                      <a:pt x="128" y="37"/>
                      <a:pt x="107" y="23"/>
                      <a:pt x="82" y="14"/>
                    </a:cubicBezTo>
                    <a:cubicBezTo>
                      <a:pt x="72" y="10"/>
                      <a:pt x="60" y="7"/>
                      <a:pt x="49" y="4"/>
                    </a:cubicBezTo>
                    <a:cubicBezTo>
                      <a:pt x="33" y="1"/>
                      <a:pt x="18" y="2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544D4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91" name="Freeform 37">
                <a:extLst>
                  <a:ext uri="{FF2B5EF4-FFF2-40B4-BE49-F238E27FC236}">
                    <a16:creationId xmlns:a16="http://schemas.microsoft.com/office/drawing/2014/main" id="{853EF101-D724-461D-B1C5-F1DB0E846D61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564" y="1926"/>
                <a:ext cx="57" cy="76"/>
              </a:xfrm>
              <a:custGeom>
                <a:avLst/>
                <a:gdLst>
                  <a:gd name="T0" fmla="*/ 52 w 54"/>
                  <a:gd name="T1" fmla="*/ 0 h 72"/>
                  <a:gd name="T2" fmla="*/ 52 w 54"/>
                  <a:gd name="T3" fmla="*/ 0 h 72"/>
                  <a:gd name="T4" fmla="*/ 28 w 54"/>
                  <a:gd name="T5" fmla="*/ 40 h 72"/>
                  <a:gd name="T6" fmla="*/ 0 w 54"/>
                  <a:gd name="T7" fmla="*/ 71 h 72"/>
                  <a:gd name="T8" fmla="*/ 0 w 54"/>
                  <a:gd name="T9" fmla="*/ 72 h 72"/>
                  <a:gd name="T10" fmla="*/ 1 w 54"/>
                  <a:gd name="T11" fmla="*/ 72 h 72"/>
                  <a:gd name="T12" fmla="*/ 30 w 54"/>
                  <a:gd name="T13" fmla="*/ 43 h 72"/>
                  <a:gd name="T14" fmla="*/ 53 w 54"/>
                  <a:gd name="T15" fmla="*/ 1 h 72"/>
                  <a:gd name="T16" fmla="*/ 52 w 54"/>
                  <a:gd name="T17" fmla="*/ 0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4" h="72">
                    <a:moveTo>
                      <a:pt x="52" y="0"/>
                    </a:moveTo>
                    <a:cubicBezTo>
                      <a:pt x="52" y="0"/>
                      <a:pt x="52" y="0"/>
                      <a:pt x="52" y="0"/>
                    </a:cubicBezTo>
                    <a:cubicBezTo>
                      <a:pt x="44" y="13"/>
                      <a:pt x="36" y="27"/>
                      <a:pt x="28" y="40"/>
                    </a:cubicBezTo>
                    <a:cubicBezTo>
                      <a:pt x="20" y="52"/>
                      <a:pt x="10" y="60"/>
                      <a:pt x="0" y="71"/>
                    </a:cubicBezTo>
                    <a:cubicBezTo>
                      <a:pt x="0" y="71"/>
                      <a:pt x="0" y="72"/>
                      <a:pt x="0" y="72"/>
                    </a:cubicBezTo>
                    <a:cubicBezTo>
                      <a:pt x="1" y="72"/>
                      <a:pt x="1" y="72"/>
                      <a:pt x="1" y="72"/>
                    </a:cubicBezTo>
                    <a:cubicBezTo>
                      <a:pt x="11" y="62"/>
                      <a:pt x="22" y="55"/>
                      <a:pt x="30" y="43"/>
                    </a:cubicBezTo>
                    <a:cubicBezTo>
                      <a:pt x="39" y="29"/>
                      <a:pt x="45" y="15"/>
                      <a:pt x="53" y="1"/>
                    </a:cubicBezTo>
                    <a:cubicBezTo>
                      <a:pt x="54" y="0"/>
                      <a:pt x="53" y="0"/>
                      <a:pt x="52" y="0"/>
                    </a:cubicBezTo>
                  </a:path>
                </a:pathLst>
              </a:custGeom>
              <a:solidFill>
                <a:srgbClr val="544D4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92" name="Freeform 38">
                <a:extLst>
                  <a:ext uri="{FF2B5EF4-FFF2-40B4-BE49-F238E27FC236}">
                    <a16:creationId xmlns:a16="http://schemas.microsoft.com/office/drawing/2014/main" id="{A005F834-EBAD-49ED-89D3-A4CD2129E3F4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414" y="2043"/>
                <a:ext cx="24" cy="2"/>
              </a:xfrm>
              <a:custGeom>
                <a:avLst/>
                <a:gdLst>
                  <a:gd name="T0" fmla="*/ 0 w 23"/>
                  <a:gd name="T1" fmla="*/ 0 h 2"/>
                  <a:gd name="T2" fmla="*/ 0 w 23"/>
                  <a:gd name="T3" fmla="*/ 1 h 2"/>
                  <a:gd name="T4" fmla="*/ 9 w 23"/>
                  <a:gd name="T5" fmla="*/ 2 h 2"/>
                  <a:gd name="T6" fmla="*/ 23 w 23"/>
                  <a:gd name="T7" fmla="*/ 1 h 2"/>
                  <a:gd name="T8" fmla="*/ 23 w 23"/>
                  <a:gd name="T9" fmla="*/ 1 h 2"/>
                  <a:gd name="T10" fmla="*/ 23 w 23"/>
                  <a:gd name="T11" fmla="*/ 1 h 2"/>
                  <a:gd name="T12" fmla="*/ 16 w 23"/>
                  <a:gd name="T13" fmla="*/ 1 h 2"/>
                  <a:gd name="T14" fmla="*/ 10 w 23"/>
                  <a:gd name="T15" fmla="*/ 1 h 2"/>
                  <a:gd name="T16" fmla="*/ 0 w 23"/>
                  <a:gd name="T17" fmla="*/ 0 h 2"/>
                  <a:gd name="T18" fmla="*/ 0 w 23"/>
                  <a:gd name="T19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3" h="2">
                    <a:moveTo>
                      <a:pt x="0" y="0"/>
                    </a:moveTo>
                    <a:cubicBezTo>
                      <a:pt x="0" y="0"/>
                      <a:pt x="0" y="1"/>
                      <a:pt x="0" y="1"/>
                    </a:cubicBezTo>
                    <a:cubicBezTo>
                      <a:pt x="3" y="2"/>
                      <a:pt x="6" y="2"/>
                      <a:pt x="9" y="2"/>
                    </a:cubicBezTo>
                    <a:cubicBezTo>
                      <a:pt x="14" y="2"/>
                      <a:pt x="19" y="1"/>
                      <a:pt x="23" y="1"/>
                    </a:cubicBezTo>
                    <a:cubicBezTo>
                      <a:pt x="23" y="1"/>
                      <a:pt x="23" y="1"/>
                      <a:pt x="23" y="1"/>
                    </a:cubicBezTo>
                    <a:cubicBezTo>
                      <a:pt x="23" y="1"/>
                      <a:pt x="23" y="1"/>
                      <a:pt x="23" y="1"/>
                    </a:cubicBezTo>
                    <a:cubicBezTo>
                      <a:pt x="20" y="1"/>
                      <a:pt x="18" y="1"/>
                      <a:pt x="16" y="1"/>
                    </a:cubicBezTo>
                    <a:cubicBezTo>
                      <a:pt x="14" y="1"/>
                      <a:pt x="12" y="1"/>
                      <a:pt x="10" y="1"/>
                    </a:cubicBezTo>
                    <a:cubicBezTo>
                      <a:pt x="7" y="1"/>
                      <a:pt x="4" y="1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solidFill>
                <a:srgbClr val="544D4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93" name="Freeform 39">
                <a:extLst>
                  <a:ext uri="{FF2B5EF4-FFF2-40B4-BE49-F238E27FC236}">
                    <a16:creationId xmlns:a16="http://schemas.microsoft.com/office/drawing/2014/main" id="{112F2176-A057-4D1A-80F1-761D44C935CE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307" y="2003"/>
                <a:ext cx="22" cy="16"/>
              </a:xfrm>
              <a:custGeom>
                <a:avLst/>
                <a:gdLst>
                  <a:gd name="T0" fmla="*/ 0 w 21"/>
                  <a:gd name="T1" fmla="*/ 0 h 15"/>
                  <a:gd name="T2" fmla="*/ 0 w 21"/>
                  <a:gd name="T3" fmla="*/ 0 h 15"/>
                  <a:gd name="T4" fmla="*/ 21 w 21"/>
                  <a:gd name="T5" fmla="*/ 15 h 15"/>
                  <a:gd name="T6" fmla="*/ 21 w 21"/>
                  <a:gd name="T7" fmla="*/ 15 h 15"/>
                  <a:gd name="T8" fmla="*/ 0 w 21"/>
                  <a:gd name="T9" fmla="*/ 0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1" h="15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6" y="6"/>
                      <a:pt x="13" y="11"/>
                      <a:pt x="21" y="15"/>
                    </a:cubicBezTo>
                    <a:cubicBezTo>
                      <a:pt x="21" y="15"/>
                      <a:pt x="21" y="15"/>
                      <a:pt x="21" y="15"/>
                    </a:cubicBezTo>
                    <a:cubicBezTo>
                      <a:pt x="13" y="11"/>
                      <a:pt x="7" y="5"/>
                      <a:pt x="0" y="0"/>
                    </a:cubicBezTo>
                  </a:path>
                </a:pathLst>
              </a:custGeom>
              <a:solidFill>
                <a:srgbClr val="544D4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94" name="Freeform 40">
                <a:extLst>
                  <a:ext uri="{FF2B5EF4-FFF2-40B4-BE49-F238E27FC236}">
                    <a16:creationId xmlns:a16="http://schemas.microsoft.com/office/drawing/2014/main" id="{771F32F5-A6B0-400F-A08E-F1A5988B4F89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212" y="1655"/>
                <a:ext cx="130" cy="257"/>
              </a:xfrm>
              <a:custGeom>
                <a:avLst/>
                <a:gdLst>
                  <a:gd name="T0" fmla="*/ 120 w 122"/>
                  <a:gd name="T1" fmla="*/ 0 h 243"/>
                  <a:gd name="T2" fmla="*/ 119 w 122"/>
                  <a:gd name="T3" fmla="*/ 0 h 243"/>
                  <a:gd name="T4" fmla="*/ 21 w 122"/>
                  <a:gd name="T5" fmla="*/ 94 h 243"/>
                  <a:gd name="T6" fmla="*/ 31 w 122"/>
                  <a:gd name="T7" fmla="*/ 242 h 243"/>
                  <a:gd name="T8" fmla="*/ 32 w 122"/>
                  <a:gd name="T9" fmla="*/ 243 h 243"/>
                  <a:gd name="T10" fmla="*/ 33 w 122"/>
                  <a:gd name="T11" fmla="*/ 242 h 243"/>
                  <a:gd name="T12" fmla="*/ 22 w 122"/>
                  <a:gd name="T13" fmla="*/ 104 h 243"/>
                  <a:gd name="T14" fmla="*/ 60 w 122"/>
                  <a:gd name="T15" fmla="*/ 46 h 243"/>
                  <a:gd name="T16" fmla="*/ 121 w 122"/>
                  <a:gd name="T17" fmla="*/ 3 h 243"/>
                  <a:gd name="T18" fmla="*/ 120 w 122"/>
                  <a:gd name="T19" fmla="*/ 0 h 2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22" h="243">
                    <a:moveTo>
                      <a:pt x="120" y="0"/>
                    </a:moveTo>
                    <a:cubicBezTo>
                      <a:pt x="120" y="0"/>
                      <a:pt x="120" y="0"/>
                      <a:pt x="119" y="0"/>
                    </a:cubicBezTo>
                    <a:cubicBezTo>
                      <a:pt x="76" y="17"/>
                      <a:pt x="40" y="51"/>
                      <a:pt x="21" y="94"/>
                    </a:cubicBezTo>
                    <a:cubicBezTo>
                      <a:pt x="0" y="142"/>
                      <a:pt x="12" y="196"/>
                      <a:pt x="31" y="242"/>
                    </a:cubicBezTo>
                    <a:cubicBezTo>
                      <a:pt x="31" y="243"/>
                      <a:pt x="31" y="243"/>
                      <a:pt x="32" y="243"/>
                    </a:cubicBezTo>
                    <a:cubicBezTo>
                      <a:pt x="32" y="243"/>
                      <a:pt x="33" y="242"/>
                      <a:pt x="33" y="242"/>
                    </a:cubicBezTo>
                    <a:cubicBezTo>
                      <a:pt x="19" y="199"/>
                      <a:pt x="7" y="148"/>
                      <a:pt x="22" y="104"/>
                    </a:cubicBezTo>
                    <a:cubicBezTo>
                      <a:pt x="30" y="82"/>
                      <a:pt x="45" y="65"/>
                      <a:pt x="60" y="46"/>
                    </a:cubicBezTo>
                    <a:cubicBezTo>
                      <a:pt x="77" y="25"/>
                      <a:pt x="96" y="15"/>
                      <a:pt x="121" y="3"/>
                    </a:cubicBezTo>
                    <a:cubicBezTo>
                      <a:pt x="122" y="3"/>
                      <a:pt x="122" y="0"/>
                      <a:pt x="120" y="0"/>
                    </a:cubicBezTo>
                  </a:path>
                </a:pathLst>
              </a:custGeom>
              <a:solidFill>
                <a:srgbClr val="544D4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95" name="Freeform 41">
                <a:extLst>
                  <a:ext uri="{FF2B5EF4-FFF2-40B4-BE49-F238E27FC236}">
                    <a16:creationId xmlns:a16="http://schemas.microsoft.com/office/drawing/2014/main" id="{99EC589B-77BD-4381-A68A-585FEEAF7892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6387" y="1719"/>
                <a:ext cx="86" cy="86"/>
              </a:xfrm>
              <a:custGeom>
                <a:avLst/>
                <a:gdLst>
                  <a:gd name="T0" fmla="*/ 47 w 81"/>
                  <a:gd name="T1" fmla="*/ 10 h 81"/>
                  <a:gd name="T2" fmla="*/ 50 w 81"/>
                  <a:gd name="T3" fmla="*/ 6 h 81"/>
                  <a:gd name="T4" fmla="*/ 71 w 81"/>
                  <a:gd name="T5" fmla="*/ 57 h 81"/>
                  <a:gd name="T6" fmla="*/ 44 w 81"/>
                  <a:gd name="T7" fmla="*/ 75 h 81"/>
                  <a:gd name="T8" fmla="*/ 43 w 81"/>
                  <a:gd name="T9" fmla="*/ 75 h 81"/>
                  <a:gd name="T10" fmla="*/ 10 w 81"/>
                  <a:gd name="T11" fmla="*/ 43 h 81"/>
                  <a:gd name="T12" fmla="*/ 16 w 81"/>
                  <a:gd name="T13" fmla="*/ 20 h 81"/>
                  <a:gd name="T14" fmla="*/ 23 w 81"/>
                  <a:gd name="T15" fmla="*/ 12 h 81"/>
                  <a:gd name="T16" fmla="*/ 23 w 81"/>
                  <a:gd name="T17" fmla="*/ 12 h 81"/>
                  <a:gd name="T18" fmla="*/ 36 w 81"/>
                  <a:gd name="T19" fmla="*/ 9 h 81"/>
                  <a:gd name="T20" fmla="*/ 46 w 81"/>
                  <a:gd name="T21" fmla="*/ 10 h 81"/>
                  <a:gd name="T22" fmla="*/ 47 w 81"/>
                  <a:gd name="T23" fmla="*/ 10 h 81"/>
                  <a:gd name="T24" fmla="*/ 35 w 81"/>
                  <a:gd name="T25" fmla="*/ 0 h 81"/>
                  <a:gd name="T26" fmla="*/ 4 w 81"/>
                  <a:gd name="T27" fmla="*/ 31 h 81"/>
                  <a:gd name="T28" fmla="*/ 4 w 81"/>
                  <a:gd name="T29" fmla="*/ 32 h 81"/>
                  <a:gd name="T30" fmla="*/ 4 w 81"/>
                  <a:gd name="T31" fmla="*/ 32 h 81"/>
                  <a:gd name="T32" fmla="*/ 34 w 81"/>
                  <a:gd name="T33" fmla="*/ 79 h 81"/>
                  <a:gd name="T34" fmla="*/ 44 w 81"/>
                  <a:gd name="T35" fmla="*/ 81 h 81"/>
                  <a:gd name="T36" fmla="*/ 59 w 81"/>
                  <a:gd name="T37" fmla="*/ 77 h 81"/>
                  <a:gd name="T38" fmla="*/ 80 w 81"/>
                  <a:gd name="T39" fmla="*/ 42 h 81"/>
                  <a:gd name="T40" fmla="*/ 49 w 81"/>
                  <a:gd name="T41" fmla="*/ 3 h 81"/>
                  <a:gd name="T42" fmla="*/ 49 w 81"/>
                  <a:gd name="T43" fmla="*/ 3 h 81"/>
                  <a:gd name="T44" fmla="*/ 35 w 81"/>
                  <a:gd name="T45" fmla="*/ 0 h 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81" h="81">
                    <a:moveTo>
                      <a:pt x="47" y="10"/>
                    </a:moveTo>
                    <a:cubicBezTo>
                      <a:pt x="49" y="10"/>
                      <a:pt x="50" y="8"/>
                      <a:pt x="50" y="6"/>
                    </a:cubicBezTo>
                    <a:cubicBezTo>
                      <a:pt x="73" y="11"/>
                      <a:pt x="80" y="39"/>
                      <a:pt x="71" y="57"/>
                    </a:cubicBezTo>
                    <a:cubicBezTo>
                      <a:pt x="66" y="67"/>
                      <a:pt x="57" y="75"/>
                      <a:pt x="44" y="75"/>
                    </a:cubicBezTo>
                    <a:cubicBezTo>
                      <a:pt x="44" y="75"/>
                      <a:pt x="43" y="75"/>
                      <a:pt x="43" y="75"/>
                    </a:cubicBezTo>
                    <a:cubicBezTo>
                      <a:pt x="27" y="75"/>
                      <a:pt x="12" y="59"/>
                      <a:pt x="10" y="43"/>
                    </a:cubicBezTo>
                    <a:cubicBezTo>
                      <a:pt x="10" y="35"/>
                      <a:pt x="12" y="27"/>
                      <a:pt x="16" y="20"/>
                    </a:cubicBezTo>
                    <a:cubicBezTo>
                      <a:pt x="18" y="16"/>
                      <a:pt x="20" y="14"/>
                      <a:pt x="23" y="12"/>
                    </a:cubicBezTo>
                    <a:cubicBezTo>
                      <a:pt x="23" y="12"/>
                      <a:pt x="23" y="12"/>
                      <a:pt x="23" y="12"/>
                    </a:cubicBezTo>
                    <a:cubicBezTo>
                      <a:pt x="27" y="10"/>
                      <a:pt x="31" y="9"/>
                      <a:pt x="36" y="9"/>
                    </a:cubicBezTo>
                    <a:cubicBezTo>
                      <a:pt x="39" y="9"/>
                      <a:pt x="43" y="9"/>
                      <a:pt x="46" y="10"/>
                    </a:cubicBezTo>
                    <a:cubicBezTo>
                      <a:pt x="47" y="10"/>
                      <a:pt x="47" y="10"/>
                      <a:pt x="47" y="10"/>
                    </a:cubicBezTo>
                    <a:moveTo>
                      <a:pt x="35" y="0"/>
                    </a:moveTo>
                    <a:cubicBezTo>
                      <a:pt x="19" y="0"/>
                      <a:pt x="7" y="13"/>
                      <a:pt x="4" y="31"/>
                    </a:cubicBezTo>
                    <a:cubicBezTo>
                      <a:pt x="4" y="32"/>
                      <a:pt x="4" y="32"/>
                      <a:pt x="4" y="32"/>
                    </a:cubicBezTo>
                    <a:cubicBezTo>
                      <a:pt x="4" y="32"/>
                      <a:pt x="4" y="32"/>
                      <a:pt x="4" y="32"/>
                    </a:cubicBezTo>
                    <a:cubicBezTo>
                      <a:pt x="0" y="53"/>
                      <a:pt x="15" y="74"/>
                      <a:pt x="34" y="79"/>
                    </a:cubicBezTo>
                    <a:cubicBezTo>
                      <a:pt x="38" y="80"/>
                      <a:pt x="41" y="81"/>
                      <a:pt x="44" y="81"/>
                    </a:cubicBezTo>
                    <a:cubicBezTo>
                      <a:pt x="50" y="81"/>
                      <a:pt x="55" y="79"/>
                      <a:pt x="59" y="77"/>
                    </a:cubicBezTo>
                    <a:cubicBezTo>
                      <a:pt x="71" y="70"/>
                      <a:pt x="78" y="56"/>
                      <a:pt x="80" y="42"/>
                    </a:cubicBezTo>
                    <a:cubicBezTo>
                      <a:pt x="81" y="23"/>
                      <a:pt x="72" y="3"/>
                      <a:pt x="49" y="3"/>
                    </a:cubicBezTo>
                    <a:cubicBezTo>
                      <a:pt x="49" y="3"/>
                      <a:pt x="49" y="3"/>
                      <a:pt x="49" y="3"/>
                    </a:cubicBezTo>
                    <a:cubicBezTo>
                      <a:pt x="44" y="1"/>
                      <a:pt x="39" y="0"/>
                      <a:pt x="35" y="0"/>
                    </a:cubicBezTo>
                  </a:path>
                </a:pathLst>
              </a:custGeom>
              <a:solidFill>
                <a:srgbClr val="544D4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96" name="Freeform 42">
                <a:extLst>
                  <a:ext uri="{FF2B5EF4-FFF2-40B4-BE49-F238E27FC236}">
                    <a16:creationId xmlns:a16="http://schemas.microsoft.com/office/drawing/2014/main" id="{C6CC1AE3-7DA5-4870-A242-4C61F6F68006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495" y="1819"/>
                <a:ext cx="83" cy="73"/>
              </a:xfrm>
              <a:custGeom>
                <a:avLst/>
                <a:gdLst>
                  <a:gd name="T0" fmla="*/ 50 w 78"/>
                  <a:gd name="T1" fmla="*/ 0 h 69"/>
                  <a:gd name="T2" fmla="*/ 36 w 78"/>
                  <a:gd name="T3" fmla="*/ 5 h 69"/>
                  <a:gd name="T4" fmla="*/ 37 w 78"/>
                  <a:gd name="T5" fmla="*/ 8 h 69"/>
                  <a:gd name="T6" fmla="*/ 37 w 78"/>
                  <a:gd name="T7" fmla="*/ 8 h 69"/>
                  <a:gd name="T8" fmla="*/ 48 w 78"/>
                  <a:gd name="T9" fmla="*/ 5 h 69"/>
                  <a:gd name="T10" fmla="*/ 50 w 78"/>
                  <a:gd name="T11" fmla="*/ 5 h 69"/>
                  <a:gd name="T12" fmla="*/ 65 w 78"/>
                  <a:gd name="T13" fmla="*/ 21 h 69"/>
                  <a:gd name="T14" fmla="*/ 64 w 78"/>
                  <a:gd name="T15" fmla="*/ 48 h 69"/>
                  <a:gd name="T16" fmla="*/ 56 w 78"/>
                  <a:gd name="T17" fmla="*/ 57 h 69"/>
                  <a:gd name="T18" fmla="*/ 39 w 78"/>
                  <a:gd name="T19" fmla="*/ 62 h 69"/>
                  <a:gd name="T20" fmla="*/ 12 w 78"/>
                  <a:gd name="T21" fmla="*/ 49 h 69"/>
                  <a:gd name="T22" fmla="*/ 14 w 78"/>
                  <a:gd name="T23" fmla="*/ 15 h 69"/>
                  <a:gd name="T24" fmla="*/ 15 w 78"/>
                  <a:gd name="T25" fmla="*/ 15 h 69"/>
                  <a:gd name="T26" fmla="*/ 15 w 78"/>
                  <a:gd name="T27" fmla="*/ 15 h 69"/>
                  <a:gd name="T28" fmla="*/ 31 w 78"/>
                  <a:gd name="T29" fmla="*/ 8 h 69"/>
                  <a:gd name="T30" fmla="*/ 30 w 78"/>
                  <a:gd name="T31" fmla="*/ 1 h 69"/>
                  <a:gd name="T32" fmla="*/ 30 w 78"/>
                  <a:gd name="T33" fmla="*/ 1 h 69"/>
                  <a:gd name="T34" fmla="*/ 1 w 78"/>
                  <a:gd name="T35" fmla="*/ 27 h 69"/>
                  <a:gd name="T36" fmla="*/ 1 w 78"/>
                  <a:gd name="T37" fmla="*/ 27 h 69"/>
                  <a:gd name="T38" fmla="*/ 2 w 78"/>
                  <a:gd name="T39" fmla="*/ 45 h 69"/>
                  <a:gd name="T40" fmla="*/ 39 w 78"/>
                  <a:gd name="T41" fmla="*/ 69 h 69"/>
                  <a:gd name="T42" fmla="*/ 54 w 78"/>
                  <a:gd name="T43" fmla="*/ 66 h 69"/>
                  <a:gd name="T44" fmla="*/ 56 w 78"/>
                  <a:gd name="T45" fmla="*/ 65 h 69"/>
                  <a:gd name="T46" fmla="*/ 72 w 78"/>
                  <a:gd name="T47" fmla="*/ 23 h 69"/>
                  <a:gd name="T48" fmla="*/ 56 w 78"/>
                  <a:gd name="T49" fmla="*/ 2 h 69"/>
                  <a:gd name="T50" fmla="*/ 50 w 78"/>
                  <a:gd name="T51" fmla="*/ 0 h 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78" h="69">
                    <a:moveTo>
                      <a:pt x="50" y="0"/>
                    </a:moveTo>
                    <a:cubicBezTo>
                      <a:pt x="45" y="0"/>
                      <a:pt x="42" y="3"/>
                      <a:pt x="36" y="5"/>
                    </a:cubicBezTo>
                    <a:cubicBezTo>
                      <a:pt x="35" y="6"/>
                      <a:pt x="36" y="8"/>
                      <a:pt x="37" y="8"/>
                    </a:cubicBezTo>
                    <a:cubicBezTo>
                      <a:pt x="37" y="8"/>
                      <a:pt x="37" y="8"/>
                      <a:pt x="37" y="8"/>
                    </a:cubicBezTo>
                    <a:cubicBezTo>
                      <a:pt x="41" y="7"/>
                      <a:pt x="45" y="5"/>
                      <a:pt x="48" y="5"/>
                    </a:cubicBezTo>
                    <a:cubicBezTo>
                      <a:pt x="49" y="5"/>
                      <a:pt x="49" y="5"/>
                      <a:pt x="50" y="5"/>
                    </a:cubicBezTo>
                    <a:cubicBezTo>
                      <a:pt x="56" y="6"/>
                      <a:pt x="62" y="16"/>
                      <a:pt x="65" y="21"/>
                    </a:cubicBezTo>
                    <a:cubicBezTo>
                      <a:pt x="69" y="30"/>
                      <a:pt x="69" y="40"/>
                      <a:pt x="64" y="48"/>
                    </a:cubicBezTo>
                    <a:cubicBezTo>
                      <a:pt x="62" y="52"/>
                      <a:pt x="60" y="55"/>
                      <a:pt x="56" y="57"/>
                    </a:cubicBezTo>
                    <a:cubicBezTo>
                      <a:pt x="51" y="60"/>
                      <a:pt x="45" y="62"/>
                      <a:pt x="39" y="62"/>
                    </a:cubicBezTo>
                    <a:cubicBezTo>
                      <a:pt x="29" y="62"/>
                      <a:pt x="18" y="58"/>
                      <a:pt x="12" y="49"/>
                    </a:cubicBezTo>
                    <a:cubicBezTo>
                      <a:pt x="6" y="39"/>
                      <a:pt x="6" y="24"/>
                      <a:pt x="14" y="15"/>
                    </a:cubicBezTo>
                    <a:cubicBezTo>
                      <a:pt x="14" y="15"/>
                      <a:pt x="15" y="15"/>
                      <a:pt x="15" y="15"/>
                    </a:cubicBezTo>
                    <a:cubicBezTo>
                      <a:pt x="15" y="15"/>
                      <a:pt x="15" y="15"/>
                      <a:pt x="15" y="15"/>
                    </a:cubicBezTo>
                    <a:cubicBezTo>
                      <a:pt x="19" y="11"/>
                      <a:pt x="25" y="9"/>
                      <a:pt x="31" y="8"/>
                    </a:cubicBezTo>
                    <a:cubicBezTo>
                      <a:pt x="34" y="7"/>
                      <a:pt x="34" y="1"/>
                      <a:pt x="30" y="1"/>
                    </a:cubicBezTo>
                    <a:cubicBezTo>
                      <a:pt x="30" y="1"/>
                      <a:pt x="30" y="1"/>
                      <a:pt x="30" y="1"/>
                    </a:cubicBezTo>
                    <a:cubicBezTo>
                      <a:pt x="14" y="2"/>
                      <a:pt x="4" y="13"/>
                      <a:pt x="1" y="27"/>
                    </a:cubicBezTo>
                    <a:cubicBezTo>
                      <a:pt x="1" y="27"/>
                      <a:pt x="1" y="27"/>
                      <a:pt x="1" y="27"/>
                    </a:cubicBezTo>
                    <a:cubicBezTo>
                      <a:pt x="0" y="33"/>
                      <a:pt x="0" y="39"/>
                      <a:pt x="2" y="45"/>
                    </a:cubicBezTo>
                    <a:cubicBezTo>
                      <a:pt x="8" y="60"/>
                      <a:pt x="23" y="69"/>
                      <a:pt x="39" y="69"/>
                    </a:cubicBezTo>
                    <a:cubicBezTo>
                      <a:pt x="44" y="69"/>
                      <a:pt x="49" y="68"/>
                      <a:pt x="54" y="66"/>
                    </a:cubicBezTo>
                    <a:cubicBezTo>
                      <a:pt x="54" y="66"/>
                      <a:pt x="55" y="65"/>
                      <a:pt x="56" y="65"/>
                    </a:cubicBezTo>
                    <a:cubicBezTo>
                      <a:pt x="71" y="57"/>
                      <a:pt x="78" y="40"/>
                      <a:pt x="72" y="23"/>
                    </a:cubicBezTo>
                    <a:cubicBezTo>
                      <a:pt x="69" y="15"/>
                      <a:pt x="64" y="6"/>
                      <a:pt x="56" y="2"/>
                    </a:cubicBezTo>
                    <a:cubicBezTo>
                      <a:pt x="54" y="0"/>
                      <a:pt x="52" y="0"/>
                      <a:pt x="50" y="0"/>
                    </a:cubicBezTo>
                  </a:path>
                </a:pathLst>
              </a:custGeom>
              <a:solidFill>
                <a:srgbClr val="544D4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97" name="Freeform 43">
                <a:extLst>
                  <a:ext uri="{FF2B5EF4-FFF2-40B4-BE49-F238E27FC236}">
                    <a16:creationId xmlns:a16="http://schemas.microsoft.com/office/drawing/2014/main" id="{2C3C5068-FB3A-498A-82CB-CFC84D9F694E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6380" y="1876"/>
                <a:ext cx="96" cy="84"/>
              </a:xfrm>
              <a:custGeom>
                <a:avLst/>
                <a:gdLst>
                  <a:gd name="T0" fmla="*/ 22 w 91"/>
                  <a:gd name="T1" fmla="*/ 13 h 80"/>
                  <a:gd name="T2" fmla="*/ 25 w 91"/>
                  <a:gd name="T3" fmla="*/ 11 h 80"/>
                  <a:gd name="T4" fmla="*/ 41 w 91"/>
                  <a:gd name="T5" fmla="*/ 6 h 80"/>
                  <a:gd name="T6" fmla="*/ 56 w 91"/>
                  <a:gd name="T7" fmla="*/ 8 h 80"/>
                  <a:gd name="T8" fmla="*/ 57 w 91"/>
                  <a:gd name="T9" fmla="*/ 8 h 80"/>
                  <a:gd name="T10" fmla="*/ 59 w 91"/>
                  <a:gd name="T11" fmla="*/ 6 h 80"/>
                  <a:gd name="T12" fmla="*/ 83 w 91"/>
                  <a:gd name="T13" fmla="*/ 35 h 80"/>
                  <a:gd name="T14" fmla="*/ 79 w 91"/>
                  <a:gd name="T15" fmla="*/ 52 h 80"/>
                  <a:gd name="T16" fmla="*/ 51 w 91"/>
                  <a:gd name="T17" fmla="*/ 72 h 80"/>
                  <a:gd name="T18" fmla="*/ 47 w 91"/>
                  <a:gd name="T19" fmla="*/ 72 h 80"/>
                  <a:gd name="T20" fmla="*/ 11 w 91"/>
                  <a:gd name="T21" fmla="*/ 33 h 80"/>
                  <a:gd name="T22" fmla="*/ 22 w 91"/>
                  <a:gd name="T23" fmla="*/ 13 h 80"/>
                  <a:gd name="T24" fmla="*/ 22 w 91"/>
                  <a:gd name="T25" fmla="*/ 13 h 80"/>
                  <a:gd name="T26" fmla="*/ 42 w 91"/>
                  <a:gd name="T27" fmla="*/ 0 h 80"/>
                  <a:gd name="T28" fmla="*/ 3 w 91"/>
                  <a:gd name="T29" fmla="*/ 30 h 80"/>
                  <a:gd name="T30" fmla="*/ 3 w 91"/>
                  <a:gd name="T31" fmla="*/ 32 h 80"/>
                  <a:gd name="T32" fmla="*/ 3 w 91"/>
                  <a:gd name="T33" fmla="*/ 32 h 80"/>
                  <a:gd name="T34" fmla="*/ 46 w 91"/>
                  <a:gd name="T35" fmla="*/ 79 h 80"/>
                  <a:gd name="T36" fmla="*/ 50 w 91"/>
                  <a:gd name="T37" fmla="*/ 80 h 80"/>
                  <a:gd name="T38" fmla="*/ 65 w 91"/>
                  <a:gd name="T39" fmla="*/ 76 h 80"/>
                  <a:gd name="T40" fmla="*/ 89 w 91"/>
                  <a:gd name="T41" fmla="*/ 39 h 80"/>
                  <a:gd name="T42" fmla="*/ 58 w 91"/>
                  <a:gd name="T43" fmla="*/ 3 h 80"/>
                  <a:gd name="T44" fmla="*/ 57 w 91"/>
                  <a:gd name="T45" fmla="*/ 3 h 80"/>
                  <a:gd name="T46" fmla="*/ 42 w 91"/>
                  <a:gd name="T47" fmla="*/ 0 h 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91" h="80">
                    <a:moveTo>
                      <a:pt x="22" y="13"/>
                    </a:moveTo>
                    <a:cubicBezTo>
                      <a:pt x="23" y="12"/>
                      <a:pt x="24" y="11"/>
                      <a:pt x="25" y="11"/>
                    </a:cubicBezTo>
                    <a:cubicBezTo>
                      <a:pt x="31" y="7"/>
                      <a:pt x="36" y="6"/>
                      <a:pt x="41" y="6"/>
                    </a:cubicBezTo>
                    <a:cubicBezTo>
                      <a:pt x="46" y="6"/>
                      <a:pt x="51" y="7"/>
                      <a:pt x="56" y="8"/>
                    </a:cubicBezTo>
                    <a:cubicBezTo>
                      <a:pt x="57" y="8"/>
                      <a:pt x="57" y="8"/>
                      <a:pt x="57" y="8"/>
                    </a:cubicBezTo>
                    <a:cubicBezTo>
                      <a:pt x="58" y="8"/>
                      <a:pt x="59" y="7"/>
                      <a:pt x="59" y="6"/>
                    </a:cubicBezTo>
                    <a:cubicBezTo>
                      <a:pt x="73" y="9"/>
                      <a:pt x="82" y="18"/>
                      <a:pt x="83" y="35"/>
                    </a:cubicBezTo>
                    <a:cubicBezTo>
                      <a:pt x="83" y="41"/>
                      <a:pt x="81" y="47"/>
                      <a:pt x="79" y="52"/>
                    </a:cubicBezTo>
                    <a:cubicBezTo>
                      <a:pt x="73" y="64"/>
                      <a:pt x="63" y="72"/>
                      <a:pt x="51" y="72"/>
                    </a:cubicBezTo>
                    <a:cubicBezTo>
                      <a:pt x="49" y="72"/>
                      <a:pt x="48" y="72"/>
                      <a:pt x="47" y="72"/>
                    </a:cubicBezTo>
                    <a:cubicBezTo>
                      <a:pt x="28" y="69"/>
                      <a:pt x="8" y="54"/>
                      <a:pt x="11" y="33"/>
                    </a:cubicBezTo>
                    <a:cubicBezTo>
                      <a:pt x="12" y="26"/>
                      <a:pt x="17" y="18"/>
                      <a:pt x="22" y="13"/>
                    </a:cubicBezTo>
                    <a:cubicBezTo>
                      <a:pt x="22" y="13"/>
                      <a:pt x="22" y="13"/>
                      <a:pt x="22" y="13"/>
                    </a:cubicBezTo>
                    <a:moveTo>
                      <a:pt x="42" y="0"/>
                    </a:moveTo>
                    <a:cubicBezTo>
                      <a:pt x="24" y="0"/>
                      <a:pt x="7" y="10"/>
                      <a:pt x="3" y="30"/>
                    </a:cubicBezTo>
                    <a:cubicBezTo>
                      <a:pt x="3" y="31"/>
                      <a:pt x="3" y="31"/>
                      <a:pt x="3" y="32"/>
                    </a:cubicBezTo>
                    <a:cubicBezTo>
                      <a:pt x="3" y="32"/>
                      <a:pt x="3" y="32"/>
                      <a:pt x="3" y="32"/>
                    </a:cubicBezTo>
                    <a:cubicBezTo>
                      <a:pt x="0" y="57"/>
                      <a:pt x="23" y="76"/>
                      <a:pt x="46" y="79"/>
                    </a:cubicBezTo>
                    <a:cubicBezTo>
                      <a:pt x="47" y="79"/>
                      <a:pt x="49" y="80"/>
                      <a:pt x="50" y="80"/>
                    </a:cubicBezTo>
                    <a:cubicBezTo>
                      <a:pt x="55" y="80"/>
                      <a:pt x="61" y="78"/>
                      <a:pt x="65" y="76"/>
                    </a:cubicBezTo>
                    <a:cubicBezTo>
                      <a:pt x="79" y="70"/>
                      <a:pt x="88" y="55"/>
                      <a:pt x="89" y="39"/>
                    </a:cubicBezTo>
                    <a:cubicBezTo>
                      <a:pt x="91" y="16"/>
                      <a:pt x="78" y="5"/>
                      <a:pt x="58" y="3"/>
                    </a:cubicBezTo>
                    <a:cubicBezTo>
                      <a:pt x="58" y="3"/>
                      <a:pt x="58" y="3"/>
                      <a:pt x="57" y="3"/>
                    </a:cubicBezTo>
                    <a:cubicBezTo>
                      <a:pt x="52" y="1"/>
                      <a:pt x="47" y="0"/>
                      <a:pt x="42" y="0"/>
                    </a:cubicBezTo>
                  </a:path>
                </a:pathLst>
              </a:custGeom>
              <a:solidFill>
                <a:srgbClr val="544D4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98" name="Freeform 44">
                <a:extLst>
                  <a:ext uri="{FF2B5EF4-FFF2-40B4-BE49-F238E27FC236}">
                    <a16:creationId xmlns:a16="http://schemas.microsoft.com/office/drawing/2014/main" id="{F137E018-7EBB-4A27-8B73-0E33D3A4920B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287" y="1778"/>
                <a:ext cx="94" cy="84"/>
              </a:xfrm>
              <a:custGeom>
                <a:avLst/>
                <a:gdLst>
                  <a:gd name="T0" fmla="*/ 47 w 89"/>
                  <a:gd name="T1" fmla="*/ 0 h 79"/>
                  <a:gd name="T2" fmla="*/ 46 w 89"/>
                  <a:gd name="T3" fmla="*/ 0 h 79"/>
                  <a:gd name="T4" fmla="*/ 3 w 89"/>
                  <a:gd name="T5" fmla="*/ 35 h 79"/>
                  <a:gd name="T6" fmla="*/ 3 w 89"/>
                  <a:gd name="T7" fmla="*/ 35 h 79"/>
                  <a:gd name="T8" fmla="*/ 3 w 89"/>
                  <a:gd name="T9" fmla="*/ 38 h 79"/>
                  <a:gd name="T10" fmla="*/ 9 w 89"/>
                  <a:gd name="T11" fmla="*/ 67 h 79"/>
                  <a:gd name="T12" fmla="*/ 42 w 89"/>
                  <a:gd name="T13" fmla="*/ 79 h 79"/>
                  <a:gd name="T14" fmla="*/ 49 w 89"/>
                  <a:gd name="T15" fmla="*/ 79 h 79"/>
                  <a:gd name="T16" fmla="*/ 68 w 89"/>
                  <a:gd name="T17" fmla="*/ 75 h 79"/>
                  <a:gd name="T18" fmla="*/ 84 w 89"/>
                  <a:gd name="T19" fmla="*/ 53 h 79"/>
                  <a:gd name="T20" fmla="*/ 53 w 89"/>
                  <a:gd name="T21" fmla="*/ 4 h 79"/>
                  <a:gd name="T22" fmla="*/ 52 w 89"/>
                  <a:gd name="T23" fmla="*/ 4 h 79"/>
                  <a:gd name="T24" fmla="*/ 52 w 89"/>
                  <a:gd name="T25" fmla="*/ 6 h 79"/>
                  <a:gd name="T26" fmla="*/ 79 w 89"/>
                  <a:gd name="T27" fmla="*/ 34 h 79"/>
                  <a:gd name="T28" fmla="*/ 75 w 89"/>
                  <a:gd name="T29" fmla="*/ 62 h 79"/>
                  <a:gd name="T30" fmla="*/ 74 w 89"/>
                  <a:gd name="T31" fmla="*/ 63 h 79"/>
                  <a:gd name="T32" fmla="*/ 54 w 89"/>
                  <a:gd name="T33" fmla="*/ 73 h 79"/>
                  <a:gd name="T34" fmla="*/ 45 w 89"/>
                  <a:gd name="T35" fmla="*/ 73 h 79"/>
                  <a:gd name="T36" fmla="*/ 10 w 89"/>
                  <a:gd name="T37" fmla="*/ 37 h 79"/>
                  <a:gd name="T38" fmla="*/ 24 w 89"/>
                  <a:gd name="T39" fmla="*/ 17 h 79"/>
                  <a:gd name="T40" fmla="*/ 24 w 89"/>
                  <a:gd name="T41" fmla="*/ 17 h 79"/>
                  <a:gd name="T42" fmla="*/ 48 w 89"/>
                  <a:gd name="T43" fmla="*/ 7 h 79"/>
                  <a:gd name="T44" fmla="*/ 47 w 89"/>
                  <a:gd name="T45" fmla="*/ 0 h 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89" h="79">
                    <a:moveTo>
                      <a:pt x="47" y="0"/>
                    </a:moveTo>
                    <a:cubicBezTo>
                      <a:pt x="47" y="0"/>
                      <a:pt x="47" y="0"/>
                      <a:pt x="46" y="0"/>
                    </a:cubicBezTo>
                    <a:cubicBezTo>
                      <a:pt x="25" y="3"/>
                      <a:pt x="9" y="15"/>
                      <a:pt x="3" y="35"/>
                    </a:cubicBezTo>
                    <a:cubicBezTo>
                      <a:pt x="3" y="35"/>
                      <a:pt x="3" y="35"/>
                      <a:pt x="3" y="35"/>
                    </a:cubicBezTo>
                    <a:cubicBezTo>
                      <a:pt x="3" y="36"/>
                      <a:pt x="3" y="37"/>
                      <a:pt x="3" y="38"/>
                    </a:cubicBezTo>
                    <a:cubicBezTo>
                      <a:pt x="0" y="48"/>
                      <a:pt x="2" y="59"/>
                      <a:pt x="9" y="67"/>
                    </a:cubicBezTo>
                    <a:cubicBezTo>
                      <a:pt x="18" y="78"/>
                      <a:pt x="30" y="78"/>
                      <a:pt x="42" y="79"/>
                    </a:cubicBezTo>
                    <a:cubicBezTo>
                      <a:pt x="44" y="79"/>
                      <a:pt x="47" y="79"/>
                      <a:pt x="49" y="79"/>
                    </a:cubicBezTo>
                    <a:cubicBezTo>
                      <a:pt x="56" y="79"/>
                      <a:pt x="63" y="78"/>
                      <a:pt x="68" y="75"/>
                    </a:cubicBezTo>
                    <a:cubicBezTo>
                      <a:pt x="75" y="71"/>
                      <a:pt x="81" y="64"/>
                      <a:pt x="84" y="53"/>
                    </a:cubicBezTo>
                    <a:cubicBezTo>
                      <a:pt x="89" y="31"/>
                      <a:pt x="71" y="12"/>
                      <a:pt x="53" y="4"/>
                    </a:cubicBezTo>
                    <a:cubicBezTo>
                      <a:pt x="52" y="4"/>
                      <a:pt x="52" y="4"/>
                      <a:pt x="52" y="4"/>
                    </a:cubicBezTo>
                    <a:cubicBezTo>
                      <a:pt x="51" y="4"/>
                      <a:pt x="50" y="5"/>
                      <a:pt x="52" y="6"/>
                    </a:cubicBezTo>
                    <a:cubicBezTo>
                      <a:pt x="64" y="11"/>
                      <a:pt x="75" y="21"/>
                      <a:pt x="79" y="34"/>
                    </a:cubicBezTo>
                    <a:cubicBezTo>
                      <a:pt x="81" y="43"/>
                      <a:pt x="81" y="54"/>
                      <a:pt x="75" y="62"/>
                    </a:cubicBezTo>
                    <a:cubicBezTo>
                      <a:pt x="75" y="62"/>
                      <a:pt x="75" y="62"/>
                      <a:pt x="74" y="63"/>
                    </a:cubicBezTo>
                    <a:cubicBezTo>
                      <a:pt x="68" y="71"/>
                      <a:pt x="62" y="73"/>
                      <a:pt x="54" y="73"/>
                    </a:cubicBezTo>
                    <a:cubicBezTo>
                      <a:pt x="51" y="73"/>
                      <a:pt x="48" y="73"/>
                      <a:pt x="45" y="73"/>
                    </a:cubicBezTo>
                    <a:cubicBezTo>
                      <a:pt x="24" y="70"/>
                      <a:pt x="3" y="63"/>
                      <a:pt x="10" y="37"/>
                    </a:cubicBezTo>
                    <a:cubicBezTo>
                      <a:pt x="13" y="27"/>
                      <a:pt x="18" y="21"/>
                      <a:pt x="24" y="17"/>
                    </a:cubicBezTo>
                    <a:cubicBezTo>
                      <a:pt x="24" y="17"/>
                      <a:pt x="24" y="17"/>
                      <a:pt x="24" y="17"/>
                    </a:cubicBezTo>
                    <a:cubicBezTo>
                      <a:pt x="31" y="12"/>
                      <a:pt x="39" y="9"/>
                      <a:pt x="48" y="7"/>
                    </a:cubicBezTo>
                    <a:cubicBezTo>
                      <a:pt x="51" y="6"/>
                      <a:pt x="50" y="0"/>
                      <a:pt x="47" y="0"/>
                    </a:cubicBezTo>
                  </a:path>
                </a:pathLst>
              </a:custGeom>
              <a:solidFill>
                <a:srgbClr val="544D4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99" name="Freeform 45">
                <a:extLst>
                  <a:ext uri="{FF2B5EF4-FFF2-40B4-BE49-F238E27FC236}">
                    <a16:creationId xmlns:a16="http://schemas.microsoft.com/office/drawing/2014/main" id="{3388AADF-A2C9-40C7-9A42-8FE7AEF80D3C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6679" y="1885"/>
                <a:ext cx="77" cy="74"/>
              </a:xfrm>
              <a:custGeom>
                <a:avLst/>
                <a:gdLst>
                  <a:gd name="T0" fmla="*/ 8 w 73"/>
                  <a:gd name="T1" fmla="*/ 12 h 70"/>
                  <a:gd name="T2" fmla="*/ 14 w 73"/>
                  <a:gd name="T3" fmla="*/ 6 h 70"/>
                  <a:gd name="T4" fmla="*/ 15 w 73"/>
                  <a:gd name="T5" fmla="*/ 6 h 70"/>
                  <a:gd name="T6" fmla="*/ 27 w 73"/>
                  <a:gd name="T7" fmla="*/ 13 h 70"/>
                  <a:gd name="T8" fmla="*/ 59 w 73"/>
                  <a:gd name="T9" fmla="*/ 44 h 70"/>
                  <a:gd name="T10" fmla="*/ 63 w 73"/>
                  <a:gd name="T11" fmla="*/ 59 h 70"/>
                  <a:gd name="T12" fmla="*/ 61 w 73"/>
                  <a:gd name="T13" fmla="*/ 61 h 70"/>
                  <a:gd name="T14" fmla="*/ 60 w 73"/>
                  <a:gd name="T15" fmla="*/ 62 h 70"/>
                  <a:gd name="T16" fmla="*/ 54 w 73"/>
                  <a:gd name="T17" fmla="*/ 65 h 70"/>
                  <a:gd name="T18" fmla="*/ 53 w 73"/>
                  <a:gd name="T19" fmla="*/ 59 h 70"/>
                  <a:gd name="T20" fmla="*/ 18 w 73"/>
                  <a:gd name="T21" fmla="*/ 27 h 70"/>
                  <a:gd name="T22" fmla="*/ 14 w 73"/>
                  <a:gd name="T23" fmla="*/ 22 h 70"/>
                  <a:gd name="T24" fmla="*/ 8 w 73"/>
                  <a:gd name="T25" fmla="*/ 13 h 70"/>
                  <a:gd name="T26" fmla="*/ 8 w 73"/>
                  <a:gd name="T27" fmla="*/ 12 h 70"/>
                  <a:gd name="T28" fmla="*/ 13 w 73"/>
                  <a:gd name="T29" fmla="*/ 0 h 70"/>
                  <a:gd name="T30" fmla="*/ 2 w 73"/>
                  <a:gd name="T31" fmla="*/ 12 h 70"/>
                  <a:gd name="T32" fmla="*/ 2 w 73"/>
                  <a:gd name="T33" fmla="*/ 12 h 70"/>
                  <a:gd name="T34" fmla="*/ 4 w 73"/>
                  <a:gd name="T35" fmla="*/ 17 h 70"/>
                  <a:gd name="T36" fmla="*/ 22 w 73"/>
                  <a:gd name="T37" fmla="*/ 40 h 70"/>
                  <a:gd name="T38" fmla="*/ 50 w 73"/>
                  <a:gd name="T39" fmla="*/ 65 h 70"/>
                  <a:gd name="T40" fmla="*/ 52 w 73"/>
                  <a:gd name="T41" fmla="*/ 65 h 70"/>
                  <a:gd name="T42" fmla="*/ 48 w 73"/>
                  <a:gd name="T43" fmla="*/ 67 h 70"/>
                  <a:gd name="T44" fmla="*/ 48 w 73"/>
                  <a:gd name="T45" fmla="*/ 70 h 70"/>
                  <a:gd name="T46" fmla="*/ 48 w 73"/>
                  <a:gd name="T47" fmla="*/ 70 h 70"/>
                  <a:gd name="T48" fmla="*/ 60 w 73"/>
                  <a:gd name="T49" fmla="*/ 69 h 70"/>
                  <a:gd name="T50" fmla="*/ 62 w 73"/>
                  <a:gd name="T51" fmla="*/ 68 h 70"/>
                  <a:gd name="T52" fmla="*/ 70 w 73"/>
                  <a:gd name="T53" fmla="*/ 63 h 70"/>
                  <a:gd name="T54" fmla="*/ 69 w 73"/>
                  <a:gd name="T55" fmla="*/ 48 h 70"/>
                  <a:gd name="T56" fmla="*/ 22 w 73"/>
                  <a:gd name="T57" fmla="*/ 2 h 70"/>
                  <a:gd name="T58" fmla="*/ 13 w 73"/>
                  <a:gd name="T59" fmla="*/ 0 h 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73" h="70">
                    <a:moveTo>
                      <a:pt x="8" y="12"/>
                    </a:moveTo>
                    <a:cubicBezTo>
                      <a:pt x="8" y="9"/>
                      <a:pt x="9" y="7"/>
                      <a:pt x="14" y="6"/>
                    </a:cubicBezTo>
                    <a:cubicBezTo>
                      <a:pt x="14" y="6"/>
                      <a:pt x="14" y="6"/>
                      <a:pt x="15" y="6"/>
                    </a:cubicBezTo>
                    <a:cubicBezTo>
                      <a:pt x="19" y="6"/>
                      <a:pt x="25" y="11"/>
                      <a:pt x="27" y="13"/>
                    </a:cubicBezTo>
                    <a:cubicBezTo>
                      <a:pt x="39" y="22"/>
                      <a:pt x="50" y="32"/>
                      <a:pt x="59" y="44"/>
                    </a:cubicBezTo>
                    <a:cubicBezTo>
                      <a:pt x="63" y="49"/>
                      <a:pt x="67" y="53"/>
                      <a:pt x="63" y="59"/>
                    </a:cubicBezTo>
                    <a:cubicBezTo>
                      <a:pt x="62" y="60"/>
                      <a:pt x="62" y="60"/>
                      <a:pt x="61" y="61"/>
                    </a:cubicBezTo>
                    <a:cubicBezTo>
                      <a:pt x="61" y="61"/>
                      <a:pt x="61" y="62"/>
                      <a:pt x="60" y="62"/>
                    </a:cubicBezTo>
                    <a:cubicBezTo>
                      <a:pt x="58" y="63"/>
                      <a:pt x="56" y="64"/>
                      <a:pt x="54" y="65"/>
                    </a:cubicBezTo>
                    <a:cubicBezTo>
                      <a:pt x="55" y="63"/>
                      <a:pt x="56" y="60"/>
                      <a:pt x="53" y="59"/>
                    </a:cubicBezTo>
                    <a:cubicBezTo>
                      <a:pt x="39" y="50"/>
                      <a:pt x="29" y="39"/>
                      <a:pt x="18" y="27"/>
                    </a:cubicBezTo>
                    <a:cubicBezTo>
                      <a:pt x="17" y="25"/>
                      <a:pt x="15" y="24"/>
                      <a:pt x="14" y="22"/>
                    </a:cubicBezTo>
                    <a:cubicBezTo>
                      <a:pt x="12" y="20"/>
                      <a:pt x="9" y="16"/>
                      <a:pt x="8" y="13"/>
                    </a:cubicBezTo>
                    <a:cubicBezTo>
                      <a:pt x="8" y="12"/>
                      <a:pt x="8" y="12"/>
                      <a:pt x="8" y="12"/>
                    </a:cubicBezTo>
                    <a:moveTo>
                      <a:pt x="13" y="0"/>
                    </a:moveTo>
                    <a:cubicBezTo>
                      <a:pt x="6" y="0"/>
                      <a:pt x="0" y="4"/>
                      <a:pt x="2" y="12"/>
                    </a:cubicBezTo>
                    <a:cubicBezTo>
                      <a:pt x="2" y="12"/>
                      <a:pt x="2" y="12"/>
                      <a:pt x="2" y="12"/>
                    </a:cubicBezTo>
                    <a:cubicBezTo>
                      <a:pt x="2" y="14"/>
                      <a:pt x="3" y="15"/>
                      <a:pt x="4" y="17"/>
                    </a:cubicBezTo>
                    <a:cubicBezTo>
                      <a:pt x="8" y="26"/>
                      <a:pt x="16" y="33"/>
                      <a:pt x="22" y="40"/>
                    </a:cubicBezTo>
                    <a:cubicBezTo>
                      <a:pt x="30" y="50"/>
                      <a:pt x="40" y="59"/>
                      <a:pt x="50" y="65"/>
                    </a:cubicBezTo>
                    <a:cubicBezTo>
                      <a:pt x="51" y="65"/>
                      <a:pt x="51" y="65"/>
                      <a:pt x="52" y="65"/>
                    </a:cubicBezTo>
                    <a:cubicBezTo>
                      <a:pt x="50" y="66"/>
                      <a:pt x="49" y="66"/>
                      <a:pt x="48" y="67"/>
                    </a:cubicBezTo>
                    <a:cubicBezTo>
                      <a:pt x="46" y="68"/>
                      <a:pt x="47" y="70"/>
                      <a:pt x="48" y="70"/>
                    </a:cubicBezTo>
                    <a:cubicBezTo>
                      <a:pt x="48" y="70"/>
                      <a:pt x="48" y="70"/>
                      <a:pt x="48" y="70"/>
                    </a:cubicBezTo>
                    <a:cubicBezTo>
                      <a:pt x="52" y="69"/>
                      <a:pt x="56" y="69"/>
                      <a:pt x="60" y="69"/>
                    </a:cubicBezTo>
                    <a:cubicBezTo>
                      <a:pt x="60" y="69"/>
                      <a:pt x="61" y="69"/>
                      <a:pt x="62" y="68"/>
                    </a:cubicBezTo>
                    <a:cubicBezTo>
                      <a:pt x="66" y="68"/>
                      <a:pt x="69" y="67"/>
                      <a:pt x="70" y="63"/>
                    </a:cubicBezTo>
                    <a:cubicBezTo>
                      <a:pt x="73" y="59"/>
                      <a:pt x="72" y="53"/>
                      <a:pt x="69" y="48"/>
                    </a:cubicBezTo>
                    <a:cubicBezTo>
                      <a:pt x="61" y="31"/>
                      <a:pt x="40" y="9"/>
                      <a:pt x="22" y="2"/>
                    </a:cubicBezTo>
                    <a:cubicBezTo>
                      <a:pt x="19" y="1"/>
                      <a:pt x="16" y="0"/>
                      <a:pt x="13" y="0"/>
                    </a:cubicBezTo>
                  </a:path>
                </a:pathLst>
              </a:custGeom>
              <a:solidFill>
                <a:srgbClr val="544D4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00" name="Freeform 46">
                <a:extLst>
                  <a:ext uri="{FF2B5EF4-FFF2-40B4-BE49-F238E27FC236}">
                    <a16:creationId xmlns:a16="http://schemas.microsoft.com/office/drawing/2014/main" id="{92432439-3FA7-47C0-8F2E-4712814A4119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6792" y="1903"/>
                <a:ext cx="77" cy="72"/>
              </a:xfrm>
              <a:custGeom>
                <a:avLst/>
                <a:gdLst>
                  <a:gd name="T0" fmla="*/ 6 w 73"/>
                  <a:gd name="T1" fmla="*/ 13 h 68"/>
                  <a:gd name="T2" fmla="*/ 9 w 73"/>
                  <a:gd name="T3" fmla="*/ 7 h 68"/>
                  <a:gd name="T4" fmla="*/ 11 w 73"/>
                  <a:gd name="T5" fmla="*/ 6 h 68"/>
                  <a:gd name="T6" fmla="*/ 18 w 73"/>
                  <a:gd name="T7" fmla="*/ 11 h 68"/>
                  <a:gd name="T8" fmla="*/ 44 w 73"/>
                  <a:gd name="T9" fmla="*/ 32 h 68"/>
                  <a:gd name="T10" fmla="*/ 60 w 73"/>
                  <a:gd name="T11" fmla="*/ 47 h 68"/>
                  <a:gd name="T12" fmla="*/ 64 w 73"/>
                  <a:gd name="T13" fmla="*/ 54 h 68"/>
                  <a:gd name="T14" fmla="*/ 59 w 73"/>
                  <a:gd name="T15" fmla="*/ 62 h 68"/>
                  <a:gd name="T16" fmla="*/ 57 w 73"/>
                  <a:gd name="T17" fmla="*/ 63 h 68"/>
                  <a:gd name="T18" fmla="*/ 55 w 73"/>
                  <a:gd name="T19" fmla="*/ 62 h 68"/>
                  <a:gd name="T20" fmla="*/ 54 w 73"/>
                  <a:gd name="T21" fmla="*/ 55 h 68"/>
                  <a:gd name="T22" fmla="*/ 21 w 73"/>
                  <a:gd name="T23" fmla="*/ 30 h 68"/>
                  <a:gd name="T24" fmla="*/ 7 w 73"/>
                  <a:gd name="T25" fmla="*/ 16 h 68"/>
                  <a:gd name="T26" fmla="*/ 6 w 73"/>
                  <a:gd name="T27" fmla="*/ 13 h 68"/>
                  <a:gd name="T28" fmla="*/ 7 w 73"/>
                  <a:gd name="T29" fmla="*/ 0 h 68"/>
                  <a:gd name="T30" fmla="*/ 5 w 73"/>
                  <a:gd name="T31" fmla="*/ 1 h 68"/>
                  <a:gd name="T32" fmla="*/ 0 w 73"/>
                  <a:gd name="T33" fmla="*/ 12 h 68"/>
                  <a:gd name="T34" fmla="*/ 0 w 73"/>
                  <a:gd name="T35" fmla="*/ 16 h 68"/>
                  <a:gd name="T36" fmla="*/ 20 w 73"/>
                  <a:gd name="T37" fmla="*/ 39 h 68"/>
                  <a:gd name="T38" fmla="*/ 50 w 73"/>
                  <a:gd name="T39" fmla="*/ 62 h 68"/>
                  <a:gd name="T40" fmla="*/ 51 w 73"/>
                  <a:gd name="T41" fmla="*/ 63 h 68"/>
                  <a:gd name="T42" fmla="*/ 57 w 73"/>
                  <a:gd name="T43" fmla="*/ 67 h 68"/>
                  <a:gd name="T44" fmla="*/ 60 w 73"/>
                  <a:gd name="T45" fmla="*/ 68 h 68"/>
                  <a:gd name="T46" fmla="*/ 68 w 73"/>
                  <a:gd name="T47" fmla="*/ 65 h 68"/>
                  <a:gd name="T48" fmla="*/ 69 w 73"/>
                  <a:gd name="T49" fmla="*/ 48 h 68"/>
                  <a:gd name="T50" fmla="*/ 18 w 73"/>
                  <a:gd name="T51" fmla="*/ 7 h 68"/>
                  <a:gd name="T52" fmla="*/ 7 w 73"/>
                  <a:gd name="T53" fmla="*/ 0 h 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73" h="68">
                    <a:moveTo>
                      <a:pt x="6" y="13"/>
                    </a:moveTo>
                    <a:cubicBezTo>
                      <a:pt x="5" y="11"/>
                      <a:pt x="5" y="9"/>
                      <a:pt x="9" y="7"/>
                    </a:cubicBezTo>
                    <a:cubicBezTo>
                      <a:pt x="10" y="7"/>
                      <a:pt x="11" y="6"/>
                      <a:pt x="11" y="6"/>
                    </a:cubicBezTo>
                    <a:cubicBezTo>
                      <a:pt x="14" y="6"/>
                      <a:pt x="15" y="9"/>
                      <a:pt x="18" y="11"/>
                    </a:cubicBezTo>
                    <a:cubicBezTo>
                      <a:pt x="27" y="18"/>
                      <a:pt x="36" y="25"/>
                      <a:pt x="44" y="32"/>
                    </a:cubicBezTo>
                    <a:cubicBezTo>
                      <a:pt x="50" y="36"/>
                      <a:pt x="56" y="41"/>
                      <a:pt x="60" y="47"/>
                    </a:cubicBezTo>
                    <a:cubicBezTo>
                      <a:pt x="61" y="49"/>
                      <a:pt x="64" y="52"/>
                      <a:pt x="64" y="54"/>
                    </a:cubicBezTo>
                    <a:cubicBezTo>
                      <a:pt x="65" y="59"/>
                      <a:pt x="62" y="62"/>
                      <a:pt x="59" y="62"/>
                    </a:cubicBezTo>
                    <a:cubicBezTo>
                      <a:pt x="58" y="63"/>
                      <a:pt x="58" y="63"/>
                      <a:pt x="57" y="63"/>
                    </a:cubicBezTo>
                    <a:cubicBezTo>
                      <a:pt x="57" y="63"/>
                      <a:pt x="56" y="62"/>
                      <a:pt x="55" y="62"/>
                    </a:cubicBezTo>
                    <a:cubicBezTo>
                      <a:pt x="57" y="60"/>
                      <a:pt x="58" y="56"/>
                      <a:pt x="54" y="55"/>
                    </a:cubicBezTo>
                    <a:cubicBezTo>
                      <a:pt x="41" y="50"/>
                      <a:pt x="32" y="39"/>
                      <a:pt x="21" y="30"/>
                    </a:cubicBezTo>
                    <a:cubicBezTo>
                      <a:pt x="17" y="26"/>
                      <a:pt x="10" y="22"/>
                      <a:pt x="7" y="16"/>
                    </a:cubicBezTo>
                    <a:cubicBezTo>
                      <a:pt x="7" y="15"/>
                      <a:pt x="6" y="14"/>
                      <a:pt x="6" y="13"/>
                    </a:cubicBezTo>
                    <a:moveTo>
                      <a:pt x="7" y="0"/>
                    </a:moveTo>
                    <a:cubicBezTo>
                      <a:pt x="7" y="0"/>
                      <a:pt x="6" y="0"/>
                      <a:pt x="5" y="1"/>
                    </a:cubicBezTo>
                    <a:cubicBezTo>
                      <a:pt x="1" y="2"/>
                      <a:pt x="0" y="8"/>
                      <a:pt x="0" y="12"/>
                    </a:cubicBezTo>
                    <a:cubicBezTo>
                      <a:pt x="0" y="14"/>
                      <a:pt x="0" y="15"/>
                      <a:pt x="0" y="16"/>
                    </a:cubicBezTo>
                    <a:cubicBezTo>
                      <a:pt x="3" y="26"/>
                      <a:pt x="13" y="32"/>
                      <a:pt x="20" y="39"/>
                    </a:cubicBezTo>
                    <a:cubicBezTo>
                      <a:pt x="29" y="47"/>
                      <a:pt x="38" y="58"/>
                      <a:pt x="50" y="62"/>
                    </a:cubicBezTo>
                    <a:cubicBezTo>
                      <a:pt x="50" y="62"/>
                      <a:pt x="50" y="63"/>
                      <a:pt x="51" y="63"/>
                    </a:cubicBezTo>
                    <a:cubicBezTo>
                      <a:pt x="52" y="65"/>
                      <a:pt x="55" y="67"/>
                      <a:pt x="57" y="67"/>
                    </a:cubicBezTo>
                    <a:cubicBezTo>
                      <a:pt x="58" y="67"/>
                      <a:pt x="59" y="68"/>
                      <a:pt x="60" y="68"/>
                    </a:cubicBezTo>
                    <a:cubicBezTo>
                      <a:pt x="63" y="68"/>
                      <a:pt x="65" y="67"/>
                      <a:pt x="68" y="65"/>
                    </a:cubicBezTo>
                    <a:cubicBezTo>
                      <a:pt x="73" y="60"/>
                      <a:pt x="72" y="54"/>
                      <a:pt x="69" y="48"/>
                    </a:cubicBezTo>
                    <a:cubicBezTo>
                      <a:pt x="60" y="28"/>
                      <a:pt x="36" y="18"/>
                      <a:pt x="18" y="7"/>
                    </a:cubicBezTo>
                    <a:cubicBezTo>
                      <a:pt x="15" y="5"/>
                      <a:pt x="11" y="0"/>
                      <a:pt x="7" y="0"/>
                    </a:cubicBezTo>
                  </a:path>
                </a:pathLst>
              </a:custGeom>
              <a:solidFill>
                <a:srgbClr val="544D4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01" name="Freeform 47">
                <a:extLst>
                  <a:ext uri="{FF2B5EF4-FFF2-40B4-BE49-F238E27FC236}">
                    <a16:creationId xmlns:a16="http://schemas.microsoft.com/office/drawing/2014/main" id="{CDF56CB0-587F-4E0F-82F6-B4CEE11683DD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6841" y="1827"/>
                <a:ext cx="32" cy="22"/>
              </a:xfrm>
              <a:custGeom>
                <a:avLst/>
                <a:gdLst>
                  <a:gd name="T0" fmla="*/ 5 w 30"/>
                  <a:gd name="T1" fmla="*/ 8 h 21"/>
                  <a:gd name="T2" fmla="*/ 7 w 30"/>
                  <a:gd name="T3" fmla="*/ 6 h 21"/>
                  <a:gd name="T4" fmla="*/ 11 w 30"/>
                  <a:gd name="T5" fmla="*/ 5 h 21"/>
                  <a:gd name="T6" fmla="*/ 20 w 30"/>
                  <a:gd name="T7" fmla="*/ 9 h 21"/>
                  <a:gd name="T8" fmla="*/ 19 w 30"/>
                  <a:gd name="T9" fmla="*/ 10 h 21"/>
                  <a:gd name="T10" fmla="*/ 15 w 30"/>
                  <a:gd name="T11" fmla="*/ 15 h 21"/>
                  <a:gd name="T12" fmla="*/ 13 w 30"/>
                  <a:gd name="T13" fmla="*/ 16 h 21"/>
                  <a:gd name="T14" fmla="*/ 10 w 30"/>
                  <a:gd name="T15" fmla="*/ 16 h 21"/>
                  <a:gd name="T16" fmla="*/ 9 w 30"/>
                  <a:gd name="T17" fmla="*/ 16 h 21"/>
                  <a:gd name="T18" fmla="*/ 5 w 30"/>
                  <a:gd name="T19" fmla="*/ 8 h 21"/>
                  <a:gd name="T20" fmla="*/ 11 w 30"/>
                  <a:gd name="T21" fmla="*/ 0 h 21"/>
                  <a:gd name="T22" fmla="*/ 3 w 30"/>
                  <a:gd name="T23" fmla="*/ 3 h 21"/>
                  <a:gd name="T24" fmla="*/ 1 w 30"/>
                  <a:gd name="T25" fmla="*/ 8 h 21"/>
                  <a:gd name="T26" fmla="*/ 6 w 30"/>
                  <a:gd name="T27" fmla="*/ 19 h 21"/>
                  <a:gd name="T28" fmla="*/ 12 w 30"/>
                  <a:gd name="T29" fmla="*/ 21 h 21"/>
                  <a:gd name="T30" fmla="*/ 15 w 30"/>
                  <a:gd name="T31" fmla="*/ 20 h 21"/>
                  <a:gd name="T32" fmla="*/ 15 w 30"/>
                  <a:gd name="T33" fmla="*/ 20 h 21"/>
                  <a:gd name="T34" fmla="*/ 16 w 30"/>
                  <a:gd name="T35" fmla="*/ 20 h 21"/>
                  <a:gd name="T36" fmla="*/ 17 w 30"/>
                  <a:gd name="T37" fmla="*/ 19 h 21"/>
                  <a:gd name="T38" fmla="*/ 23 w 30"/>
                  <a:gd name="T39" fmla="*/ 15 h 21"/>
                  <a:gd name="T40" fmla="*/ 23 w 30"/>
                  <a:gd name="T41" fmla="*/ 15 h 21"/>
                  <a:gd name="T42" fmla="*/ 25 w 30"/>
                  <a:gd name="T43" fmla="*/ 15 h 21"/>
                  <a:gd name="T44" fmla="*/ 11 w 30"/>
                  <a:gd name="T45" fmla="*/ 0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30" h="21">
                    <a:moveTo>
                      <a:pt x="5" y="8"/>
                    </a:moveTo>
                    <a:cubicBezTo>
                      <a:pt x="6" y="7"/>
                      <a:pt x="6" y="7"/>
                      <a:pt x="7" y="6"/>
                    </a:cubicBezTo>
                    <a:cubicBezTo>
                      <a:pt x="8" y="5"/>
                      <a:pt x="10" y="5"/>
                      <a:pt x="11" y="5"/>
                    </a:cubicBezTo>
                    <a:cubicBezTo>
                      <a:pt x="15" y="5"/>
                      <a:pt x="18" y="6"/>
                      <a:pt x="20" y="9"/>
                    </a:cubicBezTo>
                    <a:cubicBezTo>
                      <a:pt x="20" y="9"/>
                      <a:pt x="19" y="9"/>
                      <a:pt x="19" y="10"/>
                    </a:cubicBezTo>
                    <a:cubicBezTo>
                      <a:pt x="18" y="11"/>
                      <a:pt x="17" y="13"/>
                      <a:pt x="15" y="15"/>
                    </a:cubicBezTo>
                    <a:cubicBezTo>
                      <a:pt x="14" y="15"/>
                      <a:pt x="14" y="15"/>
                      <a:pt x="13" y="16"/>
                    </a:cubicBezTo>
                    <a:cubicBezTo>
                      <a:pt x="12" y="16"/>
                      <a:pt x="11" y="16"/>
                      <a:pt x="10" y="16"/>
                    </a:cubicBezTo>
                    <a:cubicBezTo>
                      <a:pt x="10" y="16"/>
                      <a:pt x="9" y="16"/>
                      <a:pt x="9" y="16"/>
                    </a:cubicBezTo>
                    <a:cubicBezTo>
                      <a:pt x="6" y="15"/>
                      <a:pt x="4" y="11"/>
                      <a:pt x="5" y="8"/>
                    </a:cubicBezTo>
                    <a:moveTo>
                      <a:pt x="11" y="0"/>
                    </a:moveTo>
                    <a:cubicBezTo>
                      <a:pt x="8" y="0"/>
                      <a:pt x="5" y="1"/>
                      <a:pt x="3" y="3"/>
                    </a:cubicBezTo>
                    <a:cubicBezTo>
                      <a:pt x="2" y="5"/>
                      <a:pt x="1" y="6"/>
                      <a:pt x="1" y="8"/>
                    </a:cubicBezTo>
                    <a:cubicBezTo>
                      <a:pt x="0" y="12"/>
                      <a:pt x="2" y="17"/>
                      <a:pt x="6" y="19"/>
                    </a:cubicBezTo>
                    <a:cubicBezTo>
                      <a:pt x="8" y="20"/>
                      <a:pt x="10" y="21"/>
                      <a:pt x="12" y="21"/>
                    </a:cubicBezTo>
                    <a:cubicBezTo>
                      <a:pt x="13" y="21"/>
                      <a:pt x="14" y="20"/>
                      <a:pt x="15" y="20"/>
                    </a:cubicBezTo>
                    <a:cubicBezTo>
                      <a:pt x="15" y="20"/>
                      <a:pt x="15" y="20"/>
                      <a:pt x="15" y="20"/>
                    </a:cubicBezTo>
                    <a:cubicBezTo>
                      <a:pt x="16" y="20"/>
                      <a:pt x="16" y="20"/>
                      <a:pt x="16" y="20"/>
                    </a:cubicBezTo>
                    <a:cubicBezTo>
                      <a:pt x="17" y="20"/>
                      <a:pt x="17" y="20"/>
                      <a:pt x="17" y="19"/>
                    </a:cubicBezTo>
                    <a:cubicBezTo>
                      <a:pt x="19" y="18"/>
                      <a:pt x="21" y="17"/>
                      <a:pt x="23" y="15"/>
                    </a:cubicBezTo>
                    <a:cubicBezTo>
                      <a:pt x="23" y="15"/>
                      <a:pt x="23" y="15"/>
                      <a:pt x="23" y="15"/>
                    </a:cubicBezTo>
                    <a:cubicBezTo>
                      <a:pt x="24" y="15"/>
                      <a:pt x="24" y="15"/>
                      <a:pt x="25" y="15"/>
                    </a:cubicBezTo>
                    <a:cubicBezTo>
                      <a:pt x="30" y="7"/>
                      <a:pt x="20" y="0"/>
                      <a:pt x="11" y="0"/>
                    </a:cubicBezTo>
                  </a:path>
                </a:pathLst>
              </a:custGeom>
              <a:solidFill>
                <a:srgbClr val="544D4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02" name="Freeform 48">
                <a:extLst>
                  <a:ext uri="{FF2B5EF4-FFF2-40B4-BE49-F238E27FC236}">
                    <a16:creationId xmlns:a16="http://schemas.microsoft.com/office/drawing/2014/main" id="{2F335F99-E85E-418D-909F-946F633EE8C8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6763" y="1815"/>
                <a:ext cx="24" cy="23"/>
              </a:xfrm>
              <a:custGeom>
                <a:avLst/>
                <a:gdLst>
                  <a:gd name="T0" fmla="*/ 4 w 22"/>
                  <a:gd name="T1" fmla="*/ 9 h 21"/>
                  <a:gd name="T2" fmla="*/ 8 w 22"/>
                  <a:gd name="T3" fmla="*/ 4 h 21"/>
                  <a:gd name="T4" fmla="*/ 10 w 22"/>
                  <a:gd name="T5" fmla="*/ 4 h 21"/>
                  <a:gd name="T6" fmla="*/ 15 w 22"/>
                  <a:gd name="T7" fmla="*/ 8 h 21"/>
                  <a:gd name="T8" fmla="*/ 13 w 22"/>
                  <a:gd name="T9" fmla="*/ 7 h 21"/>
                  <a:gd name="T10" fmla="*/ 11 w 22"/>
                  <a:gd name="T11" fmla="*/ 9 h 21"/>
                  <a:gd name="T12" fmla="*/ 8 w 22"/>
                  <a:gd name="T13" fmla="*/ 16 h 21"/>
                  <a:gd name="T14" fmla="*/ 7 w 22"/>
                  <a:gd name="T15" fmla="*/ 16 h 21"/>
                  <a:gd name="T16" fmla="*/ 7 w 22"/>
                  <a:gd name="T17" fmla="*/ 16 h 21"/>
                  <a:gd name="T18" fmla="*/ 4 w 22"/>
                  <a:gd name="T19" fmla="*/ 10 h 21"/>
                  <a:gd name="T20" fmla="*/ 4 w 22"/>
                  <a:gd name="T21" fmla="*/ 9 h 21"/>
                  <a:gd name="T22" fmla="*/ 8 w 22"/>
                  <a:gd name="T23" fmla="*/ 0 h 21"/>
                  <a:gd name="T24" fmla="*/ 0 w 22"/>
                  <a:gd name="T25" fmla="*/ 7 h 21"/>
                  <a:gd name="T26" fmla="*/ 0 w 22"/>
                  <a:gd name="T27" fmla="*/ 11 h 21"/>
                  <a:gd name="T28" fmla="*/ 6 w 22"/>
                  <a:gd name="T29" fmla="*/ 20 h 21"/>
                  <a:gd name="T30" fmla="*/ 9 w 22"/>
                  <a:gd name="T31" fmla="*/ 21 h 21"/>
                  <a:gd name="T32" fmla="*/ 11 w 22"/>
                  <a:gd name="T33" fmla="*/ 21 h 21"/>
                  <a:gd name="T34" fmla="*/ 17 w 22"/>
                  <a:gd name="T35" fmla="*/ 10 h 21"/>
                  <a:gd name="T36" fmla="*/ 19 w 22"/>
                  <a:gd name="T37" fmla="*/ 14 h 21"/>
                  <a:gd name="T38" fmla="*/ 20 w 22"/>
                  <a:gd name="T39" fmla="*/ 15 h 21"/>
                  <a:gd name="T40" fmla="*/ 21 w 22"/>
                  <a:gd name="T41" fmla="*/ 13 h 21"/>
                  <a:gd name="T42" fmla="*/ 16 w 22"/>
                  <a:gd name="T43" fmla="*/ 3 h 21"/>
                  <a:gd name="T44" fmla="*/ 9 w 22"/>
                  <a:gd name="T45" fmla="*/ 0 h 21"/>
                  <a:gd name="T46" fmla="*/ 8 w 22"/>
                  <a:gd name="T47" fmla="*/ 0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22" h="21">
                    <a:moveTo>
                      <a:pt x="4" y="9"/>
                    </a:moveTo>
                    <a:cubicBezTo>
                      <a:pt x="4" y="6"/>
                      <a:pt x="5" y="4"/>
                      <a:pt x="8" y="4"/>
                    </a:cubicBezTo>
                    <a:cubicBezTo>
                      <a:pt x="9" y="4"/>
                      <a:pt x="9" y="4"/>
                      <a:pt x="10" y="4"/>
                    </a:cubicBezTo>
                    <a:cubicBezTo>
                      <a:pt x="12" y="5"/>
                      <a:pt x="14" y="6"/>
                      <a:pt x="15" y="8"/>
                    </a:cubicBezTo>
                    <a:cubicBezTo>
                      <a:pt x="15" y="7"/>
                      <a:pt x="14" y="7"/>
                      <a:pt x="13" y="7"/>
                    </a:cubicBezTo>
                    <a:cubicBezTo>
                      <a:pt x="12" y="7"/>
                      <a:pt x="11" y="8"/>
                      <a:pt x="11" y="9"/>
                    </a:cubicBezTo>
                    <a:cubicBezTo>
                      <a:pt x="10" y="11"/>
                      <a:pt x="11" y="15"/>
                      <a:pt x="8" y="16"/>
                    </a:cubicBezTo>
                    <a:cubicBezTo>
                      <a:pt x="8" y="16"/>
                      <a:pt x="8" y="16"/>
                      <a:pt x="7" y="16"/>
                    </a:cubicBezTo>
                    <a:cubicBezTo>
                      <a:pt x="7" y="16"/>
                      <a:pt x="7" y="16"/>
                      <a:pt x="7" y="16"/>
                    </a:cubicBezTo>
                    <a:cubicBezTo>
                      <a:pt x="5" y="15"/>
                      <a:pt x="4" y="12"/>
                      <a:pt x="4" y="10"/>
                    </a:cubicBezTo>
                    <a:cubicBezTo>
                      <a:pt x="4" y="10"/>
                      <a:pt x="4" y="9"/>
                      <a:pt x="4" y="9"/>
                    </a:cubicBezTo>
                    <a:moveTo>
                      <a:pt x="8" y="0"/>
                    </a:moveTo>
                    <a:cubicBezTo>
                      <a:pt x="3" y="0"/>
                      <a:pt x="1" y="3"/>
                      <a:pt x="0" y="7"/>
                    </a:cubicBezTo>
                    <a:cubicBezTo>
                      <a:pt x="0" y="8"/>
                      <a:pt x="0" y="10"/>
                      <a:pt x="0" y="11"/>
                    </a:cubicBezTo>
                    <a:cubicBezTo>
                      <a:pt x="0" y="15"/>
                      <a:pt x="2" y="19"/>
                      <a:pt x="6" y="20"/>
                    </a:cubicBezTo>
                    <a:cubicBezTo>
                      <a:pt x="7" y="21"/>
                      <a:pt x="8" y="21"/>
                      <a:pt x="9" y="21"/>
                    </a:cubicBezTo>
                    <a:cubicBezTo>
                      <a:pt x="10" y="21"/>
                      <a:pt x="10" y="21"/>
                      <a:pt x="11" y="21"/>
                    </a:cubicBezTo>
                    <a:cubicBezTo>
                      <a:pt x="16" y="19"/>
                      <a:pt x="18" y="14"/>
                      <a:pt x="17" y="10"/>
                    </a:cubicBezTo>
                    <a:cubicBezTo>
                      <a:pt x="17" y="11"/>
                      <a:pt x="18" y="13"/>
                      <a:pt x="19" y="14"/>
                    </a:cubicBezTo>
                    <a:cubicBezTo>
                      <a:pt x="19" y="15"/>
                      <a:pt x="20" y="15"/>
                      <a:pt x="20" y="15"/>
                    </a:cubicBezTo>
                    <a:cubicBezTo>
                      <a:pt x="21" y="15"/>
                      <a:pt x="22" y="14"/>
                      <a:pt x="21" y="13"/>
                    </a:cubicBezTo>
                    <a:cubicBezTo>
                      <a:pt x="20" y="10"/>
                      <a:pt x="19" y="6"/>
                      <a:pt x="16" y="3"/>
                    </a:cubicBezTo>
                    <a:cubicBezTo>
                      <a:pt x="14" y="2"/>
                      <a:pt x="11" y="0"/>
                      <a:pt x="9" y="0"/>
                    </a:cubicBezTo>
                    <a:cubicBezTo>
                      <a:pt x="8" y="0"/>
                      <a:pt x="8" y="0"/>
                      <a:pt x="8" y="0"/>
                    </a:cubicBezTo>
                  </a:path>
                </a:pathLst>
              </a:custGeom>
              <a:solidFill>
                <a:srgbClr val="544D4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03" name="Freeform 49">
                <a:extLst>
                  <a:ext uri="{FF2B5EF4-FFF2-40B4-BE49-F238E27FC236}">
                    <a16:creationId xmlns:a16="http://schemas.microsoft.com/office/drawing/2014/main" id="{FD763C6E-2D66-4EC2-9C36-1F4E1D3C649A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6676" y="1795"/>
                <a:ext cx="27" cy="27"/>
              </a:xfrm>
              <a:custGeom>
                <a:avLst/>
                <a:gdLst>
                  <a:gd name="T0" fmla="*/ 6 w 25"/>
                  <a:gd name="T1" fmla="*/ 11 h 25"/>
                  <a:gd name="T2" fmla="*/ 7 w 25"/>
                  <a:gd name="T3" fmla="*/ 10 h 25"/>
                  <a:gd name="T4" fmla="*/ 12 w 25"/>
                  <a:gd name="T5" fmla="*/ 7 h 25"/>
                  <a:gd name="T6" fmla="*/ 14 w 25"/>
                  <a:gd name="T7" fmla="*/ 8 h 25"/>
                  <a:gd name="T8" fmla="*/ 18 w 25"/>
                  <a:gd name="T9" fmla="*/ 16 h 25"/>
                  <a:gd name="T10" fmla="*/ 16 w 25"/>
                  <a:gd name="T11" fmla="*/ 17 h 25"/>
                  <a:gd name="T12" fmla="*/ 12 w 25"/>
                  <a:gd name="T13" fmla="*/ 18 h 25"/>
                  <a:gd name="T14" fmla="*/ 10 w 25"/>
                  <a:gd name="T15" fmla="*/ 18 h 25"/>
                  <a:gd name="T16" fmla="*/ 6 w 25"/>
                  <a:gd name="T17" fmla="*/ 11 h 25"/>
                  <a:gd name="T18" fmla="*/ 12 w 25"/>
                  <a:gd name="T19" fmla="*/ 0 h 25"/>
                  <a:gd name="T20" fmla="*/ 9 w 25"/>
                  <a:gd name="T21" fmla="*/ 0 h 25"/>
                  <a:gd name="T22" fmla="*/ 0 w 25"/>
                  <a:gd name="T23" fmla="*/ 10 h 25"/>
                  <a:gd name="T24" fmla="*/ 3 w 25"/>
                  <a:gd name="T25" fmla="*/ 20 h 25"/>
                  <a:gd name="T26" fmla="*/ 7 w 25"/>
                  <a:gd name="T27" fmla="*/ 23 h 25"/>
                  <a:gd name="T28" fmla="*/ 13 w 25"/>
                  <a:gd name="T29" fmla="*/ 25 h 25"/>
                  <a:gd name="T30" fmla="*/ 14 w 25"/>
                  <a:gd name="T31" fmla="*/ 25 h 25"/>
                  <a:gd name="T32" fmla="*/ 14 w 25"/>
                  <a:gd name="T33" fmla="*/ 25 h 25"/>
                  <a:gd name="T34" fmla="*/ 24 w 25"/>
                  <a:gd name="T35" fmla="*/ 18 h 25"/>
                  <a:gd name="T36" fmla="*/ 24 w 25"/>
                  <a:gd name="T37" fmla="*/ 14 h 25"/>
                  <a:gd name="T38" fmla="*/ 12 w 25"/>
                  <a:gd name="T39" fmla="*/ 0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25" h="25">
                    <a:moveTo>
                      <a:pt x="6" y="11"/>
                    </a:moveTo>
                    <a:cubicBezTo>
                      <a:pt x="6" y="11"/>
                      <a:pt x="6" y="11"/>
                      <a:pt x="7" y="10"/>
                    </a:cubicBezTo>
                    <a:cubicBezTo>
                      <a:pt x="8" y="8"/>
                      <a:pt x="10" y="7"/>
                      <a:pt x="12" y="7"/>
                    </a:cubicBezTo>
                    <a:cubicBezTo>
                      <a:pt x="13" y="7"/>
                      <a:pt x="14" y="7"/>
                      <a:pt x="14" y="8"/>
                    </a:cubicBezTo>
                    <a:cubicBezTo>
                      <a:pt x="16" y="9"/>
                      <a:pt x="18" y="13"/>
                      <a:pt x="18" y="16"/>
                    </a:cubicBezTo>
                    <a:cubicBezTo>
                      <a:pt x="17" y="16"/>
                      <a:pt x="17" y="17"/>
                      <a:pt x="16" y="17"/>
                    </a:cubicBezTo>
                    <a:cubicBezTo>
                      <a:pt x="15" y="18"/>
                      <a:pt x="14" y="18"/>
                      <a:pt x="12" y="18"/>
                    </a:cubicBezTo>
                    <a:cubicBezTo>
                      <a:pt x="12" y="18"/>
                      <a:pt x="11" y="18"/>
                      <a:pt x="10" y="18"/>
                    </a:cubicBezTo>
                    <a:cubicBezTo>
                      <a:pt x="8" y="16"/>
                      <a:pt x="6" y="14"/>
                      <a:pt x="6" y="11"/>
                    </a:cubicBezTo>
                    <a:moveTo>
                      <a:pt x="12" y="0"/>
                    </a:moveTo>
                    <a:cubicBezTo>
                      <a:pt x="11" y="0"/>
                      <a:pt x="10" y="0"/>
                      <a:pt x="9" y="0"/>
                    </a:cubicBezTo>
                    <a:cubicBezTo>
                      <a:pt x="4" y="2"/>
                      <a:pt x="1" y="6"/>
                      <a:pt x="0" y="10"/>
                    </a:cubicBezTo>
                    <a:cubicBezTo>
                      <a:pt x="0" y="14"/>
                      <a:pt x="1" y="17"/>
                      <a:pt x="3" y="20"/>
                    </a:cubicBezTo>
                    <a:cubicBezTo>
                      <a:pt x="4" y="21"/>
                      <a:pt x="6" y="22"/>
                      <a:pt x="7" y="23"/>
                    </a:cubicBezTo>
                    <a:cubicBezTo>
                      <a:pt x="8" y="24"/>
                      <a:pt x="11" y="25"/>
                      <a:pt x="13" y="25"/>
                    </a:cubicBezTo>
                    <a:cubicBezTo>
                      <a:pt x="13" y="25"/>
                      <a:pt x="13" y="25"/>
                      <a:pt x="14" y="25"/>
                    </a:cubicBezTo>
                    <a:cubicBezTo>
                      <a:pt x="14" y="25"/>
                      <a:pt x="14" y="25"/>
                      <a:pt x="14" y="25"/>
                    </a:cubicBezTo>
                    <a:cubicBezTo>
                      <a:pt x="19" y="24"/>
                      <a:pt x="22" y="22"/>
                      <a:pt x="24" y="18"/>
                    </a:cubicBezTo>
                    <a:cubicBezTo>
                      <a:pt x="25" y="17"/>
                      <a:pt x="25" y="15"/>
                      <a:pt x="24" y="14"/>
                    </a:cubicBezTo>
                    <a:cubicBezTo>
                      <a:pt x="24" y="8"/>
                      <a:pt x="19" y="0"/>
                      <a:pt x="12" y="0"/>
                    </a:cubicBezTo>
                  </a:path>
                </a:pathLst>
              </a:custGeom>
              <a:solidFill>
                <a:srgbClr val="544D4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04" name="Freeform 50">
                <a:extLst>
                  <a:ext uri="{FF2B5EF4-FFF2-40B4-BE49-F238E27FC236}">
                    <a16:creationId xmlns:a16="http://schemas.microsoft.com/office/drawing/2014/main" id="{DADDF3C5-80C0-4EE0-B6F9-AB8FDB53280F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568" y="631"/>
                <a:ext cx="43" cy="1194"/>
              </a:xfrm>
              <a:custGeom>
                <a:avLst/>
                <a:gdLst>
                  <a:gd name="T0" fmla="*/ 24 w 40"/>
                  <a:gd name="T1" fmla="*/ 6 h 1128"/>
                  <a:gd name="T2" fmla="*/ 29 w 40"/>
                  <a:gd name="T3" fmla="*/ 51 h 1128"/>
                  <a:gd name="T4" fmla="*/ 28 w 40"/>
                  <a:gd name="T5" fmla="*/ 100 h 1128"/>
                  <a:gd name="T6" fmla="*/ 28 w 40"/>
                  <a:gd name="T7" fmla="*/ 206 h 1128"/>
                  <a:gd name="T8" fmla="*/ 26 w 40"/>
                  <a:gd name="T9" fmla="*/ 433 h 1128"/>
                  <a:gd name="T10" fmla="*/ 3 w 40"/>
                  <a:gd name="T11" fmla="*/ 871 h 1128"/>
                  <a:gd name="T12" fmla="*/ 1 w 40"/>
                  <a:gd name="T13" fmla="*/ 1122 h 1128"/>
                  <a:gd name="T14" fmla="*/ 11 w 40"/>
                  <a:gd name="T15" fmla="*/ 1121 h 1128"/>
                  <a:gd name="T16" fmla="*/ 15 w 40"/>
                  <a:gd name="T17" fmla="*/ 892 h 1128"/>
                  <a:gd name="T18" fmla="*/ 29 w 40"/>
                  <a:gd name="T19" fmla="*/ 671 h 1128"/>
                  <a:gd name="T20" fmla="*/ 40 w 40"/>
                  <a:gd name="T21" fmla="*/ 224 h 1128"/>
                  <a:gd name="T22" fmla="*/ 40 w 40"/>
                  <a:gd name="T23" fmla="*/ 102 h 1128"/>
                  <a:gd name="T24" fmla="*/ 40 w 40"/>
                  <a:gd name="T25" fmla="*/ 48 h 1128"/>
                  <a:gd name="T26" fmla="*/ 33 w 40"/>
                  <a:gd name="T27" fmla="*/ 6 h 1128"/>
                  <a:gd name="T28" fmla="*/ 24 w 40"/>
                  <a:gd name="T29" fmla="*/ 6 h 11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40" h="1128">
                    <a:moveTo>
                      <a:pt x="24" y="6"/>
                    </a:moveTo>
                    <a:cubicBezTo>
                      <a:pt x="24" y="22"/>
                      <a:pt x="29" y="36"/>
                      <a:pt x="29" y="51"/>
                    </a:cubicBezTo>
                    <a:cubicBezTo>
                      <a:pt x="28" y="67"/>
                      <a:pt x="28" y="84"/>
                      <a:pt x="28" y="100"/>
                    </a:cubicBezTo>
                    <a:cubicBezTo>
                      <a:pt x="28" y="135"/>
                      <a:pt x="28" y="170"/>
                      <a:pt x="28" y="206"/>
                    </a:cubicBezTo>
                    <a:cubicBezTo>
                      <a:pt x="28" y="281"/>
                      <a:pt x="28" y="357"/>
                      <a:pt x="26" y="433"/>
                    </a:cubicBezTo>
                    <a:cubicBezTo>
                      <a:pt x="23" y="579"/>
                      <a:pt x="9" y="725"/>
                      <a:pt x="3" y="871"/>
                    </a:cubicBezTo>
                    <a:cubicBezTo>
                      <a:pt x="0" y="955"/>
                      <a:pt x="0" y="1038"/>
                      <a:pt x="1" y="1122"/>
                    </a:cubicBezTo>
                    <a:cubicBezTo>
                      <a:pt x="1" y="1128"/>
                      <a:pt x="11" y="1127"/>
                      <a:pt x="11" y="1121"/>
                    </a:cubicBezTo>
                    <a:cubicBezTo>
                      <a:pt x="11" y="1045"/>
                      <a:pt x="12" y="968"/>
                      <a:pt x="15" y="892"/>
                    </a:cubicBezTo>
                    <a:cubicBezTo>
                      <a:pt x="17" y="818"/>
                      <a:pt x="24" y="745"/>
                      <a:pt x="29" y="671"/>
                    </a:cubicBezTo>
                    <a:cubicBezTo>
                      <a:pt x="38" y="522"/>
                      <a:pt x="40" y="373"/>
                      <a:pt x="40" y="224"/>
                    </a:cubicBezTo>
                    <a:cubicBezTo>
                      <a:pt x="40" y="183"/>
                      <a:pt x="40" y="143"/>
                      <a:pt x="40" y="102"/>
                    </a:cubicBezTo>
                    <a:cubicBezTo>
                      <a:pt x="40" y="84"/>
                      <a:pt x="40" y="66"/>
                      <a:pt x="40" y="48"/>
                    </a:cubicBezTo>
                    <a:cubicBezTo>
                      <a:pt x="40" y="33"/>
                      <a:pt x="35" y="20"/>
                      <a:pt x="33" y="6"/>
                    </a:cubicBezTo>
                    <a:cubicBezTo>
                      <a:pt x="33" y="0"/>
                      <a:pt x="24" y="0"/>
                      <a:pt x="24" y="6"/>
                    </a:cubicBezTo>
                  </a:path>
                </a:pathLst>
              </a:custGeom>
              <a:solidFill>
                <a:srgbClr val="04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05" name="Freeform 51">
                <a:extLst>
                  <a:ext uri="{FF2B5EF4-FFF2-40B4-BE49-F238E27FC236}">
                    <a16:creationId xmlns:a16="http://schemas.microsoft.com/office/drawing/2014/main" id="{B50D39E1-0616-4FEF-A834-C50A2587868B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2062" y="1800"/>
                <a:ext cx="191" cy="154"/>
              </a:xfrm>
              <a:custGeom>
                <a:avLst/>
                <a:gdLst>
                  <a:gd name="T0" fmla="*/ 156 w 180"/>
                  <a:gd name="T1" fmla="*/ 131 h 146"/>
                  <a:gd name="T2" fmla="*/ 156 w 180"/>
                  <a:gd name="T3" fmla="*/ 130 h 146"/>
                  <a:gd name="T4" fmla="*/ 0 w 180"/>
                  <a:gd name="T5" fmla="*/ 93 h 146"/>
                  <a:gd name="T6" fmla="*/ 6 w 180"/>
                  <a:gd name="T7" fmla="*/ 97 h 146"/>
                  <a:gd name="T8" fmla="*/ 20 w 180"/>
                  <a:gd name="T9" fmla="*/ 93 h 146"/>
                  <a:gd name="T10" fmla="*/ 19 w 180"/>
                  <a:gd name="T11" fmla="*/ 93 h 146"/>
                  <a:gd name="T12" fmla="*/ 15 w 180"/>
                  <a:gd name="T13" fmla="*/ 93 h 146"/>
                  <a:gd name="T14" fmla="*/ 15 w 180"/>
                  <a:gd name="T15" fmla="*/ 93 h 146"/>
                  <a:gd name="T16" fmla="*/ 15 w 180"/>
                  <a:gd name="T17" fmla="*/ 93 h 146"/>
                  <a:gd name="T18" fmla="*/ 140 w 180"/>
                  <a:gd name="T19" fmla="*/ 80 h 146"/>
                  <a:gd name="T20" fmla="*/ 162 w 180"/>
                  <a:gd name="T21" fmla="*/ 124 h 146"/>
                  <a:gd name="T22" fmla="*/ 143 w 180"/>
                  <a:gd name="T23" fmla="*/ 97 h 146"/>
                  <a:gd name="T24" fmla="*/ 140 w 180"/>
                  <a:gd name="T25" fmla="*/ 80 h 146"/>
                  <a:gd name="T26" fmla="*/ 49 w 180"/>
                  <a:gd name="T27" fmla="*/ 12 h 146"/>
                  <a:gd name="T28" fmla="*/ 27 w 180"/>
                  <a:gd name="T29" fmla="*/ 31 h 146"/>
                  <a:gd name="T30" fmla="*/ 48 w 180"/>
                  <a:gd name="T31" fmla="*/ 57 h 146"/>
                  <a:gd name="T32" fmla="*/ 41 w 180"/>
                  <a:gd name="T33" fmla="*/ 82 h 146"/>
                  <a:gd name="T34" fmla="*/ 5 w 180"/>
                  <a:gd name="T35" fmla="*/ 105 h 146"/>
                  <a:gd name="T36" fmla="*/ 18 w 180"/>
                  <a:gd name="T37" fmla="*/ 132 h 146"/>
                  <a:gd name="T38" fmla="*/ 48 w 180"/>
                  <a:gd name="T39" fmla="*/ 121 h 146"/>
                  <a:gd name="T40" fmla="*/ 77 w 180"/>
                  <a:gd name="T41" fmla="*/ 114 h 146"/>
                  <a:gd name="T42" fmla="*/ 107 w 180"/>
                  <a:gd name="T43" fmla="*/ 142 h 146"/>
                  <a:gd name="T44" fmla="*/ 107 w 180"/>
                  <a:gd name="T45" fmla="*/ 146 h 146"/>
                  <a:gd name="T46" fmla="*/ 144 w 180"/>
                  <a:gd name="T47" fmla="*/ 139 h 146"/>
                  <a:gd name="T48" fmla="*/ 127 w 180"/>
                  <a:gd name="T49" fmla="*/ 91 h 146"/>
                  <a:gd name="T50" fmla="*/ 169 w 180"/>
                  <a:gd name="T51" fmla="*/ 60 h 146"/>
                  <a:gd name="T52" fmla="*/ 148 w 180"/>
                  <a:gd name="T53" fmla="*/ 31 h 146"/>
                  <a:gd name="T54" fmla="*/ 167 w 180"/>
                  <a:gd name="T55" fmla="*/ 47 h 146"/>
                  <a:gd name="T56" fmla="*/ 177 w 180"/>
                  <a:gd name="T57" fmla="*/ 60 h 146"/>
                  <a:gd name="T58" fmla="*/ 180 w 180"/>
                  <a:gd name="T59" fmla="*/ 57 h 146"/>
                  <a:gd name="T60" fmla="*/ 180 w 180"/>
                  <a:gd name="T61" fmla="*/ 56 h 146"/>
                  <a:gd name="T62" fmla="*/ 180 w 180"/>
                  <a:gd name="T63" fmla="*/ 50 h 146"/>
                  <a:gd name="T64" fmla="*/ 148 w 180"/>
                  <a:gd name="T65" fmla="*/ 23 h 146"/>
                  <a:gd name="T66" fmla="*/ 106 w 180"/>
                  <a:gd name="T67" fmla="*/ 63 h 146"/>
                  <a:gd name="T68" fmla="*/ 64 w 180"/>
                  <a:gd name="T69" fmla="*/ 22 h 146"/>
                  <a:gd name="T70" fmla="*/ 77 w 180"/>
                  <a:gd name="T71" fmla="*/ 9 h 146"/>
                  <a:gd name="T72" fmla="*/ 97 w 180"/>
                  <a:gd name="T73" fmla="*/ 54 h 146"/>
                  <a:gd name="T74" fmla="*/ 124 w 180"/>
                  <a:gd name="T75" fmla="*/ 50 h 146"/>
                  <a:gd name="T76" fmla="*/ 115 w 180"/>
                  <a:gd name="T77" fmla="*/ 51 h 146"/>
                  <a:gd name="T78" fmla="*/ 115 w 180"/>
                  <a:gd name="T79" fmla="*/ 51 h 146"/>
                  <a:gd name="T80" fmla="*/ 76 w 180"/>
                  <a:gd name="T81" fmla="*/ 21 h 146"/>
                  <a:gd name="T82" fmla="*/ 77 w 180"/>
                  <a:gd name="T83" fmla="*/ 9 h 146"/>
                  <a:gd name="T84" fmla="*/ 62 w 180"/>
                  <a:gd name="T85" fmla="*/ 0 h 146"/>
                  <a:gd name="T86" fmla="*/ 43 w 180"/>
                  <a:gd name="T87" fmla="*/ 9 h 146"/>
                  <a:gd name="T88" fmla="*/ 61 w 180"/>
                  <a:gd name="T89" fmla="*/ 7 h 146"/>
                  <a:gd name="T90" fmla="*/ 70 w 180"/>
                  <a:gd name="T91" fmla="*/ 7 h 146"/>
                  <a:gd name="T92" fmla="*/ 75 w 180"/>
                  <a:gd name="T93" fmla="*/ 0 h 146"/>
                  <a:gd name="T94" fmla="*/ 67 w 180"/>
                  <a:gd name="T95" fmla="*/ 0 h 1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180" h="146">
                    <a:moveTo>
                      <a:pt x="156" y="130"/>
                    </a:moveTo>
                    <a:cubicBezTo>
                      <a:pt x="156" y="130"/>
                      <a:pt x="156" y="131"/>
                      <a:pt x="156" y="131"/>
                    </a:cubicBezTo>
                    <a:cubicBezTo>
                      <a:pt x="156" y="131"/>
                      <a:pt x="156" y="130"/>
                      <a:pt x="157" y="130"/>
                    </a:cubicBezTo>
                    <a:cubicBezTo>
                      <a:pt x="157" y="130"/>
                      <a:pt x="156" y="130"/>
                      <a:pt x="156" y="130"/>
                    </a:cubicBezTo>
                    <a:moveTo>
                      <a:pt x="1" y="91"/>
                    </a:moveTo>
                    <a:cubicBezTo>
                      <a:pt x="0" y="93"/>
                      <a:pt x="0" y="93"/>
                      <a:pt x="0" y="93"/>
                    </a:cubicBezTo>
                    <a:cubicBezTo>
                      <a:pt x="0" y="94"/>
                      <a:pt x="0" y="96"/>
                      <a:pt x="0" y="97"/>
                    </a:cubicBezTo>
                    <a:cubicBezTo>
                      <a:pt x="2" y="97"/>
                      <a:pt x="4" y="97"/>
                      <a:pt x="6" y="97"/>
                    </a:cubicBezTo>
                    <a:cubicBezTo>
                      <a:pt x="13" y="97"/>
                      <a:pt x="21" y="96"/>
                      <a:pt x="26" y="91"/>
                    </a:cubicBezTo>
                    <a:cubicBezTo>
                      <a:pt x="24" y="92"/>
                      <a:pt x="22" y="92"/>
                      <a:pt x="20" y="93"/>
                    </a:cubicBezTo>
                    <a:cubicBezTo>
                      <a:pt x="20" y="93"/>
                      <a:pt x="20" y="93"/>
                      <a:pt x="19" y="93"/>
                    </a:cubicBezTo>
                    <a:cubicBezTo>
                      <a:pt x="19" y="93"/>
                      <a:pt x="19" y="93"/>
                      <a:pt x="19" y="93"/>
                    </a:cubicBezTo>
                    <a:cubicBezTo>
                      <a:pt x="19" y="93"/>
                      <a:pt x="19" y="93"/>
                      <a:pt x="19" y="93"/>
                    </a:cubicBezTo>
                    <a:cubicBezTo>
                      <a:pt x="17" y="93"/>
                      <a:pt x="16" y="93"/>
                      <a:pt x="15" y="93"/>
                    </a:cubicBezTo>
                    <a:cubicBezTo>
                      <a:pt x="15" y="93"/>
                      <a:pt x="15" y="93"/>
                      <a:pt x="15" y="93"/>
                    </a:cubicBezTo>
                    <a:cubicBezTo>
                      <a:pt x="15" y="93"/>
                      <a:pt x="15" y="93"/>
                      <a:pt x="15" y="93"/>
                    </a:cubicBezTo>
                    <a:cubicBezTo>
                      <a:pt x="15" y="93"/>
                      <a:pt x="15" y="93"/>
                      <a:pt x="15" y="93"/>
                    </a:cubicBezTo>
                    <a:cubicBezTo>
                      <a:pt x="15" y="93"/>
                      <a:pt x="15" y="93"/>
                      <a:pt x="15" y="93"/>
                    </a:cubicBezTo>
                    <a:cubicBezTo>
                      <a:pt x="10" y="93"/>
                      <a:pt x="5" y="92"/>
                      <a:pt x="1" y="91"/>
                    </a:cubicBezTo>
                    <a:moveTo>
                      <a:pt x="140" y="80"/>
                    </a:moveTo>
                    <a:cubicBezTo>
                      <a:pt x="136" y="84"/>
                      <a:pt x="134" y="89"/>
                      <a:pt x="135" y="97"/>
                    </a:cubicBezTo>
                    <a:cubicBezTo>
                      <a:pt x="138" y="110"/>
                      <a:pt x="149" y="121"/>
                      <a:pt x="162" y="124"/>
                    </a:cubicBezTo>
                    <a:cubicBezTo>
                      <a:pt x="163" y="122"/>
                      <a:pt x="164" y="120"/>
                      <a:pt x="165" y="118"/>
                    </a:cubicBezTo>
                    <a:cubicBezTo>
                      <a:pt x="155" y="114"/>
                      <a:pt x="147" y="106"/>
                      <a:pt x="143" y="97"/>
                    </a:cubicBezTo>
                    <a:cubicBezTo>
                      <a:pt x="141" y="92"/>
                      <a:pt x="140" y="88"/>
                      <a:pt x="140" y="84"/>
                    </a:cubicBezTo>
                    <a:cubicBezTo>
                      <a:pt x="140" y="83"/>
                      <a:pt x="140" y="81"/>
                      <a:pt x="140" y="80"/>
                    </a:cubicBezTo>
                    <a:moveTo>
                      <a:pt x="68" y="10"/>
                    </a:moveTo>
                    <a:cubicBezTo>
                      <a:pt x="62" y="11"/>
                      <a:pt x="55" y="10"/>
                      <a:pt x="49" y="12"/>
                    </a:cubicBezTo>
                    <a:cubicBezTo>
                      <a:pt x="42" y="15"/>
                      <a:pt x="36" y="19"/>
                      <a:pt x="30" y="24"/>
                    </a:cubicBezTo>
                    <a:cubicBezTo>
                      <a:pt x="27" y="31"/>
                      <a:pt x="27" y="31"/>
                      <a:pt x="27" y="31"/>
                    </a:cubicBezTo>
                    <a:cubicBezTo>
                      <a:pt x="38" y="36"/>
                      <a:pt x="48" y="46"/>
                      <a:pt x="48" y="56"/>
                    </a:cubicBezTo>
                    <a:cubicBezTo>
                      <a:pt x="48" y="56"/>
                      <a:pt x="48" y="57"/>
                      <a:pt x="48" y="57"/>
                    </a:cubicBezTo>
                    <a:cubicBezTo>
                      <a:pt x="48" y="58"/>
                      <a:pt x="48" y="60"/>
                      <a:pt x="48" y="61"/>
                    </a:cubicBezTo>
                    <a:cubicBezTo>
                      <a:pt x="48" y="70"/>
                      <a:pt x="46" y="76"/>
                      <a:pt x="41" y="82"/>
                    </a:cubicBezTo>
                    <a:cubicBezTo>
                      <a:pt x="41" y="83"/>
                      <a:pt x="40" y="85"/>
                      <a:pt x="39" y="87"/>
                    </a:cubicBezTo>
                    <a:cubicBezTo>
                      <a:pt x="32" y="100"/>
                      <a:pt x="19" y="105"/>
                      <a:pt x="5" y="105"/>
                    </a:cubicBezTo>
                    <a:cubicBezTo>
                      <a:pt x="4" y="105"/>
                      <a:pt x="2" y="105"/>
                      <a:pt x="1" y="105"/>
                    </a:cubicBezTo>
                    <a:cubicBezTo>
                      <a:pt x="4" y="115"/>
                      <a:pt x="12" y="124"/>
                      <a:pt x="18" y="132"/>
                    </a:cubicBezTo>
                    <a:cubicBezTo>
                      <a:pt x="31" y="132"/>
                      <a:pt x="31" y="132"/>
                      <a:pt x="31" y="132"/>
                    </a:cubicBezTo>
                    <a:cubicBezTo>
                      <a:pt x="36" y="127"/>
                      <a:pt x="42" y="124"/>
                      <a:pt x="48" y="121"/>
                    </a:cubicBezTo>
                    <a:cubicBezTo>
                      <a:pt x="56" y="117"/>
                      <a:pt x="65" y="114"/>
                      <a:pt x="73" y="113"/>
                    </a:cubicBezTo>
                    <a:cubicBezTo>
                      <a:pt x="77" y="114"/>
                      <a:pt x="77" y="114"/>
                      <a:pt x="77" y="114"/>
                    </a:cubicBezTo>
                    <a:cubicBezTo>
                      <a:pt x="83" y="117"/>
                      <a:pt x="88" y="114"/>
                      <a:pt x="94" y="117"/>
                    </a:cubicBezTo>
                    <a:cubicBezTo>
                      <a:pt x="103" y="119"/>
                      <a:pt x="106" y="135"/>
                      <a:pt x="107" y="142"/>
                    </a:cubicBezTo>
                    <a:cubicBezTo>
                      <a:pt x="107" y="143"/>
                      <a:pt x="107" y="144"/>
                      <a:pt x="107" y="146"/>
                    </a:cubicBezTo>
                    <a:cubicBezTo>
                      <a:pt x="107" y="146"/>
                      <a:pt x="107" y="146"/>
                      <a:pt x="107" y="146"/>
                    </a:cubicBezTo>
                    <a:cubicBezTo>
                      <a:pt x="123" y="146"/>
                      <a:pt x="123" y="146"/>
                      <a:pt x="123" y="146"/>
                    </a:cubicBezTo>
                    <a:cubicBezTo>
                      <a:pt x="130" y="146"/>
                      <a:pt x="137" y="143"/>
                      <a:pt x="144" y="139"/>
                    </a:cubicBezTo>
                    <a:cubicBezTo>
                      <a:pt x="148" y="136"/>
                      <a:pt x="151" y="133"/>
                      <a:pt x="153" y="129"/>
                    </a:cubicBezTo>
                    <a:cubicBezTo>
                      <a:pt x="139" y="123"/>
                      <a:pt x="126" y="107"/>
                      <a:pt x="127" y="91"/>
                    </a:cubicBezTo>
                    <a:cubicBezTo>
                      <a:pt x="128" y="78"/>
                      <a:pt x="137" y="71"/>
                      <a:pt x="147" y="68"/>
                    </a:cubicBezTo>
                    <a:cubicBezTo>
                      <a:pt x="154" y="62"/>
                      <a:pt x="161" y="61"/>
                      <a:pt x="169" y="60"/>
                    </a:cubicBezTo>
                    <a:cubicBezTo>
                      <a:pt x="165" y="50"/>
                      <a:pt x="155" y="41"/>
                      <a:pt x="146" y="36"/>
                    </a:cubicBezTo>
                    <a:cubicBezTo>
                      <a:pt x="144" y="34"/>
                      <a:pt x="145" y="31"/>
                      <a:pt x="148" y="31"/>
                    </a:cubicBezTo>
                    <a:cubicBezTo>
                      <a:pt x="148" y="31"/>
                      <a:pt x="149" y="31"/>
                      <a:pt x="149" y="31"/>
                    </a:cubicBezTo>
                    <a:cubicBezTo>
                      <a:pt x="156" y="35"/>
                      <a:pt x="162" y="40"/>
                      <a:pt x="167" y="47"/>
                    </a:cubicBezTo>
                    <a:cubicBezTo>
                      <a:pt x="170" y="51"/>
                      <a:pt x="173" y="55"/>
                      <a:pt x="173" y="60"/>
                    </a:cubicBezTo>
                    <a:cubicBezTo>
                      <a:pt x="175" y="60"/>
                      <a:pt x="176" y="60"/>
                      <a:pt x="177" y="60"/>
                    </a:cubicBezTo>
                    <a:cubicBezTo>
                      <a:pt x="177" y="60"/>
                      <a:pt x="177" y="60"/>
                      <a:pt x="177" y="60"/>
                    </a:cubicBezTo>
                    <a:cubicBezTo>
                      <a:pt x="180" y="57"/>
                      <a:pt x="180" y="57"/>
                      <a:pt x="180" y="57"/>
                    </a:cubicBezTo>
                    <a:cubicBezTo>
                      <a:pt x="180" y="57"/>
                      <a:pt x="180" y="57"/>
                      <a:pt x="180" y="57"/>
                    </a:cubicBezTo>
                    <a:cubicBezTo>
                      <a:pt x="180" y="56"/>
                      <a:pt x="180" y="56"/>
                      <a:pt x="180" y="56"/>
                    </a:cubicBezTo>
                    <a:cubicBezTo>
                      <a:pt x="180" y="54"/>
                      <a:pt x="180" y="52"/>
                      <a:pt x="180" y="51"/>
                    </a:cubicBezTo>
                    <a:cubicBezTo>
                      <a:pt x="180" y="50"/>
                      <a:pt x="180" y="50"/>
                      <a:pt x="180" y="50"/>
                    </a:cubicBezTo>
                    <a:cubicBezTo>
                      <a:pt x="173" y="40"/>
                      <a:pt x="168" y="32"/>
                      <a:pt x="156" y="25"/>
                    </a:cubicBezTo>
                    <a:cubicBezTo>
                      <a:pt x="148" y="23"/>
                      <a:pt x="148" y="23"/>
                      <a:pt x="148" y="23"/>
                    </a:cubicBezTo>
                    <a:cubicBezTo>
                      <a:pt x="147" y="28"/>
                      <a:pt x="144" y="34"/>
                      <a:pt x="141" y="38"/>
                    </a:cubicBezTo>
                    <a:cubicBezTo>
                      <a:pt x="135" y="53"/>
                      <a:pt x="122" y="63"/>
                      <a:pt x="106" y="63"/>
                    </a:cubicBezTo>
                    <a:cubicBezTo>
                      <a:pt x="103" y="63"/>
                      <a:pt x="101" y="63"/>
                      <a:pt x="98" y="62"/>
                    </a:cubicBezTo>
                    <a:cubicBezTo>
                      <a:pt x="80" y="59"/>
                      <a:pt x="60" y="42"/>
                      <a:pt x="64" y="22"/>
                    </a:cubicBezTo>
                    <a:cubicBezTo>
                      <a:pt x="65" y="18"/>
                      <a:pt x="66" y="14"/>
                      <a:pt x="68" y="10"/>
                    </a:cubicBezTo>
                    <a:moveTo>
                      <a:pt x="77" y="9"/>
                    </a:moveTo>
                    <a:cubicBezTo>
                      <a:pt x="75" y="13"/>
                      <a:pt x="72" y="18"/>
                      <a:pt x="72" y="23"/>
                    </a:cubicBezTo>
                    <a:cubicBezTo>
                      <a:pt x="69" y="39"/>
                      <a:pt x="83" y="50"/>
                      <a:pt x="97" y="54"/>
                    </a:cubicBezTo>
                    <a:cubicBezTo>
                      <a:pt x="100" y="55"/>
                      <a:pt x="103" y="55"/>
                      <a:pt x="106" y="55"/>
                    </a:cubicBezTo>
                    <a:cubicBezTo>
                      <a:pt x="113" y="55"/>
                      <a:pt x="119" y="53"/>
                      <a:pt x="124" y="50"/>
                    </a:cubicBezTo>
                    <a:cubicBezTo>
                      <a:pt x="122" y="50"/>
                      <a:pt x="119" y="51"/>
                      <a:pt x="115" y="51"/>
                    </a:cubicBezTo>
                    <a:cubicBezTo>
                      <a:pt x="115" y="51"/>
                      <a:pt x="115" y="51"/>
                      <a:pt x="115" y="51"/>
                    </a:cubicBezTo>
                    <a:cubicBezTo>
                      <a:pt x="115" y="51"/>
                      <a:pt x="115" y="51"/>
                      <a:pt x="115" y="51"/>
                    </a:cubicBezTo>
                    <a:cubicBezTo>
                      <a:pt x="115" y="51"/>
                      <a:pt x="115" y="51"/>
                      <a:pt x="115" y="51"/>
                    </a:cubicBezTo>
                    <a:cubicBezTo>
                      <a:pt x="115" y="51"/>
                      <a:pt x="115" y="51"/>
                      <a:pt x="115" y="51"/>
                    </a:cubicBezTo>
                    <a:cubicBezTo>
                      <a:pt x="98" y="51"/>
                      <a:pt x="79" y="39"/>
                      <a:pt x="76" y="21"/>
                    </a:cubicBezTo>
                    <a:cubicBezTo>
                      <a:pt x="76" y="21"/>
                      <a:pt x="76" y="21"/>
                      <a:pt x="76" y="20"/>
                    </a:cubicBezTo>
                    <a:cubicBezTo>
                      <a:pt x="76" y="17"/>
                      <a:pt x="76" y="13"/>
                      <a:pt x="77" y="9"/>
                    </a:cubicBezTo>
                    <a:moveTo>
                      <a:pt x="67" y="0"/>
                    </a:moveTo>
                    <a:cubicBezTo>
                      <a:pt x="65" y="0"/>
                      <a:pt x="64" y="0"/>
                      <a:pt x="62" y="0"/>
                    </a:cubicBezTo>
                    <a:cubicBezTo>
                      <a:pt x="54" y="1"/>
                      <a:pt x="47" y="5"/>
                      <a:pt x="40" y="11"/>
                    </a:cubicBezTo>
                    <a:cubicBezTo>
                      <a:pt x="41" y="10"/>
                      <a:pt x="42" y="10"/>
                      <a:pt x="43" y="9"/>
                    </a:cubicBezTo>
                    <a:cubicBezTo>
                      <a:pt x="48" y="7"/>
                      <a:pt x="52" y="7"/>
                      <a:pt x="56" y="7"/>
                    </a:cubicBezTo>
                    <a:cubicBezTo>
                      <a:pt x="58" y="7"/>
                      <a:pt x="59" y="7"/>
                      <a:pt x="61" y="7"/>
                    </a:cubicBezTo>
                    <a:cubicBezTo>
                      <a:pt x="63" y="7"/>
                      <a:pt x="64" y="7"/>
                      <a:pt x="66" y="7"/>
                    </a:cubicBezTo>
                    <a:cubicBezTo>
                      <a:pt x="67" y="7"/>
                      <a:pt x="69" y="7"/>
                      <a:pt x="70" y="7"/>
                    </a:cubicBezTo>
                    <a:cubicBezTo>
                      <a:pt x="72" y="5"/>
                      <a:pt x="73" y="2"/>
                      <a:pt x="75" y="0"/>
                    </a:cubicBezTo>
                    <a:cubicBezTo>
                      <a:pt x="75" y="0"/>
                      <a:pt x="75" y="0"/>
                      <a:pt x="75" y="0"/>
                    </a:cubicBezTo>
                    <a:cubicBezTo>
                      <a:pt x="74" y="0"/>
                      <a:pt x="72" y="0"/>
                      <a:pt x="71" y="0"/>
                    </a:cubicBezTo>
                    <a:cubicBezTo>
                      <a:pt x="70" y="0"/>
                      <a:pt x="68" y="0"/>
                      <a:pt x="67" y="0"/>
                    </a:cubicBezTo>
                  </a:path>
                </a:pathLst>
              </a:custGeom>
              <a:solidFill>
                <a:srgbClr val="6F686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06" name="Freeform 52">
                <a:extLst>
                  <a:ext uri="{FF2B5EF4-FFF2-40B4-BE49-F238E27FC236}">
                    <a16:creationId xmlns:a16="http://schemas.microsoft.com/office/drawing/2014/main" id="{411C9D2D-3385-4CD6-9060-E37A6A09507B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2843" y="1956"/>
                <a:ext cx="39" cy="34"/>
              </a:xfrm>
              <a:custGeom>
                <a:avLst/>
                <a:gdLst>
                  <a:gd name="T0" fmla="*/ 11 w 37"/>
                  <a:gd name="T1" fmla="*/ 13 h 32"/>
                  <a:gd name="T2" fmla="*/ 7 w 37"/>
                  <a:gd name="T3" fmla="*/ 20 h 32"/>
                  <a:gd name="T4" fmla="*/ 1 w 37"/>
                  <a:gd name="T5" fmla="*/ 29 h 32"/>
                  <a:gd name="T6" fmla="*/ 1 w 37"/>
                  <a:gd name="T7" fmla="*/ 29 h 32"/>
                  <a:gd name="T8" fmla="*/ 0 w 37"/>
                  <a:gd name="T9" fmla="*/ 30 h 32"/>
                  <a:gd name="T10" fmla="*/ 4 w 37"/>
                  <a:gd name="T11" fmla="*/ 32 h 32"/>
                  <a:gd name="T12" fmla="*/ 4 w 37"/>
                  <a:gd name="T13" fmla="*/ 32 h 32"/>
                  <a:gd name="T14" fmla="*/ 4 w 37"/>
                  <a:gd name="T15" fmla="*/ 32 h 32"/>
                  <a:gd name="T16" fmla="*/ 11 w 37"/>
                  <a:gd name="T17" fmla="*/ 31 h 32"/>
                  <a:gd name="T18" fmla="*/ 13 w 37"/>
                  <a:gd name="T19" fmla="*/ 30 h 32"/>
                  <a:gd name="T20" fmla="*/ 13 w 37"/>
                  <a:gd name="T21" fmla="*/ 30 h 32"/>
                  <a:gd name="T22" fmla="*/ 22 w 37"/>
                  <a:gd name="T23" fmla="*/ 29 h 32"/>
                  <a:gd name="T24" fmla="*/ 22 w 37"/>
                  <a:gd name="T25" fmla="*/ 29 h 32"/>
                  <a:gd name="T26" fmla="*/ 22 w 37"/>
                  <a:gd name="T27" fmla="*/ 29 h 32"/>
                  <a:gd name="T28" fmla="*/ 22 w 37"/>
                  <a:gd name="T29" fmla="*/ 29 h 32"/>
                  <a:gd name="T30" fmla="*/ 22 w 37"/>
                  <a:gd name="T31" fmla="*/ 29 h 32"/>
                  <a:gd name="T32" fmla="*/ 23 w 37"/>
                  <a:gd name="T33" fmla="*/ 29 h 32"/>
                  <a:gd name="T34" fmla="*/ 20 w 37"/>
                  <a:gd name="T35" fmla="*/ 25 h 32"/>
                  <a:gd name="T36" fmla="*/ 11 w 37"/>
                  <a:gd name="T37" fmla="*/ 13 h 32"/>
                  <a:gd name="T38" fmla="*/ 18 w 37"/>
                  <a:gd name="T39" fmla="*/ 0 h 32"/>
                  <a:gd name="T40" fmla="*/ 16 w 37"/>
                  <a:gd name="T41" fmla="*/ 3 h 32"/>
                  <a:gd name="T42" fmla="*/ 15 w 37"/>
                  <a:gd name="T43" fmla="*/ 4 h 32"/>
                  <a:gd name="T44" fmla="*/ 14 w 37"/>
                  <a:gd name="T45" fmla="*/ 8 h 32"/>
                  <a:gd name="T46" fmla="*/ 27 w 37"/>
                  <a:gd name="T47" fmla="*/ 24 h 32"/>
                  <a:gd name="T48" fmla="*/ 30 w 37"/>
                  <a:gd name="T49" fmla="*/ 30 h 32"/>
                  <a:gd name="T50" fmla="*/ 35 w 37"/>
                  <a:gd name="T51" fmla="*/ 31 h 32"/>
                  <a:gd name="T52" fmla="*/ 35 w 37"/>
                  <a:gd name="T53" fmla="*/ 31 h 32"/>
                  <a:gd name="T54" fmla="*/ 35 w 37"/>
                  <a:gd name="T55" fmla="*/ 31 h 32"/>
                  <a:gd name="T56" fmla="*/ 35 w 37"/>
                  <a:gd name="T57" fmla="*/ 31 h 32"/>
                  <a:gd name="T58" fmla="*/ 35 w 37"/>
                  <a:gd name="T59" fmla="*/ 31 h 32"/>
                  <a:gd name="T60" fmla="*/ 35 w 37"/>
                  <a:gd name="T61" fmla="*/ 31 h 32"/>
                  <a:gd name="T62" fmla="*/ 36 w 37"/>
                  <a:gd name="T63" fmla="*/ 29 h 32"/>
                  <a:gd name="T64" fmla="*/ 37 w 37"/>
                  <a:gd name="T65" fmla="*/ 24 h 32"/>
                  <a:gd name="T66" fmla="*/ 20 w 37"/>
                  <a:gd name="T67" fmla="*/ 1 h 32"/>
                  <a:gd name="T68" fmla="*/ 18 w 37"/>
                  <a:gd name="T69" fmla="*/ 0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37" h="32">
                    <a:moveTo>
                      <a:pt x="11" y="13"/>
                    </a:moveTo>
                    <a:cubicBezTo>
                      <a:pt x="9" y="15"/>
                      <a:pt x="8" y="17"/>
                      <a:pt x="7" y="20"/>
                    </a:cubicBezTo>
                    <a:cubicBezTo>
                      <a:pt x="6" y="22"/>
                      <a:pt x="3" y="27"/>
                      <a:pt x="1" y="29"/>
                    </a:cubicBezTo>
                    <a:cubicBezTo>
                      <a:pt x="1" y="29"/>
                      <a:pt x="1" y="29"/>
                      <a:pt x="1" y="29"/>
                    </a:cubicBezTo>
                    <a:cubicBezTo>
                      <a:pt x="1" y="30"/>
                      <a:pt x="0" y="30"/>
                      <a:pt x="0" y="30"/>
                    </a:cubicBezTo>
                    <a:cubicBezTo>
                      <a:pt x="1" y="32"/>
                      <a:pt x="2" y="32"/>
                      <a:pt x="4" y="32"/>
                    </a:cubicBezTo>
                    <a:cubicBezTo>
                      <a:pt x="4" y="32"/>
                      <a:pt x="4" y="32"/>
                      <a:pt x="4" y="32"/>
                    </a:cubicBezTo>
                    <a:cubicBezTo>
                      <a:pt x="4" y="32"/>
                      <a:pt x="4" y="32"/>
                      <a:pt x="4" y="32"/>
                    </a:cubicBezTo>
                    <a:cubicBezTo>
                      <a:pt x="7" y="32"/>
                      <a:pt x="9" y="32"/>
                      <a:pt x="11" y="31"/>
                    </a:cubicBezTo>
                    <a:cubicBezTo>
                      <a:pt x="12" y="31"/>
                      <a:pt x="13" y="31"/>
                      <a:pt x="13" y="30"/>
                    </a:cubicBezTo>
                    <a:cubicBezTo>
                      <a:pt x="13" y="30"/>
                      <a:pt x="13" y="30"/>
                      <a:pt x="13" y="30"/>
                    </a:cubicBezTo>
                    <a:cubicBezTo>
                      <a:pt x="16" y="30"/>
                      <a:pt x="19" y="29"/>
                      <a:pt x="22" y="29"/>
                    </a:cubicBezTo>
                    <a:cubicBezTo>
                      <a:pt x="22" y="29"/>
                      <a:pt x="22" y="29"/>
                      <a:pt x="22" y="29"/>
                    </a:cubicBezTo>
                    <a:cubicBezTo>
                      <a:pt x="22" y="29"/>
                      <a:pt x="22" y="29"/>
                      <a:pt x="22" y="29"/>
                    </a:cubicBezTo>
                    <a:cubicBezTo>
                      <a:pt x="22" y="29"/>
                      <a:pt x="22" y="29"/>
                      <a:pt x="22" y="29"/>
                    </a:cubicBezTo>
                    <a:cubicBezTo>
                      <a:pt x="22" y="29"/>
                      <a:pt x="22" y="29"/>
                      <a:pt x="22" y="29"/>
                    </a:cubicBezTo>
                    <a:cubicBezTo>
                      <a:pt x="22" y="29"/>
                      <a:pt x="22" y="29"/>
                      <a:pt x="23" y="29"/>
                    </a:cubicBezTo>
                    <a:cubicBezTo>
                      <a:pt x="22" y="28"/>
                      <a:pt x="21" y="26"/>
                      <a:pt x="20" y="25"/>
                    </a:cubicBezTo>
                    <a:cubicBezTo>
                      <a:pt x="17" y="21"/>
                      <a:pt x="14" y="17"/>
                      <a:pt x="11" y="13"/>
                    </a:cubicBezTo>
                    <a:moveTo>
                      <a:pt x="18" y="0"/>
                    </a:moveTo>
                    <a:cubicBezTo>
                      <a:pt x="18" y="2"/>
                      <a:pt x="17" y="3"/>
                      <a:pt x="16" y="3"/>
                    </a:cubicBezTo>
                    <a:cubicBezTo>
                      <a:pt x="16" y="4"/>
                      <a:pt x="16" y="4"/>
                      <a:pt x="15" y="4"/>
                    </a:cubicBezTo>
                    <a:cubicBezTo>
                      <a:pt x="15" y="5"/>
                      <a:pt x="14" y="7"/>
                      <a:pt x="14" y="8"/>
                    </a:cubicBezTo>
                    <a:cubicBezTo>
                      <a:pt x="19" y="13"/>
                      <a:pt x="23" y="18"/>
                      <a:pt x="27" y="24"/>
                    </a:cubicBezTo>
                    <a:cubicBezTo>
                      <a:pt x="28" y="25"/>
                      <a:pt x="29" y="28"/>
                      <a:pt x="30" y="30"/>
                    </a:cubicBezTo>
                    <a:cubicBezTo>
                      <a:pt x="32" y="30"/>
                      <a:pt x="33" y="30"/>
                      <a:pt x="35" y="31"/>
                    </a:cubicBezTo>
                    <a:cubicBezTo>
                      <a:pt x="35" y="31"/>
                      <a:pt x="35" y="31"/>
                      <a:pt x="35" y="31"/>
                    </a:cubicBezTo>
                    <a:cubicBezTo>
                      <a:pt x="35" y="31"/>
                      <a:pt x="35" y="31"/>
                      <a:pt x="35" y="31"/>
                    </a:cubicBezTo>
                    <a:cubicBezTo>
                      <a:pt x="35" y="31"/>
                      <a:pt x="35" y="31"/>
                      <a:pt x="35" y="31"/>
                    </a:cubicBezTo>
                    <a:cubicBezTo>
                      <a:pt x="35" y="31"/>
                      <a:pt x="35" y="31"/>
                      <a:pt x="35" y="31"/>
                    </a:cubicBezTo>
                    <a:cubicBezTo>
                      <a:pt x="35" y="31"/>
                      <a:pt x="35" y="31"/>
                      <a:pt x="35" y="31"/>
                    </a:cubicBezTo>
                    <a:cubicBezTo>
                      <a:pt x="36" y="29"/>
                      <a:pt x="36" y="29"/>
                      <a:pt x="36" y="29"/>
                    </a:cubicBezTo>
                    <a:cubicBezTo>
                      <a:pt x="36" y="26"/>
                      <a:pt x="37" y="24"/>
                      <a:pt x="37" y="24"/>
                    </a:cubicBezTo>
                    <a:cubicBezTo>
                      <a:pt x="34" y="17"/>
                      <a:pt x="25" y="6"/>
                      <a:pt x="20" y="1"/>
                    </a:cubicBezTo>
                    <a:cubicBezTo>
                      <a:pt x="18" y="0"/>
                      <a:pt x="18" y="0"/>
                      <a:pt x="18" y="0"/>
                    </a:cubicBezTo>
                  </a:path>
                </a:pathLst>
              </a:custGeom>
              <a:solidFill>
                <a:srgbClr val="6F686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07" name="Freeform 53">
                <a:extLst>
                  <a:ext uri="{FF2B5EF4-FFF2-40B4-BE49-F238E27FC236}">
                    <a16:creationId xmlns:a16="http://schemas.microsoft.com/office/drawing/2014/main" id="{3F64B912-FC1C-45E8-8AB4-E0D3AB034B6B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2758" y="1934"/>
                <a:ext cx="37" cy="43"/>
              </a:xfrm>
              <a:custGeom>
                <a:avLst/>
                <a:gdLst>
                  <a:gd name="T0" fmla="*/ 18 w 35"/>
                  <a:gd name="T1" fmla="*/ 11 h 41"/>
                  <a:gd name="T2" fmla="*/ 6 w 35"/>
                  <a:gd name="T3" fmla="*/ 16 h 41"/>
                  <a:gd name="T4" fmla="*/ 13 w 35"/>
                  <a:gd name="T5" fmla="*/ 23 h 41"/>
                  <a:gd name="T6" fmla="*/ 22 w 35"/>
                  <a:gd name="T7" fmla="*/ 32 h 41"/>
                  <a:gd name="T8" fmla="*/ 22 w 35"/>
                  <a:gd name="T9" fmla="*/ 14 h 41"/>
                  <a:gd name="T10" fmla="*/ 18 w 35"/>
                  <a:gd name="T11" fmla="*/ 11 h 41"/>
                  <a:gd name="T12" fmla="*/ 28 w 35"/>
                  <a:gd name="T13" fmla="*/ 9 h 41"/>
                  <a:gd name="T14" fmla="*/ 24 w 35"/>
                  <a:gd name="T15" fmla="*/ 9 h 41"/>
                  <a:gd name="T16" fmla="*/ 28 w 35"/>
                  <a:gd name="T17" fmla="*/ 37 h 41"/>
                  <a:gd name="T18" fmla="*/ 35 w 35"/>
                  <a:gd name="T19" fmla="*/ 41 h 41"/>
                  <a:gd name="T20" fmla="*/ 33 w 35"/>
                  <a:gd name="T21" fmla="*/ 9 h 41"/>
                  <a:gd name="T22" fmla="*/ 28 w 35"/>
                  <a:gd name="T23" fmla="*/ 9 h 41"/>
                  <a:gd name="T24" fmla="*/ 30 w 35"/>
                  <a:gd name="T25" fmla="*/ 0 h 41"/>
                  <a:gd name="T26" fmla="*/ 29 w 35"/>
                  <a:gd name="T27" fmla="*/ 0 h 41"/>
                  <a:gd name="T28" fmla="*/ 26 w 35"/>
                  <a:gd name="T29" fmla="*/ 1 h 41"/>
                  <a:gd name="T30" fmla="*/ 26 w 35"/>
                  <a:gd name="T31" fmla="*/ 1 h 41"/>
                  <a:gd name="T32" fmla="*/ 15 w 35"/>
                  <a:gd name="T33" fmla="*/ 4 h 41"/>
                  <a:gd name="T34" fmla="*/ 3 w 35"/>
                  <a:gd name="T35" fmla="*/ 10 h 41"/>
                  <a:gd name="T36" fmla="*/ 0 w 35"/>
                  <a:gd name="T37" fmla="*/ 11 h 41"/>
                  <a:gd name="T38" fmla="*/ 1 w 35"/>
                  <a:gd name="T39" fmla="*/ 12 h 41"/>
                  <a:gd name="T40" fmla="*/ 14 w 35"/>
                  <a:gd name="T41" fmla="*/ 8 h 41"/>
                  <a:gd name="T42" fmla="*/ 15 w 35"/>
                  <a:gd name="T43" fmla="*/ 6 h 41"/>
                  <a:gd name="T44" fmla="*/ 30 w 35"/>
                  <a:gd name="T45" fmla="*/ 2 h 41"/>
                  <a:gd name="T46" fmla="*/ 32 w 35"/>
                  <a:gd name="T47" fmla="*/ 2 h 41"/>
                  <a:gd name="T48" fmla="*/ 31 w 35"/>
                  <a:gd name="T49" fmla="*/ 0 h 41"/>
                  <a:gd name="T50" fmla="*/ 31 w 35"/>
                  <a:gd name="T51" fmla="*/ 0 h 41"/>
                  <a:gd name="T52" fmla="*/ 31 w 35"/>
                  <a:gd name="T53" fmla="*/ 0 h 41"/>
                  <a:gd name="T54" fmla="*/ 30 w 35"/>
                  <a:gd name="T55" fmla="*/ 0 h 41"/>
                  <a:gd name="T56" fmla="*/ 30 w 35"/>
                  <a:gd name="T57" fmla="*/ 0 h 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35" h="41">
                    <a:moveTo>
                      <a:pt x="18" y="11"/>
                    </a:moveTo>
                    <a:cubicBezTo>
                      <a:pt x="15" y="11"/>
                      <a:pt x="10" y="13"/>
                      <a:pt x="6" y="16"/>
                    </a:cubicBezTo>
                    <a:cubicBezTo>
                      <a:pt x="8" y="18"/>
                      <a:pt x="11" y="20"/>
                      <a:pt x="13" y="23"/>
                    </a:cubicBezTo>
                    <a:cubicBezTo>
                      <a:pt x="16" y="25"/>
                      <a:pt x="19" y="29"/>
                      <a:pt x="22" y="32"/>
                    </a:cubicBezTo>
                    <a:cubicBezTo>
                      <a:pt x="23" y="26"/>
                      <a:pt x="24" y="18"/>
                      <a:pt x="22" y="14"/>
                    </a:cubicBezTo>
                    <a:cubicBezTo>
                      <a:pt x="21" y="12"/>
                      <a:pt x="20" y="11"/>
                      <a:pt x="18" y="11"/>
                    </a:cubicBezTo>
                    <a:moveTo>
                      <a:pt x="28" y="9"/>
                    </a:moveTo>
                    <a:cubicBezTo>
                      <a:pt x="27" y="9"/>
                      <a:pt x="26" y="9"/>
                      <a:pt x="24" y="9"/>
                    </a:cubicBezTo>
                    <a:cubicBezTo>
                      <a:pt x="27" y="18"/>
                      <a:pt x="27" y="28"/>
                      <a:pt x="28" y="37"/>
                    </a:cubicBezTo>
                    <a:cubicBezTo>
                      <a:pt x="30" y="39"/>
                      <a:pt x="33" y="40"/>
                      <a:pt x="35" y="41"/>
                    </a:cubicBezTo>
                    <a:cubicBezTo>
                      <a:pt x="33" y="30"/>
                      <a:pt x="34" y="20"/>
                      <a:pt x="33" y="9"/>
                    </a:cubicBezTo>
                    <a:cubicBezTo>
                      <a:pt x="31" y="9"/>
                      <a:pt x="30" y="9"/>
                      <a:pt x="28" y="9"/>
                    </a:cubicBezTo>
                    <a:moveTo>
                      <a:pt x="30" y="0"/>
                    </a:moveTo>
                    <a:cubicBezTo>
                      <a:pt x="29" y="0"/>
                      <a:pt x="29" y="0"/>
                      <a:pt x="29" y="0"/>
                    </a:cubicBezTo>
                    <a:cubicBezTo>
                      <a:pt x="28" y="0"/>
                      <a:pt x="27" y="0"/>
                      <a:pt x="26" y="1"/>
                    </a:cubicBezTo>
                    <a:cubicBezTo>
                      <a:pt x="26" y="1"/>
                      <a:pt x="26" y="1"/>
                      <a:pt x="26" y="1"/>
                    </a:cubicBezTo>
                    <a:cubicBezTo>
                      <a:pt x="22" y="1"/>
                      <a:pt x="18" y="3"/>
                      <a:pt x="15" y="4"/>
                    </a:cubicBezTo>
                    <a:cubicBezTo>
                      <a:pt x="13" y="5"/>
                      <a:pt x="8" y="8"/>
                      <a:pt x="3" y="10"/>
                    </a:cubicBezTo>
                    <a:cubicBezTo>
                      <a:pt x="0" y="11"/>
                      <a:pt x="0" y="11"/>
                      <a:pt x="0" y="11"/>
                    </a:cubicBezTo>
                    <a:cubicBezTo>
                      <a:pt x="0" y="11"/>
                      <a:pt x="1" y="12"/>
                      <a:pt x="1" y="12"/>
                    </a:cubicBezTo>
                    <a:cubicBezTo>
                      <a:pt x="6" y="10"/>
                      <a:pt x="10" y="9"/>
                      <a:pt x="14" y="8"/>
                    </a:cubicBezTo>
                    <a:cubicBezTo>
                      <a:pt x="14" y="7"/>
                      <a:pt x="15" y="6"/>
                      <a:pt x="15" y="6"/>
                    </a:cubicBezTo>
                    <a:cubicBezTo>
                      <a:pt x="20" y="3"/>
                      <a:pt x="25" y="2"/>
                      <a:pt x="30" y="2"/>
                    </a:cubicBezTo>
                    <a:cubicBezTo>
                      <a:pt x="31" y="2"/>
                      <a:pt x="31" y="2"/>
                      <a:pt x="32" y="2"/>
                    </a:cubicBezTo>
                    <a:cubicBezTo>
                      <a:pt x="32" y="1"/>
                      <a:pt x="32" y="1"/>
                      <a:pt x="31" y="0"/>
                    </a:cubicBezTo>
                    <a:cubicBezTo>
                      <a:pt x="31" y="0"/>
                      <a:pt x="31" y="0"/>
                      <a:pt x="31" y="0"/>
                    </a:cubicBezTo>
                    <a:cubicBezTo>
                      <a:pt x="31" y="0"/>
                      <a:pt x="31" y="0"/>
                      <a:pt x="31" y="0"/>
                    </a:cubicBezTo>
                    <a:cubicBezTo>
                      <a:pt x="31" y="0"/>
                      <a:pt x="30" y="0"/>
                      <a:pt x="30" y="0"/>
                    </a:cubicBezTo>
                    <a:cubicBezTo>
                      <a:pt x="30" y="0"/>
                      <a:pt x="30" y="0"/>
                      <a:pt x="30" y="0"/>
                    </a:cubicBezTo>
                  </a:path>
                </a:pathLst>
              </a:custGeom>
              <a:solidFill>
                <a:srgbClr val="6F686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08" name="Freeform 54">
                <a:extLst>
                  <a:ext uri="{FF2B5EF4-FFF2-40B4-BE49-F238E27FC236}">
                    <a16:creationId xmlns:a16="http://schemas.microsoft.com/office/drawing/2014/main" id="{816CD961-6518-465B-9C95-287D0F8EF367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2721" y="1930"/>
                <a:ext cx="181" cy="179"/>
              </a:xfrm>
              <a:custGeom>
                <a:avLst/>
                <a:gdLst>
                  <a:gd name="T0" fmla="*/ 151 w 171"/>
                  <a:gd name="T1" fmla="*/ 117 h 169"/>
                  <a:gd name="T2" fmla="*/ 58 w 171"/>
                  <a:gd name="T3" fmla="*/ 118 h 169"/>
                  <a:gd name="T4" fmla="*/ 46 w 171"/>
                  <a:gd name="T5" fmla="*/ 133 h 169"/>
                  <a:gd name="T6" fmla="*/ 55 w 171"/>
                  <a:gd name="T7" fmla="*/ 134 h 169"/>
                  <a:gd name="T8" fmla="*/ 61 w 171"/>
                  <a:gd name="T9" fmla="*/ 136 h 169"/>
                  <a:gd name="T10" fmla="*/ 146 w 171"/>
                  <a:gd name="T11" fmla="*/ 57 h 169"/>
                  <a:gd name="T12" fmla="*/ 164 w 171"/>
                  <a:gd name="T13" fmla="*/ 83 h 169"/>
                  <a:gd name="T14" fmla="*/ 158 w 171"/>
                  <a:gd name="T15" fmla="*/ 118 h 169"/>
                  <a:gd name="T16" fmla="*/ 163 w 171"/>
                  <a:gd name="T17" fmla="*/ 120 h 169"/>
                  <a:gd name="T18" fmla="*/ 166 w 171"/>
                  <a:gd name="T19" fmla="*/ 108 h 169"/>
                  <a:gd name="T20" fmla="*/ 171 w 171"/>
                  <a:gd name="T21" fmla="*/ 73 h 169"/>
                  <a:gd name="T22" fmla="*/ 159 w 171"/>
                  <a:gd name="T23" fmla="*/ 58 h 169"/>
                  <a:gd name="T24" fmla="*/ 150 w 171"/>
                  <a:gd name="T25" fmla="*/ 56 h 169"/>
                  <a:gd name="T26" fmla="*/ 137 w 171"/>
                  <a:gd name="T27" fmla="*/ 54 h 169"/>
                  <a:gd name="T28" fmla="*/ 126 w 171"/>
                  <a:gd name="T29" fmla="*/ 56 h 169"/>
                  <a:gd name="T30" fmla="*/ 119 w 171"/>
                  <a:gd name="T31" fmla="*/ 57 h 169"/>
                  <a:gd name="T32" fmla="*/ 128 w 171"/>
                  <a:gd name="T33" fmla="*/ 60 h 169"/>
                  <a:gd name="T34" fmla="*/ 138 w 171"/>
                  <a:gd name="T35" fmla="*/ 54 h 169"/>
                  <a:gd name="T36" fmla="*/ 116 w 171"/>
                  <a:gd name="T37" fmla="*/ 54 h 169"/>
                  <a:gd name="T38" fmla="*/ 19 w 171"/>
                  <a:gd name="T39" fmla="*/ 21 h 169"/>
                  <a:gd name="T40" fmla="*/ 40 w 171"/>
                  <a:gd name="T41" fmla="*/ 31 h 169"/>
                  <a:gd name="T42" fmla="*/ 48 w 171"/>
                  <a:gd name="T43" fmla="*/ 27 h 169"/>
                  <a:gd name="T44" fmla="*/ 21 w 171"/>
                  <a:gd name="T45" fmla="*/ 18 h 169"/>
                  <a:gd name="T46" fmla="*/ 35 w 171"/>
                  <a:gd name="T47" fmla="*/ 15 h 169"/>
                  <a:gd name="T48" fmla="*/ 70 w 171"/>
                  <a:gd name="T49" fmla="*/ 45 h 169"/>
                  <a:gd name="T50" fmla="*/ 61 w 171"/>
                  <a:gd name="T51" fmla="*/ 59 h 169"/>
                  <a:gd name="T52" fmla="*/ 30 w 171"/>
                  <a:gd name="T53" fmla="*/ 31 h 169"/>
                  <a:gd name="T54" fmla="*/ 13 w 171"/>
                  <a:gd name="T55" fmla="*/ 88 h 169"/>
                  <a:gd name="T56" fmla="*/ 19 w 171"/>
                  <a:gd name="T57" fmla="*/ 22 h 169"/>
                  <a:gd name="T58" fmla="*/ 5 w 171"/>
                  <a:gd name="T59" fmla="*/ 61 h 169"/>
                  <a:gd name="T60" fmla="*/ 3 w 171"/>
                  <a:gd name="T61" fmla="*/ 69 h 169"/>
                  <a:gd name="T62" fmla="*/ 6 w 171"/>
                  <a:gd name="T63" fmla="*/ 98 h 169"/>
                  <a:gd name="T64" fmla="*/ 129 w 171"/>
                  <a:gd name="T65" fmla="*/ 161 h 169"/>
                  <a:gd name="T66" fmla="*/ 145 w 171"/>
                  <a:gd name="T67" fmla="*/ 132 h 169"/>
                  <a:gd name="T68" fmla="*/ 101 w 171"/>
                  <a:gd name="T69" fmla="*/ 159 h 169"/>
                  <a:gd name="T70" fmla="*/ 53 w 171"/>
                  <a:gd name="T71" fmla="*/ 96 h 169"/>
                  <a:gd name="T72" fmla="*/ 12 w 171"/>
                  <a:gd name="T73" fmla="*/ 91 h 169"/>
                  <a:gd name="T74" fmla="*/ 59 w 171"/>
                  <a:gd name="T75" fmla="*/ 88 h 169"/>
                  <a:gd name="T76" fmla="*/ 72 w 171"/>
                  <a:gd name="T77" fmla="*/ 83 h 169"/>
                  <a:gd name="T78" fmla="*/ 58 w 171"/>
                  <a:gd name="T79" fmla="*/ 98 h 169"/>
                  <a:gd name="T80" fmla="*/ 40 w 171"/>
                  <a:gd name="T81" fmla="*/ 126 h 169"/>
                  <a:gd name="T82" fmla="*/ 69 w 171"/>
                  <a:gd name="T83" fmla="*/ 92 h 169"/>
                  <a:gd name="T84" fmla="*/ 74 w 171"/>
                  <a:gd name="T85" fmla="*/ 95 h 169"/>
                  <a:gd name="T86" fmla="*/ 68 w 171"/>
                  <a:gd name="T87" fmla="*/ 141 h 169"/>
                  <a:gd name="T88" fmla="*/ 128 w 171"/>
                  <a:gd name="T89" fmla="*/ 141 h 169"/>
                  <a:gd name="T90" fmla="*/ 104 w 171"/>
                  <a:gd name="T91" fmla="*/ 102 h 169"/>
                  <a:gd name="T92" fmla="*/ 152 w 171"/>
                  <a:gd name="T93" fmla="*/ 112 h 169"/>
                  <a:gd name="T94" fmla="*/ 155 w 171"/>
                  <a:gd name="T95" fmla="*/ 113 h 169"/>
                  <a:gd name="T96" fmla="*/ 157 w 171"/>
                  <a:gd name="T97" fmla="*/ 97 h 169"/>
                  <a:gd name="T98" fmla="*/ 129 w 171"/>
                  <a:gd name="T99" fmla="*/ 66 h 169"/>
                  <a:gd name="T100" fmla="*/ 107 w 171"/>
                  <a:gd name="T101" fmla="*/ 67 h 169"/>
                  <a:gd name="T102" fmla="*/ 113 w 171"/>
                  <a:gd name="T103" fmla="*/ 47 h 169"/>
                  <a:gd name="T104" fmla="*/ 68 w 171"/>
                  <a:gd name="T105" fmla="*/ 13 h 169"/>
                  <a:gd name="T106" fmla="*/ 61 w 171"/>
                  <a:gd name="T107" fmla="*/ 5 h 169"/>
                  <a:gd name="T108" fmla="*/ 65 w 171"/>
                  <a:gd name="T109" fmla="*/ 4 h 169"/>
                  <a:gd name="T110" fmla="*/ 66 w 171"/>
                  <a:gd name="T111" fmla="*/ 4 h 169"/>
                  <a:gd name="T112" fmla="*/ 131 w 171"/>
                  <a:gd name="T113" fmla="*/ 28 h 169"/>
                  <a:gd name="T114" fmla="*/ 80 w 171"/>
                  <a:gd name="T115" fmla="*/ 1 h 1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171" h="169">
                    <a:moveTo>
                      <a:pt x="120" y="108"/>
                    </a:moveTo>
                    <a:cubicBezTo>
                      <a:pt x="127" y="112"/>
                      <a:pt x="134" y="117"/>
                      <a:pt x="139" y="123"/>
                    </a:cubicBezTo>
                    <a:cubicBezTo>
                      <a:pt x="140" y="122"/>
                      <a:pt x="141" y="121"/>
                      <a:pt x="142" y="121"/>
                    </a:cubicBezTo>
                    <a:cubicBezTo>
                      <a:pt x="145" y="120"/>
                      <a:pt x="149" y="119"/>
                      <a:pt x="151" y="117"/>
                    </a:cubicBezTo>
                    <a:cubicBezTo>
                      <a:pt x="144" y="116"/>
                      <a:pt x="137" y="114"/>
                      <a:pt x="131" y="111"/>
                    </a:cubicBezTo>
                    <a:cubicBezTo>
                      <a:pt x="128" y="110"/>
                      <a:pt x="124" y="109"/>
                      <a:pt x="120" y="108"/>
                    </a:cubicBezTo>
                    <a:moveTo>
                      <a:pt x="64" y="107"/>
                    </a:moveTo>
                    <a:cubicBezTo>
                      <a:pt x="62" y="111"/>
                      <a:pt x="60" y="114"/>
                      <a:pt x="58" y="118"/>
                    </a:cubicBezTo>
                    <a:cubicBezTo>
                      <a:pt x="56" y="121"/>
                      <a:pt x="54" y="123"/>
                      <a:pt x="51" y="125"/>
                    </a:cubicBezTo>
                    <a:cubicBezTo>
                      <a:pt x="48" y="127"/>
                      <a:pt x="47" y="130"/>
                      <a:pt x="44" y="132"/>
                    </a:cubicBezTo>
                    <a:cubicBezTo>
                      <a:pt x="44" y="132"/>
                      <a:pt x="45" y="132"/>
                      <a:pt x="45" y="133"/>
                    </a:cubicBezTo>
                    <a:cubicBezTo>
                      <a:pt x="45" y="133"/>
                      <a:pt x="45" y="133"/>
                      <a:pt x="46" y="133"/>
                    </a:cubicBezTo>
                    <a:cubicBezTo>
                      <a:pt x="46" y="133"/>
                      <a:pt x="46" y="133"/>
                      <a:pt x="46" y="133"/>
                    </a:cubicBezTo>
                    <a:cubicBezTo>
                      <a:pt x="47" y="133"/>
                      <a:pt x="47" y="133"/>
                      <a:pt x="47" y="133"/>
                    </a:cubicBezTo>
                    <a:cubicBezTo>
                      <a:pt x="48" y="133"/>
                      <a:pt x="50" y="133"/>
                      <a:pt x="51" y="134"/>
                    </a:cubicBezTo>
                    <a:cubicBezTo>
                      <a:pt x="52" y="134"/>
                      <a:pt x="54" y="134"/>
                      <a:pt x="55" y="134"/>
                    </a:cubicBezTo>
                    <a:cubicBezTo>
                      <a:pt x="55" y="134"/>
                      <a:pt x="56" y="134"/>
                      <a:pt x="56" y="134"/>
                    </a:cubicBezTo>
                    <a:cubicBezTo>
                      <a:pt x="57" y="134"/>
                      <a:pt x="57" y="134"/>
                      <a:pt x="57" y="134"/>
                    </a:cubicBezTo>
                    <a:cubicBezTo>
                      <a:pt x="59" y="134"/>
                      <a:pt x="60" y="135"/>
                      <a:pt x="60" y="136"/>
                    </a:cubicBezTo>
                    <a:cubicBezTo>
                      <a:pt x="60" y="136"/>
                      <a:pt x="61" y="136"/>
                      <a:pt x="61" y="136"/>
                    </a:cubicBezTo>
                    <a:cubicBezTo>
                      <a:pt x="60" y="131"/>
                      <a:pt x="61" y="125"/>
                      <a:pt x="62" y="121"/>
                    </a:cubicBezTo>
                    <a:cubicBezTo>
                      <a:pt x="62" y="117"/>
                      <a:pt x="63" y="112"/>
                      <a:pt x="64" y="107"/>
                    </a:cubicBezTo>
                    <a:moveTo>
                      <a:pt x="145" y="55"/>
                    </a:moveTo>
                    <a:cubicBezTo>
                      <a:pt x="146" y="56"/>
                      <a:pt x="146" y="57"/>
                      <a:pt x="146" y="57"/>
                    </a:cubicBezTo>
                    <a:cubicBezTo>
                      <a:pt x="146" y="59"/>
                      <a:pt x="145" y="61"/>
                      <a:pt x="144" y="62"/>
                    </a:cubicBezTo>
                    <a:cubicBezTo>
                      <a:pt x="147" y="63"/>
                      <a:pt x="150" y="63"/>
                      <a:pt x="152" y="64"/>
                    </a:cubicBezTo>
                    <a:cubicBezTo>
                      <a:pt x="155" y="65"/>
                      <a:pt x="159" y="65"/>
                      <a:pt x="162" y="67"/>
                    </a:cubicBezTo>
                    <a:cubicBezTo>
                      <a:pt x="166" y="70"/>
                      <a:pt x="165" y="78"/>
                      <a:pt x="164" y="83"/>
                    </a:cubicBezTo>
                    <a:cubicBezTo>
                      <a:pt x="163" y="93"/>
                      <a:pt x="164" y="106"/>
                      <a:pt x="160" y="115"/>
                    </a:cubicBezTo>
                    <a:cubicBezTo>
                      <a:pt x="161" y="117"/>
                      <a:pt x="161" y="119"/>
                      <a:pt x="159" y="119"/>
                    </a:cubicBezTo>
                    <a:cubicBezTo>
                      <a:pt x="159" y="119"/>
                      <a:pt x="159" y="119"/>
                      <a:pt x="159" y="119"/>
                    </a:cubicBezTo>
                    <a:cubicBezTo>
                      <a:pt x="159" y="119"/>
                      <a:pt x="159" y="119"/>
                      <a:pt x="158" y="118"/>
                    </a:cubicBezTo>
                    <a:cubicBezTo>
                      <a:pt x="158" y="119"/>
                      <a:pt x="157" y="119"/>
                      <a:pt x="157" y="119"/>
                    </a:cubicBezTo>
                    <a:cubicBezTo>
                      <a:pt x="157" y="119"/>
                      <a:pt x="157" y="119"/>
                      <a:pt x="156" y="119"/>
                    </a:cubicBezTo>
                    <a:cubicBezTo>
                      <a:pt x="157" y="127"/>
                      <a:pt x="157" y="134"/>
                      <a:pt x="154" y="142"/>
                    </a:cubicBezTo>
                    <a:cubicBezTo>
                      <a:pt x="159" y="136"/>
                      <a:pt x="163" y="129"/>
                      <a:pt x="163" y="120"/>
                    </a:cubicBezTo>
                    <a:cubicBezTo>
                      <a:pt x="164" y="115"/>
                      <a:pt x="163" y="112"/>
                      <a:pt x="164" y="107"/>
                    </a:cubicBezTo>
                    <a:cubicBezTo>
                      <a:pt x="164" y="107"/>
                      <a:pt x="165" y="107"/>
                      <a:pt x="165" y="108"/>
                    </a:cubicBezTo>
                    <a:cubicBezTo>
                      <a:pt x="166" y="108"/>
                      <a:pt x="166" y="108"/>
                      <a:pt x="166" y="108"/>
                    </a:cubicBezTo>
                    <a:cubicBezTo>
                      <a:pt x="166" y="108"/>
                      <a:pt x="166" y="108"/>
                      <a:pt x="166" y="108"/>
                    </a:cubicBezTo>
                    <a:cubicBezTo>
                      <a:pt x="166" y="108"/>
                      <a:pt x="166" y="108"/>
                      <a:pt x="166" y="108"/>
                    </a:cubicBezTo>
                    <a:cubicBezTo>
                      <a:pt x="169" y="102"/>
                      <a:pt x="168" y="97"/>
                      <a:pt x="169" y="93"/>
                    </a:cubicBezTo>
                    <a:cubicBezTo>
                      <a:pt x="169" y="92"/>
                      <a:pt x="169" y="90"/>
                      <a:pt x="169" y="89"/>
                    </a:cubicBezTo>
                    <a:cubicBezTo>
                      <a:pt x="169" y="84"/>
                      <a:pt x="170" y="79"/>
                      <a:pt x="171" y="73"/>
                    </a:cubicBezTo>
                    <a:cubicBezTo>
                      <a:pt x="171" y="73"/>
                      <a:pt x="170" y="72"/>
                      <a:pt x="170" y="71"/>
                    </a:cubicBezTo>
                    <a:cubicBezTo>
                      <a:pt x="170" y="69"/>
                      <a:pt x="171" y="66"/>
                      <a:pt x="171" y="64"/>
                    </a:cubicBezTo>
                    <a:cubicBezTo>
                      <a:pt x="171" y="63"/>
                      <a:pt x="171" y="61"/>
                      <a:pt x="169" y="60"/>
                    </a:cubicBezTo>
                    <a:cubicBezTo>
                      <a:pt x="167" y="59"/>
                      <a:pt x="161" y="58"/>
                      <a:pt x="159" y="58"/>
                    </a:cubicBezTo>
                    <a:cubicBezTo>
                      <a:pt x="156" y="57"/>
                      <a:pt x="153" y="56"/>
                      <a:pt x="150" y="56"/>
                    </a:cubicBezTo>
                    <a:cubicBezTo>
                      <a:pt x="150" y="56"/>
                      <a:pt x="150" y="56"/>
                      <a:pt x="150" y="56"/>
                    </a:cubicBezTo>
                    <a:cubicBezTo>
                      <a:pt x="150" y="56"/>
                      <a:pt x="150" y="56"/>
                      <a:pt x="150" y="56"/>
                    </a:cubicBezTo>
                    <a:cubicBezTo>
                      <a:pt x="150" y="56"/>
                      <a:pt x="150" y="56"/>
                      <a:pt x="150" y="56"/>
                    </a:cubicBezTo>
                    <a:cubicBezTo>
                      <a:pt x="150" y="56"/>
                      <a:pt x="150" y="56"/>
                      <a:pt x="150" y="56"/>
                    </a:cubicBezTo>
                    <a:cubicBezTo>
                      <a:pt x="148" y="55"/>
                      <a:pt x="147" y="55"/>
                      <a:pt x="145" y="55"/>
                    </a:cubicBezTo>
                    <a:moveTo>
                      <a:pt x="137" y="54"/>
                    </a:moveTo>
                    <a:cubicBezTo>
                      <a:pt x="137" y="54"/>
                      <a:pt x="137" y="54"/>
                      <a:pt x="137" y="54"/>
                    </a:cubicBezTo>
                    <a:cubicBezTo>
                      <a:pt x="137" y="54"/>
                      <a:pt x="137" y="54"/>
                      <a:pt x="137" y="54"/>
                    </a:cubicBezTo>
                    <a:cubicBezTo>
                      <a:pt x="134" y="54"/>
                      <a:pt x="131" y="55"/>
                      <a:pt x="128" y="55"/>
                    </a:cubicBezTo>
                    <a:cubicBezTo>
                      <a:pt x="128" y="55"/>
                      <a:pt x="128" y="55"/>
                      <a:pt x="128" y="55"/>
                    </a:cubicBezTo>
                    <a:cubicBezTo>
                      <a:pt x="128" y="56"/>
                      <a:pt x="127" y="56"/>
                      <a:pt x="126" y="56"/>
                    </a:cubicBezTo>
                    <a:cubicBezTo>
                      <a:pt x="124" y="57"/>
                      <a:pt x="122" y="57"/>
                      <a:pt x="119" y="57"/>
                    </a:cubicBezTo>
                    <a:cubicBezTo>
                      <a:pt x="119" y="57"/>
                      <a:pt x="119" y="57"/>
                      <a:pt x="119" y="57"/>
                    </a:cubicBezTo>
                    <a:cubicBezTo>
                      <a:pt x="119" y="57"/>
                      <a:pt x="119" y="57"/>
                      <a:pt x="119" y="57"/>
                    </a:cubicBezTo>
                    <a:cubicBezTo>
                      <a:pt x="119" y="57"/>
                      <a:pt x="119" y="57"/>
                      <a:pt x="119" y="57"/>
                    </a:cubicBezTo>
                    <a:cubicBezTo>
                      <a:pt x="117" y="57"/>
                      <a:pt x="116" y="57"/>
                      <a:pt x="115" y="55"/>
                    </a:cubicBezTo>
                    <a:cubicBezTo>
                      <a:pt x="114" y="58"/>
                      <a:pt x="113" y="61"/>
                      <a:pt x="111" y="63"/>
                    </a:cubicBezTo>
                    <a:cubicBezTo>
                      <a:pt x="115" y="63"/>
                      <a:pt x="120" y="60"/>
                      <a:pt x="123" y="60"/>
                    </a:cubicBezTo>
                    <a:cubicBezTo>
                      <a:pt x="124" y="60"/>
                      <a:pt x="126" y="60"/>
                      <a:pt x="128" y="60"/>
                    </a:cubicBezTo>
                    <a:cubicBezTo>
                      <a:pt x="131" y="60"/>
                      <a:pt x="134" y="60"/>
                      <a:pt x="137" y="60"/>
                    </a:cubicBezTo>
                    <a:cubicBezTo>
                      <a:pt x="138" y="61"/>
                      <a:pt x="139" y="61"/>
                      <a:pt x="140" y="61"/>
                    </a:cubicBezTo>
                    <a:cubicBezTo>
                      <a:pt x="140" y="59"/>
                      <a:pt x="140" y="58"/>
                      <a:pt x="139" y="56"/>
                    </a:cubicBezTo>
                    <a:cubicBezTo>
                      <a:pt x="139" y="56"/>
                      <a:pt x="138" y="55"/>
                      <a:pt x="138" y="54"/>
                    </a:cubicBezTo>
                    <a:cubicBezTo>
                      <a:pt x="137" y="54"/>
                      <a:pt x="137" y="54"/>
                      <a:pt x="137" y="54"/>
                    </a:cubicBezTo>
                    <a:cubicBezTo>
                      <a:pt x="137" y="54"/>
                      <a:pt x="137" y="54"/>
                      <a:pt x="137" y="54"/>
                    </a:cubicBezTo>
                    <a:moveTo>
                      <a:pt x="122" y="45"/>
                    </a:moveTo>
                    <a:cubicBezTo>
                      <a:pt x="120" y="48"/>
                      <a:pt x="118" y="51"/>
                      <a:pt x="116" y="54"/>
                    </a:cubicBezTo>
                    <a:cubicBezTo>
                      <a:pt x="118" y="52"/>
                      <a:pt x="121" y="47"/>
                      <a:pt x="122" y="45"/>
                    </a:cubicBezTo>
                    <a:moveTo>
                      <a:pt x="19" y="21"/>
                    </a:moveTo>
                    <a:cubicBezTo>
                      <a:pt x="19" y="21"/>
                      <a:pt x="18" y="21"/>
                      <a:pt x="18" y="21"/>
                    </a:cubicBezTo>
                    <a:cubicBezTo>
                      <a:pt x="19" y="21"/>
                      <a:pt x="19" y="21"/>
                      <a:pt x="19" y="21"/>
                    </a:cubicBezTo>
                    <a:cubicBezTo>
                      <a:pt x="19" y="21"/>
                      <a:pt x="19" y="21"/>
                      <a:pt x="19" y="21"/>
                    </a:cubicBezTo>
                    <a:moveTo>
                      <a:pt x="41" y="20"/>
                    </a:moveTo>
                    <a:cubicBezTo>
                      <a:pt x="38" y="21"/>
                      <a:pt x="35" y="23"/>
                      <a:pt x="33" y="24"/>
                    </a:cubicBezTo>
                    <a:cubicBezTo>
                      <a:pt x="36" y="26"/>
                      <a:pt x="38" y="29"/>
                      <a:pt x="40" y="31"/>
                    </a:cubicBezTo>
                    <a:cubicBezTo>
                      <a:pt x="45" y="37"/>
                      <a:pt x="51" y="45"/>
                      <a:pt x="57" y="50"/>
                    </a:cubicBezTo>
                    <a:cubicBezTo>
                      <a:pt x="57" y="46"/>
                      <a:pt x="57" y="43"/>
                      <a:pt x="57" y="39"/>
                    </a:cubicBezTo>
                    <a:cubicBezTo>
                      <a:pt x="57" y="38"/>
                      <a:pt x="57" y="37"/>
                      <a:pt x="57" y="36"/>
                    </a:cubicBezTo>
                    <a:cubicBezTo>
                      <a:pt x="54" y="33"/>
                      <a:pt x="51" y="29"/>
                      <a:pt x="48" y="27"/>
                    </a:cubicBezTo>
                    <a:cubicBezTo>
                      <a:pt x="46" y="24"/>
                      <a:pt x="43" y="22"/>
                      <a:pt x="41" y="20"/>
                    </a:cubicBezTo>
                    <a:moveTo>
                      <a:pt x="32" y="13"/>
                    </a:moveTo>
                    <a:cubicBezTo>
                      <a:pt x="27" y="13"/>
                      <a:pt x="27" y="13"/>
                      <a:pt x="27" y="13"/>
                    </a:cubicBezTo>
                    <a:cubicBezTo>
                      <a:pt x="25" y="15"/>
                      <a:pt x="23" y="16"/>
                      <a:pt x="21" y="18"/>
                    </a:cubicBezTo>
                    <a:cubicBezTo>
                      <a:pt x="24" y="18"/>
                      <a:pt x="26" y="19"/>
                      <a:pt x="28" y="20"/>
                    </a:cubicBezTo>
                    <a:cubicBezTo>
                      <a:pt x="28" y="20"/>
                      <a:pt x="28" y="20"/>
                      <a:pt x="28" y="20"/>
                    </a:cubicBezTo>
                    <a:cubicBezTo>
                      <a:pt x="31" y="19"/>
                      <a:pt x="34" y="17"/>
                      <a:pt x="36" y="16"/>
                    </a:cubicBezTo>
                    <a:cubicBezTo>
                      <a:pt x="36" y="16"/>
                      <a:pt x="35" y="15"/>
                      <a:pt x="35" y="15"/>
                    </a:cubicBezTo>
                    <a:cubicBezTo>
                      <a:pt x="35" y="15"/>
                      <a:pt x="35" y="15"/>
                      <a:pt x="35" y="15"/>
                    </a:cubicBezTo>
                    <a:cubicBezTo>
                      <a:pt x="34" y="14"/>
                      <a:pt x="33" y="14"/>
                      <a:pt x="32" y="13"/>
                    </a:cubicBezTo>
                    <a:moveTo>
                      <a:pt x="68" y="13"/>
                    </a:moveTo>
                    <a:cubicBezTo>
                      <a:pt x="69" y="24"/>
                      <a:pt x="68" y="34"/>
                      <a:pt x="70" y="45"/>
                    </a:cubicBezTo>
                    <a:cubicBezTo>
                      <a:pt x="70" y="45"/>
                      <a:pt x="70" y="45"/>
                      <a:pt x="70" y="45"/>
                    </a:cubicBezTo>
                    <a:cubicBezTo>
                      <a:pt x="68" y="44"/>
                      <a:pt x="65" y="43"/>
                      <a:pt x="63" y="41"/>
                    </a:cubicBezTo>
                    <a:cubicBezTo>
                      <a:pt x="64" y="46"/>
                      <a:pt x="64" y="50"/>
                      <a:pt x="65" y="55"/>
                    </a:cubicBezTo>
                    <a:cubicBezTo>
                      <a:pt x="66" y="57"/>
                      <a:pt x="63" y="59"/>
                      <a:pt x="61" y="59"/>
                    </a:cubicBezTo>
                    <a:cubicBezTo>
                      <a:pt x="60" y="59"/>
                      <a:pt x="59" y="59"/>
                      <a:pt x="59" y="57"/>
                    </a:cubicBezTo>
                    <a:cubicBezTo>
                      <a:pt x="58" y="56"/>
                      <a:pt x="58" y="55"/>
                      <a:pt x="58" y="54"/>
                    </a:cubicBezTo>
                    <a:cubicBezTo>
                      <a:pt x="51" y="51"/>
                      <a:pt x="46" y="46"/>
                      <a:pt x="41" y="41"/>
                    </a:cubicBezTo>
                    <a:cubicBezTo>
                      <a:pt x="37" y="38"/>
                      <a:pt x="34" y="34"/>
                      <a:pt x="30" y="31"/>
                    </a:cubicBezTo>
                    <a:cubicBezTo>
                      <a:pt x="29" y="30"/>
                      <a:pt x="28" y="29"/>
                      <a:pt x="26" y="28"/>
                    </a:cubicBezTo>
                    <a:cubicBezTo>
                      <a:pt x="21" y="35"/>
                      <a:pt x="20" y="43"/>
                      <a:pt x="18" y="51"/>
                    </a:cubicBezTo>
                    <a:cubicBezTo>
                      <a:pt x="14" y="62"/>
                      <a:pt x="10" y="75"/>
                      <a:pt x="14" y="87"/>
                    </a:cubicBezTo>
                    <a:cubicBezTo>
                      <a:pt x="14" y="88"/>
                      <a:pt x="14" y="88"/>
                      <a:pt x="13" y="88"/>
                    </a:cubicBezTo>
                    <a:cubicBezTo>
                      <a:pt x="13" y="88"/>
                      <a:pt x="12" y="88"/>
                      <a:pt x="12" y="88"/>
                    </a:cubicBezTo>
                    <a:cubicBezTo>
                      <a:pt x="6" y="75"/>
                      <a:pt x="8" y="64"/>
                      <a:pt x="11" y="51"/>
                    </a:cubicBezTo>
                    <a:cubicBezTo>
                      <a:pt x="13" y="41"/>
                      <a:pt x="15" y="32"/>
                      <a:pt x="21" y="24"/>
                    </a:cubicBezTo>
                    <a:cubicBezTo>
                      <a:pt x="20" y="24"/>
                      <a:pt x="20" y="23"/>
                      <a:pt x="19" y="22"/>
                    </a:cubicBezTo>
                    <a:cubicBezTo>
                      <a:pt x="19" y="23"/>
                      <a:pt x="19" y="23"/>
                      <a:pt x="19" y="23"/>
                    </a:cubicBezTo>
                    <a:cubicBezTo>
                      <a:pt x="17" y="25"/>
                      <a:pt x="13" y="28"/>
                      <a:pt x="10" y="33"/>
                    </a:cubicBezTo>
                    <a:cubicBezTo>
                      <a:pt x="6" y="40"/>
                      <a:pt x="3" y="47"/>
                      <a:pt x="0" y="54"/>
                    </a:cubicBezTo>
                    <a:cubicBezTo>
                      <a:pt x="3" y="55"/>
                      <a:pt x="4" y="58"/>
                      <a:pt x="5" y="61"/>
                    </a:cubicBezTo>
                    <a:cubicBezTo>
                      <a:pt x="5" y="61"/>
                      <a:pt x="5" y="61"/>
                      <a:pt x="5" y="61"/>
                    </a:cubicBezTo>
                    <a:cubicBezTo>
                      <a:pt x="5" y="61"/>
                      <a:pt x="5" y="61"/>
                      <a:pt x="5" y="61"/>
                    </a:cubicBezTo>
                    <a:cubicBezTo>
                      <a:pt x="3" y="61"/>
                      <a:pt x="3" y="61"/>
                      <a:pt x="3" y="61"/>
                    </a:cubicBezTo>
                    <a:cubicBezTo>
                      <a:pt x="3" y="64"/>
                      <a:pt x="3" y="67"/>
                      <a:pt x="3" y="69"/>
                    </a:cubicBezTo>
                    <a:cubicBezTo>
                      <a:pt x="3" y="73"/>
                      <a:pt x="3" y="77"/>
                      <a:pt x="4" y="81"/>
                    </a:cubicBezTo>
                    <a:cubicBezTo>
                      <a:pt x="6" y="85"/>
                      <a:pt x="9" y="89"/>
                      <a:pt x="10" y="94"/>
                    </a:cubicBezTo>
                    <a:cubicBezTo>
                      <a:pt x="11" y="96"/>
                      <a:pt x="9" y="98"/>
                      <a:pt x="7" y="98"/>
                    </a:cubicBezTo>
                    <a:cubicBezTo>
                      <a:pt x="7" y="98"/>
                      <a:pt x="7" y="98"/>
                      <a:pt x="6" y="98"/>
                    </a:cubicBezTo>
                    <a:cubicBezTo>
                      <a:pt x="9" y="107"/>
                      <a:pt x="13" y="115"/>
                      <a:pt x="18" y="124"/>
                    </a:cubicBezTo>
                    <a:cubicBezTo>
                      <a:pt x="31" y="147"/>
                      <a:pt x="52" y="162"/>
                      <a:pt x="77" y="168"/>
                    </a:cubicBezTo>
                    <a:cubicBezTo>
                      <a:pt x="82" y="169"/>
                      <a:pt x="87" y="169"/>
                      <a:pt x="92" y="169"/>
                    </a:cubicBezTo>
                    <a:cubicBezTo>
                      <a:pt x="105" y="169"/>
                      <a:pt x="117" y="167"/>
                      <a:pt x="129" y="161"/>
                    </a:cubicBezTo>
                    <a:cubicBezTo>
                      <a:pt x="142" y="152"/>
                      <a:pt x="148" y="138"/>
                      <a:pt x="153" y="122"/>
                    </a:cubicBezTo>
                    <a:cubicBezTo>
                      <a:pt x="152" y="122"/>
                      <a:pt x="152" y="122"/>
                      <a:pt x="152" y="122"/>
                    </a:cubicBezTo>
                    <a:cubicBezTo>
                      <a:pt x="150" y="124"/>
                      <a:pt x="146" y="127"/>
                      <a:pt x="143" y="128"/>
                    </a:cubicBezTo>
                    <a:cubicBezTo>
                      <a:pt x="144" y="129"/>
                      <a:pt x="144" y="131"/>
                      <a:pt x="145" y="132"/>
                    </a:cubicBezTo>
                    <a:cubicBezTo>
                      <a:pt x="148" y="142"/>
                      <a:pt x="141" y="143"/>
                      <a:pt x="135" y="147"/>
                    </a:cubicBezTo>
                    <a:cubicBezTo>
                      <a:pt x="129" y="151"/>
                      <a:pt x="125" y="157"/>
                      <a:pt x="118" y="159"/>
                    </a:cubicBezTo>
                    <a:cubicBezTo>
                      <a:pt x="116" y="160"/>
                      <a:pt x="113" y="160"/>
                      <a:pt x="110" y="160"/>
                    </a:cubicBezTo>
                    <a:cubicBezTo>
                      <a:pt x="107" y="160"/>
                      <a:pt x="104" y="160"/>
                      <a:pt x="101" y="159"/>
                    </a:cubicBezTo>
                    <a:cubicBezTo>
                      <a:pt x="88" y="158"/>
                      <a:pt x="67" y="157"/>
                      <a:pt x="60" y="144"/>
                    </a:cubicBezTo>
                    <a:cubicBezTo>
                      <a:pt x="60" y="144"/>
                      <a:pt x="60" y="143"/>
                      <a:pt x="60" y="143"/>
                    </a:cubicBezTo>
                    <a:cubicBezTo>
                      <a:pt x="47" y="141"/>
                      <a:pt x="24" y="137"/>
                      <a:pt x="34" y="122"/>
                    </a:cubicBezTo>
                    <a:cubicBezTo>
                      <a:pt x="40" y="113"/>
                      <a:pt x="46" y="105"/>
                      <a:pt x="53" y="96"/>
                    </a:cubicBezTo>
                    <a:cubicBezTo>
                      <a:pt x="51" y="96"/>
                      <a:pt x="48" y="97"/>
                      <a:pt x="46" y="97"/>
                    </a:cubicBezTo>
                    <a:cubicBezTo>
                      <a:pt x="40" y="98"/>
                      <a:pt x="34" y="99"/>
                      <a:pt x="27" y="99"/>
                    </a:cubicBezTo>
                    <a:cubicBezTo>
                      <a:pt x="22" y="99"/>
                      <a:pt x="17" y="99"/>
                      <a:pt x="12" y="96"/>
                    </a:cubicBezTo>
                    <a:cubicBezTo>
                      <a:pt x="10" y="96"/>
                      <a:pt x="10" y="92"/>
                      <a:pt x="12" y="91"/>
                    </a:cubicBezTo>
                    <a:cubicBezTo>
                      <a:pt x="18" y="89"/>
                      <a:pt x="23" y="89"/>
                      <a:pt x="30" y="89"/>
                    </a:cubicBezTo>
                    <a:cubicBezTo>
                      <a:pt x="33" y="89"/>
                      <a:pt x="36" y="89"/>
                      <a:pt x="39" y="89"/>
                    </a:cubicBezTo>
                    <a:cubicBezTo>
                      <a:pt x="42" y="89"/>
                      <a:pt x="46" y="89"/>
                      <a:pt x="49" y="89"/>
                    </a:cubicBezTo>
                    <a:cubicBezTo>
                      <a:pt x="52" y="89"/>
                      <a:pt x="56" y="89"/>
                      <a:pt x="59" y="88"/>
                    </a:cubicBezTo>
                    <a:cubicBezTo>
                      <a:pt x="62" y="86"/>
                      <a:pt x="65" y="83"/>
                      <a:pt x="68" y="82"/>
                    </a:cubicBezTo>
                    <a:cubicBezTo>
                      <a:pt x="69" y="82"/>
                      <a:pt x="69" y="82"/>
                      <a:pt x="69" y="82"/>
                    </a:cubicBezTo>
                    <a:cubicBezTo>
                      <a:pt x="70" y="82"/>
                      <a:pt x="71" y="83"/>
                      <a:pt x="71" y="84"/>
                    </a:cubicBezTo>
                    <a:cubicBezTo>
                      <a:pt x="71" y="84"/>
                      <a:pt x="72" y="84"/>
                      <a:pt x="72" y="83"/>
                    </a:cubicBezTo>
                    <a:cubicBezTo>
                      <a:pt x="73" y="83"/>
                      <a:pt x="73" y="83"/>
                      <a:pt x="73" y="83"/>
                    </a:cubicBezTo>
                    <a:cubicBezTo>
                      <a:pt x="74" y="83"/>
                      <a:pt x="75" y="85"/>
                      <a:pt x="75" y="86"/>
                    </a:cubicBezTo>
                    <a:cubicBezTo>
                      <a:pt x="71" y="90"/>
                      <a:pt x="67" y="93"/>
                      <a:pt x="61" y="94"/>
                    </a:cubicBezTo>
                    <a:cubicBezTo>
                      <a:pt x="60" y="96"/>
                      <a:pt x="59" y="97"/>
                      <a:pt x="58" y="98"/>
                    </a:cubicBezTo>
                    <a:cubicBezTo>
                      <a:pt x="54" y="104"/>
                      <a:pt x="50" y="109"/>
                      <a:pt x="46" y="115"/>
                    </a:cubicBezTo>
                    <a:cubicBezTo>
                      <a:pt x="44" y="117"/>
                      <a:pt x="42" y="121"/>
                      <a:pt x="41" y="123"/>
                    </a:cubicBezTo>
                    <a:cubicBezTo>
                      <a:pt x="41" y="124"/>
                      <a:pt x="40" y="125"/>
                      <a:pt x="39" y="126"/>
                    </a:cubicBezTo>
                    <a:cubicBezTo>
                      <a:pt x="39" y="126"/>
                      <a:pt x="39" y="126"/>
                      <a:pt x="40" y="126"/>
                    </a:cubicBezTo>
                    <a:cubicBezTo>
                      <a:pt x="41" y="124"/>
                      <a:pt x="42" y="123"/>
                      <a:pt x="44" y="121"/>
                    </a:cubicBezTo>
                    <a:cubicBezTo>
                      <a:pt x="49" y="117"/>
                      <a:pt x="52" y="115"/>
                      <a:pt x="55" y="110"/>
                    </a:cubicBezTo>
                    <a:cubicBezTo>
                      <a:pt x="59" y="105"/>
                      <a:pt x="62" y="99"/>
                      <a:pt x="68" y="95"/>
                    </a:cubicBezTo>
                    <a:cubicBezTo>
                      <a:pt x="68" y="94"/>
                      <a:pt x="69" y="93"/>
                      <a:pt x="69" y="92"/>
                    </a:cubicBezTo>
                    <a:cubicBezTo>
                      <a:pt x="70" y="91"/>
                      <a:pt x="70" y="91"/>
                      <a:pt x="71" y="91"/>
                    </a:cubicBezTo>
                    <a:cubicBezTo>
                      <a:pt x="72" y="91"/>
                      <a:pt x="73" y="91"/>
                      <a:pt x="74" y="92"/>
                    </a:cubicBezTo>
                    <a:cubicBezTo>
                      <a:pt x="74" y="92"/>
                      <a:pt x="74" y="92"/>
                      <a:pt x="74" y="92"/>
                    </a:cubicBezTo>
                    <a:cubicBezTo>
                      <a:pt x="75" y="92"/>
                      <a:pt x="76" y="94"/>
                      <a:pt x="74" y="95"/>
                    </a:cubicBezTo>
                    <a:cubicBezTo>
                      <a:pt x="74" y="95"/>
                      <a:pt x="74" y="95"/>
                      <a:pt x="74" y="95"/>
                    </a:cubicBezTo>
                    <a:cubicBezTo>
                      <a:pt x="74" y="103"/>
                      <a:pt x="71" y="111"/>
                      <a:pt x="69" y="119"/>
                    </a:cubicBezTo>
                    <a:cubicBezTo>
                      <a:pt x="68" y="124"/>
                      <a:pt x="65" y="135"/>
                      <a:pt x="67" y="139"/>
                    </a:cubicBezTo>
                    <a:cubicBezTo>
                      <a:pt x="68" y="140"/>
                      <a:pt x="68" y="140"/>
                      <a:pt x="68" y="141"/>
                    </a:cubicBezTo>
                    <a:cubicBezTo>
                      <a:pt x="77" y="144"/>
                      <a:pt x="85" y="147"/>
                      <a:pt x="95" y="149"/>
                    </a:cubicBezTo>
                    <a:cubicBezTo>
                      <a:pt x="100" y="150"/>
                      <a:pt x="105" y="151"/>
                      <a:pt x="110" y="151"/>
                    </a:cubicBezTo>
                    <a:cubicBezTo>
                      <a:pt x="113" y="151"/>
                      <a:pt x="116" y="151"/>
                      <a:pt x="118" y="150"/>
                    </a:cubicBezTo>
                    <a:cubicBezTo>
                      <a:pt x="122" y="148"/>
                      <a:pt x="126" y="144"/>
                      <a:pt x="128" y="141"/>
                    </a:cubicBezTo>
                    <a:cubicBezTo>
                      <a:pt x="130" y="140"/>
                      <a:pt x="133" y="140"/>
                      <a:pt x="133" y="139"/>
                    </a:cubicBezTo>
                    <a:cubicBezTo>
                      <a:pt x="138" y="132"/>
                      <a:pt x="133" y="128"/>
                      <a:pt x="128" y="124"/>
                    </a:cubicBezTo>
                    <a:cubicBezTo>
                      <a:pt x="121" y="117"/>
                      <a:pt x="112" y="111"/>
                      <a:pt x="106" y="103"/>
                    </a:cubicBezTo>
                    <a:cubicBezTo>
                      <a:pt x="105" y="102"/>
                      <a:pt x="105" y="102"/>
                      <a:pt x="104" y="102"/>
                    </a:cubicBezTo>
                    <a:cubicBezTo>
                      <a:pt x="101" y="100"/>
                      <a:pt x="102" y="95"/>
                      <a:pt x="105" y="95"/>
                    </a:cubicBezTo>
                    <a:cubicBezTo>
                      <a:pt x="106" y="95"/>
                      <a:pt x="106" y="95"/>
                      <a:pt x="107" y="95"/>
                    </a:cubicBezTo>
                    <a:cubicBezTo>
                      <a:pt x="115" y="95"/>
                      <a:pt x="124" y="100"/>
                      <a:pt x="132" y="103"/>
                    </a:cubicBezTo>
                    <a:cubicBezTo>
                      <a:pt x="139" y="106"/>
                      <a:pt x="146" y="109"/>
                      <a:pt x="152" y="112"/>
                    </a:cubicBezTo>
                    <a:cubicBezTo>
                      <a:pt x="153" y="112"/>
                      <a:pt x="153" y="112"/>
                      <a:pt x="153" y="112"/>
                    </a:cubicBezTo>
                    <a:cubicBezTo>
                      <a:pt x="154" y="112"/>
                      <a:pt x="154" y="112"/>
                      <a:pt x="154" y="113"/>
                    </a:cubicBezTo>
                    <a:cubicBezTo>
                      <a:pt x="154" y="113"/>
                      <a:pt x="154" y="113"/>
                      <a:pt x="154" y="113"/>
                    </a:cubicBezTo>
                    <a:cubicBezTo>
                      <a:pt x="155" y="113"/>
                      <a:pt x="155" y="113"/>
                      <a:pt x="155" y="113"/>
                    </a:cubicBezTo>
                    <a:cubicBezTo>
                      <a:pt x="155" y="113"/>
                      <a:pt x="155" y="112"/>
                      <a:pt x="155" y="111"/>
                    </a:cubicBezTo>
                    <a:cubicBezTo>
                      <a:pt x="155" y="111"/>
                      <a:pt x="155" y="111"/>
                      <a:pt x="156" y="111"/>
                    </a:cubicBezTo>
                    <a:cubicBezTo>
                      <a:pt x="156" y="111"/>
                      <a:pt x="156" y="111"/>
                      <a:pt x="156" y="111"/>
                    </a:cubicBezTo>
                    <a:cubicBezTo>
                      <a:pt x="157" y="107"/>
                      <a:pt x="157" y="102"/>
                      <a:pt x="157" y="97"/>
                    </a:cubicBezTo>
                    <a:cubicBezTo>
                      <a:pt x="158" y="91"/>
                      <a:pt x="160" y="85"/>
                      <a:pt x="160" y="79"/>
                    </a:cubicBezTo>
                    <a:cubicBezTo>
                      <a:pt x="160" y="75"/>
                      <a:pt x="160" y="71"/>
                      <a:pt x="156" y="70"/>
                    </a:cubicBezTo>
                    <a:cubicBezTo>
                      <a:pt x="154" y="68"/>
                      <a:pt x="149" y="68"/>
                      <a:pt x="146" y="68"/>
                    </a:cubicBezTo>
                    <a:cubicBezTo>
                      <a:pt x="140" y="67"/>
                      <a:pt x="135" y="66"/>
                      <a:pt x="129" y="66"/>
                    </a:cubicBezTo>
                    <a:cubicBezTo>
                      <a:pt x="128" y="66"/>
                      <a:pt x="126" y="66"/>
                      <a:pt x="125" y="67"/>
                    </a:cubicBezTo>
                    <a:cubicBezTo>
                      <a:pt x="121" y="67"/>
                      <a:pt x="117" y="69"/>
                      <a:pt x="113" y="69"/>
                    </a:cubicBezTo>
                    <a:cubicBezTo>
                      <a:pt x="113" y="69"/>
                      <a:pt x="112" y="69"/>
                      <a:pt x="112" y="69"/>
                    </a:cubicBezTo>
                    <a:cubicBezTo>
                      <a:pt x="110" y="68"/>
                      <a:pt x="108" y="68"/>
                      <a:pt x="107" y="67"/>
                    </a:cubicBezTo>
                    <a:cubicBezTo>
                      <a:pt x="106" y="67"/>
                      <a:pt x="106" y="67"/>
                      <a:pt x="105" y="67"/>
                    </a:cubicBezTo>
                    <a:cubicBezTo>
                      <a:pt x="105" y="67"/>
                      <a:pt x="104" y="67"/>
                      <a:pt x="104" y="67"/>
                    </a:cubicBezTo>
                    <a:cubicBezTo>
                      <a:pt x="102" y="67"/>
                      <a:pt x="100" y="65"/>
                      <a:pt x="102" y="63"/>
                    </a:cubicBezTo>
                    <a:cubicBezTo>
                      <a:pt x="107" y="59"/>
                      <a:pt x="110" y="53"/>
                      <a:pt x="113" y="47"/>
                    </a:cubicBezTo>
                    <a:cubicBezTo>
                      <a:pt x="115" y="43"/>
                      <a:pt x="122" y="32"/>
                      <a:pt x="121" y="28"/>
                    </a:cubicBezTo>
                    <a:cubicBezTo>
                      <a:pt x="120" y="24"/>
                      <a:pt x="101" y="20"/>
                      <a:pt x="97" y="19"/>
                    </a:cubicBezTo>
                    <a:cubicBezTo>
                      <a:pt x="93" y="18"/>
                      <a:pt x="88" y="17"/>
                      <a:pt x="84" y="16"/>
                    </a:cubicBezTo>
                    <a:cubicBezTo>
                      <a:pt x="78" y="14"/>
                      <a:pt x="73" y="13"/>
                      <a:pt x="68" y="13"/>
                    </a:cubicBezTo>
                    <a:moveTo>
                      <a:pt x="73" y="0"/>
                    </a:moveTo>
                    <a:cubicBezTo>
                      <a:pt x="69" y="0"/>
                      <a:pt x="65" y="1"/>
                      <a:pt x="60" y="3"/>
                    </a:cubicBezTo>
                    <a:cubicBezTo>
                      <a:pt x="61" y="5"/>
                      <a:pt x="61" y="5"/>
                      <a:pt x="61" y="5"/>
                    </a:cubicBezTo>
                    <a:cubicBezTo>
                      <a:pt x="61" y="5"/>
                      <a:pt x="61" y="5"/>
                      <a:pt x="61" y="5"/>
                    </a:cubicBezTo>
                    <a:cubicBezTo>
                      <a:pt x="61" y="5"/>
                      <a:pt x="61" y="5"/>
                      <a:pt x="61" y="5"/>
                    </a:cubicBezTo>
                    <a:cubicBezTo>
                      <a:pt x="62" y="4"/>
                      <a:pt x="63" y="4"/>
                      <a:pt x="64" y="4"/>
                    </a:cubicBezTo>
                    <a:cubicBezTo>
                      <a:pt x="64" y="4"/>
                      <a:pt x="64" y="4"/>
                      <a:pt x="65" y="4"/>
                    </a:cubicBezTo>
                    <a:cubicBezTo>
                      <a:pt x="65" y="4"/>
                      <a:pt x="65" y="4"/>
                      <a:pt x="65" y="4"/>
                    </a:cubicBezTo>
                    <a:cubicBezTo>
                      <a:pt x="65" y="4"/>
                      <a:pt x="65" y="4"/>
                      <a:pt x="65" y="4"/>
                    </a:cubicBezTo>
                    <a:cubicBezTo>
                      <a:pt x="65" y="4"/>
                      <a:pt x="66" y="4"/>
                      <a:pt x="66" y="4"/>
                    </a:cubicBezTo>
                    <a:cubicBezTo>
                      <a:pt x="66" y="4"/>
                      <a:pt x="66" y="4"/>
                      <a:pt x="66" y="4"/>
                    </a:cubicBezTo>
                    <a:cubicBezTo>
                      <a:pt x="66" y="4"/>
                      <a:pt x="66" y="4"/>
                      <a:pt x="66" y="4"/>
                    </a:cubicBezTo>
                    <a:cubicBezTo>
                      <a:pt x="67" y="5"/>
                      <a:pt x="67" y="5"/>
                      <a:pt x="67" y="6"/>
                    </a:cubicBezTo>
                    <a:cubicBezTo>
                      <a:pt x="72" y="6"/>
                      <a:pt x="77" y="7"/>
                      <a:pt x="83" y="8"/>
                    </a:cubicBezTo>
                    <a:cubicBezTo>
                      <a:pt x="99" y="12"/>
                      <a:pt x="114" y="17"/>
                      <a:pt x="129" y="25"/>
                    </a:cubicBezTo>
                    <a:cubicBezTo>
                      <a:pt x="130" y="26"/>
                      <a:pt x="131" y="27"/>
                      <a:pt x="131" y="28"/>
                    </a:cubicBezTo>
                    <a:cubicBezTo>
                      <a:pt x="132" y="28"/>
                      <a:pt x="133" y="27"/>
                      <a:pt x="133" y="25"/>
                    </a:cubicBezTo>
                    <a:cubicBezTo>
                      <a:pt x="133" y="25"/>
                      <a:pt x="133" y="25"/>
                      <a:pt x="133" y="25"/>
                    </a:cubicBezTo>
                    <a:cubicBezTo>
                      <a:pt x="135" y="24"/>
                      <a:pt x="136" y="22"/>
                      <a:pt x="136" y="20"/>
                    </a:cubicBezTo>
                    <a:cubicBezTo>
                      <a:pt x="118" y="9"/>
                      <a:pt x="99" y="5"/>
                      <a:pt x="80" y="1"/>
                    </a:cubicBezTo>
                    <a:cubicBezTo>
                      <a:pt x="78" y="0"/>
                      <a:pt x="75" y="0"/>
                      <a:pt x="73" y="0"/>
                    </a:cubicBezTo>
                  </a:path>
                </a:pathLst>
              </a:custGeom>
              <a:solidFill>
                <a:srgbClr val="6F686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09" name="Freeform 55">
                <a:extLst>
                  <a:ext uri="{FF2B5EF4-FFF2-40B4-BE49-F238E27FC236}">
                    <a16:creationId xmlns:a16="http://schemas.microsoft.com/office/drawing/2014/main" id="{977F8BC0-C4EC-4F82-B60A-E1EFD1587882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2039" y="1829"/>
                <a:ext cx="74" cy="69"/>
              </a:xfrm>
              <a:custGeom>
                <a:avLst/>
                <a:gdLst>
                  <a:gd name="T0" fmla="*/ 22 w 70"/>
                  <a:gd name="T1" fmla="*/ 13 h 65"/>
                  <a:gd name="T2" fmla="*/ 11 w 70"/>
                  <a:gd name="T3" fmla="*/ 16 h 65"/>
                  <a:gd name="T4" fmla="*/ 2 w 70"/>
                  <a:gd name="T5" fmla="*/ 24 h 65"/>
                  <a:gd name="T6" fmla="*/ 1 w 70"/>
                  <a:gd name="T7" fmla="*/ 31 h 65"/>
                  <a:gd name="T8" fmla="*/ 0 w 70"/>
                  <a:gd name="T9" fmla="*/ 36 h 65"/>
                  <a:gd name="T10" fmla="*/ 23 w 70"/>
                  <a:gd name="T11" fmla="*/ 63 h 65"/>
                  <a:gd name="T12" fmla="*/ 23 w 70"/>
                  <a:gd name="T13" fmla="*/ 63 h 65"/>
                  <a:gd name="T14" fmla="*/ 23 w 70"/>
                  <a:gd name="T15" fmla="*/ 63 h 65"/>
                  <a:gd name="T16" fmla="*/ 37 w 70"/>
                  <a:gd name="T17" fmla="*/ 65 h 65"/>
                  <a:gd name="T18" fmla="*/ 37 w 70"/>
                  <a:gd name="T19" fmla="*/ 65 h 65"/>
                  <a:gd name="T20" fmla="*/ 37 w 70"/>
                  <a:gd name="T21" fmla="*/ 65 h 65"/>
                  <a:gd name="T22" fmla="*/ 37 w 70"/>
                  <a:gd name="T23" fmla="*/ 65 h 65"/>
                  <a:gd name="T24" fmla="*/ 41 w 70"/>
                  <a:gd name="T25" fmla="*/ 65 h 65"/>
                  <a:gd name="T26" fmla="*/ 41 w 70"/>
                  <a:gd name="T27" fmla="*/ 65 h 65"/>
                  <a:gd name="T28" fmla="*/ 41 w 70"/>
                  <a:gd name="T29" fmla="*/ 65 h 65"/>
                  <a:gd name="T30" fmla="*/ 42 w 70"/>
                  <a:gd name="T31" fmla="*/ 65 h 65"/>
                  <a:gd name="T32" fmla="*/ 48 w 70"/>
                  <a:gd name="T33" fmla="*/ 63 h 65"/>
                  <a:gd name="T34" fmla="*/ 53 w 70"/>
                  <a:gd name="T35" fmla="*/ 58 h 65"/>
                  <a:gd name="T36" fmla="*/ 45 w 70"/>
                  <a:gd name="T37" fmla="*/ 16 h 65"/>
                  <a:gd name="T38" fmla="*/ 42 w 70"/>
                  <a:gd name="T39" fmla="*/ 19 h 65"/>
                  <a:gd name="T40" fmla="*/ 40 w 70"/>
                  <a:gd name="T41" fmla="*/ 18 h 65"/>
                  <a:gd name="T42" fmla="*/ 22 w 70"/>
                  <a:gd name="T43" fmla="*/ 13 h 65"/>
                  <a:gd name="T44" fmla="*/ 30 w 70"/>
                  <a:gd name="T45" fmla="*/ 0 h 65"/>
                  <a:gd name="T46" fmla="*/ 18 w 70"/>
                  <a:gd name="T47" fmla="*/ 2 h 65"/>
                  <a:gd name="T48" fmla="*/ 13 w 70"/>
                  <a:gd name="T49" fmla="*/ 6 h 65"/>
                  <a:gd name="T50" fmla="*/ 21 w 70"/>
                  <a:gd name="T51" fmla="*/ 5 h 65"/>
                  <a:gd name="T52" fmla="*/ 38 w 70"/>
                  <a:gd name="T53" fmla="*/ 9 h 65"/>
                  <a:gd name="T54" fmla="*/ 38 w 70"/>
                  <a:gd name="T55" fmla="*/ 9 h 65"/>
                  <a:gd name="T56" fmla="*/ 39 w 70"/>
                  <a:gd name="T57" fmla="*/ 9 h 65"/>
                  <a:gd name="T58" fmla="*/ 63 w 70"/>
                  <a:gd name="T59" fmla="*/ 54 h 65"/>
                  <a:gd name="T60" fmla="*/ 70 w 70"/>
                  <a:gd name="T61" fmla="*/ 33 h 65"/>
                  <a:gd name="T62" fmla="*/ 70 w 70"/>
                  <a:gd name="T63" fmla="*/ 29 h 65"/>
                  <a:gd name="T64" fmla="*/ 70 w 70"/>
                  <a:gd name="T65" fmla="*/ 29 h 65"/>
                  <a:gd name="T66" fmla="*/ 70 w 70"/>
                  <a:gd name="T67" fmla="*/ 28 h 65"/>
                  <a:gd name="T68" fmla="*/ 49 w 70"/>
                  <a:gd name="T69" fmla="*/ 3 h 65"/>
                  <a:gd name="T70" fmla="*/ 49 w 70"/>
                  <a:gd name="T71" fmla="*/ 3 h 65"/>
                  <a:gd name="T72" fmla="*/ 47 w 70"/>
                  <a:gd name="T73" fmla="*/ 2 h 65"/>
                  <a:gd name="T74" fmla="*/ 46 w 70"/>
                  <a:gd name="T75" fmla="*/ 4 h 65"/>
                  <a:gd name="T76" fmla="*/ 30 w 70"/>
                  <a:gd name="T77" fmla="*/ 0 h 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70" h="65">
                    <a:moveTo>
                      <a:pt x="22" y="13"/>
                    </a:moveTo>
                    <a:cubicBezTo>
                      <a:pt x="18" y="13"/>
                      <a:pt x="15" y="14"/>
                      <a:pt x="11" y="16"/>
                    </a:cubicBezTo>
                    <a:cubicBezTo>
                      <a:pt x="7" y="18"/>
                      <a:pt x="4" y="21"/>
                      <a:pt x="2" y="24"/>
                    </a:cubicBezTo>
                    <a:cubicBezTo>
                      <a:pt x="1" y="26"/>
                      <a:pt x="1" y="29"/>
                      <a:pt x="1" y="31"/>
                    </a:cubicBezTo>
                    <a:cubicBezTo>
                      <a:pt x="1" y="33"/>
                      <a:pt x="0" y="35"/>
                      <a:pt x="0" y="36"/>
                    </a:cubicBezTo>
                    <a:cubicBezTo>
                      <a:pt x="0" y="51"/>
                      <a:pt x="10" y="60"/>
                      <a:pt x="23" y="63"/>
                    </a:cubicBezTo>
                    <a:cubicBezTo>
                      <a:pt x="23" y="63"/>
                      <a:pt x="23" y="63"/>
                      <a:pt x="23" y="63"/>
                    </a:cubicBezTo>
                    <a:cubicBezTo>
                      <a:pt x="23" y="63"/>
                      <a:pt x="23" y="63"/>
                      <a:pt x="23" y="63"/>
                    </a:cubicBezTo>
                    <a:cubicBezTo>
                      <a:pt x="27" y="64"/>
                      <a:pt x="32" y="65"/>
                      <a:pt x="37" y="65"/>
                    </a:cubicBezTo>
                    <a:cubicBezTo>
                      <a:pt x="37" y="65"/>
                      <a:pt x="37" y="65"/>
                      <a:pt x="37" y="65"/>
                    </a:cubicBezTo>
                    <a:cubicBezTo>
                      <a:pt x="37" y="65"/>
                      <a:pt x="37" y="65"/>
                      <a:pt x="37" y="65"/>
                    </a:cubicBezTo>
                    <a:cubicBezTo>
                      <a:pt x="37" y="65"/>
                      <a:pt x="37" y="65"/>
                      <a:pt x="37" y="65"/>
                    </a:cubicBezTo>
                    <a:cubicBezTo>
                      <a:pt x="38" y="65"/>
                      <a:pt x="39" y="65"/>
                      <a:pt x="41" y="65"/>
                    </a:cubicBezTo>
                    <a:cubicBezTo>
                      <a:pt x="41" y="65"/>
                      <a:pt x="41" y="65"/>
                      <a:pt x="41" y="65"/>
                    </a:cubicBezTo>
                    <a:cubicBezTo>
                      <a:pt x="41" y="65"/>
                      <a:pt x="41" y="65"/>
                      <a:pt x="41" y="65"/>
                    </a:cubicBezTo>
                    <a:cubicBezTo>
                      <a:pt x="42" y="65"/>
                      <a:pt x="42" y="65"/>
                      <a:pt x="42" y="65"/>
                    </a:cubicBezTo>
                    <a:cubicBezTo>
                      <a:pt x="44" y="64"/>
                      <a:pt x="46" y="64"/>
                      <a:pt x="48" y="63"/>
                    </a:cubicBezTo>
                    <a:cubicBezTo>
                      <a:pt x="50" y="62"/>
                      <a:pt x="52" y="60"/>
                      <a:pt x="53" y="58"/>
                    </a:cubicBezTo>
                    <a:cubicBezTo>
                      <a:pt x="64" y="43"/>
                      <a:pt x="57" y="26"/>
                      <a:pt x="45" y="16"/>
                    </a:cubicBezTo>
                    <a:cubicBezTo>
                      <a:pt x="44" y="18"/>
                      <a:pt x="43" y="19"/>
                      <a:pt x="42" y="19"/>
                    </a:cubicBezTo>
                    <a:cubicBezTo>
                      <a:pt x="41" y="19"/>
                      <a:pt x="41" y="19"/>
                      <a:pt x="40" y="18"/>
                    </a:cubicBezTo>
                    <a:cubicBezTo>
                      <a:pt x="34" y="16"/>
                      <a:pt x="28" y="13"/>
                      <a:pt x="22" y="13"/>
                    </a:cubicBezTo>
                    <a:moveTo>
                      <a:pt x="30" y="0"/>
                    </a:moveTo>
                    <a:cubicBezTo>
                      <a:pt x="26" y="0"/>
                      <a:pt x="22" y="1"/>
                      <a:pt x="18" y="2"/>
                    </a:cubicBezTo>
                    <a:cubicBezTo>
                      <a:pt x="16" y="3"/>
                      <a:pt x="15" y="4"/>
                      <a:pt x="13" y="6"/>
                    </a:cubicBezTo>
                    <a:cubicBezTo>
                      <a:pt x="16" y="5"/>
                      <a:pt x="19" y="5"/>
                      <a:pt x="21" y="5"/>
                    </a:cubicBezTo>
                    <a:cubicBezTo>
                      <a:pt x="27" y="5"/>
                      <a:pt x="33" y="6"/>
                      <a:pt x="38" y="9"/>
                    </a:cubicBezTo>
                    <a:cubicBezTo>
                      <a:pt x="38" y="9"/>
                      <a:pt x="38" y="9"/>
                      <a:pt x="38" y="9"/>
                    </a:cubicBezTo>
                    <a:cubicBezTo>
                      <a:pt x="38" y="9"/>
                      <a:pt x="39" y="9"/>
                      <a:pt x="39" y="9"/>
                    </a:cubicBezTo>
                    <a:cubicBezTo>
                      <a:pt x="58" y="16"/>
                      <a:pt x="70" y="34"/>
                      <a:pt x="63" y="54"/>
                    </a:cubicBezTo>
                    <a:cubicBezTo>
                      <a:pt x="68" y="48"/>
                      <a:pt x="70" y="42"/>
                      <a:pt x="70" y="33"/>
                    </a:cubicBezTo>
                    <a:cubicBezTo>
                      <a:pt x="70" y="32"/>
                      <a:pt x="70" y="30"/>
                      <a:pt x="70" y="29"/>
                    </a:cubicBezTo>
                    <a:cubicBezTo>
                      <a:pt x="70" y="29"/>
                      <a:pt x="70" y="29"/>
                      <a:pt x="70" y="29"/>
                    </a:cubicBezTo>
                    <a:cubicBezTo>
                      <a:pt x="70" y="29"/>
                      <a:pt x="70" y="28"/>
                      <a:pt x="70" y="28"/>
                    </a:cubicBezTo>
                    <a:cubicBezTo>
                      <a:pt x="70" y="18"/>
                      <a:pt x="60" y="8"/>
                      <a:pt x="49" y="3"/>
                    </a:cubicBezTo>
                    <a:cubicBezTo>
                      <a:pt x="49" y="3"/>
                      <a:pt x="49" y="3"/>
                      <a:pt x="49" y="3"/>
                    </a:cubicBezTo>
                    <a:cubicBezTo>
                      <a:pt x="49" y="2"/>
                      <a:pt x="48" y="2"/>
                      <a:pt x="47" y="2"/>
                    </a:cubicBezTo>
                    <a:cubicBezTo>
                      <a:pt x="46" y="4"/>
                      <a:pt x="46" y="4"/>
                      <a:pt x="46" y="4"/>
                    </a:cubicBezTo>
                    <a:cubicBezTo>
                      <a:pt x="41" y="1"/>
                      <a:pt x="35" y="0"/>
                      <a:pt x="30" y="0"/>
                    </a:cubicBezTo>
                  </a:path>
                </a:pathLst>
              </a:custGeom>
              <a:solidFill>
                <a:srgbClr val="6F686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10" name="Freeform 56">
                <a:extLst>
                  <a:ext uri="{FF2B5EF4-FFF2-40B4-BE49-F238E27FC236}">
                    <a16:creationId xmlns:a16="http://schemas.microsoft.com/office/drawing/2014/main" id="{96BBB85C-F708-4706-AA34-412BED0BAD69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2101" y="1919"/>
                <a:ext cx="74" cy="67"/>
              </a:xfrm>
              <a:custGeom>
                <a:avLst/>
                <a:gdLst>
                  <a:gd name="T0" fmla="*/ 30 w 70"/>
                  <a:gd name="T1" fmla="*/ 10 h 63"/>
                  <a:gd name="T2" fmla="*/ 29 w 70"/>
                  <a:gd name="T3" fmla="*/ 11 h 63"/>
                  <a:gd name="T4" fmla="*/ 1 w 70"/>
                  <a:gd name="T5" fmla="*/ 23 h 63"/>
                  <a:gd name="T6" fmla="*/ 0 w 70"/>
                  <a:gd name="T7" fmla="*/ 26 h 63"/>
                  <a:gd name="T8" fmla="*/ 2 w 70"/>
                  <a:gd name="T9" fmla="*/ 34 h 63"/>
                  <a:gd name="T10" fmla="*/ 31 w 70"/>
                  <a:gd name="T11" fmla="*/ 63 h 63"/>
                  <a:gd name="T12" fmla="*/ 36 w 70"/>
                  <a:gd name="T13" fmla="*/ 63 h 63"/>
                  <a:gd name="T14" fmla="*/ 48 w 70"/>
                  <a:gd name="T15" fmla="*/ 61 h 63"/>
                  <a:gd name="T16" fmla="*/ 58 w 70"/>
                  <a:gd name="T17" fmla="*/ 38 h 63"/>
                  <a:gd name="T18" fmla="*/ 53 w 70"/>
                  <a:gd name="T19" fmla="*/ 21 h 63"/>
                  <a:gd name="T20" fmla="*/ 31 w 70"/>
                  <a:gd name="T21" fmla="*/ 11 h 63"/>
                  <a:gd name="T22" fmla="*/ 30 w 70"/>
                  <a:gd name="T23" fmla="*/ 10 h 63"/>
                  <a:gd name="T24" fmla="*/ 36 w 70"/>
                  <a:gd name="T25" fmla="*/ 0 h 63"/>
                  <a:gd name="T26" fmla="*/ 11 w 70"/>
                  <a:gd name="T27" fmla="*/ 8 h 63"/>
                  <a:gd name="T28" fmla="*/ 26 w 70"/>
                  <a:gd name="T29" fmla="*/ 6 h 63"/>
                  <a:gd name="T30" fmla="*/ 28 w 70"/>
                  <a:gd name="T31" fmla="*/ 6 h 63"/>
                  <a:gd name="T32" fmla="*/ 30 w 70"/>
                  <a:gd name="T33" fmla="*/ 9 h 63"/>
                  <a:gd name="T34" fmla="*/ 32 w 70"/>
                  <a:gd name="T35" fmla="*/ 8 h 63"/>
                  <a:gd name="T36" fmla="*/ 32 w 70"/>
                  <a:gd name="T37" fmla="*/ 8 h 63"/>
                  <a:gd name="T38" fmla="*/ 58 w 70"/>
                  <a:gd name="T39" fmla="*/ 18 h 63"/>
                  <a:gd name="T40" fmla="*/ 64 w 70"/>
                  <a:gd name="T41" fmla="*/ 43 h 63"/>
                  <a:gd name="T42" fmla="*/ 62 w 70"/>
                  <a:gd name="T43" fmla="*/ 53 h 63"/>
                  <a:gd name="T44" fmla="*/ 70 w 70"/>
                  <a:gd name="T45" fmla="*/ 33 h 63"/>
                  <a:gd name="T46" fmla="*/ 70 w 70"/>
                  <a:gd name="T47" fmla="*/ 29 h 63"/>
                  <a:gd name="T48" fmla="*/ 57 w 70"/>
                  <a:gd name="T49" fmla="*/ 4 h 63"/>
                  <a:gd name="T50" fmla="*/ 40 w 70"/>
                  <a:gd name="T51" fmla="*/ 1 h 63"/>
                  <a:gd name="T52" fmla="*/ 36 w 70"/>
                  <a:gd name="T53" fmla="*/ 0 h 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70" h="63">
                    <a:moveTo>
                      <a:pt x="30" y="10"/>
                    </a:moveTo>
                    <a:cubicBezTo>
                      <a:pt x="30" y="10"/>
                      <a:pt x="29" y="11"/>
                      <a:pt x="29" y="11"/>
                    </a:cubicBezTo>
                    <a:cubicBezTo>
                      <a:pt x="20" y="15"/>
                      <a:pt x="7" y="16"/>
                      <a:pt x="1" y="23"/>
                    </a:cubicBezTo>
                    <a:cubicBezTo>
                      <a:pt x="0" y="24"/>
                      <a:pt x="0" y="25"/>
                      <a:pt x="0" y="26"/>
                    </a:cubicBezTo>
                    <a:cubicBezTo>
                      <a:pt x="0" y="29"/>
                      <a:pt x="1" y="31"/>
                      <a:pt x="2" y="34"/>
                    </a:cubicBezTo>
                    <a:cubicBezTo>
                      <a:pt x="6" y="46"/>
                      <a:pt x="19" y="60"/>
                      <a:pt x="31" y="63"/>
                    </a:cubicBezTo>
                    <a:cubicBezTo>
                      <a:pt x="33" y="63"/>
                      <a:pt x="35" y="63"/>
                      <a:pt x="36" y="63"/>
                    </a:cubicBezTo>
                    <a:cubicBezTo>
                      <a:pt x="41" y="63"/>
                      <a:pt x="45" y="63"/>
                      <a:pt x="48" y="61"/>
                    </a:cubicBezTo>
                    <a:cubicBezTo>
                      <a:pt x="55" y="56"/>
                      <a:pt x="58" y="48"/>
                      <a:pt x="58" y="38"/>
                    </a:cubicBezTo>
                    <a:cubicBezTo>
                      <a:pt x="57" y="33"/>
                      <a:pt x="56" y="25"/>
                      <a:pt x="53" y="21"/>
                    </a:cubicBezTo>
                    <a:cubicBezTo>
                      <a:pt x="48" y="14"/>
                      <a:pt x="39" y="14"/>
                      <a:pt x="31" y="11"/>
                    </a:cubicBezTo>
                    <a:cubicBezTo>
                      <a:pt x="31" y="11"/>
                      <a:pt x="30" y="10"/>
                      <a:pt x="30" y="10"/>
                    </a:cubicBezTo>
                    <a:moveTo>
                      <a:pt x="36" y="0"/>
                    </a:moveTo>
                    <a:cubicBezTo>
                      <a:pt x="28" y="1"/>
                      <a:pt x="19" y="4"/>
                      <a:pt x="11" y="8"/>
                    </a:cubicBezTo>
                    <a:cubicBezTo>
                      <a:pt x="16" y="7"/>
                      <a:pt x="22" y="6"/>
                      <a:pt x="26" y="6"/>
                    </a:cubicBezTo>
                    <a:cubicBezTo>
                      <a:pt x="27" y="6"/>
                      <a:pt x="27" y="6"/>
                      <a:pt x="28" y="6"/>
                    </a:cubicBezTo>
                    <a:cubicBezTo>
                      <a:pt x="29" y="6"/>
                      <a:pt x="30" y="7"/>
                      <a:pt x="30" y="9"/>
                    </a:cubicBezTo>
                    <a:cubicBezTo>
                      <a:pt x="31" y="8"/>
                      <a:pt x="31" y="8"/>
                      <a:pt x="32" y="8"/>
                    </a:cubicBezTo>
                    <a:cubicBezTo>
                      <a:pt x="32" y="8"/>
                      <a:pt x="32" y="8"/>
                      <a:pt x="32" y="8"/>
                    </a:cubicBezTo>
                    <a:cubicBezTo>
                      <a:pt x="43" y="11"/>
                      <a:pt x="52" y="8"/>
                      <a:pt x="58" y="18"/>
                    </a:cubicBezTo>
                    <a:cubicBezTo>
                      <a:pt x="63" y="25"/>
                      <a:pt x="64" y="35"/>
                      <a:pt x="64" y="43"/>
                    </a:cubicBezTo>
                    <a:cubicBezTo>
                      <a:pt x="64" y="47"/>
                      <a:pt x="63" y="50"/>
                      <a:pt x="62" y="53"/>
                    </a:cubicBezTo>
                    <a:cubicBezTo>
                      <a:pt x="67" y="47"/>
                      <a:pt x="70" y="41"/>
                      <a:pt x="70" y="33"/>
                    </a:cubicBezTo>
                    <a:cubicBezTo>
                      <a:pt x="70" y="31"/>
                      <a:pt x="70" y="30"/>
                      <a:pt x="70" y="29"/>
                    </a:cubicBezTo>
                    <a:cubicBezTo>
                      <a:pt x="69" y="22"/>
                      <a:pt x="66" y="6"/>
                      <a:pt x="57" y="4"/>
                    </a:cubicBezTo>
                    <a:cubicBezTo>
                      <a:pt x="51" y="1"/>
                      <a:pt x="46" y="4"/>
                      <a:pt x="40" y="1"/>
                    </a:cubicBezTo>
                    <a:cubicBezTo>
                      <a:pt x="36" y="0"/>
                      <a:pt x="36" y="0"/>
                      <a:pt x="36" y="0"/>
                    </a:cubicBezTo>
                  </a:path>
                </a:pathLst>
              </a:custGeom>
              <a:solidFill>
                <a:srgbClr val="6F686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11" name="Freeform 57">
                <a:extLst>
                  <a:ext uri="{FF2B5EF4-FFF2-40B4-BE49-F238E27FC236}">
                    <a16:creationId xmlns:a16="http://schemas.microsoft.com/office/drawing/2014/main" id="{322615B6-554B-4428-9E70-F054DE6DED6C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2210" y="1860"/>
                <a:ext cx="74" cy="67"/>
              </a:xfrm>
              <a:custGeom>
                <a:avLst/>
                <a:gdLst>
                  <a:gd name="T0" fmla="*/ 29 w 70"/>
                  <a:gd name="T1" fmla="*/ 3 h 63"/>
                  <a:gd name="T2" fmla="*/ 7 w 70"/>
                  <a:gd name="T3" fmla="*/ 11 h 63"/>
                  <a:gd name="T4" fmla="*/ 24 w 70"/>
                  <a:gd name="T5" fmla="*/ 8 h 63"/>
                  <a:gd name="T6" fmla="*/ 29 w 70"/>
                  <a:gd name="T7" fmla="*/ 8 h 63"/>
                  <a:gd name="T8" fmla="*/ 30 w 70"/>
                  <a:gd name="T9" fmla="*/ 7 h 63"/>
                  <a:gd name="T10" fmla="*/ 30 w 70"/>
                  <a:gd name="T11" fmla="*/ 7 h 63"/>
                  <a:gd name="T12" fmla="*/ 29 w 70"/>
                  <a:gd name="T13" fmla="*/ 3 h 63"/>
                  <a:gd name="T14" fmla="*/ 40 w 70"/>
                  <a:gd name="T15" fmla="*/ 0 h 63"/>
                  <a:gd name="T16" fmla="*/ 37 w 70"/>
                  <a:gd name="T17" fmla="*/ 3 h 63"/>
                  <a:gd name="T18" fmla="*/ 37 w 70"/>
                  <a:gd name="T19" fmla="*/ 3 h 63"/>
                  <a:gd name="T20" fmla="*/ 33 w 70"/>
                  <a:gd name="T21" fmla="*/ 3 h 63"/>
                  <a:gd name="T22" fmla="*/ 33 w 70"/>
                  <a:gd name="T23" fmla="*/ 8 h 63"/>
                  <a:gd name="T24" fmla="*/ 32 w 70"/>
                  <a:gd name="T25" fmla="*/ 10 h 63"/>
                  <a:gd name="T26" fmla="*/ 29 w 70"/>
                  <a:gd name="T27" fmla="*/ 16 h 63"/>
                  <a:gd name="T28" fmla="*/ 0 w 70"/>
                  <a:gd name="T29" fmla="*/ 23 h 63"/>
                  <a:gd name="T30" fmla="*/ 0 w 70"/>
                  <a:gd name="T31" fmla="*/ 27 h 63"/>
                  <a:gd name="T32" fmla="*/ 3 w 70"/>
                  <a:gd name="T33" fmla="*/ 40 h 63"/>
                  <a:gd name="T34" fmla="*/ 25 w 70"/>
                  <a:gd name="T35" fmla="*/ 61 h 63"/>
                  <a:gd name="T36" fmla="*/ 25 w 70"/>
                  <a:gd name="T37" fmla="*/ 61 h 63"/>
                  <a:gd name="T38" fmla="*/ 36 w 70"/>
                  <a:gd name="T39" fmla="*/ 63 h 63"/>
                  <a:gd name="T40" fmla="*/ 46 w 70"/>
                  <a:gd name="T41" fmla="*/ 61 h 63"/>
                  <a:gd name="T42" fmla="*/ 55 w 70"/>
                  <a:gd name="T43" fmla="*/ 49 h 63"/>
                  <a:gd name="T44" fmla="*/ 39 w 70"/>
                  <a:gd name="T45" fmla="*/ 13 h 63"/>
                  <a:gd name="T46" fmla="*/ 40 w 70"/>
                  <a:gd name="T47" fmla="*/ 11 h 63"/>
                  <a:gd name="T48" fmla="*/ 40 w 70"/>
                  <a:gd name="T49" fmla="*/ 11 h 63"/>
                  <a:gd name="T50" fmla="*/ 62 w 70"/>
                  <a:gd name="T51" fmla="*/ 49 h 63"/>
                  <a:gd name="T52" fmla="*/ 70 w 70"/>
                  <a:gd name="T53" fmla="*/ 28 h 63"/>
                  <a:gd name="T54" fmla="*/ 69 w 70"/>
                  <a:gd name="T55" fmla="*/ 21 h 63"/>
                  <a:gd name="T56" fmla="*/ 48 w 70"/>
                  <a:gd name="T57" fmla="*/ 4 h 63"/>
                  <a:gd name="T58" fmla="*/ 40 w 70"/>
                  <a:gd name="T59" fmla="*/ 0 h 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70" h="63">
                    <a:moveTo>
                      <a:pt x="29" y="3"/>
                    </a:moveTo>
                    <a:cubicBezTo>
                      <a:pt x="21" y="4"/>
                      <a:pt x="14" y="5"/>
                      <a:pt x="7" y="11"/>
                    </a:cubicBezTo>
                    <a:cubicBezTo>
                      <a:pt x="13" y="9"/>
                      <a:pt x="19" y="8"/>
                      <a:pt x="24" y="8"/>
                    </a:cubicBezTo>
                    <a:cubicBezTo>
                      <a:pt x="26" y="8"/>
                      <a:pt x="27" y="8"/>
                      <a:pt x="29" y="8"/>
                    </a:cubicBezTo>
                    <a:cubicBezTo>
                      <a:pt x="28" y="8"/>
                      <a:pt x="29" y="7"/>
                      <a:pt x="30" y="7"/>
                    </a:cubicBezTo>
                    <a:cubicBezTo>
                      <a:pt x="30" y="7"/>
                      <a:pt x="30" y="7"/>
                      <a:pt x="30" y="7"/>
                    </a:cubicBezTo>
                    <a:cubicBezTo>
                      <a:pt x="29" y="6"/>
                      <a:pt x="29" y="5"/>
                      <a:pt x="29" y="3"/>
                    </a:cubicBezTo>
                    <a:moveTo>
                      <a:pt x="40" y="0"/>
                    </a:moveTo>
                    <a:cubicBezTo>
                      <a:pt x="37" y="3"/>
                      <a:pt x="37" y="3"/>
                      <a:pt x="37" y="3"/>
                    </a:cubicBezTo>
                    <a:cubicBezTo>
                      <a:pt x="37" y="3"/>
                      <a:pt x="37" y="3"/>
                      <a:pt x="37" y="3"/>
                    </a:cubicBezTo>
                    <a:cubicBezTo>
                      <a:pt x="36" y="3"/>
                      <a:pt x="35" y="3"/>
                      <a:pt x="33" y="3"/>
                    </a:cubicBezTo>
                    <a:cubicBezTo>
                      <a:pt x="34" y="5"/>
                      <a:pt x="34" y="7"/>
                      <a:pt x="33" y="8"/>
                    </a:cubicBezTo>
                    <a:cubicBezTo>
                      <a:pt x="33" y="9"/>
                      <a:pt x="33" y="10"/>
                      <a:pt x="32" y="10"/>
                    </a:cubicBezTo>
                    <a:cubicBezTo>
                      <a:pt x="33" y="12"/>
                      <a:pt x="32" y="16"/>
                      <a:pt x="29" y="16"/>
                    </a:cubicBezTo>
                    <a:cubicBezTo>
                      <a:pt x="20" y="16"/>
                      <a:pt x="7" y="17"/>
                      <a:pt x="0" y="23"/>
                    </a:cubicBezTo>
                    <a:cubicBezTo>
                      <a:pt x="0" y="24"/>
                      <a:pt x="0" y="26"/>
                      <a:pt x="0" y="27"/>
                    </a:cubicBezTo>
                    <a:cubicBezTo>
                      <a:pt x="0" y="31"/>
                      <a:pt x="1" y="35"/>
                      <a:pt x="3" y="40"/>
                    </a:cubicBezTo>
                    <a:cubicBezTo>
                      <a:pt x="7" y="49"/>
                      <a:pt x="15" y="57"/>
                      <a:pt x="25" y="61"/>
                    </a:cubicBezTo>
                    <a:cubicBezTo>
                      <a:pt x="25" y="61"/>
                      <a:pt x="25" y="61"/>
                      <a:pt x="25" y="61"/>
                    </a:cubicBezTo>
                    <a:cubicBezTo>
                      <a:pt x="28" y="62"/>
                      <a:pt x="32" y="63"/>
                      <a:pt x="36" y="63"/>
                    </a:cubicBezTo>
                    <a:cubicBezTo>
                      <a:pt x="39" y="63"/>
                      <a:pt x="43" y="62"/>
                      <a:pt x="46" y="61"/>
                    </a:cubicBezTo>
                    <a:cubicBezTo>
                      <a:pt x="50" y="58"/>
                      <a:pt x="53" y="54"/>
                      <a:pt x="55" y="49"/>
                    </a:cubicBezTo>
                    <a:cubicBezTo>
                      <a:pt x="64" y="32"/>
                      <a:pt x="50" y="23"/>
                      <a:pt x="39" y="13"/>
                    </a:cubicBezTo>
                    <a:cubicBezTo>
                      <a:pt x="38" y="12"/>
                      <a:pt x="39" y="11"/>
                      <a:pt x="40" y="11"/>
                    </a:cubicBezTo>
                    <a:cubicBezTo>
                      <a:pt x="40" y="11"/>
                      <a:pt x="40" y="11"/>
                      <a:pt x="40" y="11"/>
                    </a:cubicBezTo>
                    <a:cubicBezTo>
                      <a:pt x="55" y="21"/>
                      <a:pt x="70" y="29"/>
                      <a:pt x="62" y="49"/>
                    </a:cubicBezTo>
                    <a:cubicBezTo>
                      <a:pt x="67" y="43"/>
                      <a:pt x="70" y="35"/>
                      <a:pt x="70" y="28"/>
                    </a:cubicBezTo>
                    <a:cubicBezTo>
                      <a:pt x="70" y="26"/>
                      <a:pt x="70" y="23"/>
                      <a:pt x="69" y="21"/>
                    </a:cubicBezTo>
                    <a:cubicBezTo>
                      <a:pt x="64" y="14"/>
                      <a:pt x="56" y="10"/>
                      <a:pt x="48" y="4"/>
                    </a:cubicBezTo>
                    <a:cubicBezTo>
                      <a:pt x="40" y="0"/>
                      <a:pt x="40" y="0"/>
                      <a:pt x="40" y="0"/>
                    </a:cubicBezTo>
                  </a:path>
                </a:pathLst>
              </a:custGeom>
              <a:solidFill>
                <a:srgbClr val="6F686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12" name="Freeform 58">
                <a:extLst>
                  <a:ext uri="{FF2B5EF4-FFF2-40B4-BE49-F238E27FC236}">
                    <a16:creationId xmlns:a16="http://schemas.microsoft.com/office/drawing/2014/main" id="{99232CAD-657D-4E55-A61B-8E72333F8CBC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2142" y="1779"/>
                <a:ext cx="79" cy="75"/>
              </a:xfrm>
              <a:custGeom>
                <a:avLst/>
                <a:gdLst>
                  <a:gd name="T0" fmla="*/ 35 w 74"/>
                  <a:gd name="T1" fmla="*/ 10 h 70"/>
                  <a:gd name="T2" fmla="*/ 32 w 74"/>
                  <a:gd name="T3" fmla="*/ 14 h 70"/>
                  <a:gd name="T4" fmla="*/ 1 w 74"/>
                  <a:gd name="T5" fmla="*/ 28 h 70"/>
                  <a:gd name="T6" fmla="*/ 0 w 74"/>
                  <a:gd name="T7" fmla="*/ 39 h 70"/>
                  <a:gd name="T8" fmla="*/ 0 w 74"/>
                  <a:gd name="T9" fmla="*/ 40 h 70"/>
                  <a:gd name="T10" fmla="*/ 39 w 74"/>
                  <a:gd name="T11" fmla="*/ 70 h 70"/>
                  <a:gd name="T12" fmla="*/ 39 w 74"/>
                  <a:gd name="T13" fmla="*/ 70 h 70"/>
                  <a:gd name="T14" fmla="*/ 39 w 74"/>
                  <a:gd name="T15" fmla="*/ 70 h 70"/>
                  <a:gd name="T16" fmla="*/ 39 w 74"/>
                  <a:gd name="T17" fmla="*/ 70 h 70"/>
                  <a:gd name="T18" fmla="*/ 48 w 74"/>
                  <a:gd name="T19" fmla="*/ 69 h 70"/>
                  <a:gd name="T20" fmla="*/ 60 w 74"/>
                  <a:gd name="T21" fmla="*/ 51 h 70"/>
                  <a:gd name="T22" fmla="*/ 59 w 74"/>
                  <a:gd name="T23" fmla="*/ 27 h 70"/>
                  <a:gd name="T24" fmla="*/ 35 w 74"/>
                  <a:gd name="T25" fmla="*/ 10 h 70"/>
                  <a:gd name="T26" fmla="*/ 39 w 74"/>
                  <a:gd name="T27" fmla="*/ 0 h 70"/>
                  <a:gd name="T28" fmla="*/ 39 w 74"/>
                  <a:gd name="T29" fmla="*/ 2 h 70"/>
                  <a:gd name="T30" fmla="*/ 35 w 74"/>
                  <a:gd name="T31" fmla="*/ 2 h 70"/>
                  <a:gd name="T32" fmla="*/ 17 w 74"/>
                  <a:gd name="T33" fmla="*/ 8 h 70"/>
                  <a:gd name="T34" fmla="*/ 25 w 74"/>
                  <a:gd name="T35" fmla="*/ 7 h 70"/>
                  <a:gd name="T36" fmla="*/ 30 w 74"/>
                  <a:gd name="T37" fmla="*/ 7 h 70"/>
                  <a:gd name="T38" fmla="*/ 30 w 74"/>
                  <a:gd name="T39" fmla="*/ 7 h 70"/>
                  <a:gd name="T40" fmla="*/ 32 w 74"/>
                  <a:gd name="T41" fmla="*/ 7 h 70"/>
                  <a:gd name="T42" fmla="*/ 61 w 74"/>
                  <a:gd name="T43" fmla="*/ 20 h 70"/>
                  <a:gd name="T44" fmla="*/ 67 w 74"/>
                  <a:gd name="T45" fmla="*/ 49 h 70"/>
                  <a:gd name="T46" fmla="*/ 65 w 74"/>
                  <a:gd name="T47" fmla="*/ 57 h 70"/>
                  <a:gd name="T48" fmla="*/ 72 w 74"/>
                  <a:gd name="T49" fmla="*/ 42 h 70"/>
                  <a:gd name="T50" fmla="*/ 72 w 74"/>
                  <a:gd name="T51" fmla="*/ 42 h 70"/>
                  <a:gd name="T52" fmla="*/ 74 w 74"/>
                  <a:gd name="T53" fmla="*/ 31 h 70"/>
                  <a:gd name="T54" fmla="*/ 71 w 74"/>
                  <a:gd name="T55" fmla="*/ 18 h 70"/>
                  <a:gd name="T56" fmla="*/ 52 w 74"/>
                  <a:gd name="T57" fmla="*/ 0 h 70"/>
                  <a:gd name="T58" fmla="*/ 48 w 74"/>
                  <a:gd name="T59" fmla="*/ 0 h 70"/>
                  <a:gd name="T60" fmla="*/ 46 w 74"/>
                  <a:gd name="T61" fmla="*/ 0 h 70"/>
                  <a:gd name="T62" fmla="*/ 43 w 74"/>
                  <a:gd name="T63" fmla="*/ 0 h 70"/>
                  <a:gd name="T64" fmla="*/ 39 w 74"/>
                  <a:gd name="T65" fmla="*/ 0 h 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74" h="70">
                    <a:moveTo>
                      <a:pt x="35" y="10"/>
                    </a:moveTo>
                    <a:cubicBezTo>
                      <a:pt x="35" y="12"/>
                      <a:pt x="34" y="14"/>
                      <a:pt x="32" y="14"/>
                    </a:cubicBezTo>
                    <a:cubicBezTo>
                      <a:pt x="20" y="14"/>
                      <a:pt x="8" y="19"/>
                      <a:pt x="1" y="28"/>
                    </a:cubicBezTo>
                    <a:cubicBezTo>
                      <a:pt x="0" y="32"/>
                      <a:pt x="0" y="36"/>
                      <a:pt x="0" y="39"/>
                    </a:cubicBezTo>
                    <a:cubicBezTo>
                      <a:pt x="0" y="40"/>
                      <a:pt x="0" y="40"/>
                      <a:pt x="0" y="40"/>
                    </a:cubicBezTo>
                    <a:cubicBezTo>
                      <a:pt x="3" y="58"/>
                      <a:pt x="22" y="70"/>
                      <a:pt x="39" y="70"/>
                    </a:cubicBezTo>
                    <a:cubicBezTo>
                      <a:pt x="39" y="70"/>
                      <a:pt x="39" y="70"/>
                      <a:pt x="39" y="70"/>
                    </a:cubicBezTo>
                    <a:cubicBezTo>
                      <a:pt x="39" y="70"/>
                      <a:pt x="39" y="70"/>
                      <a:pt x="39" y="70"/>
                    </a:cubicBezTo>
                    <a:cubicBezTo>
                      <a:pt x="39" y="70"/>
                      <a:pt x="39" y="70"/>
                      <a:pt x="39" y="70"/>
                    </a:cubicBezTo>
                    <a:cubicBezTo>
                      <a:pt x="43" y="70"/>
                      <a:pt x="46" y="69"/>
                      <a:pt x="48" y="69"/>
                    </a:cubicBezTo>
                    <a:cubicBezTo>
                      <a:pt x="54" y="65"/>
                      <a:pt x="58" y="59"/>
                      <a:pt x="60" y="51"/>
                    </a:cubicBezTo>
                    <a:cubicBezTo>
                      <a:pt x="62" y="44"/>
                      <a:pt x="63" y="35"/>
                      <a:pt x="59" y="27"/>
                    </a:cubicBezTo>
                    <a:cubicBezTo>
                      <a:pt x="54" y="16"/>
                      <a:pt x="46" y="12"/>
                      <a:pt x="35" y="10"/>
                    </a:cubicBezTo>
                    <a:moveTo>
                      <a:pt x="39" y="0"/>
                    </a:moveTo>
                    <a:cubicBezTo>
                      <a:pt x="39" y="2"/>
                      <a:pt x="39" y="2"/>
                      <a:pt x="39" y="2"/>
                    </a:cubicBezTo>
                    <a:cubicBezTo>
                      <a:pt x="38" y="2"/>
                      <a:pt x="36" y="2"/>
                      <a:pt x="35" y="2"/>
                    </a:cubicBezTo>
                    <a:cubicBezTo>
                      <a:pt x="29" y="2"/>
                      <a:pt x="22" y="4"/>
                      <a:pt x="17" y="8"/>
                    </a:cubicBezTo>
                    <a:cubicBezTo>
                      <a:pt x="19" y="7"/>
                      <a:pt x="22" y="7"/>
                      <a:pt x="25" y="7"/>
                    </a:cubicBezTo>
                    <a:cubicBezTo>
                      <a:pt x="26" y="7"/>
                      <a:pt x="28" y="7"/>
                      <a:pt x="30" y="7"/>
                    </a:cubicBezTo>
                    <a:cubicBezTo>
                      <a:pt x="30" y="7"/>
                      <a:pt x="30" y="7"/>
                      <a:pt x="30" y="7"/>
                    </a:cubicBezTo>
                    <a:cubicBezTo>
                      <a:pt x="31" y="7"/>
                      <a:pt x="32" y="7"/>
                      <a:pt x="32" y="7"/>
                    </a:cubicBezTo>
                    <a:cubicBezTo>
                      <a:pt x="46" y="7"/>
                      <a:pt x="52" y="8"/>
                      <a:pt x="61" y="20"/>
                    </a:cubicBezTo>
                    <a:cubicBezTo>
                      <a:pt x="67" y="28"/>
                      <a:pt x="69" y="38"/>
                      <a:pt x="67" y="49"/>
                    </a:cubicBezTo>
                    <a:cubicBezTo>
                      <a:pt x="67" y="52"/>
                      <a:pt x="66" y="55"/>
                      <a:pt x="65" y="57"/>
                    </a:cubicBezTo>
                    <a:cubicBezTo>
                      <a:pt x="68" y="53"/>
                      <a:pt x="71" y="47"/>
                      <a:pt x="72" y="42"/>
                    </a:cubicBezTo>
                    <a:cubicBezTo>
                      <a:pt x="72" y="42"/>
                      <a:pt x="72" y="42"/>
                      <a:pt x="72" y="42"/>
                    </a:cubicBezTo>
                    <a:cubicBezTo>
                      <a:pt x="73" y="38"/>
                      <a:pt x="74" y="35"/>
                      <a:pt x="74" y="31"/>
                    </a:cubicBezTo>
                    <a:cubicBezTo>
                      <a:pt x="74" y="26"/>
                      <a:pt x="73" y="21"/>
                      <a:pt x="71" y="18"/>
                    </a:cubicBezTo>
                    <a:cubicBezTo>
                      <a:pt x="66" y="10"/>
                      <a:pt x="61" y="2"/>
                      <a:pt x="52" y="0"/>
                    </a:cubicBezTo>
                    <a:cubicBezTo>
                      <a:pt x="51" y="0"/>
                      <a:pt x="49" y="0"/>
                      <a:pt x="48" y="0"/>
                    </a:cubicBezTo>
                    <a:cubicBezTo>
                      <a:pt x="47" y="0"/>
                      <a:pt x="46" y="0"/>
                      <a:pt x="46" y="0"/>
                    </a:cubicBezTo>
                    <a:cubicBezTo>
                      <a:pt x="45" y="0"/>
                      <a:pt x="44" y="0"/>
                      <a:pt x="43" y="0"/>
                    </a:cubicBezTo>
                    <a:cubicBezTo>
                      <a:pt x="42" y="0"/>
                      <a:pt x="40" y="0"/>
                      <a:pt x="39" y="0"/>
                    </a:cubicBezTo>
                  </a:path>
                </a:pathLst>
              </a:custGeom>
              <a:solidFill>
                <a:srgbClr val="6F686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13" name="Freeform 59">
                <a:extLst>
                  <a:ext uri="{FF2B5EF4-FFF2-40B4-BE49-F238E27FC236}">
                    <a16:creationId xmlns:a16="http://schemas.microsoft.com/office/drawing/2014/main" id="{704D66EB-47F4-49DC-906C-1FA5CB4DD6E8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2421" y="2143"/>
                <a:ext cx="66" cy="62"/>
              </a:xfrm>
              <a:custGeom>
                <a:avLst/>
                <a:gdLst>
                  <a:gd name="T0" fmla="*/ 20 w 62"/>
                  <a:gd name="T1" fmla="*/ 11 h 59"/>
                  <a:gd name="T2" fmla="*/ 18 w 62"/>
                  <a:gd name="T3" fmla="*/ 14 h 59"/>
                  <a:gd name="T4" fmla="*/ 2 w 62"/>
                  <a:gd name="T5" fmla="*/ 22 h 59"/>
                  <a:gd name="T6" fmla="*/ 0 w 62"/>
                  <a:gd name="T7" fmla="*/ 33 h 59"/>
                  <a:gd name="T8" fmla="*/ 5 w 62"/>
                  <a:gd name="T9" fmla="*/ 47 h 59"/>
                  <a:gd name="T10" fmla="*/ 34 w 62"/>
                  <a:gd name="T11" fmla="*/ 59 h 59"/>
                  <a:gd name="T12" fmla="*/ 45 w 62"/>
                  <a:gd name="T13" fmla="*/ 58 h 59"/>
                  <a:gd name="T14" fmla="*/ 47 w 62"/>
                  <a:gd name="T15" fmla="*/ 25 h 59"/>
                  <a:gd name="T16" fmla="*/ 20 w 62"/>
                  <a:gd name="T17" fmla="*/ 11 h 59"/>
                  <a:gd name="T18" fmla="*/ 26 w 62"/>
                  <a:gd name="T19" fmla="*/ 0 h 59"/>
                  <a:gd name="T20" fmla="*/ 26 w 62"/>
                  <a:gd name="T21" fmla="*/ 2 h 59"/>
                  <a:gd name="T22" fmla="*/ 12 w 62"/>
                  <a:gd name="T23" fmla="*/ 7 h 59"/>
                  <a:gd name="T24" fmla="*/ 21 w 62"/>
                  <a:gd name="T25" fmla="*/ 6 h 59"/>
                  <a:gd name="T26" fmla="*/ 54 w 62"/>
                  <a:gd name="T27" fmla="*/ 30 h 59"/>
                  <a:gd name="T28" fmla="*/ 54 w 62"/>
                  <a:gd name="T29" fmla="*/ 53 h 59"/>
                  <a:gd name="T30" fmla="*/ 62 w 62"/>
                  <a:gd name="T31" fmla="*/ 33 h 59"/>
                  <a:gd name="T32" fmla="*/ 49 w 62"/>
                  <a:gd name="T33" fmla="*/ 5 h 59"/>
                  <a:gd name="T34" fmla="*/ 26 w 62"/>
                  <a:gd name="T35" fmla="*/ 0 h 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62" h="59">
                    <a:moveTo>
                      <a:pt x="20" y="11"/>
                    </a:moveTo>
                    <a:cubicBezTo>
                      <a:pt x="20" y="12"/>
                      <a:pt x="20" y="13"/>
                      <a:pt x="18" y="14"/>
                    </a:cubicBezTo>
                    <a:cubicBezTo>
                      <a:pt x="13" y="16"/>
                      <a:pt x="6" y="18"/>
                      <a:pt x="2" y="22"/>
                    </a:cubicBezTo>
                    <a:cubicBezTo>
                      <a:pt x="1" y="25"/>
                      <a:pt x="0" y="29"/>
                      <a:pt x="0" y="33"/>
                    </a:cubicBezTo>
                    <a:cubicBezTo>
                      <a:pt x="0" y="37"/>
                      <a:pt x="1" y="42"/>
                      <a:pt x="5" y="47"/>
                    </a:cubicBezTo>
                    <a:cubicBezTo>
                      <a:pt x="12" y="55"/>
                      <a:pt x="23" y="59"/>
                      <a:pt x="34" y="59"/>
                    </a:cubicBezTo>
                    <a:cubicBezTo>
                      <a:pt x="38" y="59"/>
                      <a:pt x="42" y="59"/>
                      <a:pt x="45" y="58"/>
                    </a:cubicBezTo>
                    <a:cubicBezTo>
                      <a:pt x="52" y="49"/>
                      <a:pt x="51" y="35"/>
                      <a:pt x="47" y="25"/>
                    </a:cubicBezTo>
                    <a:cubicBezTo>
                      <a:pt x="42" y="16"/>
                      <a:pt x="31" y="12"/>
                      <a:pt x="20" y="11"/>
                    </a:cubicBezTo>
                    <a:moveTo>
                      <a:pt x="26" y="0"/>
                    </a:moveTo>
                    <a:cubicBezTo>
                      <a:pt x="26" y="2"/>
                      <a:pt x="26" y="2"/>
                      <a:pt x="26" y="2"/>
                    </a:cubicBezTo>
                    <a:cubicBezTo>
                      <a:pt x="20" y="3"/>
                      <a:pt x="16" y="5"/>
                      <a:pt x="12" y="7"/>
                    </a:cubicBezTo>
                    <a:cubicBezTo>
                      <a:pt x="15" y="7"/>
                      <a:pt x="18" y="6"/>
                      <a:pt x="21" y="6"/>
                    </a:cubicBezTo>
                    <a:cubicBezTo>
                      <a:pt x="36" y="6"/>
                      <a:pt x="49" y="14"/>
                      <a:pt x="54" y="30"/>
                    </a:cubicBezTo>
                    <a:cubicBezTo>
                      <a:pt x="56" y="38"/>
                      <a:pt x="56" y="46"/>
                      <a:pt x="54" y="53"/>
                    </a:cubicBezTo>
                    <a:cubicBezTo>
                      <a:pt x="59" y="49"/>
                      <a:pt x="62" y="41"/>
                      <a:pt x="62" y="33"/>
                    </a:cubicBezTo>
                    <a:cubicBezTo>
                      <a:pt x="62" y="22"/>
                      <a:pt x="57" y="11"/>
                      <a:pt x="49" y="5"/>
                    </a:cubicBezTo>
                    <a:cubicBezTo>
                      <a:pt x="43" y="3"/>
                      <a:pt x="34" y="0"/>
                      <a:pt x="26" y="0"/>
                    </a:cubicBezTo>
                  </a:path>
                </a:pathLst>
              </a:custGeom>
              <a:solidFill>
                <a:srgbClr val="EF827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14" name="Freeform 60">
                <a:extLst>
                  <a:ext uri="{FF2B5EF4-FFF2-40B4-BE49-F238E27FC236}">
                    <a16:creationId xmlns:a16="http://schemas.microsoft.com/office/drawing/2014/main" id="{80EF90A1-F1F6-457B-970C-CD236F8C5D17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2544" y="2053"/>
                <a:ext cx="149" cy="138"/>
              </a:xfrm>
              <a:custGeom>
                <a:avLst/>
                <a:gdLst>
                  <a:gd name="T0" fmla="*/ 141 w 141"/>
                  <a:gd name="T1" fmla="*/ 81 h 131"/>
                  <a:gd name="T2" fmla="*/ 134 w 141"/>
                  <a:gd name="T3" fmla="*/ 90 h 131"/>
                  <a:gd name="T4" fmla="*/ 128 w 141"/>
                  <a:gd name="T5" fmla="*/ 108 h 131"/>
                  <a:gd name="T6" fmla="*/ 141 w 141"/>
                  <a:gd name="T7" fmla="*/ 81 h 131"/>
                  <a:gd name="T8" fmla="*/ 19 w 141"/>
                  <a:gd name="T9" fmla="*/ 11 h 131"/>
                  <a:gd name="T10" fmla="*/ 10 w 141"/>
                  <a:gd name="T11" fmla="*/ 15 h 131"/>
                  <a:gd name="T12" fmla="*/ 2 w 141"/>
                  <a:gd name="T13" fmla="*/ 39 h 131"/>
                  <a:gd name="T14" fmla="*/ 0 w 141"/>
                  <a:gd name="T15" fmla="*/ 53 h 131"/>
                  <a:gd name="T16" fmla="*/ 8 w 141"/>
                  <a:gd name="T17" fmla="*/ 80 h 131"/>
                  <a:gd name="T18" fmla="*/ 42 w 141"/>
                  <a:gd name="T19" fmla="*/ 118 h 131"/>
                  <a:gd name="T20" fmla="*/ 82 w 141"/>
                  <a:gd name="T21" fmla="*/ 131 h 131"/>
                  <a:gd name="T22" fmla="*/ 103 w 141"/>
                  <a:gd name="T23" fmla="*/ 127 h 131"/>
                  <a:gd name="T24" fmla="*/ 127 w 141"/>
                  <a:gd name="T25" fmla="*/ 97 h 131"/>
                  <a:gd name="T26" fmla="*/ 80 w 141"/>
                  <a:gd name="T27" fmla="*/ 116 h 131"/>
                  <a:gd name="T28" fmla="*/ 76 w 141"/>
                  <a:gd name="T29" fmla="*/ 116 h 131"/>
                  <a:gd name="T30" fmla="*/ 11 w 141"/>
                  <a:gd name="T31" fmla="*/ 51 h 131"/>
                  <a:gd name="T32" fmla="*/ 19 w 141"/>
                  <a:gd name="T33" fmla="*/ 11 h 131"/>
                  <a:gd name="T34" fmla="*/ 30 w 141"/>
                  <a:gd name="T35" fmla="*/ 8 h 131"/>
                  <a:gd name="T36" fmla="*/ 19 w 141"/>
                  <a:gd name="T37" fmla="*/ 45 h 131"/>
                  <a:gd name="T38" fmla="*/ 71 w 141"/>
                  <a:gd name="T39" fmla="*/ 109 h 131"/>
                  <a:gd name="T40" fmla="*/ 81 w 141"/>
                  <a:gd name="T41" fmla="*/ 110 h 131"/>
                  <a:gd name="T42" fmla="*/ 116 w 141"/>
                  <a:gd name="T43" fmla="*/ 98 h 131"/>
                  <a:gd name="T44" fmla="*/ 96 w 141"/>
                  <a:gd name="T45" fmla="*/ 104 h 131"/>
                  <a:gd name="T46" fmla="*/ 96 w 141"/>
                  <a:gd name="T47" fmla="*/ 104 h 131"/>
                  <a:gd name="T48" fmla="*/ 89 w 141"/>
                  <a:gd name="T49" fmla="*/ 104 h 131"/>
                  <a:gd name="T50" fmla="*/ 89 w 141"/>
                  <a:gd name="T51" fmla="*/ 104 h 131"/>
                  <a:gd name="T52" fmla="*/ 89 w 141"/>
                  <a:gd name="T53" fmla="*/ 104 h 131"/>
                  <a:gd name="T54" fmla="*/ 89 w 141"/>
                  <a:gd name="T55" fmla="*/ 104 h 131"/>
                  <a:gd name="T56" fmla="*/ 89 w 141"/>
                  <a:gd name="T57" fmla="*/ 104 h 131"/>
                  <a:gd name="T58" fmla="*/ 52 w 141"/>
                  <a:gd name="T59" fmla="*/ 88 h 131"/>
                  <a:gd name="T60" fmla="*/ 52 w 141"/>
                  <a:gd name="T61" fmla="*/ 88 h 131"/>
                  <a:gd name="T62" fmla="*/ 52 w 141"/>
                  <a:gd name="T63" fmla="*/ 88 h 131"/>
                  <a:gd name="T64" fmla="*/ 52 w 141"/>
                  <a:gd name="T65" fmla="*/ 88 h 131"/>
                  <a:gd name="T66" fmla="*/ 51 w 141"/>
                  <a:gd name="T67" fmla="*/ 87 h 131"/>
                  <a:gd name="T68" fmla="*/ 24 w 141"/>
                  <a:gd name="T69" fmla="*/ 48 h 131"/>
                  <a:gd name="T70" fmla="*/ 23 w 141"/>
                  <a:gd name="T71" fmla="*/ 39 h 131"/>
                  <a:gd name="T72" fmla="*/ 30 w 141"/>
                  <a:gd name="T73" fmla="*/ 8 h 131"/>
                  <a:gd name="T74" fmla="*/ 27 w 141"/>
                  <a:gd name="T75" fmla="*/ 0 h 131"/>
                  <a:gd name="T76" fmla="*/ 15 w 141"/>
                  <a:gd name="T77" fmla="*/ 8 h 131"/>
                  <a:gd name="T78" fmla="*/ 22 w 141"/>
                  <a:gd name="T79" fmla="*/ 6 h 131"/>
                  <a:gd name="T80" fmla="*/ 27 w 141"/>
                  <a:gd name="T81" fmla="*/ 0 h 1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141" h="131">
                    <a:moveTo>
                      <a:pt x="141" y="81"/>
                    </a:moveTo>
                    <a:cubicBezTo>
                      <a:pt x="139" y="84"/>
                      <a:pt x="137" y="87"/>
                      <a:pt x="134" y="90"/>
                    </a:cubicBezTo>
                    <a:cubicBezTo>
                      <a:pt x="133" y="97"/>
                      <a:pt x="130" y="103"/>
                      <a:pt x="128" y="108"/>
                    </a:cubicBezTo>
                    <a:cubicBezTo>
                      <a:pt x="134" y="100"/>
                      <a:pt x="139" y="90"/>
                      <a:pt x="141" y="81"/>
                    </a:cubicBezTo>
                    <a:moveTo>
                      <a:pt x="19" y="11"/>
                    </a:moveTo>
                    <a:cubicBezTo>
                      <a:pt x="15" y="12"/>
                      <a:pt x="12" y="13"/>
                      <a:pt x="10" y="15"/>
                    </a:cubicBezTo>
                    <a:cubicBezTo>
                      <a:pt x="6" y="23"/>
                      <a:pt x="3" y="32"/>
                      <a:pt x="2" y="39"/>
                    </a:cubicBezTo>
                    <a:cubicBezTo>
                      <a:pt x="1" y="44"/>
                      <a:pt x="0" y="48"/>
                      <a:pt x="0" y="53"/>
                    </a:cubicBezTo>
                    <a:cubicBezTo>
                      <a:pt x="0" y="62"/>
                      <a:pt x="3" y="71"/>
                      <a:pt x="8" y="80"/>
                    </a:cubicBezTo>
                    <a:cubicBezTo>
                      <a:pt x="16" y="95"/>
                      <a:pt x="26" y="111"/>
                      <a:pt x="42" y="118"/>
                    </a:cubicBezTo>
                    <a:cubicBezTo>
                      <a:pt x="53" y="126"/>
                      <a:pt x="68" y="131"/>
                      <a:pt x="82" y="131"/>
                    </a:cubicBezTo>
                    <a:cubicBezTo>
                      <a:pt x="90" y="131"/>
                      <a:pt x="97" y="129"/>
                      <a:pt x="103" y="127"/>
                    </a:cubicBezTo>
                    <a:cubicBezTo>
                      <a:pt x="114" y="120"/>
                      <a:pt x="122" y="109"/>
                      <a:pt x="127" y="97"/>
                    </a:cubicBezTo>
                    <a:cubicBezTo>
                      <a:pt x="114" y="109"/>
                      <a:pt x="96" y="116"/>
                      <a:pt x="80" y="116"/>
                    </a:cubicBezTo>
                    <a:cubicBezTo>
                      <a:pt x="78" y="116"/>
                      <a:pt x="77" y="116"/>
                      <a:pt x="76" y="116"/>
                    </a:cubicBezTo>
                    <a:cubicBezTo>
                      <a:pt x="45" y="113"/>
                      <a:pt x="12" y="81"/>
                      <a:pt x="11" y="51"/>
                    </a:cubicBezTo>
                    <a:cubicBezTo>
                      <a:pt x="10" y="35"/>
                      <a:pt x="13" y="22"/>
                      <a:pt x="19" y="11"/>
                    </a:cubicBezTo>
                    <a:moveTo>
                      <a:pt x="30" y="8"/>
                    </a:moveTo>
                    <a:cubicBezTo>
                      <a:pt x="23" y="18"/>
                      <a:pt x="19" y="33"/>
                      <a:pt x="19" y="45"/>
                    </a:cubicBezTo>
                    <a:cubicBezTo>
                      <a:pt x="18" y="72"/>
                      <a:pt x="45" y="103"/>
                      <a:pt x="71" y="109"/>
                    </a:cubicBezTo>
                    <a:cubicBezTo>
                      <a:pt x="74" y="109"/>
                      <a:pt x="78" y="110"/>
                      <a:pt x="81" y="110"/>
                    </a:cubicBezTo>
                    <a:cubicBezTo>
                      <a:pt x="93" y="110"/>
                      <a:pt x="105" y="105"/>
                      <a:pt x="116" y="98"/>
                    </a:cubicBezTo>
                    <a:cubicBezTo>
                      <a:pt x="109" y="101"/>
                      <a:pt x="103" y="103"/>
                      <a:pt x="96" y="104"/>
                    </a:cubicBezTo>
                    <a:cubicBezTo>
                      <a:pt x="96" y="104"/>
                      <a:pt x="96" y="104"/>
                      <a:pt x="96" y="104"/>
                    </a:cubicBezTo>
                    <a:cubicBezTo>
                      <a:pt x="93" y="104"/>
                      <a:pt x="91" y="104"/>
                      <a:pt x="89" y="104"/>
                    </a:cubicBezTo>
                    <a:cubicBezTo>
                      <a:pt x="89" y="104"/>
                      <a:pt x="89" y="104"/>
                      <a:pt x="89" y="104"/>
                    </a:cubicBezTo>
                    <a:cubicBezTo>
                      <a:pt x="89" y="104"/>
                      <a:pt x="89" y="104"/>
                      <a:pt x="89" y="104"/>
                    </a:cubicBezTo>
                    <a:cubicBezTo>
                      <a:pt x="89" y="104"/>
                      <a:pt x="89" y="104"/>
                      <a:pt x="89" y="104"/>
                    </a:cubicBezTo>
                    <a:cubicBezTo>
                      <a:pt x="89" y="104"/>
                      <a:pt x="89" y="104"/>
                      <a:pt x="89" y="104"/>
                    </a:cubicBezTo>
                    <a:cubicBezTo>
                      <a:pt x="75" y="104"/>
                      <a:pt x="63" y="98"/>
                      <a:pt x="52" y="88"/>
                    </a:cubicBezTo>
                    <a:cubicBezTo>
                      <a:pt x="52" y="88"/>
                      <a:pt x="52" y="88"/>
                      <a:pt x="52" y="88"/>
                    </a:cubicBezTo>
                    <a:cubicBezTo>
                      <a:pt x="52" y="88"/>
                      <a:pt x="52" y="88"/>
                      <a:pt x="52" y="88"/>
                    </a:cubicBezTo>
                    <a:cubicBezTo>
                      <a:pt x="52" y="88"/>
                      <a:pt x="52" y="88"/>
                      <a:pt x="52" y="88"/>
                    </a:cubicBezTo>
                    <a:cubicBezTo>
                      <a:pt x="51" y="88"/>
                      <a:pt x="51" y="87"/>
                      <a:pt x="51" y="87"/>
                    </a:cubicBezTo>
                    <a:cubicBezTo>
                      <a:pt x="38" y="76"/>
                      <a:pt x="25" y="64"/>
                      <a:pt x="24" y="48"/>
                    </a:cubicBezTo>
                    <a:cubicBezTo>
                      <a:pt x="24" y="45"/>
                      <a:pt x="23" y="42"/>
                      <a:pt x="23" y="39"/>
                    </a:cubicBezTo>
                    <a:cubicBezTo>
                      <a:pt x="23" y="29"/>
                      <a:pt x="26" y="17"/>
                      <a:pt x="30" y="8"/>
                    </a:cubicBezTo>
                    <a:moveTo>
                      <a:pt x="27" y="0"/>
                    </a:moveTo>
                    <a:cubicBezTo>
                      <a:pt x="22" y="1"/>
                      <a:pt x="18" y="4"/>
                      <a:pt x="15" y="8"/>
                    </a:cubicBezTo>
                    <a:cubicBezTo>
                      <a:pt x="17" y="7"/>
                      <a:pt x="19" y="6"/>
                      <a:pt x="22" y="6"/>
                    </a:cubicBezTo>
                    <a:cubicBezTo>
                      <a:pt x="23" y="4"/>
                      <a:pt x="25" y="2"/>
                      <a:pt x="27" y="0"/>
                    </a:cubicBezTo>
                  </a:path>
                </a:pathLst>
              </a:custGeom>
              <a:solidFill>
                <a:srgbClr val="83C3E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15" name="Freeform 61">
                <a:extLst>
                  <a:ext uri="{FF2B5EF4-FFF2-40B4-BE49-F238E27FC236}">
                    <a16:creationId xmlns:a16="http://schemas.microsoft.com/office/drawing/2014/main" id="{09F6A0F3-332E-44B6-90D3-421EFFFC1C9F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568" y="2022"/>
                <a:ext cx="138" cy="141"/>
              </a:xfrm>
              <a:custGeom>
                <a:avLst/>
                <a:gdLst>
                  <a:gd name="T0" fmla="*/ 71 w 130"/>
                  <a:gd name="T1" fmla="*/ 0 h 133"/>
                  <a:gd name="T2" fmla="*/ 62 w 130"/>
                  <a:gd name="T3" fmla="*/ 0 h 133"/>
                  <a:gd name="T4" fmla="*/ 21 w 130"/>
                  <a:gd name="T5" fmla="*/ 15 h 133"/>
                  <a:gd name="T6" fmla="*/ 53 w 130"/>
                  <a:gd name="T7" fmla="*/ 5 h 133"/>
                  <a:gd name="T8" fmla="*/ 54 w 130"/>
                  <a:gd name="T9" fmla="*/ 5 h 133"/>
                  <a:gd name="T10" fmla="*/ 55 w 130"/>
                  <a:gd name="T11" fmla="*/ 12 h 133"/>
                  <a:gd name="T12" fmla="*/ 15 w 130"/>
                  <a:gd name="T13" fmla="*/ 27 h 133"/>
                  <a:gd name="T14" fmla="*/ 7 w 130"/>
                  <a:gd name="T15" fmla="*/ 37 h 133"/>
                  <a:gd name="T16" fmla="*/ 0 w 130"/>
                  <a:gd name="T17" fmla="*/ 68 h 133"/>
                  <a:gd name="T18" fmla="*/ 1 w 130"/>
                  <a:gd name="T19" fmla="*/ 77 h 133"/>
                  <a:gd name="T20" fmla="*/ 28 w 130"/>
                  <a:gd name="T21" fmla="*/ 116 h 133"/>
                  <a:gd name="T22" fmla="*/ 29 w 130"/>
                  <a:gd name="T23" fmla="*/ 117 h 133"/>
                  <a:gd name="T24" fmla="*/ 29 w 130"/>
                  <a:gd name="T25" fmla="*/ 117 h 133"/>
                  <a:gd name="T26" fmla="*/ 29 w 130"/>
                  <a:gd name="T27" fmla="*/ 117 h 133"/>
                  <a:gd name="T28" fmla="*/ 29 w 130"/>
                  <a:gd name="T29" fmla="*/ 117 h 133"/>
                  <a:gd name="T30" fmla="*/ 66 w 130"/>
                  <a:gd name="T31" fmla="*/ 133 h 133"/>
                  <a:gd name="T32" fmla="*/ 66 w 130"/>
                  <a:gd name="T33" fmla="*/ 133 h 133"/>
                  <a:gd name="T34" fmla="*/ 66 w 130"/>
                  <a:gd name="T35" fmla="*/ 133 h 133"/>
                  <a:gd name="T36" fmla="*/ 66 w 130"/>
                  <a:gd name="T37" fmla="*/ 133 h 133"/>
                  <a:gd name="T38" fmla="*/ 73 w 130"/>
                  <a:gd name="T39" fmla="*/ 133 h 133"/>
                  <a:gd name="T40" fmla="*/ 73 w 130"/>
                  <a:gd name="T41" fmla="*/ 133 h 133"/>
                  <a:gd name="T42" fmla="*/ 93 w 130"/>
                  <a:gd name="T43" fmla="*/ 127 h 133"/>
                  <a:gd name="T44" fmla="*/ 102 w 130"/>
                  <a:gd name="T45" fmla="*/ 119 h 133"/>
                  <a:gd name="T46" fmla="*/ 116 w 130"/>
                  <a:gd name="T47" fmla="*/ 70 h 133"/>
                  <a:gd name="T48" fmla="*/ 62 w 130"/>
                  <a:gd name="T49" fmla="*/ 10 h 133"/>
                  <a:gd name="T50" fmla="*/ 62 w 130"/>
                  <a:gd name="T51" fmla="*/ 7 h 133"/>
                  <a:gd name="T52" fmla="*/ 63 w 130"/>
                  <a:gd name="T53" fmla="*/ 7 h 133"/>
                  <a:gd name="T54" fmla="*/ 108 w 130"/>
                  <a:gd name="T55" fmla="*/ 35 h 133"/>
                  <a:gd name="T56" fmla="*/ 124 w 130"/>
                  <a:gd name="T57" fmla="*/ 84 h 133"/>
                  <a:gd name="T58" fmla="*/ 120 w 130"/>
                  <a:gd name="T59" fmla="*/ 105 h 133"/>
                  <a:gd name="T60" fmla="*/ 121 w 130"/>
                  <a:gd name="T61" fmla="*/ 103 h 133"/>
                  <a:gd name="T62" fmla="*/ 130 w 130"/>
                  <a:gd name="T63" fmla="*/ 78 h 133"/>
                  <a:gd name="T64" fmla="*/ 128 w 130"/>
                  <a:gd name="T65" fmla="*/ 63 h 133"/>
                  <a:gd name="T66" fmla="*/ 99 w 130"/>
                  <a:gd name="T67" fmla="*/ 13 h 133"/>
                  <a:gd name="T68" fmla="*/ 71 w 130"/>
                  <a:gd name="T69" fmla="*/ 0 h 1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130" h="133">
                    <a:moveTo>
                      <a:pt x="71" y="0"/>
                    </a:moveTo>
                    <a:cubicBezTo>
                      <a:pt x="62" y="0"/>
                      <a:pt x="62" y="0"/>
                      <a:pt x="62" y="0"/>
                    </a:cubicBezTo>
                    <a:cubicBezTo>
                      <a:pt x="47" y="3"/>
                      <a:pt x="32" y="6"/>
                      <a:pt x="21" y="15"/>
                    </a:cubicBezTo>
                    <a:cubicBezTo>
                      <a:pt x="30" y="10"/>
                      <a:pt x="41" y="7"/>
                      <a:pt x="53" y="5"/>
                    </a:cubicBezTo>
                    <a:cubicBezTo>
                      <a:pt x="54" y="5"/>
                      <a:pt x="54" y="5"/>
                      <a:pt x="54" y="5"/>
                    </a:cubicBezTo>
                    <a:cubicBezTo>
                      <a:pt x="57" y="5"/>
                      <a:pt x="58" y="11"/>
                      <a:pt x="55" y="12"/>
                    </a:cubicBezTo>
                    <a:cubicBezTo>
                      <a:pt x="41" y="16"/>
                      <a:pt x="26" y="18"/>
                      <a:pt x="15" y="27"/>
                    </a:cubicBezTo>
                    <a:cubicBezTo>
                      <a:pt x="12" y="30"/>
                      <a:pt x="9" y="33"/>
                      <a:pt x="7" y="37"/>
                    </a:cubicBezTo>
                    <a:cubicBezTo>
                      <a:pt x="3" y="46"/>
                      <a:pt x="0" y="58"/>
                      <a:pt x="0" y="68"/>
                    </a:cubicBezTo>
                    <a:cubicBezTo>
                      <a:pt x="0" y="71"/>
                      <a:pt x="1" y="74"/>
                      <a:pt x="1" y="77"/>
                    </a:cubicBezTo>
                    <a:cubicBezTo>
                      <a:pt x="2" y="93"/>
                      <a:pt x="15" y="105"/>
                      <a:pt x="28" y="116"/>
                    </a:cubicBezTo>
                    <a:cubicBezTo>
                      <a:pt x="28" y="116"/>
                      <a:pt x="28" y="117"/>
                      <a:pt x="29" y="117"/>
                    </a:cubicBezTo>
                    <a:cubicBezTo>
                      <a:pt x="29" y="117"/>
                      <a:pt x="29" y="117"/>
                      <a:pt x="29" y="117"/>
                    </a:cubicBezTo>
                    <a:cubicBezTo>
                      <a:pt x="29" y="117"/>
                      <a:pt x="29" y="117"/>
                      <a:pt x="29" y="117"/>
                    </a:cubicBezTo>
                    <a:cubicBezTo>
                      <a:pt x="29" y="117"/>
                      <a:pt x="29" y="117"/>
                      <a:pt x="29" y="117"/>
                    </a:cubicBezTo>
                    <a:cubicBezTo>
                      <a:pt x="40" y="127"/>
                      <a:pt x="52" y="133"/>
                      <a:pt x="66" y="133"/>
                    </a:cubicBezTo>
                    <a:cubicBezTo>
                      <a:pt x="66" y="133"/>
                      <a:pt x="66" y="133"/>
                      <a:pt x="66" y="133"/>
                    </a:cubicBezTo>
                    <a:cubicBezTo>
                      <a:pt x="66" y="133"/>
                      <a:pt x="66" y="133"/>
                      <a:pt x="66" y="133"/>
                    </a:cubicBezTo>
                    <a:cubicBezTo>
                      <a:pt x="66" y="133"/>
                      <a:pt x="66" y="133"/>
                      <a:pt x="66" y="133"/>
                    </a:cubicBezTo>
                    <a:cubicBezTo>
                      <a:pt x="68" y="133"/>
                      <a:pt x="70" y="133"/>
                      <a:pt x="73" y="133"/>
                    </a:cubicBezTo>
                    <a:cubicBezTo>
                      <a:pt x="73" y="133"/>
                      <a:pt x="73" y="133"/>
                      <a:pt x="73" y="133"/>
                    </a:cubicBezTo>
                    <a:cubicBezTo>
                      <a:pt x="80" y="132"/>
                      <a:pt x="86" y="130"/>
                      <a:pt x="93" y="127"/>
                    </a:cubicBezTo>
                    <a:cubicBezTo>
                      <a:pt x="96" y="124"/>
                      <a:pt x="99" y="122"/>
                      <a:pt x="102" y="119"/>
                    </a:cubicBezTo>
                    <a:cubicBezTo>
                      <a:pt x="117" y="105"/>
                      <a:pt x="120" y="90"/>
                      <a:pt x="116" y="70"/>
                    </a:cubicBezTo>
                    <a:cubicBezTo>
                      <a:pt x="109" y="37"/>
                      <a:pt x="90" y="24"/>
                      <a:pt x="62" y="10"/>
                    </a:cubicBezTo>
                    <a:cubicBezTo>
                      <a:pt x="60" y="9"/>
                      <a:pt x="61" y="7"/>
                      <a:pt x="62" y="7"/>
                    </a:cubicBezTo>
                    <a:cubicBezTo>
                      <a:pt x="63" y="7"/>
                      <a:pt x="63" y="7"/>
                      <a:pt x="63" y="7"/>
                    </a:cubicBezTo>
                    <a:cubicBezTo>
                      <a:pt x="81" y="13"/>
                      <a:pt x="97" y="18"/>
                      <a:pt x="108" y="35"/>
                    </a:cubicBezTo>
                    <a:cubicBezTo>
                      <a:pt x="118" y="48"/>
                      <a:pt x="124" y="67"/>
                      <a:pt x="124" y="84"/>
                    </a:cubicBezTo>
                    <a:cubicBezTo>
                      <a:pt x="125" y="91"/>
                      <a:pt x="123" y="98"/>
                      <a:pt x="120" y="105"/>
                    </a:cubicBezTo>
                    <a:cubicBezTo>
                      <a:pt x="121" y="104"/>
                      <a:pt x="121" y="104"/>
                      <a:pt x="121" y="103"/>
                    </a:cubicBezTo>
                    <a:cubicBezTo>
                      <a:pt x="127" y="96"/>
                      <a:pt x="130" y="87"/>
                      <a:pt x="130" y="78"/>
                    </a:cubicBezTo>
                    <a:cubicBezTo>
                      <a:pt x="130" y="73"/>
                      <a:pt x="129" y="68"/>
                      <a:pt x="128" y="63"/>
                    </a:cubicBezTo>
                    <a:cubicBezTo>
                      <a:pt x="125" y="45"/>
                      <a:pt x="115" y="22"/>
                      <a:pt x="99" y="13"/>
                    </a:cubicBezTo>
                    <a:cubicBezTo>
                      <a:pt x="90" y="6"/>
                      <a:pt x="81" y="4"/>
                      <a:pt x="71" y="0"/>
                    </a:cubicBezTo>
                  </a:path>
                </a:pathLst>
              </a:custGeom>
              <a:solidFill>
                <a:srgbClr val="83C3E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16" name="Freeform 62">
                <a:extLst>
                  <a:ext uri="{FF2B5EF4-FFF2-40B4-BE49-F238E27FC236}">
                    <a16:creationId xmlns:a16="http://schemas.microsoft.com/office/drawing/2014/main" id="{08D1260D-7884-408D-8C4C-AC7D1D9A1C7E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2234" y="2013"/>
                <a:ext cx="156" cy="103"/>
              </a:xfrm>
              <a:custGeom>
                <a:avLst/>
                <a:gdLst>
                  <a:gd name="T0" fmla="*/ 135 w 148"/>
                  <a:gd name="T1" fmla="*/ 32 h 97"/>
                  <a:gd name="T2" fmla="*/ 131 w 148"/>
                  <a:gd name="T3" fmla="*/ 38 h 97"/>
                  <a:gd name="T4" fmla="*/ 55 w 148"/>
                  <a:gd name="T5" fmla="*/ 82 h 97"/>
                  <a:gd name="T6" fmla="*/ 35 w 148"/>
                  <a:gd name="T7" fmla="*/ 79 h 97"/>
                  <a:gd name="T8" fmla="*/ 12 w 148"/>
                  <a:gd name="T9" fmla="*/ 67 h 97"/>
                  <a:gd name="T10" fmla="*/ 24 w 148"/>
                  <a:gd name="T11" fmla="*/ 81 h 97"/>
                  <a:gd name="T12" fmla="*/ 85 w 148"/>
                  <a:gd name="T13" fmla="*/ 97 h 97"/>
                  <a:gd name="T14" fmla="*/ 114 w 148"/>
                  <a:gd name="T15" fmla="*/ 89 h 97"/>
                  <a:gd name="T16" fmla="*/ 129 w 148"/>
                  <a:gd name="T17" fmla="*/ 73 h 97"/>
                  <a:gd name="T18" fmla="*/ 135 w 148"/>
                  <a:gd name="T19" fmla="*/ 32 h 97"/>
                  <a:gd name="T20" fmla="*/ 2 w 148"/>
                  <a:gd name="T21" fmla="*/ 20 h 97"/>
                  <a:gd name="T22" fmla="*/ 0 w 148"/>
                  <a:gd name="T23" fmla="*/ 32 h 97"/>
                  <a:gd name="T24" fmla="*/ 0 w 148"/>
                  <a:gd name="T25" fmla="*/ 34 h 97"/>
                  <a:gd name="T26" fmla="*/ 38 w 148"/>
                  <a:gd name="T27" fmla="*/ 69 h 97"/>
                  <a:gd name="T28" fmla="*/ 59 w 148"/>
                  <a:gd name="T29" fmla="*/ 72 h 97"/>
                  <a:gd name="T30" fmla="*/ 100 w 148"/>
                  <a:gd name="T31" fmla="*/ 62 h 97"/>
                  <a:gd name="T32" fmla="*/ 68 w 148"/>
                  <a:gd name="T33" fmla="*/ 69 h 97"/>
                  <a:gd name="T34" fmla="*/ 68 w 148"/>
                  <a:gd name="T35" fmla="*/ 69 h 97"/>
                  <a:gd name="T36" fmla="*/ 68 w 148"/>
                  <a:gd name="T37" fmla="*/ 69 h 97"/>
                  <a:gd name="T38" fmla="*/ 68 w 148"/>
                  <a:gd name="T39" fmla="*/ 69 h 97"/>
                  <a:gd name="T40" fmla="*/ 68 w 148"/>
                  <a:gd name="T41" fmla="*/ 69 h 97"/>
                  <a:gd name="T42" fmla="*/ 34 w 148"/>
                  <a:gd name="T43" fmla="*/ 61 h 97"/>
                  <a:gd name="T44" fmla="*/ 33 w 148"/>
                  <a:gd name="T45" fmla="*/ 61 h 97"/>
                  <a:gd name="T46" fmla="*/ 33 w 148"/>
                  <a:gd name="T47" fmla="*/ 61 h 97"/>
                  <a:gd name="T48" fmla="*/ 2 w 148"/>
                  <a:gd name="T49" fmla="*/ 20 h 97"/>
                  <a:gd name="T50" fmla="*/ 139 w 148"/>
                  <a:gd name="T51" fmla="*/ 0 h 97"/>
                  <a:gd name="T52" fmla="*/ 139 w 148"/>
                  <a:gd name="T53" fmla="*/ 0 h 97"/>
                  <a:gd name="T54" fmla="*/ 140 w 148"/>
                  <a:gd name="T55" fmla="*/ 12 h 97"/>
                  <a:gd name="T56" fmla="*/ 138 w 148"/>
                  <a:gd name="T57" fmla="*/ 24 h 97"/>
                  <a:gd name="T58" fmla="*/ 138 w 148"/>
                  <a:gd name="T59" fmla="*/ 25 h 97"/>
                  <a:gd name="T60" fmla="*/ 132 w 148"/>
                  <a:gd name="T61" fmla="*/ 76 h 97"/>
                  <a:gd name="T62" fmla="*/ 146 w 148"/>
                  <a:gd name="T63" fmla="*/ 50 h 97"/>
                  <a:gd name="T64" fmla="*/ 148 w 148"/>
                  <a:gd name="T65" fmla="*/ 31 h 97"/>
                  <a:gd name="T66" fmla="*/ 145 w 148"/>
                  <a:gd name="T67" fmla="*/ 13 h 97"/>
                  <a:gd name="T68" fmla="*/ 139 w 148"/>
                  <a:gd name="T69" fmla="*/ 0 h 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148" h="97">
                    <a:moveTo>
                      <a:pt x="135" y="32"/>
                    </a:moveTo>
                    <a:cubicBezTo>
                      <a:pt x="134" y="34"/>
                      <a:pt x="133" y="36"/>
                      <a:pt x="131" y="38"/>
                    </a:cubicBezTo>
                    <a:cubicBezTo>
                      <a:pt x="121" y="66"/>
                      <a:pt x="85" y="82"/>
                      <a:pt x="55" y="82"/>
                    </a:cubicBezTo>
                    <a:cubicBezTo>
                      <a:pt x="48" y="82"/>
                      <a:pt x="41" y="81"/>
                      <a:pt x="35" y="79"/>
                    </a:cubicBezTo>
                    <a:cubicBezTo>
                      <a:pt x="26" y="77"/>
                      <a:pt x="19" y="73"/>
                      <a:pt x="12" y="67"/>
                    </a:cubicBezTo>
                    <a:cubicBezTo>
                      <a:pt x="16" y="73"/>
                      <a:pt x="20" y="77"/>
                      <a:pt x="24" y="81"/>
                    </a:cubicBezTo>
                    <a:cubicBezTo>
                      <a:pt x="41" y="94"/>
                      <a:pt x="63" y="96"/>
                      <a:pt x="85" y="97"/>
                    </a:cubicBezTo>
                    <a:cubicBezTo>
                      <a:pt x="95" y="96"/>
                      <a:pt x="105" y="94"/>
                      <a:pt x="114" y="89"/>
                    </a:cubicBezTo>
                    <a:cubicBezTo>
                      <a:pt x="120" y="85"/>
                      <a:pt x="125" y="79"/>
                      <a:pt x="129" y="73"/>
                    </a:cubicBezTo>
                    <a:cubicBezTo>
                      <a:pt x="137" y="59"/>
                      <a:pt x="138" y="46"/>
                      <a:pt x="135" y="32"/>
                    </a:cubicBezTo>
                    <a:moveTo>
                      <a:pt x="2" y="20"/>
                    </a:moveTo>
                    <a:cubicBezTo>
                      <a:pt x="1" y="24"/>
                      <a:pt x="0" y="28"/>
                      <a:pt x="0" y="32"/>
                    </a:cubicBezTo>
                    <a:cubicBezTo>
                      <a:pt x="0" y="33"/>
                      <a:pt x="0" y="33"/>
                      <a:pt x="0" y="34"/>
                    </a:cubicBezTo>
                    <a:cubicBezTo>
                      <a:pt x="6" y="51"/>
                      <a:pt x="20" y="64"/>
                      <a:pt x="38" y="69"/>
                    </a:cubicBezTo>
                    <a:cubicBezTo>
                      <a:pt x="45" y="71"/>
                      <a:pt x="52" y="72"/>
                      <a:pt x="59" y="72"/>
                    </a:cubicBezTo>
                    <a:cubicBezTo>
                      <a:pt x="73" y="72"/>
                      <a:pt x="87" y="69"/>
                      <a:pt x="100" y="62"/>
                    </a:cubicBezTo>
                    <a:cubicBezTo>
                      <a:pt x="89" y="67"/>
                      <a:pt x="79" y="69"/>
                      <a:pt x="68" y="69"/>
                    </a:cubicBezTo>
                    <a:cubicBezTo>
                      <a:pt x="68" y="69"/>
                      <a:pt x="68" y="69"/>
                      <a:pt x="68" y="69"/>
                    </a:cubicBezTo>
                    <a:cubicBezTo>
                      <a:pt x="68" y="69"/>
                      <a:pt x="68" y="69"/>
                      <a:pt x="68" y="69"/>
                    </a:cubicBezTo>
                    <a:cubicBezTo>
                      <a:pt x="68" y="69"/>
                      <a:pt x="68" y="69"/>
                      <a:pt x="68" y="69"/>
                    </a:cubicBezTo>
                    <a:cubicBezTo>
                      <a:pt x="68" y="69"/>
                      <a:pt x="68" y="69"/>
                      <a:pt x="68" y="69"/>
                    </a:cubicBezTo>
                    <a:cubicBezTo>
                      <a:pt x="57" y="69"/>
                      <a:pt x="45" y="66"/>
                      <a:pt x="34" y="61"/>
                    </a:cubicBezTo>
                    <a:cubicBezTo>
                      <a:pt x="33" y="61"/>
                      <a:pt x="33" y="61"/>
                      <a:pt x="33" y="61"/>
                    </a:cubicBezTo>
                    <a:cubicBezTo>
                      <a:pt x="33" y="61"/>
                      <a:pt x="33" y="61"/>
                      <a:pt x="33" y="61"/>
                    </a:cubicBezTo>
                    <a:cubicBezTo>
                      <a:pt x="17" y="54"/>
                      <a:pt x="6" y="38"/>
                      <a:pt x="2" y="20"/>
                    </a:cubicBezTo>
                    <a:moveTo>
                      <a:pt x="139" y="0"/>
                    </a:moveTo>
                    <a:cubicBezTo>
                      <a:pt x="139" y="0"/>
                      <a:pt x="139" y="0"/>
                      <a:pt x="139" y="0"/>
                    </a:cubicBezTo>
                    <a:cubicBezTo>
                      <a:pt x="139" y="4"/>
                      <a:pt x="140" y="8"/>
                      <a:pt x="140" y="12"/>
                    </a:cubicBezTo>
                    <a:cubicBezTo>
                      <a:pt x="140" y="16"/>
                      <a:pt x="139" y="20"/>
                      <a:pt x="138" y="24"/>
                    </a:cubicBezTo>
                    <a:cubicBezTo>
                      <a:pt x="138" y="24"/>
                      <a:pt x="138" y="25"/>
                      <a:pt x="138" y="25"/>
                    </a:cubicBezTo>
                    <a:cubicBezTo>
                      <a:pt x="143" y="43"/>
                      <a:pt x="141" y="61"/>
                      <a:pt x="132" y="76"/>
                    </a:cubicBezTo>
                    <a:cubicBezTo>
                      <a:pt x="139" y="69"/>
                      <a:pt x="144" y="60"/>
                      <a:pt x="146" y="50"/>
                    </a:cubicBezTo>
                    <a:cubicBezTo>
                      <a:pt x="147" y="44"/>
                      <a:pt x="148" y="38"/>
                      <a:pt x="148" y="31"/>
                    </a:cubicBezTo>
                    <a:cubicBezTo>
                      <a:pt x="148" y="25"/>
                      <a:pt x="147" y="19"/>
                      <a:pt x="145" y="13"/>
                    </a:cubicBezTo>
                    <a:cubicBezTo>
                      <a:pt x="144" y="8"/>
                      <a:pt x="140" y="5"/>
                      <a:pt x="139" y="0"/>
                    </a:cubicBezTo>
                  </a:path>
                </a:pathLst>
              </a:custGeom>
              <a:solidFill>
                <a:srgbClr val="83C3E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17" name="Freeform 63">
                <a:extLst>
                  <a:ext uri="{FF2B5EF4-FFF2-40B4-BE49-F238E27FC236}">
                    <a16:creationId xmlns:a16="http://schemas.microsoft.com/office/drawing/2014/main" id="{5450F29D-90B2-4978-AE6F-984058BFC832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2234" y="1950"/>
                <a:ext cx="148" cy="136"/>
              </a:xfrm>
              <a:custGeom>
                <a:avLst/>
                <a:gdLst>
                  <a:gd name="T0" fmla="*/ 134 w 140"/>
                  <a:gd name="T1" fmla="*/ 84 h 129"/>
                  <a:gd name="T2" fmla="*/ 132 w 140"/>
                  <a:gd name="T3" fmla="*/ 94 h 129"/>
                  <a:gd name="T4" fmla="*/ 131 w 140"/>
                  <a:gd name="T5" fmla="*/ 98 h 129"/>
                  <a:gd name="T6" fmla="*/ 135 w 140"/>
                  <a:gd name="T7" fmla="*/ 92 h 129"/>
                  <a:gd name="T8" fmla="*/ 134 w 140"/>
                  <a:gd name="T9" fmla="*/ 84 h 129"/>
                  <a:gd name="T10" fmla="*/ 69 w 140"/>
                  <a:gd name="T11" fmla="*/ 14 h 129"/>
                  <a:gd name="T12" fmla="*/ 2 w 140"/>
                  <a:gd name="T13" fmla="*/ 44 h 129"/>
                  <a:gd name="T14" fmla="*/ 0 w 140"/>
                  <a:gd name="T15" fmla="*/ 63 h 129"/>
                  <a:gd name="T16" fmla="*/ 2 w 140"/>
                  <a:gd name="T17" fmla="*/ 80 h 129"/>
                  <a:gd name="T18" fmla="*/ 2 w 140"/>
                  <a:gd name="T19" fmla="*/ 80 h 129"/>
                  <a:gd name="T20" fmla="*/ 2 w 140"/>
                  <a:gd name="T21" fmla="*/ 80 h 129"/>
                  <a:gd name="T22" fmla="*/ 33 w 140"/>
                  <a:gd name="T23" fmla="*/ 121 h 129"/>
                  <a:gd name="T24" fmla="*/ 33 w 140"/>
                  <a:gd name="T25" fmla="*/ 121 h 129"/>
                  <a:gd name="T26" fmla="*/ 34 w 140"/>
                  <a:gd name="T27" fmla="*/ 121 h 129"/>
                  <a:gd name="T28" fmla="*/ 68 w 140"/>
                  <a:gd name="T29" fmla="*/ 129 h 129"/>
                  <a:gd name="T30" fmla="*/ 68 w 140"/>
                  <a:gd name="T31" fmla="*/ 129 h 129"/>
                  <a:gd name="T32" fmla="*/ 68 w 140"/>
                  <a:gd name="T33" fmla="*/ 129 h 129"/>
                  <a:gd name="T34" fmla="*/ 68 w 140"/>
                  <a:gd name="T35" fmla="*/ 129 h 129"/>
                  <a:gd name="T36" fmla="*/ 100 w 140"/>
                  <a:gd name="T37" fmla="*/ 122 h 129"/>
                  <a:gd name="T38" fmla="*/ 128 w 140"/>
                  <a:gd name="T39" fmla="*/ 71 h 129"/>
                  <a:gd name="T40" fmla="*/ 97 w 140"/>
                  <a:gd name="T41" fmla="*/ 23 h 129"/>
                  <a:gd name="T42" fmla="*/ 74 w 140"/>
                  <a:gd name="T43" fmla="*/ 14 h 129"/>
                  <a:gd name="T44" fmla="*/ 69 w 140"/>
                  <a:gd name="T45" fmla="*/ 14 h 129"/>
                  <a:gd name="T46" fmla="*/ 71 w 140"/>
                  <a:gd name="T47" fmla="*/ 0 h 129"/>
                  <a:gd name="T48" fmla="*/ 43 w 140"/>
                  <a:gd name="T49" fmla="*/ 6 h 129"/>
                  <a:gd name="T50" fmla="*/ 39 w 140"/>
                  <a:gd name="T51" fmla="*/ 8 h 129"/>
                  <a:gd name="T52" fmla="*/ 60 w 140"/>
                  <a:gd name="T53" fmla="*/ 4 h 129"/>
                  <a:gd name="T54" fmla="*/ 85 w 140"/>
                  <a:gd name="T55" fmla="*/ 10 h 129"/>
                  <a:gd name="T56" fmla="*/ 83 w 140"/>
                  <a:gd name="T57" fmla="*/ 15 h 129"/>
                  <a:gd name="T58" fmla="*/ 83 w 140"/>
                  <a:gd name="T59" fmla="*/ 15 h 129"/>
                  <a:gd name="T60" fmla="*/ 82 w 140"/>
                  <a:gd name="T61" fmla="*/ 15 h 129"/>
                  <a:gd name="T62" fmla="*/ 122 w 140"/>
                  <a:gd name="T63" fmla="*/ 39 h 129"/>
                  <a:gd name="T64" fmla="*/ 134 w 140"/>
                  <a:gd name="T65" fmla="*/ 72 h 129"/>
                  <a:gd name="T66" fmla="*/ 138 w 140"/>
                  <a:gd name="T67" fmla="*/ 85 h 129"/>
                  <a:gd name="T68" fmla="*/ 138 w 140"/>
                  <a:gd name="T69" fmla="*/ 84 h 129"/>
                  <a:gd name="T70" fmla="*/ 140 w 140"/>
                  <a:gd name="T71" fmla="*/ 72 h 129"/>
                  <a:gd name="T72" fmla="*/ 139 w 140"/>
                  <a:gd name="T73" fmla="*/ 60 h 129"/>
                  <a:gd name="T74" fmla="*/ 139 w 140"/>
                  <a:gd name="T75" fmla="*/ 60 h 129"/>
                  <a:gd name="T76" fmla="*/ 134 w 140"/>
                  <a:gd name="T77" fmla="*/ 42 h 129"/>
                  <a:gd name="T78" fmla="*/ 101 w 140"/>
                  <a:gd name="T79" fmla="*/ 10 h 129"/>
                  <a:gd name="T80" fmla="*/ 74 w 140"/>
                  <a:gd name="T81" fmla="*/ 2 h 129"/>
                  <a:gd name="T82" fmla="*/ 74 w 140"/>
                  <a:gd name="T83" fmla="*/ 2 h 129"/>
                  <a:gd name="T84" fmla="*/ 74 w 140"/>
                  <a:gd name="T85" fmla="*/ 2 h 129"/>
                  <a:gd name="T86" fmla="*/ 75 w 140"/>
                  <a:gd name="T87" fmla="*/ 0 h 129"/>
                  <a:gd name="T88" fmla="*/ 71 w 140"/>
                  <a:gd name="T89" fmla="*/ 0 h 1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140" h="129">
                    <a:moveTo>
                      <a:pt x="134" y="84"/>
                    </a:moveTo>
                    <a:cubicBezTo>
                      <a:pt x="134" y="88"/>
                      <a:pt x="133" y="91"/>
                      <a:pt x="132" y="94"/>
                    </a:cubicBezTo>
                    <a:cubicBezTo>
                      <a:pt x="132" y="95"/>
                      <a:pt x="131" y="97"/>
                      <a:pt x="131" y="98"/>
                    </a:cubicBezTo>
                    <a:cubicBezTo>
                      <a:pt x="133" y="96"/>
                      <a:pt x="134" y="94"/>
                      <a:pt x="135" y="92"/>
                    </a:cubicBezTo>
                    <a:cubicBezTo>
                      <a:pt x="135" y="89"/>
                      <a:pt x="134" y="87"/>
                      <a:pt x="134" y="84"/>
                    </a:cubicBezTo>
                    <a:moveTo>
                      <a:pt x="69" y="14"/>
                    </a:moveTo>
                    <a:cubicBezTo>
                      <a:pt x="43" y="14"/>
                      <a:pt x="15" y="22"/>
                      <a:pt x="2" y="44"/>
                    </a:cubicBezTo>
                    <a:cubicBezTo>
                      <a:pt x="1" y="50"/>
                      <a:pt x="0" y="57"/>
                      <a:pt x="0" y="63"/>
                    </a:cubicBezTo>
                    <a:cubicBezTo>
                      <a:pt x="0" y="69"/>
                      <a:pt x="0" y="75"/>
                      <a:pt x="2" y="80"/>
                    </a:cubicBezTo>
                    <a:cubicBezTo>
                      <a:pt x="2" y="80"/>
                      <a:pt x="2" y="80"/>
                      <a:pt x="2" y="80"/>
                    </a:cubicBezTo>
                    <a:cubicBezTo>
                      <a:pt x="2" y="80"/>
                      <a:pt x="2" y="80"/>
                      <a:pt x="2" y="80"/>
                    </a:cubicBezTo>
                    <a:cubicBezTo>
                      <a:pt x="6" y="98"/>
                      <a:pt x="17" y="114"/>
                      <a:pt x="33" y="121"/>
                    </a:cubicBezTo>
                    <a:cubicBezTo>
                      <a:pt x="33" y="121"/>
                      <a:pt x="33" y="121"/>
                      <a:pt x="33" y="121"/>
                    </a:cubicBezTo>
                    <a:cubicBezTo>
                      <a:pt x="33" y="121"/>
                      <a:pt x="33" y="121"/>
                      <a:pt x="34" y="121"/>
                    </a:cubicBezTo>
                    <a:cubicBezTo>
                      <a:pt x="45" y="126"/>
                      <a:pt x="57" y="129"/>
                      <a:pt x="68" y="129"/>
                    </a:cubicBezTo>
                    <a:cubicBezTo>
                      <a:pt x="68" y="129"/>
                      <a:pt x="68" y="129"/>
                      <a:pt x="68" y="129"/>
                    </a:cubicBezTo>
                    <a:cubicBezTo>
                      <a:pt x="68" y="129"/>
                      <a:pt x="68" y="129"/>
                      <a:pt x="68" y="129"/>
                    </a:cubicBezTo>
                    <a:cubicBezTo>
                      <a:pt x="68" y="129"/>
                      <a:pt x="68" y="129"/>
                      <a:pt x="68" y="129"/>
                    </a:cubicBezTo>
                    <a:cubicBezTo>
                      <a:pt x="79" y="129"/>
                      <a:pt x="89" y="127"/>
                      <a:pt x="100" y="122"/>
                    </a:cubicBezTo>
                    <a:cubicBezTo>
                      <a:pt x="118" y="111"/>
                      <a:pt x="130" y="94"/>
                      <a:pt x="128" y="71"/>
                    </a:cubicBezTo>
                    <a:cubicBezTo>
                      <a:pt x="126" y="50"/>
                      <a:pt x="116" y="33"/>
                      <a:pt x="97" y="23"/>
                    </a:cubicBezTo>
                    <a:cubicBezTo>
                      <a:pt x="90" y="19"/>
                      <a:pt x="82" y="17"/>
                      <a:pt x="74" y="14"/>
                    </a:cubicBezTo>
                    <a:cubicBezTo>
                      <a:pt x="72" y="14"/>
                      <a:pt x="71" y="14"/>
                      <a:pt x="69" y="14"/>
                    </a:cubicBezTo>
                    <a:moveTo>
                      <a:pt x="71" y="0"/>
                    </a:moveTo>
                    <a:cubicBezTo>
                      <a:pt x="62" y="0"/>
                      <a:pt x="52" y="2"/>
                      <a:pt x="43" y="6"/>
                    </a:cubicBezTo>
                    <a:cubicBezTo>
                      <a:pt x="41" y="7"/>
                      <a:pt x="40" y="7"/>
                      <a:pt x="39" y="8"/>
                    </a:cubicBezTo>
                    <a:cubicBezTo>
                      <a:pt x="46" y="6"/>
                      <a:pt x="53" y="4"/>
                      <a:pt x="60" y="4"/>
                    </a:cubicBezTo>
                    <a:cubicBezTo>
                      <a:pt x="69" y="4"/>
                      <a:pt x="77" y="6"/>
                      <a:pt x="85" y="10"/>
                    </a:cubicBezTo>
                    <a:cubicBezTo>
                      <a:pt x="87" y="11"/>
                      <a:pt x="86" y="15"/>
                      <a:pt x="83" y="15"/>
                    </a:cubicBezTo>
                    <a:cubicBezTo>
                      <a:pt x="83" y="15"/>
                      <a:pt x="83" y="15"/>
                      <a:pt x="83" y="15"/>
                    </a:cubicBezTo>
                    <a:cubicBezTo>
                      <a:pt x="83" y="15"/>
                      <a:pt x="82" y="15"/>
                      <a:pt x="82" y="15"/>
                    </a:cubicBezTo>
                    <a:cubicBezTo>
                      <a:pt x="97" y="19"/>
                      <a:pt x="111" y="24"/>
                      <a:pt x="122" y="39"/>
                    </a:cubicBezTo>
                    <a:cubicBezTo>
                      <a:pt x="128" y="48"/>
                      <a:pt x="132" y="60"/>
                      <a:pt x="134" y="72"/>
                    </a:cubicBezTo>
                    <a:cubicBezTo>
                      <a:pt x="136" y="76"/>
                      <a:pt x="137" y="81"/>
                      <a:pt x="138" y="85"/>
                    </a:cubicBezTo>
                    <a:cubicBezTo>
                      <a:pt x="138" y="85"/>
                      <a:pt x="138" y="84"/>
                      <a:pt x="138" y="84"/>
                    </a:cubicBezTo>
                    <a:cubicBezTo>
                      <a:pt x="139" y="80"/>
                      <a:pt x="140" y="76"/>
                      <a:pt x="140" y="72"/>
                    </a:cubicBezTo>
                    <a:cubicBezTo>
                      <a:pt x="140" y="68"/>
                      <a:pt x="139" y="64"/>
                      <a:pt x="139" y="60"/>
                    </a:cubicBezTo>
                    <a:cubicBezTo>
                      <a:pt x="139" y="60"/>
                      <a:pt x="139" y="60"/>
                      <a:pt x="139" y="60"/>
                    </a:cubicBezTo>
                    <a:cubicBezTo>
                      <a:pt x="138" y="53"/>
                      <a:pt x="136" y="47"/>
                      <a:pt x="134" y="42"/>
                    </a:cubicBezTo>
                    <a:cubicBezTo>
                      <a:pt x="129" y="27"/>
                      <a:pt x="116" y="15"/>
                      <a:pt x="101" y="10"/>
                    </a:cubicBezTo>
                    <a:cubicBezTo>
                      <a:pt x="93" y="6"/>
                      <a:pt x="82" y="6"/>
                      <a:pt x="74" y="2"/>
                    </a:cubicBezTo>
                    <a:cubicBezTo>
                      <a:pt x="74" y="2"/>
                      <a:pt x="74" y="2"/>
                      <a:pt x="74" y="2"/>
                    </a:cubicBezTo>
                    <a:cubicBezTo>
                      <a:pt x="74" y="2"/>
                      <a:pt x="74" y="2"/>
                      <a:pt x="74" y="2"/>
                    </a:cubicBezTo>
                    <a:cubicBezTo>
                      <a:pt x="75" y="0"/>
                      <a:pt x="75" y="0"/>
                      <a:pt x="75" y="0"/>
                    </a:cubicBezTo>
                    <a:cubicBezTo>
                      <a:pt x="73" y="0"/>
                      <a:pt x="72" y="0"/>
                      <a:pt x="71" y="0"/>
                    </a:cubicBezTo>
                  </a:path>
                </a:pathLst>
              </a:custGeom>
              <a:solidFill>
                <a:srgbClr val="83C3E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18" name="Freeform 64">
                <a:extLst>
                  <a:ext uri="{FF2B5EF4-FFF2-40B4-BE49-F238E27FC236}">
                    <a16:creationId xmlns:a16="http://schemas.microsoft.com/office/drawing/2014/main" id="{792D3F3B-C2EA-4E08-A600-AD116877ACC5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2505" y="1894"/>
                <a:ext cx="436" cy="334"/>
              </a:xfrm>
              <a:custGeom>
                <a:avLst/>
                <a:gdLst>
                  <a:gd name="T0" fmla="*/ 48 w 412"/>
                  <a:gd name="T1" fmla="*/ 252 h 316"/>
                  <a:gd name="T2" fmla="*/ 140 w 412"/>
                  <a:gd name="T3" fmla="*/ 277 h 316"/>
                  <a:gd name="T4" fmla="*/ 45 w 412"/>
                  <a:gd name="T5" fmla="*/ 230 h 316"/>
                  <a:gd name="T6" fmla="*/ 47 w 412"/>
                  <a:gd name="T7" fmla="*/ 165 h 316"/>
                  <a:gd name="T8" fmla="*/ 290 w 412"/>
                  <a:gd name="T9" fmla="*/ 208 h 316"/>
                  <a:gd name="T10" fmla="*/ 296 w 412"/>
                  <a:gd name="T11" fmla="*/ 203 h 316"/>
                  <a:gd name="T12" fmla="*/ 210 w 412"/>
                  <a:gd name="T13" fmla="*/ 132 h 316"/>
                  <a:gd name="T14" fmla="*/ 200 w 412"/>
                  <a:gd name="T15" fmla="*/ 113 h 316"/>
                  <a:gd name="T16" fmla="*/ 208 w 412"/>
                  <a:gd name="T17" fmla="*/ 115 h 316"/>
                  <a:gd name="T18" fmla="*/ 209 w 412"/>
                  <a:gd name="T19" fmla="*/ 95 h 316"/>
                  <a:gd name="T20" fmla="*/ 214 w 412"/>
                  <a:gd name="T21" fmla="*/ 67 h 316"/>
                  <a:gd name="T22" fmla="*/ 131 w 412"/>
                  <a:gd name="T23" fmla="*/ 121 h 316"/>
                  <a:gd name="T24" fmla="*/ 190 w 412"/>
                  <a:gd name="T25" fmla="*/ 199 h 316"/>
                  <a:gd name="T26" fmla="*/ 178 w 412"/>
                  <a:gd name="T27" fmla="*/ 231 h 316"/>
                  <a:gd name="T28" fmla="*/ 50 w 412"/>
                  <a:gd name="T29" fmla="*/ 265 h 316"/>
                  <a:gd name="T30" fmla="*/ 64 w 412"/>
                  <a:gd name="T31" fmla="*/ 150 h 316"/>
                  <a:gd name="T32" fmla="*/ 264 w 412"/>
                  <a:gd name="T33" fmla="*/ 37 h 316"/>
                  <a:gd name="T34" fmla="*/ 340 w 412"/>
                  <a:gd name="T35" fmla="*/ 54 h 316"/>
                  <a:gd name="T36" fmla="*/ 337 w 412"/>
                  <a:gd name="T37" fmla="*/ 59 h 316"/>
                  <a:gd name="T38" fmla="*/ 356 w 412"/>
                  <a:gd name="T39" fmla="*/ 83 h 316"/>
                  <a:gd name="T40" fmla="*/ 354 w 412"/>
                  <a:gd name="T41" fmla="*/ 90 h 316"/>
                  <a:gd name="T42" fmla="*/ 375 w 412"/>
                  <a:gd name="T43" fmla="*/ 98 h 316"/>
                  <a:gd name="T44" fmla="*/ 375 w 412"/>
                  <a:gd name="T45" fmla="*/ 107 h 316"/>
                  <a:gd name="T46" fmla="*/ 373 w 412"/>
                  <a:gd name="T47" fmla="*/ 127 h 316"/>
                  <a:gd name="T48" fmla="*/ 370 w 412"/>
                  <a:gd name="T49" fmla="*/ 142 h 316"/>
                  <a:gd name="T50" fmla="*/ 367 w 412"/>
                  <a:gd name="T51" fmla="*/ 154 h 316"/>
                  <a:gd name="T52" fmla="*/ 327 w 412"/>
                  <a:gd name="T53" fmla="*/ 206 h 316"/>
                  <a:gd name="T54" fmla="*/ 197 w 412"/>
                  <a:gd name="T55" fmla="*/ 104 h 316"/>
                  <a:gd name="T56" fmla="*/ 193 w 412"/>
                  <a:gd name="T57" fmla="*/ 96 h 316"/>
                  <a:gd name="T58" fmla="*/ 222 w 412"/>
                  <a:gd name="T59" fmla="*/ 55 h 316"/>
                  <a:gd name="T60" fmla="*/ 225 w 412"/>
                  <a:gd name="T61" fmla="*/ 52 h 316"/>
                  <a:gd name="T62" fmla="*/ 236 w 412"/>
                  <a:gd name="T63" fmla="*/ 47 h 316"/>
                  <a:gd name="T64" fmla="*/ 254 w 412"/>
                  <a:gd name="T65" fmla="*/ 42 h 316"/>
                  <a:gd name="T66" fmla="*/ 264 w 412"/>
                  <a:gd name="T67" fmla="*/ 37 h 316"/>
                  <a:gd name="T68" fmla="*/ 248 w 412"/>
                  <a:gd name="T69" fmla="*/ 12 h 316"/>
                  <a:gd name="T70" fmla="*/ 36 w 412"/>
                  <a:gd name="T71" fmla="*/ 140 h 316"/>
                  <a:gd name="T72" fmla="*/ 2 w 412"/>
                  <a:gd name="T73" fmla="*/ 247 h 316"/>
                  <a:gd name="T74" fmla="*/ 86 w 412"/>
                  <a:gd name="T75" fmla="*/ 314 h 316"/>
                  <a:gd name="T76" fmla="*/ 111 w 412"/>
                  <a:gd name="T77" fmla="*/ 316 h 316"/>
                  <a:gd name="T78" fmla="*/ 195 w 412"/>
                  <a:gd name="T79" fmla="*/ 303 h 316"/>
                  <a:gd name="T80" fmla="*/ 397 w 412"/>
                  <a:gd name="T81" fmla="*/ 135 h 316"/>
                  <a:gd name="T82" fmla="*/ 258 w 412"/>
                  <a:gd name="T83" fmla="*/ 0 h 316"/>
                  <a:gd name="T84" fmla="*/ 406 w 412"/>
                  <a:gd name="T85" fmla="*/ 165 h 316"/>
                  <a:gd name="T86" fmla="*/ 412 w 412"/>
                  <a:gd name="T87" fmla="*/ 149 h 316"/>
                  <a:gd name="T88" fmla="*/ 327 w 412"/>
                  <a:gd name="T89" fmla="*/ 20 h 3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412" h="316">
                    <a:moveTo>
                      <a:pt x="47" y="165"/>
                    </a:moveTo>
                    <a:cubicBezTo>
                      <a:pt x="39" y="172"/>
                      <a:pt x="36" y="184"/>
                      <a:pt x="34" y="194"/>
                    </a:cubicBezTo>
                    <a:cubicBezTo>
                      <a:pt x="29" y="216"/>
                      <a:pt x="36" y="234"/>
                      <a:pt x="48" y="252"/>
                    </a:cubicBezTo>
                    <a:cubicBezTo>
                      <a:pt x="62" y="272"/>
                      <a:pt x="87" y="286"/>
                      <a:pt x="112" y="286"/>
                    </a:cubicBezTo>
                    <a:cubicBezTo>
                      <a:pt x="112" y="286"/>
                      <a:pt x="113" y="286"/>
                      <a:pt x="113" y="286"/>
                    </a:cubicBezTo>
                    <a:cubicBezTo>
                      <a:pt x="123" y="286"/>
                      <a:pt x="133" y="282"/>
                      <a:pt x="140" y="277"/>
                    </a:cubicBezTo>
                    <a:cubicBezTo>
                      <a:pt x="134" y="279"/>
                      <a:pt x="127" y="281"/>
                      <a:pt x="119" y="281"/>
                    </a:cubicBezTo>
                    <a:cubicBezTo>
                      <a:pt x="105" y="281"/>
                      <a:pt x="90" y="276"/>
                      <a:pt x="79" y="268"/>
                    </a:cubicBezTo>
                    <a:cubicBezTo>
                      <a:pt x="63" y="261"/>
                      <a:pt x="53" y="245"/>
                      <a:pt x="45" y="230"/>
                    </a:cubicBezTo>
                    <a:cubicBezTo>
                      <a:pt x="40" y="221"/>
                      <a:pt x="37" y="212"/>
                      <a:pt x="37" y="203"/>
                    </a:cubicBezTo>
                    <a:cubicBezTo>
                      <a:pt x="37" y="198"/>
                      <a:pt x="38" y="194"/>
                      <a:pt x="39" y="189"/>
                    </a:cubicBezTo>
                    <a:cubicBezTo>
                      <a:pt x="40" y="182"/>
                      <a:pt x="43" y="173"/>
                      <a:pt x="47" y="165"/>
                    </a:cubicBezTo>
                    <a:moveTo>
                      <a:pt x="200" y="113"/>
                    </a:moveTo>
                    <a:cubicBezTo>
                      <a:pt x="202" y="150"/>
                      <a:pt x="221" y="184"/>
                      <a:pt x="255" y="200"/>
                    </a:cubicBezTo>
                    <a:cubicBezTo>
                      <a:pt x="266" y="205"/>
                      <a:pt x="278" y="208"/>
                      <a:pt x="290" y="208"/>
                    </a:cubicBezTo>
                    <a:cubicBezTo>
                      <a:pt x="300" y="208"/>
                      <a:pt x="310" y="206"/>
                      <a:pt x="319" y="203"/>
                    </a:cubicBezTo>
                    <a:cubicBezTo>
                      <a:pt x="324" y="201"/>
                      <a:pt x="329" y="198"/>
                      <a:pt x="333" y="195"/>
                    </a:cubicBezTo>
                    <a:cubicBezTo>
                      <a:pt x="321" y="201"/>
                      <a:pt x="309" y="203"/>
                      <a:pt x="296" y="203"/>
                    </a:cubicBezTo>
                    <a:cubicBezTo>
                      <a:pt x="291" y="203"/>
                      <a:pt x="286" y="203"/>
                      <a:pt x="281" y="202"/>
                    </a:cubicBezTo>
                    <a:cubicBezTo>
                      <a:pt x="256" y="196"/>
                      <a:pt x="235" y="181"/>
                      <a:pt x="222" y="158"/>
                    </a:cubicBezTo>
                    <a:cubicBezTo>
                      <a:pt x="217" y="149"/>
                      <a:pt x="213" y="141"/>
                      <a:pt x="210" y="132"/>
                    </a:cubicBezTo>
                    <a:cubicBezTo>
                      <a:pt x="209" y="132"/>
                      <a:pt x="208" y="131"/>
                      <a:pt x="208" y="130"/>
                    </a:cubicBezTo>
                    <a:cubicBezTo>
                      <a:pt x="206" y="124"/>
                      <a:pt x="203" y="120"/>
                      <a:pt x="201" y="114"/>
                    </a:cubicBezTo>
                    <a:cubicBezTo>
                      <a:pt x="201" y="114"/>
                      <a:pt x="200" y="114"/>
                      <a:pt x="200" y="113"/>
                    </a:cubicBezTo>
                    <a:moveTo>
                      <a:pt x="214" y="67"/>
                    </a:moveTo>
                    <a:cubicBezTo>
                      <a:pt x="207" y="76"/>
                      <a:pt x="200" y="89"/>
                      <a:pt x="201" y="98"/>
                    </a:cubicBezTo>
                    <a:cubicBezTo>
                      <a:pt x="201" y="104"/>
                      <a:pt x="204" y="109"/>
                      <a:pt x="208" y="115"/>
                    </a:cubicBezTo>
                    <a:cubicBezTo>
                      <a:pt x="207" y="111"/>
                      <a:pt x="207" y="107"/>
                      <a:pt x="207" y="103"/>
                    </a:cubicBezTo>
                    <a:cubicBezTo>
                      <a:pt x="207" y="101"/>
                      <a:pt x="207" y="98"/>
                      <a:pt x="207" y="95"/>
                    </a:cubicBezTo>
                    <a:cubicBezTo>
                      <a:pt x="209" y="95"/>
                      <a:pt x="209" y="95"/>
                      <a:pt x="209" y="95"/>
                    </a:cubicBezTo>
                    <a:cubicBezTo>
                      <a:pt x="208" y="92"/>
                      <a:pt x="207" y="89"/>
                      <a:pt x="204" y="88"/>
                    </a:cubicBezTo>
                    <a:cubicBezTo>
                      <a:pt x="204" y="88"/>
                      <a:pt x="204" y="88"/>
                      <a:pt x="204" y="88"/>
                    </a:cubicBezTo>
                    <a:cubicBezTo>
                      <a:pt x="207" y="81"/>
                      <a:pt x="210" y="74"/>
                      <a:pt x="214" y="67"/>
                    </a:cubicBezTo>
                    <a:moveTo>
                      <a:pt x="81" y="136"/>
                    </a:moveTo>
                    <a:cubicBezTo>
                      <a:pt x="92" y="127"/>
                      <a:pt x="107" y="124"/>
                      <a:pt x="122" y="121"/>
                    </a:cubicBezTo>
                    <a:cubicBezTo>
                      <a:pt x="131" y="121"/>
                      <a:pt x="131" y="121"/>
                      <a:pt x="131" y="121"/>
                    </a:cubicBezTo>
                    <a:cubicBezTo>
                      <a:pt x="141" y="125"/>
                      <a:pt x="150" y="127"/>
                      <a:pt x="159" y="134"/>
                    </a:cubicBezTo>
                    <a:cubicBezTo>
                      <a:pt x="175" y="143"/>
                      <a:pt x="185" y="166"/>
                      <a:pt x="188" y="184"/>
                    </a:cubicBezTo>
                    <a:cubicBezTo>
                      <a:pt x="189" y="189"/>
                      <a:pt x="190" y="194"/>
                      <a:pt x="190" y="199"/>
                    </a:cubicBezTo>
                    <a:cubicBezTo>
                      <a:pt x="190" y="208"/>
                      <a:pt x="187" y="217"/>
                      <a:pt x="181" y="224"/>
                    </a:cubicBezTo>
                    <a:cubicBezTo>
                      <a:pt x="181" y="225"/>
                      <a:pt x="181" y="225"/>
                      <a:pt x="180" y="226"/>
                    </a:cubicBezTo>
                    <a:cubicBezTo>
                      <a:pt x="180" y="227"/>
                      <a:pt x="179" y="229"/>
                      <a:pt x="178" y="231"/>
                    </a:cubicBezTo>
                    <a:cubicBezTo>
                      <a:pt x="176" y="240"/>
                      <a:pt x="171" y="250"/>
                      <a:pt x="165" y="258"/>
                    </a:cubicBezTo>
                    <a:cubicBezTo>
                      <a:pt x="153" y="280"/>
                      <a:pt x="130" y="291"/>
                      <a:pt x="107" y="291"/>
                    </a:cubicBezTo>
                    <a:cubicBezTo>
                      <a:pt x="86" y="291"/>
                      <a:pt x="65" y="283"/>
                      <a:pt x="50" y="265"/>
                    </a:cubicBezTo>
                    <a:cubicBezTo>
                      <a:pt x="31" y="244"/>
                      <a:pt x="21" y="218"/>
                      <a:pt x="29" y="191"/>
                    </a:cubicBezTo>
                    <a:cubicBezTo>
                      <a:pt x="33" y="179"/>
                      <a:pt x="40" y="163"/>
                      <a:pt x="52" y="158"/>
                    </a:cubicBezTo>
                    <a:cubicBezTo>
                      <a:pt x="55" y="154"/>
                      <a:pt x="59" y="151"/>
                      <a:pt x="64" y="150"/>
                    </a:cubicBezTo>
                    <a:cubicBezTo>
                      <a:pt x="68" y="144"/>
                      <a:pt x="74" y="140"/>
                      <a:pt x="81" y="136"/>
                    </a:cubicBezTo>
                    <a:moveTo>
                      <a:pt x="264" y="37"/>
                    </a:moveTo>
                    <a:cubicBezTo>
                      <a:pt x="264" y="37"/>
                      <a:pt x="264" y="37"/>
                      <a:pt x="264" y="37"/>
                    </a:cubicBezTo>
                    <a:cubicBezTo>
                      <a:pt x="269" y="35"/>
                      <a:pt x="273" y="34"/>
                      <a:pt x="277" y="34"/>
                    </a:cubicBezTo>
                    <a:cubicBezTo>
                      <a:pt x="279" y="34"/>
                      <a:pt x="282" y="34"/>
                      <a:pt x="284" y="35"/>
                    </a:cubicBezTo>
                    <a:cubicBezTo>
                      <a:pt x="303" y="39"/>
                      <a:pt x="322" y="43"/>
                      <a:pt x="340" y="54"/>
                    </a:cubicBezTo>
                    <a:cubicBezTo>
                      <a:pt x="340" y="54"/>
                      <a:pt x="340" y="54"/>
                      <a:pt x="340" y="54"/>
                    </a:cubicBezTo>
                    <a:cubicBezTo>
                      <a:pt x="340" y="56"/>
                      <a:pt x="339" y="58"/>
                      <a:pt x="337" y="59"/>
                    </a:cubicBezTo>
                    <a:cubicBezTo>
                      <a:pt x="337" y="59"/>
                      <a:pt x="337" y="59"/>
                      <a:pt x="337" y="59"/>
                    </a:cubicBezTo>
                    <a:cubicBezTo>
                      <a:pt x="339" y="60"/>
                      <a:pt x="339" y="60"/>
                      <a:pt x="339" y="60"/>
                    </a:cubicBezTo>
                    <a:cubicBezTo>
                      <a:pt x="344" y="65"/>
                      <a:pt x="353" y="76"/>
                      <a:pt x="356" y="83"/>
                    </a:cubicBezTo>
                    <a:cubicBezTo>
                      <a:pt x="356" y="83"/>
                      <a:pt x="356" y="83"/>
                      <a:pt x="356" y="83"/>
                    </a:cubicBezTo>
                    <a:cubicBezTo>
                      <a:pt x="356" y="83"/>
                      <a:pt x="355" y="85"/>
                      <a:pt x="355" y="88"/>
                    </a:cubicBezTo>
                    <a:cubicBezTo>
                      <a:pt x="354" y="90"/>
                      <a:pt x="354" y="90"/>
                      <a:pt x="354" y="90"/>
                    </a:cubicBezTo>
                    <a:cubicBezTo>
                      <a:pt x="354" y="90"/>
                      <a:pt x="354" y="90"/>
                      <a:pt x="354" y="90"/>
                    </a:cubicBezTo>
                    <a:cubicBezTo>
                      <a:pt x="357" y="90"/>
                      <a:pt x="360" y="91"/>
                      <a:pt x="363" y="92"/>
                    </a:cubicBezTo>
                    <a:cubicBezTo>
                      <a:pt x="365" y="92"/>
                      <a:pt x="371" y="93"/>
                      <a:pt x="373" y="94"/>
                    </a:cubicBezTo>
                    <a:cubicBezTo>
                      <a:pt x="375" y="95"/>
                      <a:pt x="375" y="97"/>
                      <a:pt x="375" y="98"/>
                    </a:cubicBezTo>
                    <a:cubicBezTo>
                      <a:pt x="375" y="100"/>
                      <a:pt x="374" y="103"/>
                      <a:pt x="374" y="105"/>
                    </a:cubicBezTo>
                    <a:cubicBezTo>
                      <a:pt x="374" y="106"/>
                      <a:pt x="375" y="107"/>
                      <a:pt x="375" y="107"/>
                    </a:cubicBezTo>
                    <a:cubicBezTo>
                      <a:pt x="375" y="107"/>
                      <a:pt x="375" y="107"/>
                      <a:pt x="375" y="107"/>
                    </a:cubicBezTo>
                    <a:cubicBezTo>
                      <a:pt x="374" y="113"/>
                      <a:pt x="373" y="118"/>
                      <a:pt x="373" y="123"/>
                    </a:cubicBezTo>
                    <a:cubicBezTo>
                      <a:pt x="373" y="124"/>
                      <a:pt x="373" y="126"/>
                      <a:pt x="373" y="127"/>
                    </a:cubicBezTo>
                    <a:cubicBezTo>
                      <a:pt x="373" y="127"/>
                      <a:pt x="373" y="127"/>
                      <a:pt x="373" y="127"/>
                    </a:cubicBezTo>
                    <a:cubicBezTo>
                      <a:pt x="372" y="131"/>
                      <a:pt x="373" y="136"/>
                      <a:pt x="370" y="142"/>
                    </a:cubicBezTo>
                    <a:cubicBezTo>
                      <a:pt x="370" y="142"/>
                      <a:pt x="370" y="142"/>
                      <a:pt x="370" y="142"/>
                    </a:cubicBezTo>
                    <a:cubicBezTo>
                      <a:pt x="370" y="142"/>
                      <a:pt x="370" y="142"/>
                      <a:pt x="370" y="142"/>
                    </a:cubicBezTo>
                    <a:cubicBezTo>
                      <a:pt x="369" y="142"/>
                      <a:pt x="369" y="142"/>
                      <a:pt x="369" y="142"/>
                    </a:cubicBezTo>
                    <a:cubicBezTo>
                      <a:pt x="369" y="141"/>
                      <a:pt x="368" y="141"/>
                      <a:pt x="368" y="141"/>
                    </a:cubicBezTo>
                    <a:cubicBezTo>
                      <a:pt x="367" y="146"/>
                      <a:pt x="368" y="149"/>
                      <a:pt x="367" y="154"/>
                    </a:cubicBezTo>
                    <a:cubicBezTo>
                      <a:pt x="367" y="163"/>
                      <a:pt x="363" y="170"/>
                      <a:pt x="358" y="176"/>
                    </a:cubicBezTo>
                    <a:cubicBezTo>
                      <a:pt x="358" y="176"/>
                      <a:pt x="358" y="176"/>
                      <a:pt x="358" y="176"/>
                    </a:cubicBezTo>
                    <a:cubicBezTo>
                      <a:pt x="353" y="190"/>
                      <a:pt x="340" y="200"/>
                      <a:pt x="327" y="206"/>
                    </a:cubicBezTo>
                    <a:cubicBezTo>
                      <a:pt x="315" y="212"/>
                      <a:pt x="300" y="216"/>
                      <a:pt x="285" y="216"/>
                    </a:cubicBezTo>
                    <a:cubicBezTo>
                      <a:pt x="281" y="216"/>
                      <a:pt x="276" y="216"/>
                      <a:pt x="272" y="215"/>
                    </a:cubicBezTo>
                    <a:cubicBezTo>
                      <a:pt x="219" y="206"/>
                      <a:pt x="196" y="152"/>
                      <a:pt x="197" y="104"/>
                    </a:cubicBezTo>
                    <a:cubicBezTo>
                      <a:pt x="197" y="103"/>
                      <a:pt x="197" y="103"/>
                      <a:pt x="198" y="103"/>
                    </a:cubicBezTo>
                    <a:cubicBezTo>
                      <a:pt x="197" y="101"/>
                      <a:pt x="196" y="100"/>
                      <a:pt x="195" y="100"/>
                    </a:cubicBezTo>
                    <a:cubicBezTo>
                      <a:pt x="193" y="99"/>
                      <a:pt x="192" y="98"/>
                      <a:pt x="193" y="96"/>
                    </a:cubicBezTo>
                    <a:cubicBezTo>
                      <a:pt x="197" y="80"/>
                      <a:pt x="207" y="64"/>
                      <a:pt x="222" y="55"/>
                    </a:cubicBezTo>
                    <a:cubicBezTo>
                      <a:pt x="222" y="55"/>
                      <a:pt x="222" y="55"/>
                      <a:pt x="222" y="55"/>
                    </a:cubicBezTo>
                    <a:cubicBezTo>
                      <a:pt x="222" y="55"/>
                      <a:pt x="222" y="55"/>
                      <a:pt x="222" y="55"/>
                    </a:cubicBezTo>
                    <a:cubicBezTo>
                      <a:pt x="222" y="55"/>
                      <a:pt x="223" y="55"/>
                      <a:pt x="223" y="55"/>
                    </a:cubicBezTo>
                    <a:cubicBezTo>
                      <a:pt x="223" y="53"/>
                      <a:pt x="223" y="52"/>
                      <a:pt x="225" y="52"/>
                    </a:cubicBezTo>
                    <a:cubicBezTo>
                      <a:pt x="225" y="52"/>
                      <a:pt x="225" y="52"/>
                      <a:pt x="225" y="52"/>
                    </a:cubicBezTo>
                    <a:cubicBezTo>
                      <a:pt x="225" y="52"/>
                      <a:pt x="225" y="52"/>
                      <a:pt x="225" y="52"/>
                    </a:cubicBezTo>
                    <a:cubicBezTo>
                      <a:pt x="227" y="50"/>
                      <a:pt x="229" y="49"/>
                      <a:pt x="231" y="47"/>
                    </a:cubicBezTo>
                    <a:cubicBezTo>
                      <a:pt x="236" y="47"/>
                      <a:pt x="236" y="47"/>
                      <a:pt x="236" y="47"/>
                    </a:cubicBezTo>
                    <a:cubicBezTo>
                      <a:pt x="237" y="48"/>
                      <a:pt x="238" y="48"/>
                      <a:pt x="239" y="49"/>
                    </a:cubicBezTo>
                    <a:cubicBezTo>
                      <a:pt x="242" y="48"/>
                      <a:pt x="242" y="48"/>
                      <a:pt x="242" y="48"/>
                    </a:cubicBezTo>
                    <a:cubicBezTo>
                      <a:pt x="247" y="46"/>
                      <a:pt x="252" y="43"/>
                      <a:pt x="254" y="42"/>
                    </a:cubicBezTo>
                    <a:cubicBezTo>
                      <a:pt x="257" y="41"/>
                      <a:pt x="261" y="39"/>
                      <a:pt x="265" y="39"/>
                    </a:cubicBezTo>
                    <a:cubicBezTo>
                      <a:pt x="265" y="39"/>
                      <a:pt x="265" y="39"/>
                      <a:pt x="265" y="39"/>
                    </a:cubicBezTo>
                    <a:cubicBezTo>
                      <a:pt x="264" y="37"/>
                      <a:pt x="264" y="37"/>
                      <a:pt x="264" y="37"/>
                    </a:cubicBezTo>
                    <a:moveTo>
                      <a:pt x="246" y="8"/>
                    </a:moveTo>
                    <a:cubicBezTo>
                      <a:pt x="211" y="13"/>
                      <a:pt x="178" y="24"/>
                      <a:pt x="148" y="41"/>
                    </a:cubicBezTo>
                    <a:cubicBezTo>
                      <a:pt x="179" y="26"/>
                      <a:pt x="213" y="16"/>
                      <a:pt x="248" y="12"/>
                    </a:cubicBezTo>
                    <a:cubicBezTo>
                      <a:pt x="249" y="12"/>
                      <a:pt x="249" y="12"/>
                      <a:pt x="249" y="12"/>
                    </a:cubicBezTo>
                    <a:cubicBezTo>
                      <a:pt x="253" y="12"/>
                      <a:pt x="254" y="19"/>
                      <a:pt x="249" y="19"/>
                    </a:cubicBezTo>
                    <a:cubicBezTo>
                      <a:pt x="167" y="29"/>
                      <a:pt x="88" y="75"/>
                      <a:pt x="36" y="140"/>
                    </a:cubicBezTo>
                    <a:cubicBezTo>
                      <a:pt x="26" y="153"/>
                      <a:pt x="16" y="166"/>
                      <a:pt x="9" y="180"/>
                    </a:cubicBezTo>
                    <a:cubicBezTo>
                      <a:pt x="3" y="195"/>
                      <a:pt x="0" y="210"/>
                      <a:pt x="0" y="226"/>
                    </a:cubicBezTo>
                    <a:cubicBezTo>
                      <a:pt x="0" y="233"/>
                      <a:pt x="0" y="240"/>
                      <a:pt x="2" y="247"/>
                    </a:cubicBezTo>
                    <a:cubicBezTo>
                      <a:pt x="11" y="285"/>
                      <a:pt x="46" y="308"/>
                      <a:pt x="85" y="314"/>
                    </a:cubicBezTo>
                    <a:cubicBezTo>
                      <a:pt x="85" y="314"/>
                      <a:pt x="85" y="314"/>
                      <a:pt x="85" y="314"/>
                    </a:cubicBezTo>
                    <a:cubicBezTo>
                      <a:pt x="85" y="314"/>
                      <a:pt x="85" y="314"/>
                      <a:pt x="86" y="314"/>
                    </a:cubicBezTo>
                    <a:cubicBezTo>
                      <a:pt x="94" y="315"/>
                      <a:pt x="103" y="316"/>
                      <a:pt x="111" y="316"/>
                    </a:cubicBezTo>
                    <a:cubicBezTo>
                      <a:pt x="111" y="316"/>
                      <a:pt x="111" y="316"/>
                      <a:pt x="111" y="316"/>
                    </a:cubicBezTo>
                    <a:cubicBezTo>
                      <a:pt x="111" y="316"/>
                      <a:pt x="111" y="316"/>
                      <a:pt x="111" y="316"/>
                    </a:cubicBezTo>
                    <a:cubicBezTo>
                      <a:pt x="138" y="316"/>
                      <a:pt x="165" y="310"/>
                      <a:pt x="192" y="303"/>
                    </a:cubicBezTo>
                    <a:cubicBezTo>
                      <a:pt x="192" y="303"/>
                      <a:pt x="192" y="303"/>
                      <a:pt x="192" y="303"/>
                    </a:cubicBezTo>
                    <a:cubicBezTo>
                      <a:pt x="193" y="303"/>
                      <a:pt x="194" y="303"/>
                      <a:pt x="195" y="303"/>
                    </a:cubicBezTo>
                    <a:cubicBezTo>
                      <a:pt x="195" y="303"/>
                      <a:pt x="195" y="303"/>
                      <a:pt x="195" y="303"/>
                    </a:cubicBezTo>
                    <a:cubicBezTo>
                      <a:pt x="234" y="296"/>
                      <a:pt x="273" y="287"/>
                      <a:pt x="311" y="271"/>
                    </a:cubicBezTo>
                    <a:cubicBezTo>
                      <a:pt x="365" y="246"/>
                      <a:pt x="411" y="201"/>
                      <a:pt x="397" y="135"/>
                    </a:cubicBezTo>
                    <a:cubicBezTo>
                      <a:pt x="382" y="64"/>
                      <a:pt x="314" y="17"/>
                      <a:pt x="246" y="9"/>
                    </a:cubicBezTo>
                    <a:cubicBezTo>
                      <a:pt x="246" y="9"/>
                      <a:pt x="246" y="9"/>
                      <a:pt x="246" y="8"/>
                    </a:cubicBezTo>
                    <a:moveTo>
                      <a:pt x="258" y="0"/>
                    </a:moveTo>
                    <a:cubicBezTo>
                      <a:pt x="257" y="7"/>
                      <a:pt x="257" y="7"/>
                      <a:pt x="257" y="7"/>
                    </a:cubicBezTo>
                    <a:cubicBezTo>
                      <a:pt x="255" y="7"/>
                      <a:pt x="252" y="7"/>
                      <a:pt x="249" y="8"/>
                    </a:cubicBezTo>
                    <a:cubicBezTo>
                      <a:pt x="328" y="12"/>
                      <a:pt x="411" y="81"/>
                      <a:pt x="406" y="165"/>
                    </a:cubicBezTo>
                    <a:cubicBezTo>
                      <a:pt x="405" y="179"/>
                      <a:pt x="402" y="193"/>
                      <a:pt x="396" y="205"/>
                    </a:cubicBezTo>
                    <a:cubicBezTo>
                      <a:pt x="398" y="202"/>
                      <a:pt x="400" y="198"/>
                      <a:pt x="402" y="195"/>
                    </a:cubicBezTo>
                    <a:cubicBezTo>
                      <a:pt x="408" y="180"/>
                      <a:pt x="412" y="164"/>
                      <a:pt x="412" y="149"/>
                    </a:cubicBezTo>
                    <a:cubicBezTo>
                      <a:pt x="412" y="145"/>
                      <a:pt x="411" y="141"/>
                      <a:pt x="411" y="138"/>
                    </a:cubicBezTo>
                    <a:cubicBezTo>
                      <a:pt x="394" y="97"/>
                      <a:pt x="370" y="59"/>
                      <a:pt x="339" y="27"/>
                    </a:cubicBezTo>
                    <a:cubicBezTo>
                      <a:pt x="335" y="25"/>
                      <a:pt x="331" y="22"/>
                      <a:pt x="327" y="20"/>
                    </a:cubicBezTo>
                    <a:cubicBezTo>
                      <a:pt x="307" y="9"/>
                      <a:pt x="283" y="2"/>
                      <a:pt x="258" y="0"/>
                    </a:cubicBezTo>
                  </a:path>
                </a:pathLst>
              </a:custGeom>
              <a:solidFill>
                <a:srgbClr val="6F686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19" name="Freeform 65">
                <a:extLst>
                  <a:ext uri="{FF2B5EF4-FFF2-40B4-BE49-F238E27FC236}">
                    <a16:creationId xmlns:a16="http://schemas.microsoft.com/office/drawing/2014/main" id="{26847299-10BB-45D4-9E41-2B5382C8303F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2015" y="1756"/>
                <a:ext cx="418" cy="394"/>
              </a:xfrm>
              <a:custGeom>
                <a:avLst/>
                <a:gdLst>
                  <a:gd name="T0" fmla="*/ 320 w 394"/>
                  <a:gd name="T1" fmla="*/ 332 h 372"/>
                  <a:gd name="T2" fmla="*/ 202 w 394"/>
                  <a:gd name="T3" fmla="*/ 291 h 372"/>
                  <a:gd name="T4" fmla="*/ 206 w 394"/>
                  <a:gd name="T5" fmla="*/ 275 h 372"/>
                  <a:gd name="T6" fmla="*/ 208 w 394"/>
                  <a:gd name="T7" fmla="*/ 227 h 372"/>
                  <a:gd name="T8" fmla="*/ 112 w 394"/>
                  <a:gd name="T9" fmla="*/ 222 h 372"/>
                  <a:gd name="T10" fmla="*/ 83 w 394"/>
                  <a:gd name="T11" fmla="*/ 188 h 372"/>
                  <a:gd name="T12" fmla="*/ 209 w 394"/>
                  <a:gd name="T13" fmla="*/ 159 h 372"/>
                  <a:gd name="T14" fmla="*/ 211 w 394"/>
                  <a:gd name="T15" fmla="*/ 166 h 372"/>
                  <a:gd name="T16" fmla="*/ 24 w 394"/>
                  <a:gd name="T17" fmla="*/ 93 h 372"/>
                  <a:gd name="T18" fmla="*/ 44 w 394"/>
                  <a:gd name="T19" fmla="*/ 134 h 372"/>
                  <a:gd name="T20" fmla="*/ 24 w 394"/>
                  <a:gd name="T21" fmla="*/ 93 h 372"/>
                  <a:gd name="T22" fmla="*/ 281 w 394"/>
                  <a:gd name="T23" fmla="*/ 183 h 372"/>
                  <a:gd name="T24" fmla="*/ 307 w 394"/>
                  <a:gd name="T25" fmla="*/ 193 h 372"/>
                  <a:gd name="T26" fmla="*/ 351 w 394"/>
                  <a:gd name="T27" fmla="*/ 256 h 372"/>
                  <a:gd name="T28" fmla="*/ 283 w 394"/>
                  <a:gd name="T29" fmla="*/ 351 h 372"/>
                  <a:gd name="T30" fmla="*/ 194 w 394"/>
                  <a:gd name="T31" fmla="*/ 238 h 372"/>
                  <a:gd name="T32" fmla="*/ 163 w 394"/>
                  <a:gd name="T33" fmla="*/ 22 h 372"/>
                  <a:gd name="T34" fmla="*/ 191 w 394"/>
                  <a:gd name="T35" fmla="*/ 40 h 372"/>
                  <a:gd name="T36" fmla="*/ 200 w 394"/>
                  <a:gd name="T37" fmla="*/ 66 h 372"/>
                  <a:gd name="T38" fmla="*/ 224 w 394"/>
                  <a:gd name="T39" fmla="*/ 97 h 372"/>
                  <a:gd name="T40" fmla="*/ 253 w 394"/>
                  <a:gd name="T41" fmla="*/ 119 h 372"/>
                  <a:gd name="T42" fmla="*/ 211 w 394"/>
                  <a:gd name="T43" fmla="*/ 173 h 372"/>
                  <a:gd name="T44" fmla="*/ 159 w 394"/>
                  <a:gd name="T45" fmla="*/ 198 h 372"/>
                  <a:gd name="T46" fmla="*/ 167 w 394"/>
                  <a:gd name="T47" fmla="*/ 187 h 372"/>
                  <a:gd name="T48" fmla="*/ 109 w 394"/>
                  <a:gd name="T49" fmla="*/ 229 h 372"/>
                  <a:gd name="T50" fmla="*/ 62 w 394"/>
                  <a:gd name="T51" fmla="*/ 173 h 372"/>
                  <a:gd name="T52" fmla="*/ 53 w 394"/>
                  <a:gd name="T53" fmla="*/ 184 h 372"/>
                  <a:gd name="T54" fmla="*/ 13 w 394"/>
                  <a:gd name="T55" fmla="*/ 96 h 372"/>
                  <a:gd name="T56" fmla="*/ 68 w 394"/>
                  <a:gd name="T57" fmla="*/ 73 h 372"/>
                  <a:gd name="T58" fmla="*/ 69 w 394"/>
                  <a:gd name="T59" fmla="*/ 69 h 372"/>
                  <a:gd name="T60" fmla="*/ 106 w 394"/>
                  <a:gd name="T61" fmla="*/ 41 h 372"/>
                  <a:gd name="T62" fmla="*/ 119 w 394"/>
                  <a:gd name="T63" fmla="*/ 41 h 372"/>
                  <a:gd name="T64" fmla="*/ 152 w 394"/>
                  <a:gd name="T65" fmla="*/ 12 h 372"/>
                  <a:gd name="T66" fmla="*/ 6 w 394"/>
                  <a:gd name="T67" fmla="*/ 86 h 372"/>
                  <a:gd name="T68" fmla="*/ 231 w 394"/>
                  <a:gd name="T69" fmla="*/ 353 h 372"/>
                  <a:gd name="T70" fmla="*/ 232 w 394"/>
                  <a:gd name="T71" fmla="*/ 354 h 372"/>
                  <a:gd name="T72" fmla="*/ 234 w 394"/>
                  <a:gd name="T73" fmla="*/ 355 h 372"/>
                  <a:gd name="T74" fmla="*/ 306 w 394"/>
                  <a:gd name="T75" fmla="*/ 372 h 372"/>
                  <a:gd name="T76" fmla="*/ 321 w 394"/>
                  <a:gd name="T77" fmla="*/ 371 h 372"/>
                  <a:gd name="T78" fmla="*/ 342 w 394"/>
                  <a:gd name="T79" fmla="*/ 181 h 372"/>
                  <a:gd name="T80" fmla="*/ 159 w 394"/>
                  <a:gd name="T81" fmla="*/ 0 h 372"/>
                  <a:gd name="T82" fmla="*/ 106 w 394"/>
                  <a:gd name="T83" fmla="*/ 12 h 372"/>
                  <a:gd name="T84" fmla="*/ 99 w 394"/>
                  <a:gd name="T85" fmla="*/ 11 h 372"/>
                  <a:gd name="T86" fmla="*/ 224 w 394"/>
                  <a:gd name="T87" fmla="*/ 29 h 372"/>
                  <a:gd name="T88" fmla="*/ 381 w 394"/>
                  <a:gd name="T89" fmla="*/ 332 h 372"/>
                  <a:gd name="T90" fmla="*/ 311 w 394"/>
                  <a:gd name="T91" fmla="*/ 94 h 372"/>
                  <a:gd name="T92" fmla="*/ 230 w 394"/>
                  <a:gd name="T93" fmla="*/ 24 h 372"/>
                  <a:gd name="T94" fmla="*/ 190 w 394"/>
                  <a:gd name="T95" fmla="*/ 4 h 3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394" h="372">
                    <a:moveTo>
                      <a:pt x="202" y="291"/>
                    </a:moveTo>
                    <a:cubicBezTo>
                      <a:pt x="206" y="326"/>
                      <a:pt x="243" y="346"/>
                      <a:pt x="278" y="346"/>
                    </a:cubicBezTo>
                    <a:cubicBezTo>
                      <a:pt x="281" y="346"/>
                      <a:pt x="284" y="346"/>
                      <a:pt x="287" y="345"/>
                    </a:cubicBezTo>
                    <a:cubicBezTo>
                      <a:pt x="299" y="344"/>
                      <a:pt x="311" y="339"/>
                      <a:pt x="320" y="332"/>
                    </a:cubicBezTo>
                    <a:cubicBezTo>
                      <a:pt x="311" y="337"/>
                      <a:pt x="301" y="339"/>
                      <a:pt x="291" y="340"/>
                    </a:cubicBezTo>
                    <a:cubicBezTo>
                      <a:pt x="269" y="339"/>
                      <a:pt x="247" y="337"/>
                      <a:pt x="230" y="324"/>
                    </a:cubicBezTo>
                    <a:cubicBezTo>
                      <a:pt x="226" y="320"/>
                      <a:pt x="222" y="316"/>
                      <a:pt x="218" y="310"/>
                    </a:cubicBezTo>
                    <a:cubicBezTo>
                      <a:pt x="211" y="305"/>
                      <a:pt x="206" y="299"/>
                      <a:pt x="202" y="291"/>
                    </a:cubicBezTo>
                    <a:moveTo>
                      <a:pt x="208" y="227"/>
                    </a:moveTo>
                    <a:cubicBezTo>
                      <a:pt x="206" y="233"/>
                      <a:pt x="204" y="238"/>
                      <a:pt x="203" y="245"/>
                    </a:cubicBezTo>
                    <a:cubicBezTo>
                      <a:pt x="201" y="256"/>
                      <a:pt x="202" y="267"/>
                      <a:pt x="206" y="277"/>
                    </a:cubicBezTo>
                    <a:cubicBezTo>
                      <a:pt x="206" y="276"/>
                      <a:pt x="206" y="276"/>
                      <a:pt x="206" y="275"/>
                    </a:cubicBezTo>
                    <a:cubicBezTo>
                      <a:pt x="206" y="271"/>
                      <a:pt x="207" y="267"/>
                      <a:pt x="208" y="263"/>
                    </a:cubicBezTo>
                    <a:cubicBezTo>
                      <a:pt x="208" y="263"/>
                      <a:pt x="208" y="263"/>
                      <a:pt x="208" y="263"/>
                    </a:cubicBezTo>
                    <a:cubicBezTo>
                      <a:pt x="206" y="258"/>
                      <a:pt x="206" y="252"/>
                      <a:pt x="206" y="246"/>
                    </a:cubicBezTo>
                    <a:cubicBezTo>
                      <a:pt x="206" y="240"/>
                      <a:pt x="207" y="233"/>
                      <a:pt x="208" y="227"/>
                    </a:cubicBezTo>
                    <a:moveTo>
                      <a:pt x="82" y="177"/>
                    </a:moveTo>
                    <a:cubicBezTo>
                      <a:pt x="79" y="180"/>
                      <a:pt x="77" y="183"/>
                      <a:pt x="77" y="187"/>
                    </a:cubicBezTo>
                    <a:cubicBezTo>
                      <a:pt x="74" y="204"/>
                      <a:pt x="94" y="222"/>
                      <a:pt x="110" y="222"/>
                    </a:cubicBezTo>
                    <a:cubicBezTo>
                      <a:pt x="111" y="222"/>
                      <a:pt x="112" y="222"/>
                      <a:pt x="112" y="222"/>
                    </a:cubicBezTo>
                    <a:cubicBezTo>
                      <a:pt x="119" y="222"/>
                      <a:pt x="125" y="219"/>
                      <a:pt x="129" y="215"/>
                    </a:cubicBezTo>
                    <a:cubicBezTo>
                      <a:pt x="126" y="217"/>
                      <a:pt x="122" y="217"/>
                      <a:pt x="117" y="217"/>
                    </a:cubicBezTo>
                    <a:cubicBezTo>
                      <a:pt x="116" y="217"/>
                      <a:pt x="114" y="217"/>
                      <a:pt x="112" y="217"/>
                    </a:cubicBezTo>
                    <a:cubicBezTo>
                      <a:pt x="100" y="214"/>
                      <a:pt x="87" y="200"/>
                      <a:pt x="83" y="188"/>
                    </a:cubicBezTo>
                    <a:cubicBezTo>
                      <a:pt x="82" y="185"/>
                      <a:pt x="81" y="183"/>
                      <a:pt x="81" y="180"/>
                    </a:cubicBezTo>
                    <a:cubicBezTo>
                      <a:pt x="81" y="179"/>
                      <a:pt x="81" y="178"/>
                      <a:pt x="82" y="177"/>
                    </a:cubicBezTo>
                    <a:moveTo>
                      <a:pt x="209" y="159"/>
                    </a:moveTo>
                    <a:cubicBezTo>
                      <a:pt x="209" y="159"/>
                      <a:pt x="209" y="159"/>
                      <a:pt x="209" y="159"/>
                    </a:cubicBezTo>
                    <a:cubicBezTo>
                      <a:pt x="209" y="159"/>
                      <a:pt x="209" y="159"/>
                      <a:pt x="209" y="159"/>
                    </a:cubicBezTo>
                    <a:cubicBezTo>
                      <a:pt x="208" y="161"/>
                      <a:pt x="207" y="163"/>
                      <a:pt x="206" y="165"/>
                    </a:cubicBezTo>
                    <a:cubicBezTo>
                      <a:pt x="207" y="165"/>
                      <a:pt x="207" y="165"/>
                      <a:pt x="208" y="166"/>
                    </a:cubicBezTo>
                    <a:cubicBezTo>
                      <a:pt x="209" y="166"/>
                      <a:pt x="210" y="166"/>
                      <a:pt x="211" y="166"/>
                    </a:cubicBezTo>
                    <a:cubicBezTo>
                      <a:pt x="218" y="166"/>
                      <a:pt x="225" y="163"/>
                      <a:pt x="230" y="159"/>
                    </a:cubicBezTo>
                    <a:cubicBezTo>
                      <a:pt x="227" y="160"/>
                      <a:pt x="223" y="161"/>
                      <a:pt x="220" y="161"/>
                    </a:cubicBezTo>
                    <a:cubicBezTo>
                      <a:pt x="216" y="161"/>
                      <a:pt x="212" y="160"/>
                      <a:pt x="209" y="159"/>
                    </a:cubicBezTo>
                    <a:moveTo>
                      <a:pt x="24" y="93"/>
                    </a:moveTo>
                    <a:cubicBezTo>
                      <a:pt x="21" y="97"/>
                      <a:pt x="20" y="101"/>
                      <a:pt x="19" y="106"/>
                    </a:cubicBezTo>
                    <a:cubicBezTo>
                      <a:pt x="16" y="122"/>
                      <a:pt x="23" y="134"/>
                      <a:pt x="40" y="137"/>
                    </a:cubicBezTo>
                    <a:cubicBezTo>
                      <a:pt x="41" y="138"/>
                      <a:pt x="42" y="138"/>
                      <a:pt x="44" y="138"/>
                    </a:cubicBezTo>
                    <a:cubicBezTo>
                      <a:pt x="44" y="137"/>
                      <a:pt x="44" y="135"/>
                      <a:pt x="44" y="134"/>
                    </a:cubicBezTo>
                    <a:cubicBezTo>
                      <a:pt x="45" y="132"/>
                      <a:pt x="45" y="132"/>
                      <a:pt x="45" y="132"/>
                    </a:cubicBezTo>
                    <a:cubicBezTo>
                      <a:pt x="32" y="129"/>
                      <a:pt x="22" y="120"/>
                      <a:pt x="22" y="105"/>
                    </a:cubicBezTo>
                    <a:cubicBezTo>
                      <a:pt x="22" y="104"/>
                      <a:pt x="23" y="102"/>
                      <a:pt x="23" y="100"/>
                    </a:cubicBezTo>
                    <a:cubicBezTo>
                      <a:pt x="23" y="98"/>
                      <a:pt x="23" y="95"/>
                      <a:pt x="24" y="93"/>
                    </a:cubicBezTo>
                    <a:moveTo>
                      <a:pt x="245" y="191"/>
                    </a:moveTo>
                    <a:cubicBezTo>
                      <a:pt x="246" y="190"/>
                      <a:pt x="247" y="190"/>
                      <a:pt x="249" y="189"/>
                    </a:cubicBezTo>
                    <a:cubicBezTo>
                      <a:pt x="258" y="185"/>
                      <a:pt x="268" y="183"/>
                      <a:pt x="277" y="183"/>
                    </a:cubicBezTo>
                    <a:cubicBezTo>
                      <a:pt x="278" y="183"/>
                      <a:pt x="279" y="183"/>
                      <a:pt x="281" y="183"/>
                    </a:cubicBezTo>
                    <a:cubicBezTo>
                      <a:pt x="281" y="183"/>
                      <a:pt x="281" y="183"/>
                      <a:pt x="281" y="183"/>
                    </a:cubicBezTo>
                    <a:cubicBezTo>
                      <a:pt x="280" y="185"/>
                      <a:pt x="280" y="185"/>
                      <a:pt x="280" y="185"/>
                    </a:cubicBezTo>
                    <a:cubicBezTo>
                      <a:pt x="280" y="185"/>
                      <a:pt x="280" y="185"/>
                      <a:pt x="280" y="185"/>
                    </a:cubicBezTo>
                    <a:cubicBezTo>
                      <a:pt x="288" y="189"/>
                      <a:pt x="299" y="189"/>
                      <a:pt x="307" y="193"/>
                    </a:cubicBezTo>
                    <a:cubicBezTo>
                      <a:pt x="322" y="198"/>
                      <a:pt x="335" y="210"/>
                      <a:pt x="340" y="225"/>
                    </a:cubicBezTo>
                    <a:cubicBezTo>
                      <a:pt x="342" y="230"/>
                      <a:pt x="344" y="236"/>
                      <a:pt x="345" y="243"/>
                    </a:cubicBezTo>
                    <a:cubicBezTo>
                      <a:pt x="345" y="243"/>
                      <a:pt x="345" y="243"/>
                      <a:pt x="345" y="243"/>
                    </a:cubicBezTo>
                    <a:cubicBezTo>
                      <a:pt x="346" y="248"/>
                      <a:pt x="350" y="251"/>
                      <a:pt x="351" y="256"/>
                    </a:cubicBezTo>
                    <a:cubicBezTo>
                      <a:pt x="353" y="262"/>
                      <a:pt x="354" y="268"/>
                      <a:pt x="354" y="274"/>
                    </a:cubicBezTo>
                    <a:cubicBezTo>
                      <a:pt x="354" y="281"/>
                      <a:pt x="353" y="287"/>
                      <a:pt x="352" y="293"/>
                    </a:cubicBezTo>
                    <a:cubicBezTo>
                      <a:pt x="350" y="303"/>
                      <a:pt x="345" y="312"/>
                      <a:pt x="338" y="319"/>
                    </a:cubicBezTo>
                    <a:cubicBezTo>
                      <a:pt x="327" y="337"/>
                      <a:pt x="308" y="350"/>
                      <a:pt x="283" y="351"/>
                    </a:cubicBezTo>
                    <a:cubicBezTo>
                      <a:pt x="280" y="351"/>
                      <a:pt x="278" y="351"/>
                      <a:pt x="275" y="351"/>
                    </a:cubicBezTo>
                    <a:cubicBezTo>
                      <a:pt x="252" y="351"/>
                      <a:pt x="226" y="346"/>
                      <a:pt x="211" y="328"/>
                    </a:cubicBezTo>
                    <a:cubicBezTo>
                      <a:pt x="199" y="313"/>
                      <a:pt x="191" y="294"/>
                      <a:pt x="195" y="276"/>
                    </a:cubicBezTo>
                    <a:cubicBezTo>
                      <a:pt x="191" y="264"/>
                      <a:pt x="191" y="251"/>
                      <a:pt x="194" y="238"/>
                    </a:cubicBezTo>
                    <a:cubicBezTo>
                      <a:pt x="200" y="216"/>
                      <a:pt x="221" y="198"/>
                      <a:pt x="245" y="191"/>
                    </a:cubicBezTo>
                    <a:moveTo>
                      <a:pt x="159" y="24"/>
                    </a:moveTo>
                    <a:cubicBezTo>
                      <a:pt x="159" y="22"/>
                      <a:pt x="159" y="22"/>
                      <a:pt x="159" y="22"/>
                    </a:cubicBezTo>
                    <a:cubicBezTo>
                      <a:pt x="160" y="22"/>
                      <a:pt x="162" y="22"/>
                      <a:pt x="163" y="22"/>
                    </a:cubicBezTo>
                    <a:cubicBezTo>
                      <a:pt x="164" y="22"/>
                      <a:pt x="165" y="22"/>
                      <a:pt x="166" y="22"/>
                    </a:cubicBezTo>
                    <a:cubicBezTo>
                      <a:pt x="166" y="22"/>
                      <a:pt x="167" y="22"/>
                      <a:pt x="168" y="22"/>
                    </a:cubicBezTo>
                    <a:cubicBezTo>
                      <a:pt x="169" y="22"/>
                      <a:pt x="171" y="22"/>
                      <a:pt x="172" y="22"/>
                    </a:cubicBezTo>
                    <a:cubicBezTo>
                      <a:pt x="181" y="24"/>
                      <a:pt x="186" y="32"/>
                      <a:pt x="191" y="40"/>
                    </a:cubicBezTo>
                    <a:cubicBezTo>
                      <a:pt x="193" y="43"/>
                      <a:pt x="194" y="48"/>
                      <a:pt x="194" y="53"/>
                    </a:cubicBezTo>
                    <a:cubicBezTo>
                      <a:pt x="194" y="57"/>
                      <a:pt x="193" y="60"/>
                      <a:pt x="192" y="64"/>
                    </a:cubicBezTo>
                    <a:cubicBezTo>
                      <a:pt x="192" y="64"/>
                      <a:pt x="192" y="64"/>
                      <a:pt x="192" y="64"/>
                    </a:cubicBezTo>
                    <a:cubicBezTo>
                      <a:pt x="200" y="66"/>
                      <a:pt x="200" y="66"/>
                      <a:pt x="200" y="66"/>
                    </a:cubicBezTo>
                    <a:cubicBezTo>
                      <a:pt x="212" y="73"/>
                      <a:pt x="217" y="81"/>
                      <a:pt x="224" y="91"/>
                    </a:cubicBezTo>
                    <a:cubicBezTo>
                      <a:pt x="224" y="91"/>
                      <a:pt x="224" y="91"/>
                      <a:pt x="224" y="91"/>
                    </a:cubicBezTo>
                    <a:cubicBezTo>
                      <a:pt x="224" y="91"/>
                      <a:pt x="224" y="91"/>
                      <a:pt x="224" y="92"/>
                    </a:cubicBezTo>
                    <a:cubicBezTo>
                      <a:pt x="224" y="93"/>
                      <a:pt x="224" y="95"/>
                      <a:pt x="224" y="97"/>
                    </a:cubicBezTo>
                    <a:cubicBezTo>
                      <a:pt x="224" y="97"/>
                      <a:pt x="224" y="97"/>
                      <a:pt x="224" y="98"/>
                    </a:cubicBezTo>
                    <a:cubicBezTo>
                      <a:pt x="224" y="98"/>
                      <a:pt x="224" y="98"/>
                      <a:pt x="224" y="98"/>
                    </a:cubicBezTo>
                    <a:cubicBezTo>
                      <a:pt x="232" y="102"/>
                      <a:pt x="232" y="102"/>
                      <a:pt x="232" y="102"/>
                    </a:cubicBezTo>
                    <a:cubicBezTo>
                      <a:pt x="240" y="108"/>
                      <a:pt x="248" y="112"/>
                      <a:pt x="253" y="119"/>
                    </a:cubicBezTo>
                    <a:cubicBezTo>
                      <a:pt x="254" y="121"/>
                      <a:pt x="254" y="124"/>
                      <a:pt x="254" y="126"/>
                    </a:cubicBezTo>
                    <a:cubicBezTo>
                      <a:pt x="254" y="133"/>
                      <a:pt x="251" y="141"/>
                      <a:pt x="246" y="147"/>
                    </a:cubicBezTo>
                    <a:cubicBezTo>
                      <a:pt x="246" y="147"/>
                      <a:pt x="246" y="147"/>
                      <a:pt x="246" y="147"/>
                    </a:cubicBezTo>
                    <a:cubicBezTo>
                      <a:pt x="240" y="162"/>
                      <a:pt x="226" y="173"/>
                      <a:pt x="211" y="173"/>
                    </a:cubicBezTo>
                    <a:cubicBezTo>
                      <a:pt x="208" y="173"/>
                      <a:pt x="206" y="172"/>
                      <a:pt x="204" y="172"/>
                    </a:cubicBezTo>
                    <a:cubicBezTo>
                      <a:pt x="203" y="172"/>
                      <a:pt x="202" y="171"/>
                      <a:pt x="201" y="171"/>
                    </a:cubicBezTo>
                    <a:cubicBezTo>
                      <a:pt x="200" y="171"/>
                      <a:pt x="200" y="172"/>
                      <a:pt x="200" y="172"/>
                    </a:cubicBezTo>
                    <a:cubicBezTo>
                      <a:pt x="193" y="187"/>
                      <a:pt x="175" y="198"/>
                      <a:pt x="159" y="198"/>
                    </a:cubicBezTo>
                    <a:cubicBezTo>
                      <a:pt x="159" y="198"/>
                      <a:pt x="159" y="198"/>
                      <a:pt x="159" y="198"/>
                    </a:cubicBezTo>
                    <a:cubicBezTo>
                      <a:pt x="157" y="198"/>
                      <a:pt x="156" y="194"/>
                      <a:pt x="158" y="194"/>
                    </a:cubicBezTo>
                    <a:cubicBezTo>
                      <a:pt x="168" y="192"/>
                      <a:pt x="179" y="187"/>
                      <a:pt x="188" y="180"/>
                    </a:cubicBezTo>
                    <a:cubicBezTo>
                      <a:pt x="181" y="184"/>
                      <a:pt x="174" y="187"/>
                      <a:pt x="167" y="187"/>
                    </a:cubicBezTo>
                    <a:cubicBezTo>
                      <a:pt x="151" y="187"/>
                      <a:pt x="151" y="187"/>
                      <a:pt x="151" y="187"/>
                    </a:cubicBezTo>
                    <a:cubicBezTo>
                      <a:pt x="151" y="187"/>
                      <a:pt x="151" y="187"/>
                      <a:pt x="151" y="187"/>
                    </a:cubicBezTo>
                    <a:cubicBezTo>
                      <a:pt x="151" y="195"/>
                      <a:pt x="148" y="201"/>
                      <a:pt x="143" y="207"/>
                    </a:cubicBezTo>
                    <a:cubicBezTo>
                      <a:pt x="138" y="220"/>
                      <a:pt x="124" y="229"/>
                      <a:pt x="109" y="229"/>
                    </a:cubicBezTo>
                    <a:cubicBezTo>
                      <a:pt x="109" y="229"/>
                      <a:pt x="108" y="229"/>
                      <a:pt x="107" y="229"/>
                    </a:cubicBezTo>
                    <a:cubicBezTo>
                      <a:pt x="89" y="228"/>
                      <a:pt x="68" y="206"/>
                      <a:pt x="69" y="187"/>
                    </a:cubicBezTo>
                    <a:cubicBezTo>
                      <a:pt x="69" y="182"/>
                      <a:pt x="72" y="177"/>
                      <a:pt x="75" y="173"/>
                    </a:cubicBezTo>
                    <a:cubicBezTo>
                      <a:pt x="62" y="173"/>
                      <a:pt x="62" y="173"/>
                      <a:pt x="62" y="173"/>
                    </a:cubicBezTo>
                    <a:cubicBezTo>
                      <a:pt x="56" y="165"/>
                      <a:pt x="48" y="156"/>
                      <a:pt x="45" y="146"/>
                    </a:cubicBezTo>
                    <a:cubicBezTo>
                      <a:pt x="42" y="146"/>
                      <a:pt x="40" y="146"/>
                      <a:pt x="38" y="145"/>
                    </a:cubicBezTo>
                    <a:cubicBezTo>
                      <a:pt x="38" y="159"/>
                      <a:pt x="49" y="170"/>
                      <a:pt x="56" y="180"/>
                    </a:cubicBezTo>
                    <a:cubicBezTo>
                      <a:pt x="57" y="182"/>
                      <a:pt x="55" y="184"/>
                      <a:pt x="53" y="184"/>
                    </a:cubicBezTo>
                    <a:cubicBezTo>
                      <a:pt x="53" y="184"/>
                      <a:pt x="52" y="184"/>
                      <a:pt x="52" y="183"/>
                    </a:cubicBezTo>
                    <a:cubicBezTo>
                      <a:pt x="41" y="173"/>
                      <a:pt x="31" y="159"/>
                      <a:pt x="33" y="144"/>
                    </a:cubicBezTo>
                    <a:cubicBezTo>
                      <a:pt x="32" y="144"/>
                      <a:pt x="31" y="143"/>
                      <a:pt x="29" y="143"/>
                    </a:cubicBezTo>
                    <a:cubicBezTo>
                      <a:pt x="10" y="135"/>
                      <a:pt x="6" y="114"/>
                      <a:pt x="13" y="96"/>
                    </a:cubicBezTo>
                    <a:cubicBezTo>
                      <a:pt x="17" y="84"/>
                      <a:pt x="25" y="77"/>
                      <a:pt x="35" y="75"/>
                    </a:cubicBezTo>
                    <a:cubicBezTo>
                      <a:pt x="37" y="73"/>
                      <a:pt x="38" y="72"/>
                      <a:pt x="40" y="71"/>
                    </a:cubicBezTo>
                    <a:cubicBezTo>
                      <a:pt x="44" y="70"/>
                      <a:pt x="48" y="69"/>
                      <a:pt x="52" y="69"/>
                    </a:cubicBezTo>
                    <a:cubicBezTo>
                      <a:pt x="57" y="69"/>
                      <a:pt x="63" y="70"/>
                      <a:pt x="68" y="73"/>
                    </a:cubicBezTo>
                    <a:cubicBezTo>
                      <a:pt x="69" y="71"/>
                      <a:pt x="69" y="71"/>
                      <a:pt x="69" y="71"/>
                    </a:cubicBezTo>
                    <a:cubicBezTo>
                      <a:pt x="70" y="71"/>
                      <a:pt x="71" y="71"/>
                      <a:pt x="71" y="72"/>
                    </a:cubicBezTo>
                    <a:cubicBezTo>
                      <a:pt x="74" y="65"/>
                      <a:pt x="74" y="65"/>
                      <a:pt x="74" y="65"/>
                    </a:cubicBezTo>
                    <a:cubicBezTo>
                      <a:pt x="72" y="66"/>
                      <a:pt x="71" y="67"/>
                      <a:pt x="69" y="69"/>
                    </a:cubicBezTo>
                    <a:cubicBezTo>
                      <a:pt x="69" y="69"/>
                      <a:pt x="68" y="70"/>
                      <a:pt x="67" y="70"/>
                    </a:cubicBezTo>
                    <a:cubicBezTo>
                      <a:pt x="66" y="70"/>
                      <a:pt x="64" y="68"/>
                      <a:pt x="66" y="66"/>
                    </a:cubicBezTo>
                    <a:cubicBezTo>
                      <a:pt x="71" y="60"/>
                      <a:pt x="77" y="55"/>
                      <a:pt x="84" y="52"/>
                    </a:cubicBezTo>
                    <a:cubicBezTo>
                      <a:pt x="91" y="46"/>
                      <a:pt x="98" y="42"/>
                      <a:pt x="106" y="41"/>
                    </a:cubicBezTo>
                    <a:cubicBezTo>
                      <a:pt x="108" y="41"/>
                      <a:pt x="109" y="41"/>
                      <a:pt x="111" y="41"/>
                    </a:cubicBezTo>
                    <a:cubicBezTo>
                      <a:pt x="112" y="41"/>
                      <a:pt x="114" y="41"/>
                      <a:pt x="115" y="41"/>
                    </a:cubicBezTo>
                    <a:cubicBezTo>
                      <a:pt x="116" y="41"/>
                      <a:pt x="118" y="41"/>
                      <a:pt x="119" y="41"/>
                    </a:cubicBezTo>
                    <a:cubicBezTo>
                      <a:pt x="119" y="41"/>
                      <a:pt x="119" y="41"/>
                      <a:pt x="119" y="41"/>
                    </a:cubicBezTo>
                    <a:cubicBezTo>
                      <a:pt x="124" y="36"/>
                      <a:pt x="130" y="32"/>
                      <a:pt x="137" y="30"/>
                    </a:cubicBezTo>
                    <a:cubicBezTo>
                      <a:pt x="142" y="26"/>
                      <a:pt x="149" y="24"/>
                      <a:pt x="155" y="24"/>
                    </a:cubicBezTo>
                    <a:cubicBezTo>
                      <a:pt x="156" y="24"/>
                      <a:pt x="158" y="24"/>
                      <a:pt x="159" y="24"/>
                    </a:cubicBezTo>
                    <a:moveTo>
                      <a:pt x="152" y="12"/>
                    </a:moveTo>
                    <a:cubicBezTo>
                      <a:pt x="134" y="12"/>
                      <a:pt x="116" y="15"/>
                      <a:pt x="98" y="22"/>
                    </a:cubicBezTo>
                    <a:cubicBezTo>
                      <a:pt x="98" y="22"/>
                      <a:pt x="98" y="22"/>
                      <a:pt x="97" y="22"/>
                    </a:cubicBezTo>
                    <a:cubicBezTo>
                      <a:pt x="96" y="22"/>
                      <a:pt x="95" y="21"/>
                      <a:pt x="96" y="20"/>
                    </a:cubicBezTo>
                    <a:cubicBezTo>
                      <a:pt x="65" y="38"/>
                      <a:pt x="24" y="54"/>
                      <a:pt x="6" y="86"/>
                    </a:cubicBezTo>
                    <a:cubicBezTo>
                      <a:pt x="2" y="97"/>
                      <a:pt x="0" y="108"/>
                      <a:pt x="0" y="120"/>
                    </a:cubicBezTo>
                    <a:cubicBezTo>
                      <a:pt x="0" y="139"/>
                      <a:pt x="5" y="159"/>
                      <a:pt x="11" y="175"/>
                    </a:cubicBezTo>
                    <a:cubicBezTo>
                      <a:pt x="23" y="213"/>
                      <a:pt x="56" y="240"/>
                      <a:pt x="87" y="264"/>
                    </a:cubicBezTo>
                    <a:cubicBezTo>
                      <a:pt x="132" y="299"/>
                      <a:pt x="181" y="329"/>
                      <a:pt x="231" y="353"/>
                    </a:cubicBezTo>
                    <a:cubicBezTo>
                      <a:pt x="231" y="353"/>
                      <a:pt x="231" y="353"/>
                      <a:pt x="231" y="353"/>
                    </a:cubicBezTo>
                    <a:cubicBezTo>
                      <a:pt x="231" y="353"/>
                      <a:pt x="231" y="353"/>
                      <a:pt x="231" y="353"/>
                    </a:cubicBezTo>
                    <a:cubicBezTo>
                      <a:pt x="231" y="353"/>
                      <a:pt x="232" y="354"/>
                      <a:pt x="232" y="354"/>
                    </a:cubicBezTo>
                    <a:cubicBezTo>
                      <a:pt x="232" y="354"/>
                      <a:pt x="232" y="354"/>
                      <a:pt x="232" y="354"/>
                    </a:cubicBezTo>
                    <a:cubicBezTo>
                      <a:pt x="233" y="354"/>
                      <a:pt x="233" y="354"/>
                      <a:pt x="233" y="354"/>
                    </a:cubicBezTo>
                    <a:cubicBezTo>
                      <a:pt x="233" y="354"/>
                      <a:pt x="233" y="354"/>
                      <a:pt x="233" y="354"/>
                    </a:cubicBezTo>
                    <a:cubicBezTo>
                      <a:pt x="233" y="354"/>
                      <a:pt x="233" y="354"/>
                      <a:pt x="233" y="354"/>
                    </a:cubicBezTo>
                    <a:cubicBezTo>
                      <a:pt x="234" y="354"/>
                      <a:pt x="234" y="354"/>
                      <a:pt x="234" y="355"/>
                    </a:cubicBezTo>
                    <a:cubicBezTo>
                      <a:pt x="234" y="355"/>
                      <a:pt x="234" y="355"/>
                      <a:pt x="235" y="355"/>
                    </a:cubicBezTo>
                    <a:cubicBezTo>
                      <a:pt x="235" y="355"/>
                      <a:pt x="235" y="355"/>
                      <a:pt x="235" y="355"/>
                    </a:cubicBezTo>
                    <a:cubicBezTo>
                      <a:pt x="257" y="365"/>
                      <a:pt x="281" y="372"/>
                      <a:pt x="306" y="372"/>
                    </a:cubicBezTo>
                    <a:cubicBezTo>
                      <a:pt x="306" y="372"/>
                      <a:pt x="306" y="372"/>
                      <a:pt x="306" y="372"/>
                    </a:cubicBezTo>
                    <a:cubicBezTo>
                      <a:pt x="306" y="372"/>
                      <a:pt x="306" y="372"/>
                      <a:pt x="306" y="372"/>
                    </a:cubicBezTo>
                    <a:cubicBezTo>
                      <a:pt x="311" y="372"/>
                      <a:pt x="316" y="371"/>
                      <a:pt x="321" y="371"/>
                    </a:cubicBezTo>
                    <a:cubicBezTo>
                      <a:pt x="321" y="371"/>
                      <a:pt x="321" y="371"/>
                      <a:pt x="321" y="371"/>
                    </a:cubicBezTo>
                    <a:cubicBezTo>
                      <a:pt x="321" y="371"/>
                      <a:pt x="321" y="371"/>
                      <a:pt x="321" y="371"/>
                    </a:cubicBezTo>
                    <a:cubicBezTo>
                      <a:pt x="321" y="371"/>
                      <a:pt x="322" y="371"/>
                      <a:pt x="322" y="371"/>
                    </a:cubicBezTo>
                    <a:cubicBezTo>
                      <a:pt x="329" y="369"/>
                      <a:pt x="336" y="367"/>
                      <a:pt x="342" y="364"/>
                    </a:cubicBezTo>
                    <a:cubicBezTo>
                      <a:pt x="366" y="350"/>
                      <a:pt x="380" y="325"/>
                      <a:pt x="381" y="295"/>
                    </a:cubicBezTo>
                    <a:cubicBezTo>
                      <a:pt x="383" y="252"/>
                      <a:pt x="360" y="217"/>
                      <a:pt x="342" y="181"/>
                    </a:cubicBezTo>
                    <a:cubicBezTo>
                      <a:pt x="325" y="147"/>
                      <a:pt x="309" y="114"/>
                      <a:pt x="284" y="85"/>
                    </a:cubicBezTo>
                    <a:cubicBezTo>
                      <a:pt x="263" y="61"/>
                      <a:pt x="238" y="39"/>
                      <a:pt x="208" y="25"/>
                    </a:cubicBezTo>
                    <a:cubicBezTo>
                      <a:pt x="189" y="16"/>
                      <a:pt x="171" y="12"/>
                      <a:pt x="152" y="12"/>
                    </a:cubicBezTo>
                    <a:moveTo>
                      <a:pt x="159" y="0"/>
                    </a:moveTo>
                    <a:cubicBezTo>
                      <a:pt x="159" y="0"/>
                      <a:pt x="159" y="0"/>
                      <a:pt x="159" y="0"/>
                    </a:cubicBezTo>
                    <a:cubicBezTo>
                      <a:pt x="142" y="0"/>
                      <a:pt x="125" y="4"/>
                      <a:pt x="108" y="12"/>
                    </a:cubicBezTo>
                    <a:cubicBezTo>
                      <a:pt x="107" y="12"/>
                      <a:pt x="107" y="12"/>
                      <a:pt x="107" y="12"/>
                    </a:cubicBezTo>
                    <a:cubicBezTo>
                      <a:pt x="107" y="12"/>
                      <a:pt x="106" y="12"/>
                      <a:pt x="106" y="12"/>
                    </a:cubicBezTo>
                    <a:cubicBezTo>
                      <a:pt x="104" y="8"/>
                      <a:pt x="104" y="8"/>
                      <a:pt x="104" y="8"/>
                    </a:cubicBezTo>
                    <a:cubicBezTo>
                      <a:pt x="101" y="10"/>
                      <a:pt x="98" y="11"/>
                      <a:pt x="96" y="12"/>
                    </a:cubicBezTo>
                    <a:cubicBezTo>
                      <a:pt x="96" y="12"/>
                      <a:pt x="96" y="12"/>
                      <a:pt x="97" y="12"/>
                    </a:cubicBezTo>
                    <a:cubicBezTo>
                      <a:pt x="97" y="12"/>
                      <a:pt x="98" y="11"/>
                      <a:pt x="99" y="11"/>
                    </a:cubicBezTo>
                    <a:cubicBezTo>
                      <a:pt x="102" y="11"/>
                      <a:pt x="104" y="15"/>
                      <a:pt x="100" y="17"/>
                    </a:cubicBezTo>
                    <a:cubicBezTo>
                      <a:pt x="100" y="18"/>
                      <a:pt x="99" y="18"/>
                      <a:pt x="98" y="19"/>
                    </a:cubicBezTo>
                    <a:cubicBezTo>
                      <a:pt x="115" y="11"/>
                      <a:pt x="133" y="7"/>
                      <a:pt x="150" y="7"/>
                    </a:cubicBezTo>
                    <a:cubicBezTo>
                      <a:pt x="175" y="7"/>
                      <a:pt x="199" y="15"/>
                      <a:pt x="224" y="29"/>
                    </a:cubicBezTo>
                    <a:cubicBezTo>
                      <a:pt x="259" y="50"/>
                      <a:pt x="291" y="79"/>
                      <a:pt x="313" y="113"/>
                    </a:cubicBezTo>
                    <a:cubicBezTo>
                      <a:pt x="326" y="134"/>
                      <a:pt x="336" y="156"/>
                      <a:pt x="347" y="177"/>
                    </a:cubicBezTo>
                    <a:cubicBezTo>
                      <a:pt x="357" y="196"/>
                      <a:pt x="368" y="214"/>
                      <a:pt x="376" y="234"/>
                    </a:cubicBezTo>
                    <a:cubicBezTo>
                      <a:pt x="389" y="265"/>
                      <a:pt x="394" y="301"/>
                      <a:pt x="381" y="332"/>
                    </a:cubicBezTo>
                    <a:cubicBezTo>
                      <a:pt x="386" y="323"/>
                      <a:pt x="390" y="312"/>
                      <a:pt x="392" y="300"/>
                    </a:cubicBezTo>
                    <a:cubicBezTo>
                      <a:pt x="393" y="294"/>
                      <a:pt x="394" y="288"/>
                      <a:pt x="394" y="283"/>
                    </a:cubicBezTo>
                    <a:cubicBezTo>
                      <a:pt x="394" y="250"/>
                      <a:pt x="380" y="218"/>
                      <a:pt x="363" y="190"/>
                    </a:cubicBezTo>
                    <a:cubicBezTo>
                      <a:pt x="346" y="157"/>
                      <a:pt x="331" y="123"/>
                      <a:pt x="311" y="94"/>
                    </a:cubicBezTo>
                    <a:cubicBezTo>
                      <a:pt x="292" y="70"/>
                      <a:pt x="270" y="48"/>
                      <a:pt x="244" y="30"/>
                    </a:cubicBezTo>
                    <a:cubicBezTo>
                      <a:pt x="237" y="29"/>
                      <a:pt x="230" y="28"/>
                      <a:pt x="222" y="28"/>
                    </a:cubicBezTo>
                    <a:cubicBezTo>
                      <a:pt x="220" y="28"/>
                      <a:pt x="220" y="24"/>
                      <a:pt x="222" y="24"/>
                    </a:cubicBezTo>
                    <a:cubicBezTo>
                      <a:pt x="225" y="24"/>
                      <a:pt x="228" y="24"/>
                      <a:pt x="230" y="24"/>
                    </a:cubicBezTo>
                    <a:cubicBezTo>
                      <a:pt x="232" y="24"/>
                      <a:pt x="233" y="24"/>
                      <a:pt x="235" y="24"/>
                    </a:cubicBezTo>
                    <a:cubicBezTo>
                      <a:pt x="221" y="16"/>
                      <a:pt x="207" y="9"/>
                      <a:pt x="192" y="4"/>
                    </a:cubicBezTo>
                    <a:cubicBezTo>
                      <a:pt x="192" y="4"/>
                      <a:pt x="192" y="4"/>
                      <a:pt x="192" y="4"/>
                    </a:cubicBezTo>
                    <a:cubicBezTo>
                      <a:pt x="191" y="4"/>
                      <a:pt x="191" y="4"/>
                      <a:pt x="190" y="4"/>
                    </a:cubicBezTo>
                    <a:cubicBezTo>
                      <a:pt x="190" y="4"/>
                      <a:pt x="190" y="4"/>
                      <a:pt x="190" y="4"/>
                    </a:cubicBezTo>
                    <a:cubicBezTo>
                      <a:pt x="180" y="1"/>
                      <a:pt x="170" y="0"/>
                      <a:pt x="159" y="0"/>
                    </a:cubicBezTo>
                    <a:cubicBezTo>
                      <a:pt x="159" y="0"/>
                      <a:pt x="159" y="0"/>
                      <a:pt x="159" y="0"/>
                    </a:cubicBezTo>
                  </a:path>
                </a:pathLst>
              </a:custGeom>
              <a:solidFill>
                <a:srgbClr val="6F686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20" name="Freeform 66">
                <a:extLst>
                  <a:ext uri="{FF2B5EF4-FFF2-40B4-BE49-F238E27FC236}">
                    <a16:creationId xmlns:a16="http://schemas.microsoft.com/office/drawing/2014/main" id="{85CA3B40-1C82-4438-98B5-FF97EC80C63D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1995" y="2144"/>
                <a:ext cx="164" cy="288"/>
              </a:xfrm>
              <a:custGeom>
                <a:avLst/>
                <a:gdLst>
                  <a:gd name="T0" fmla="*/ 30 w 155"/>
                  <a:gd name="T1" fmla="*/ 210 h 272"/>
                  <a:gd name="T2" fmla="*/ 17 w 155"/>
                  <a:gd name="T3" fmla="*/ 237 h 272"/>
                  <a:gd name="T4" fmla="*/ 0 w 155"/>
                  <a:gd name="T5" fmla="*/ 272 h 272"/>
                  <a:gd name="T6" fmla="*/ 16 w 155"/>
                  <a:gd name="T7" fmla="*/ 239 h 272"/>
                  <a:gd name="T8" fmla="*/ 30 w 155"/>
                  <a:gd name="T9" fmla="*/ 210 h 272"/>
                  <a:gd name="T10" fmla="*/ 116 w 155"/>
                  <a:gd name="T11" fmla="*/ 63 h 272"/>
                  <a:gd name="T12" fmla="*/ 66 w 155"/>
                  <a:gd name="T13" fmla="*/ 150 h 272"/>
                  <a:gd name="T14" fmla="*/ 73 w 155"/>
                  <a:gd name="T15" fmla="*/ 141 h 272"/>
                  <a:gd name="T16" fmla="*/ 118 w 155"/>
                  <a:gd name="T17" fmla="*/ 67 h 272"/>
                  <a:gd name="T18" fmla="*/ 118 w 155"/>
                  <a:gd name="T19" fmla="*/ 65 h 272"/>
                  <a:gd name="T20" fmla="*/ 116 w 155"/>
                  <a:gd name="T21" fmla="*/ 63 h 272"/>
                  <a:gd name="T22" fmla="*/ 130 w 155"/>
                  <a:gd name="T23" fmla="*/ 43 h 272"/>
                  <a:gd name="T24" fmla="*/ 120 w 155"/>
                  <a:gd name="T25" fmla="*/ 57 h 272"/>
                  <a:gd name="T26" fmla="*/ 122 w 155"/>
                  <a:gd name="T27" fmla="*/ 58 h 272"/>
                  <a:gd name="T28" fmla="*/ 125 w 155"/>
                  <a:gd name="T29" fmla="*/ 51 h 272"/>
                  <a:gd name="T30" fmla="*/ 125 w 155"/>
                  <a:gd name="T31" fmla="*/ 51 h 272"/>
                  <a:gd name="T32" fmla="*/ 125 w 155"/>
                  <a:gd name="T33" fmla="*/ 51 h 272"/>
                  <a:gd name="T34" fmla="*/ 130 w 155"/>
                  <a:gd name="T35" fmla="*/ 43 h 272"/>
                  <a:gd name="T36" fmla="*/ 125 w 155"/>
                  <a:gd name="T37" fmla="*/ 15 h 272"/>
                  <a:gd name="T38" fmla="*/ 111 w 155"/>
                  <a:gd name="T39" fmla="*/ 41 h 272"/>
                  <a:gd name="T40" fmla="*/ 84 w 155"/>
                  <a:gd name="T41" fmla="*/ 91 h 272"/>
                  <a:gd name="T42" fmla="*/ 17 w 155"/>
                  <a:gd name="T43" fmla="*/ 222 h 272"/>
                  <a:gd name="T44" fmla="*/ 58 w 155"/>
                  <a:gd name="T45" fmla="*/ 154 h 272"/>
                  <a:gd name="T46" fmla="*/ 103 w 155"/>
                  <a:gd name="T47" fmla="*/ 81 h 272"/>
                  <a:gd name="T48" fmla="*/ 114 w 155"/>
                  <a:gd name="T49" fmla="*/ 62 h 272"/>
                  <a:gd name="T50" fmla="*/ 117 w 155"/>
                  <a:gd name="T51" fmla="*/ 55 h 272"/>
                  <a:gd name="T52" fmla="*/ 118 w 155"/>
                  <a:gd name="T53" fmla="*/ 55 h 272"/>
                  <a:gd name="T54" fmla="*/ 141 w 155"/>
                  <a:gd name="T55" fmla="*/ 25 h 272"/>
                  <a:gd name="T56" fmla="*/ 125 w 155"/>
                  <a:gd name="T57" fmla="*/ 15 h 272"/>
                  <a:gd name="T58" fmla="*/ 133 w 155"/>
                  <a:gd name="T59" fmla="*/ 0 h 272"/>
                  <a:gd name="T60" fmla="*/ 130 w 155"/>
                  <a:gd name="T61" fmla="*/ 6 h 272"/>
                  <a:gd name="T62" fmla="*/ 150 w 155"/>
                  <a:gd name="T63" fmla="*/ 18 h 272"/>
                  <a:gd name="T64" fmla="*/ 153 w 155"/>
                  <a:gd name="T65" fmla="*/ 15 h 272"/>
                  <a:gd name="T66" fmla="*/ 155 w 155"/>
                  <a:gd name="T67" fmla="*/ 12 h 272"/>
                  <a:gd name="T68" fmla="*/ 133 w 155"/>
                  <a:gd name="T69" fmla="*/ 0 h 2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155" h="272">
                    <a:moveTo>
                      <a:pt x="30" y="210"/>
                    </a:moveTo>
                    <a:cubicBezTo>
                      <a:pt x="26" y="219"/>
                      <a:pt x="21" y="228"/>
                      <a:pt x="17" y="237"/>
                    </a:cubicBezTo>
                    <a:cubicBezTo>
                      <a:pt x="11" y="248"/>
                      <a:pt x="6" y="261"/>
                      <a:pt x="0" y="272"/>
                    </a:cubicBezTo>
                    <a:cubicBezTo>
                      <a:pt x="6" y="261"/>
                      <a:pt x="11" y="250"/>
                      <a:pt x="16" y="239"/>
                    </a:cubicBezTo>
                    <a:cubicBezTo>
                      <a:pt x="21" y="230"/>
                      <a:pt x="26" y="220"/>
                      <a:pt x="30" y="210"/>
                    </a:cubicBezTo>
                    <a:moveTo>
                      <a:pt x="116" y="63"/>
                    </a:moveTo>
                    <a:cubicBezTo>
                      <a:pt x="98" y="91"/>
                      <a:pt x="84" y="122"/>
                      <a:pt x="66" y="150"/>
                    </a:cubicBezTo>
                    <a:cubicBezTo>
                      <a:pt x="68" y="147"/>
                      <a:pt x="71" y="144"/>
                      <a:pt x="73" y="141"/>
                    </a:cubicBezTo>
                    <a:cubicBezTo>
                      <a:pt x="87" y="115"/>
                      <a:pt x="101" y="92"/>
                      <a:pt x="118" y="67"/>
                    </a:cubicBezTo>
                    <a:cubicBezTo>
                      <a:pt x="118" y="66"/>
                      <a:pt x="118" y="66"/>
                      <a:pt x="118" y="65"/>
                    </a:cubicBezTo>
                    <a:cubicBezTo>
                      <a:pt x="118" y="64"/>
                      <a:pt x="117" y="64"/>
                      <a:pt x="116" y="63"/>
                    </a:cubicBezTo>
                    <a:moveTo>
                      <a:pt x="130" y="43"/>
                    </a:moveTo>
                    <a:cubicBezTo>
                      <a:pt x="126" y="48"/>
                      <a:pt x="123" y="52"/>
                      <a:pt x="120" y="57"/>
                    </a:cubicBezTo>
                    <a:cubicBezTo>
                      <a:pt x="121" y="57"/>
                      <a:pt x="121" y="57"/>
                      <a:pt x="122" y="58"/>
                    </a:cubicBezTo>
                    <a:cubicBezTo>
                      <a:pt x="123" y="55"/>
                      <a:pt x="124" y="53"/>
                      <a:pt x="125" y="51"/>
                    </a:cubicBezTo>
                    <a:cubicBezTo>
                      <a:pt x="125" y="51"/>
                      <a:pt x="125" y="51"/>
                      <a:pt x="125" y="51"/>
                    </a:cubicBezTo>
                    <a:cubicBezTo>
                      <a:pt x="125" y="51"/>
                      <a:pt x="125" y="51"/>
                      <a:pt x="125" y="51"/>
                    </a:cubicBezTo>
                    <a:cubicBezTo>
                      <a:pt x="127" y="48"/>
                      <a:pt x="128" y="46"/>
                      <a:pt x="130" y="43"/>
                    </a:cubicBezTo>
                    <a:moveTo>
                      <a:pt x="125" y="15"/>
                    </a:moveTo>
                    <a:cubicBezTo>
                      <a:pt x="120" y="24"/>
                      <a:pt x="116" y="32"/>
                      <a:pt x="111" y="41"/>
                    </a:cubicBezTo>
                    <a:cubicBezTo>
                      <a:pt x="102" y="58"/>
                      <a:pt x="93" y="74"/>
                      <a:pt x="84" y="91"/>
                    </a:cubicBezTo>
                    <a:cubicBezTo>
                      <a:pt x="60" y="134"/>
                      <a:pt x="38" y="178"/>
                      <a:pt x="17" y="222"/>
                    </a:cubicBezTo>
                    <a:cubicBezTo>
                      <a:pt x="29" y="198"/>
                      <a:pt x="43" y="176"/>
                      <a:pt x="58" y="154"/>
                    </a:cubicBezTo>
                    <a:cubicBezTo>
                      <a:pt x="74" y="130"/>
                      <a:pt x="88" y="105"/>
                      <a:pt x="103" y="81"/>
                    </a:cubicBezTo>
                    <a:cubicBezTo>
                      <a:pt x="107" y="75"/>
                      <a:pt x="111" y="68"/>
                      <a:pt x="114" y="62"/>
                    </a:cubicBezTo>
                    <a:cubicBezTo>
                      <a:pt x="111" y="60"/>
                      <a:pt x="114" y="55"/>
                      <a:pt x="117" y="55"/>
                    </a:cubicBezTo>
                    <a:cubicBezTo>
                      <a:pt x="117" y="55"/>
                      <a:pt x="117" y="55"/>
                      <a:pt x="118" y="55"/>
                    </a:cubicBezTo>
                    <a:cubicBezTo>
                      <a:pt x="124" y="44"/>
                      <a:pt x="131" y="33"/>
                      <a:pt x="141" y="25"/>
                    </a:cubicBezTo>
                    <a:cubicBezTo>
                      <a:pt x="135" y="22"/>
                      <a:pt x="130" y="19"/>
                      <a:pt x="125" y="15"/>
                    </a:cubicBezTo>
                    <a:moveTo>
                      <a:pt x="133" y="0"/>
                    </a:moveTo>
                    <a:cubicBezTo>
                      <a:pt x="132" y="2"/>
                      <a:pt x="131" y="4"/>
                      <a:pt x="130" y="6"/>
                    </a:cubicBezTo>
                    <a:cubicBezTo>
                      <a:pt x="136" y="10"/>
                      <a:pt x="143" y="14"/>
                      <a:pt x="150" y="18"/>
                    </a:cubicBezTo>
                    <a:cubicBezTo>
                      <a:pt x="151" y="17"/>
                      <a:pt x="152" y="16"/>
                      <a:pt x="153" y="15"/>
                    </a:cubicBezTo>
                    <a:cubicBezTo>
                      <a:pt x="155" y="12"/>
                      <a:pt x="155" y="12"/>
                      <a:pt x="155" y="12"/>
                    </a:cubicBezTo>
                    <a:cubicBezTo>
                      <a:pt x="147" y="8"/>
                      <a:pt x="140" y="4"/>
                      <a:pt x="133" y="0"/>
                    </a:cubicBezTo>
                  </a:path>
                </a:pathLst>
              </a:custGeom>
              <a:solidFill>
                <a:srgbClr val="EF827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21" name="Freeform 67">
                <a:extLst>
                  <a:ext uri="{FF2B5EF4-FFF2-40B4-BE49-F238E27FC236}">
                    <a16:creationId xmlns:a16="http://schemas.microsoft.com/office/drawing/2014/main" id="{D5CA61E5-BDE0-4945-A8C2-87BE669285DF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2136" y="2125"/>
                <a:ext cx="615" cy="174"/>
              </a:xfrm>
              <a:custGeom>
                <a:avLst/>
                <a:gdLst>
                  <a:gd name="T0" fmla="*/ 2 w 580"/>
                  <a:gd name="T1" fmla="*/ 14 h 165"/>
                  <a:gd name="T2" fmla="*/ 0 w 580"/>
                  <a:gd name="T3" fmla="*/ 18 h 165"/>
                  <a:gd name="T4" fmla="*/ 22 w 580"/>
                  <a:gd name="T5" fmla="*/ 30 h 165"/>
                  <a:gd name="T6" fmla="*/ 22 w 580"/>
                  <a:gd name="T7" fmla="*/ 30 h 165"/>
                  <a:gd name="T8" fmla="*/ 63 w 580"/>
                  <a:gd name="T9" fmla="*/ 51 h 165"/>
                  <a:gd name="T10" fmla="*/ 161 w 580"/>
                  <a:gd name="T11" fmla="*/ 96 h 165"/>
                  <a:gd name="T12" fmla="*/ 241 w 580"/>
                  <a:gd name="T13" fmla="*/ 125 h 165"/>
                  <a:gd name="T14" fmla="*/ 340 w 580"/>
                  <a:gd name="T15" fmla="*/ 146 h 165"/>
                  <a:gd name="T16" fmla="*/ 415 w 580"/>
                  <a:gd name="T17" fmla="*/ 156 h 165"/>
                  <a:gd name="T18" fmla="*/ 469 w 580"/>
                  <a:gd name="T19" fmla="*/ 163 h 165"/>
                  <a:gd name="T20" fmla="*/ 517 w 580"/>
                  <a:gd name="T21" fmla="*/ 165 h 165"/>
                  <a:gd name="T22" fmla="*/ 517 w 580"/>
                  <a:gd name="T23" fmla="*/ 165 h 165"/>
                  <a:gd name="T24" fmla="*/ 518 w 580"/>
                  <a:gd name="T25" fmla="*/ 165 h 165"/>
                  <a:gd name="T26" fmla="*/ 518 w 580"/>
                  <a:gd name="T27" fmla="*/ 165 h 165"/>
                  <a:gd name="T28" fmla="*/ 518 w 580"/>
                  <a:gd name="T29" fmla="*/ 165 h 165"/>
                  <a:gd name="T30" fmla="*/ 555 w 580"/>
                  <a:gd name="T31" fmla="*/ 159 h 165"/>
                  <a:gd name="T32" fmla="*/ 560 w 580"/>
                  <a:gd name="T33" fmla="*/ 156 h 165"/>
                  <a:gd name="T34" fmla="*/ 563 w 580"/>
                  <a:gd name="T35" fmla="*/ 156 h 165"/>
                  <a:gd name="T36" fmla="*/ 568 w 580"/>
                  <a:gd name="T37" fmla="*/ 154 h 165"/>
                  <a:gd name="T38" fmla="*/ 569 w 580"/>
                  <a:gd name="T39" fmla="*/ 154 h 165"/>
                  <a:gd name="T40" fmla="*/ 569 w 580"/>
                  <a:gd name="T41" fmla="*/ 154 h 165"/>
                  <a:gd name="T42" fmla="*/ 569 w 580"/>
                  <a:gd name="T43" fmla="*/ 154 h 165"/>
                  <a:gd name="T44" fmla="*/ 580 w 580"/>
                  <a:gd name="T45" fmla="*/ 150 h 165"/>
                  <a:gd name="T46" fmla="*/ 577 w 580"/>
                  <a:gd name="T47" fmla="*/ 138 h 165"/>
                  <a:gd name="T48" fmla="*/ 483 w 580"/>
                  <a:gd name="T49" fmla="*/ 150 h 165"/>
                  <a:gd name="T50" fmla="*/ 446 w 580"/>
                  <a:gd name="T51" fmla="*/ 148 h 165"/>
                  <a:gd name="T52" fmla="*/ 254 w 580"/>
                  <a:gd name="T53" fmla="*/ 110 h 165"/>
                  <a:gd name="T54" fmla="*/ 2 w 580"/>
                  <a:gd name="T55" fmla="*/ 14 h 165"/>
                  <a:gd name="T56" fmla="*/ 10 w 580"/>
                  <a:gd name="T57" fmla="*/ 0 h 165"/>
                  <a:gd name="T58" fmla="*/ 6 w 580"/>
                  <a:gd name="T59" fmla="*/ 7 h 165"/>
                  <a:gd name="T60" fmla="*/ 74 w 580"/>
                  <a:gd name="T61" fmla="*/ 43 h 165"/>
                  <a:gd name="T62" fmla="*/ 248 w 580"/>
                  <a:gd name="T63" fmla="*/ 102 h 165"/>
                  <a:gd name="T64" fmla="*/ 490 w 580"/>
                  <a:gd name="T65" fmla="*/ 146 h 165"/>
                  <a:gd name="T66" fmla="*/ 577 w 580"/>
                  <a:gd name="T67" fmla="*/ 135 h 165"/>
                  <a:gd name="T68" fmla="*/ 575 w 580"/>
                  <a:gd name="T69" fmla="*/ 130 h 165"/>
                  <a:gd name="T70" fmla="*/ 537 w 580"/>
                  <a:gd name="T71" fmla="*/ 136 h 165"/>
                  <a:gd name="T72" fmla="*/ 483 w 580"/>
                  <a:gd name="T73" fmla="*/ 138 h 165"/>
                  <a:gd name="T74" fmla="*/ 427 w 580"/>
                  <a:gd name="T75" fmla="*/ 134 h 165"/>
                  <a:gd name="T76" fmla="*/ 270 w 580"/>
                  <a:gd name="T77" fmla="*/ 100 h 165"/>
                  <a:gd name="T78" fmla="*/ 119 w 580"/>
                  <a:gd name="T79" fmla="*/ 54 h 165"/>
                  <a:gd name="T80" fmla="*/ 10 w 580"/>
                  <a:gd name="T81" fmla="*/ 0 h 1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580" h="165">
                    <a:moveTo>
                      <a:pt x="2" y="14"/>
                    </a:moveTo>
                    <a:cubicBezTo>
                      <a:pt x="1" y="15"/>
                      <a:pt x="1" y="17"/>
                      <a:pt x="0" y="18"/>
                    </a:cubicBezTo>
                    <a:cubicBezTo>
                      <a:pt x="7" y="22"/>
                      <a:pt x="14" y="26"/>
                      <a:pt x="22" y="30"/>
                    </a:cubicBezTo>
                    <a:cubicBezTo>
                      <a:pt x="22" y="30"/>
                      <a:pt x="22" y="30"/>
                      <a:pt x="22" y="30"/>
                    </a:cubicBezTo>
                    <a:cubicBezTo>
                      <a:pt x="35" y="37"/>
                      <a:pt x="49" y="44"/>
                      <a:pt x="63" y="51"/>
                    </a:cubicBezTo>
                    <a:cubicBezTo>
                      <a:pt x="94" y="67"/>
                      <a:pt x="126" y="82"/>
                      <a:pt x="161" y="96"/>
                    </a:cubicBezTo>
                    <a:cubicBezTo>
                      <a:pt x="188" y="104"/>
                      <a:pt x="214" y="115"/>
                      <a:pt x="241" y="125"/>
                    </a:cubicBezTo>
                    <a:cubicBezTo>
                      <a:pt x="274" y="136"/>
                      <a:pt x="308" y="142"/>
                      <a:pt x="340" y="146"/>
                    </a:cubicBezTo>
                    <a:cubicBezTo>
                      <a:pt x="365" y="152"/>
                      <a:pt x="392" y="153"/>
                      <a:pt x="415" y="156"/>
                    </a:cubicBezTo>
                    <a:cubicBezTo>
                      <a:pt x="432" y="158"/>
                      <a:pt x="451" y="162"/>
                      <a:pt x="469" y="163"/>
                    </a:cubicBezTo>
                    <a:cubicBezTo>
                      <a:pt x="484" y="164"/>
                      <a:pt x="502" y="164"/>
                      <a:pt x="517" y="165"/>
                    </a:cubicBezTo>
                    <a:cubicBezTo>
                      <a:pt x="517" y="165"/>
                      <a:pt x="517" y="165"/>
                      <a:pt x="517" y="165"/>
                    </a:cubicBezTo>
                    <a:cubicBezTo>
                      <a:pt x="517" y="165"/>
                      <a:pt x="518" y="165"/>
                      <a:pt x="518" y="165"/>
                    </a:cubicBezTo>
                    <a:cubicBezTo>
                      <a:pt x="518" y="165"/>
                      <a:pt x="518" y="165"/>
                      <a:pt x="518" y="165"/>
                    </a:cubicBezTo>
                    <a:cubicBezTo>
                      <a:pt x="518" y="165"/>
                      <a:pt x="518" y="165"/>
                      <a:pt x="518" y="165"/>
                    </a:cubicBezTo>
                    <a:cubicBezTo>
                      <a:pt x="530" y="165"/>
                      <a:pt x="542" y="162"/>
                      <a:pt x="555" y="159"/>
                    </a:cubicBezTo>
                    <a:cubicBezTo>
                      <a:pt x="555" y="157"/>
                      <a:pt x="558" y="156"/>
                      <a:pt x="560" y="156"/>
                    </a:cubicBezTo>
                    <a:cubicBezTo>
                      <a:pt x="561" y="156"/>
                      <a:pt x="562" y="156"/>
                      <a:pt x="563" y="156"/>
                    </a:cubicBezTo>
                    <a:cubicBezTo>
                      <a:pt x="565" y="156"/>
                      <a:pt x="567" y="155"/>
                      <a:pt x="568" y="154"/>
                    </a:cubicBezTo>
                    <a:cubicBezTo>
                      <a:pt x="569" y="154"/>
                      <a:pt x="569" y="154"/>
                      <a:pt x="569" y="154"/>
                    </a:cubicBezTo>
                    <a:cubicBezTo>
                      <a:pt x="569" y="154"/>
                      <a:pt x="569" y="154"/>
                      <a:pt x="569" y="154"/>
                    </a:cubicBezTo>
                    <a:cubicBezTo>
                      <a:pt x="569" y="154"/>
                      <a:pt x="569" y="154"/>
                      <a:pt x="569" y="154"/>
                    </a:cubicBezTo>
                    <a:cubicBezTo>
                      <a:pt x="573" y="153"/>
                      <a:pt x="576" y="152"/>
                      <a:pt x="580" y="150"/>
                    </a:cubicBezTo>
                    <a:cubicBezTo>
                      <a:pt x="577" y="138"/>
                      <a:pt x="577" y="138"/>
                      <a:pt x="577" y="138"/>
                    </a:cubicBezTo>
                    <a:cubicBezTo>
                      <a:pt x="547" y="147"/>
                      <a:pt x="515" y="150"/>
                      <a:pt x="483" y="150"/>
                    </a:cubicBezTo>
                    <a:cubicBezTo>
                      <a:pt x="471" y="150"/>
                      <a:pt x="459" y="149"/>
                      <a:pt x="446" y="148"/>
                    </a:cubicBezTo>
                    <a:cubicBezTo>
                      <a:pt x="381" y="144"/>
                      <a:pt x="317" y="126"/>
                      <a:pt x="254" y="110"/>
                    </a:cubicBezTo>
                    <a:cubicBezTo>
                      <a:pt x="168" y="88"/>
                      <a:pt x="79" y="61"/>
                      <a:pt x="2" y="14"/>
                    </a:cubicBezTo>
                    <a:moveTo>
                      <a:pt x="10" y="0"/>
                    </a:moveTo>
                    <a:cubicBezTo>
                      <a:pt x="6" y="7"/>
                      <a:pt x="6" y="7"/>
                      <a:pt x="6" y="7"/>
                    </a:cubicBezTo>
                    <a:cubicBezTo>
                      <a:pt x="28" y="20"/>
                      <a:pt x="51" y="32"/>
                      <a:pt x="74" y="43"/>
                    </a:cubicBezTo>
                    <a:cubicBezTo>
                      <a:pt x="130" y="69"/>
                      <a:pt x="189" y="87"/>
                      <a:pt x="248" y="102"/>
                    </a:cubicBezTo>
                    <a:cubicBezTo>
                      <a:pt x="325" y="122"/>
                      <a:pt x="408" y="146"/>
                      <a:pt x="490" y="146"/>
                    </a:cubicBezTo>
                    <a:cubicBezTo>
                      <a:pt x="519" y="146"/>
                      <a:pt x="548" y="143"/>
                      <a:pt x="577" y="135"/>
                    </a:cubicBezTo>
                    <a:cubicBezTo>
                      <a:pt x="575" y="130"/>
                      <a:pt x="575" y="130"/>
                      <a:pt x="575" y="130"/>
                    </a:cubicBezTo>
                    <a:cubicBezTo>
                      <a:pt x="562" y="134"/>
                      <a:pt x="549" y="135"/>
                      <a:pt x="537" y="136"/>
                    </a:cubicBezTo>
                    <a:cubicBezTo>
                      <a:pt x="518" y="137"/>
                      <a:pt x="501" y="138"/>
                      <a:pt x="483" y="138"/>
                    </a:cubicBezTo>
                    <a:cubicBezTo>
                      <a:pt x="464" y="138"/>
                      <a:pt x="445" y="137"/>
                      <a:pt x="427" y="134"/>
                    </a:cubicBezTo>
                    <a:cubicBezTo>
                      <a:pt x="373" y="127"/>
                      <a:pt x="323" y="114"/>
                      <a:pt x="270" y="100"/>
                    </a:cubicBezTo>
                    <a:cubicBezTo>
                      <a:pt x="220" y="87"/>
                      <a:pt x="168" y="74"/>
                      <a:pt x="119" y="54"/>
                    </a:cubicBezTo>
                    <a:cubicBezTo>
                      <a:pt x="82" y="39"/>
                      <a:pt x="45" y="21"/>
                      <a:pt x="10" y="0"/>
                    </a:cubicBezTo>
                  </a:path>
                </a:pathLst>
              </a:custGeom>
              <a:solidFill>
                <a:srgbClr val="EF827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22" name="Freeform 68">
                <a:extLst>
                  <a:ext uri="{FF2B5EF4-FFF2-40B4-BE49-F238E27FC236}">
                    <a16:creationId xmlns:a16="http://schemas.microsoft.com/office/drawing/2014/main" id="{35B11E1E-8048-4988-83E7-8550616F99D4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1946" y="2121"/>
                <a:ext cx="190" cy="366"/>
              </a:xfrm>
              <a:custGeom>
                <a:avLst/>
                <a:gdLst>
                  <a:gd name="T0" fmla="*/ 171 w 179"/>
                  <a:gd name="T1" fmla="*/ 36 h 345"/>
                  <a:gd name="T2" fmla="*/ 157 w 179"/>
                  <a:gd name="T3" fmla="*/ 62 h 345"/>
                  <a:gd name="T4" fmla="*/ 171 w 179"/>
                  <a:gd name="T5" fmla="*/ 36 h 345"/>
                  <a:gd name="T6" fmla="*/ 171 w 179"/>
                  <a:gd name="T7" fmla="*/ 36 h 345"/>
                  <a:gd name="T8" fmla="*/ 73 w 179"/>
                  <a:gd name="T9" fmla="*/ 170 h 345"/>
                  <a:gd name="T10" fmla="*/ 72 w 179"/>
                  <a:gd name="T11" fmla="*/ 169 h 345"/>
                  <a:gd name="T12" fmla="*/ 78 w 179"/>
                  <a:gd name="T13" fmla="*/ 160 h 345"/>
                  <a:gd name="T14" fmla="*/ 79 w 179"/>
                  <a:gd name="T15" fmla="*/ 160 h 345"/>
                  <a:gd name="T16" fmla="*/ 80 w 179"/>
                  <a:gd name="T17" fmla="*/ 162 h 345"/>
                  <a:gd name="T18" fmla="*/ 76 w 179"/>
                  <a:gd name="T19" fmla="*/ 165 h 345"/>
                  <a:gd name="T20" fmla="*/ 74 w 179"/>
                  <a:gd name="T21" fmla="*/ 169 h 345"/>
                  <a:gd name="T22" fmla="*/ 73 w 179"/>
                  <a:gd name="T23" fmla="*/ 170 h 345"/>
                  <a:gd name="T24" fmla="*/ 85 w 179"/>
                  <a:gd name="T25" fmla="*/ 145 h 345"/>
                  <a:gd name="T26" fmla="*/ 84 w 179"/>
                  <a:gd name="T27" fmla="*/ 145 h 345"/>
                  <a:gd name="T28" fmla="*/ 100 w 179"/>
                  <a:gd name="T29" fmla="*/ 108 h 345"/>
                  <a:gd name="T30" fmla="*/ 121 w 179"/>
                  <a:gd name="T31" fmla="*/ 75 h 345"/>
                  <a:gd name="T32" fmla="*/ 122 w 179"/>
                  <a:gd name="T33" fmla="*/ 75 h 345"/>
                  <a:gd name="T34" fmla="*/ 122 w 179"/>
                  <a:gd name="T35" fmla="*/ 76 h 345"/>
                  <a:gd name="T36" fmla="*/ 102 w 179"/>
                  <a:gd name="T37" fmla="*/ 114 h 345"/>
                  <a:gd name="T38" fmla="*/ 85 w 179"/>
                  <a:gd name="T39" fmla="*/ 145 h 345"/>
                  <a:gd name="T40" fmla="*/ 134 w 179"/>
                  <a:gd name="T41" fmla="*/ 63 h 345"/>
                  <a:gd name="T42" fmla="*/ 133 w 179"/>
                  <a:gd name="T43" fmla="*/ 63 h 345"/>
                  <a:gd name="T44" fmla="*/ 140 w 179"/>
                  <a:gd name="T45" fmla="*/ 51 h 345"/>
                  <a:gd name="T46" fmla="*/ 141 w 179"/>
                  <a:gd name="T47" fmla="*/ 51 h 345"/>
                  <a:gd name="T48" fmla="*/ 134 w 179"/>
                  <a:gd name="T49" fmla="*/ 63 h 345"/>
                  <a:gd name="T50" fmla="*/ 147 w 179"/>
                  <a:gd name="T51" fmla="*/ 42 h 345"/>
                  <a:gd name="T52" fmla="*/ 147 w 179"/>
                  <a:gd name="T53" fmla="*/ 41 h 345"/>
                  <a:gd name="T54" fmla="*/ 156 w 179"/>
                  <a:gd name="T55" fmla="*/ 28 h 345"/>
                  <a:gd name="T56" fmla="*/ 156 w 179"/>
                  <a:gd name="T57" fmla="*/ 27 h 345"/>
                  <a:gd name="T58" fmla="*/ 157 w 179"/>
                  <a:gd name="T59" fmla="*/ 29 h 345"/>
                  <a:gd name="T60" fmla="*/ 147 w 179"/>
                  <a:gd name="T61" fmla="*/ 42 h 345"/>
                  <a:gd name="T62" fmla="*/ 146 w 179"/>
                  <a:gd name="T63" fmla="*/ 19 h 345"/>
                  <a:gd name="T64" fmla="*/ 124 w 179"/>
                  <a:gd name="T65" fmla="*/ 56 h 345"/>
                  <a:gd name="T66" fmla="*/ 112 w 179"/>
                  <a:gd name="T67" fmla="*/ 75 h 345"/>
                  <a:gd name="T68" fmla="*/ 110 w 179"/>
                  <a:gd name="T69" fmla="*/ 78 h 345"/>
                  <a:gd name="T70" fmla="*/ 64 w 179"/>
                  <a:gd name="T71" fmla="*/ 148 h 345"/>
                  <a:gd name="T72" fmla="*/ 51 w 179"/>
                  <a:gd name="T73" fmla="*/ 178 h 345"/>
                  <a:gd name="T74" fmla="*/ 40 w 179"/>
                  <a:gd name="T75" fmla="*/ 209 h 345"/>
                  <a:gd name="T76" fmla="*/ 28 w 179"/>
                  <a:gd name="T77" fmla="*/ 253 h 345"/>
                  <a:gd name="T78" fmla="*/ 19 w 179"/>
                  <a:gd name="T79" fmla="*/ 295 h 345"/>
                  <a:gd name="T80" fmla="*/ 12 w 179"/>
                  <a:gd name="T81" fmla="*/ 315 h 345"/>
                  <a:gd name="T82" fmla="*/ 4 w 179"/>
                  <a:gd name="T83" fmla="*/ 337 h 345"/>
                  <a:gd name="T84" fmla="*/ 0 w 179"/>
                  <a:gd name="T85" fmla="*/ 345 h 345"/>
                  <a:gd name="T86" fmla="*/ 14 w 179"/>
                  <a:gd name="T87" fmla="*/ 322 h 345"/>
                  <a:gd name="T88" fmla="*/ 87 w 179"/>
                  <a:gd name="T89" fmla="*/ 172 h 345"/>
                  <a:gd name="T90" fmla="*/ 165 w 179"/>
                  <a:gd name="T91" fmla="*/ 32 h 345"/>
                  <a:gd name="T92" fmla="*/ 146 w 179"/>
                  <a:gd name="T93" fmla="*/ 19 h 345"/>
                  <a:gd name="T94" fmla="*/ 152 w 179"/>
                  <a:gd name="T95" fmla="*/ 0 h 345"/>
                  <a:gd name="T96" fmla="*/ 151 w 179"/>
                  <a:gd name="T97" fmla="*/ 1 h 345"/>
                  <a:gd name="T98" fmla="*/ 149 w 179"/>
                  <a:gd name="T99" fmla="*/ 8 h 345"/>
                  <a:gd name="T100" fmla="*/ 155 w 179"/>
                  <a:gd name="T101" fmla="*/ 13 h 345"/>
                  <a:gd name="T102" fmla="*/ 170 w 179"/>
                  <a:gd name="T103" fmla="*/ 23 h 345"/>
                  <a:gd name="T104" fmla="*/ 172 w 179"/>
                  <a:gd name="T105" fmla="*/ 22 h 345"/>
                  <a:gd name="T106" fmla="*/ 176 w 179"/>
                  <a:gd name="T107" fmla="*/ 26 h 345"/>
                  <a:gd name="T108" fmla="*/ 175 w 179"/>
                  <a:gd name="T109" fmla="*/ 27 h 345"/>
                  <a:gd name="T110" fmla="*/ 176 w 179"/>
                  <a:gd name="T111" fmla="*/ 27 h 345"/>
                  <a:gd name="T112" fmla="*/ 179 w 179"/>
                  <a:gd name="T113" fmla="*/ 21 h 345"/>
                  <a:gd name="T114" fmla="*/ 172 w 179"/>
                  <a:gd name="T115" fmla="*/ 17 h 345"/>
                  <a:gd name="T116" fmla="*/ 152 w 179"/>
                  <a:gd name="T117" fmla="*/ 0 h 3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179" h="345">
                    <a:moveTo>
                      <a:pt x="171" y="36"/>
                    </a:moveTo>
                    <a:cubicBezTo>
                      <a:pt x="166" y="45"/>
                      <a:pt x="162" y="53"/>
                      <a:pt x="157" y="62"/>
                    </a:cubicBezTo>
                    <a:cubicBezTo>
                      <a:pt x="162" y="53"/>
                      <a:pt x="166" y="45"/>
                      <a:pt x="171" y="36"/>
                    </a:cubicBezTo>
                    <a:cubicBezTo>
                      <a:pt x="171" y="36"/>
                      <a:pt x="171" y="36"/>
                      <a:pt x="171" y="36"/>
                    </a:cubicBezTo>
                    <a:moveTo>
                      <a:pt x="73" y="170"/>
                    </a:moveTo>
                    <a:cubicBezTo>
                      <a:pt x="72" y="170"/>
                      <a:pt x="72" y="170"/>
                      <a:pt x="72" y="169"/>
                    </a:cubicBezTo>
                    <a:cubicBezTo>
                      <a:pt x="72" y="165"/>
                      <a:pt x="75" y="162"/>
                      <a:pt x="78" y="160"/>
                    </a:cubicBezTo>
                    <a:cubicBezTo>
                      <a:pt x="78" y="160"/>
                      <a:pt x="79" y="160"/>
                      <a:pt x="79" y="160"/>
                    </a:cubicBezTo>
                    <a:cubicBezTo>
                      <a:pt x="80" y="160"/>
                      <a:pt x="81" y="162"/>
                      <a:pt x="80" y="162"/>
                    </a:cubicBezTo>
                    <a:cubicBezTo>
                      <a:pt x="79" y="163"/>
                      <a:pt x="77" y="164"/>
                      <a:pt x="76" y="165"/>
                    </a:cubicBezTo>
                    <a:cubicBezTo>
                      <a:pt x="75" y="166"/>
                      <a:pt x="75" y="168"/>
                      <a:pt x="74" y="169"/>
                    </a:cubicBezTo>
                    <a:cubicBezTo>
                      <a:pt x="74" y="170"/>
                      <a:pt x="73" y="170"/>
                      <a:pt x="73" y="170"/>
                    </a:cubicBezTo>
                    <a:moveTo>
                      <a:pt x="85" y="145"/>
                    </a:moveTo>
                    <a:cubicBezTo>
                      <a:pt x="84" y="145"/>
                      <a:pt x="84" y="145"/>
                      <a:pt x="84" y="145"/>
                    </a:cubicBezTo>
                    <a:cubicBezTo>
                      <a:pt x="87" y="131"/>
                      <a:pt x="93" y="120"/>
                      <a:pt x="100" y="108"/>
                    </a:cubicBezTo>
                    <a:cubicBezTo>
                      <a:pt x="106" y="96"/>
                      <a:pt x="112" y="85"/>
                      <a:pt x="121" y="75"/>
                    </a:cubicBezTo>
                    <a:cubicBezTo>
                      <a:pt x="122" y="75"/>
                      <a:pt x="122" y="75"/>
                      <a:pt x="122" y="75"/>
                    </a:cubicBezTo>
                    <a:cubicBezTo>
                      <a:pt x="122" y="75"/>
                      <a:pt x="123" y="76"/>
                      <a:pt x="122" y="76"/>
                    </a:cubicBezTo>
                    <a:cubicBezTo>
                      <a:pt x="112" y="89"/>
                      <a:pt x="109" y="100"/>
                      <a:pt x="102" y="114"/>
                    </a:cubicBezTo>
                    <a:cubicBezTo>
                      <a:pt x="96" y="124"/>
                      <a:pt x="89" y="134"/>
                      <a:pt x="85" y="145"/>
                    </a:cubicBezTo>
                    <a:moveTo>
                      <a:pt x="134" y="63"/>
                    </a:moveTo>
                    <a:cubicBezTo>
                      <a:pt x="133" y="63"/>
                      <a:pt x="133" y="63"/>
                      <a:pt x="133" y="63"/>
                    </a:cubicBezTo>
                    <a:cubicBezTo>
                      <a:pt x="134" y="58"/>
                      <a:pt x="137" y="55"/>
                      <a:pt x="140" y="51"/>
                    </a:cubicBezTo>
                    <a:cubicBezTo>
                      <a:pt x="141" y="51"/>
                      <a:pt x="141" y="51"/>
                      <a:pt x="141" y="51"/>
                    </a:cubicBezTo>
                    <a:cubicBezTo>
                      <a:pt x="138" y="55"/>
                      <a:pt x="135" y="58"/>
                      <a:pt x="134" y="63"/>
                    </a:cubicBezTo>
                    <a:moveTo>
                      <a:pt x="147" y="42"/>
                    </a:moveTo>
                    <a:cubicBezTo>
                      <a:pt x="147" y="41"/>
                      <a:pt x="147" y="41"/>
                      <a:pt x="147" y="41"/>
                    </a:cubicBezTo>
                    <a:cubicBezTo>
                      <a:pt x="149" y="36"/>
                      <a:pt x="153" y="32"/>
                      <a:pt x="156" y="28"/>
                    </a:cubicBezTo>
                    <a:cubicBezTo>
                      <a:pt x="156" y="27"/>
                      <a:pt x="156" y="27"/>
                      <a:pt x="156" y="27"/>
                    </a:cubicBezTo>
                    <a:cubicBezTo>
                      <a:pt x="157" y="27"/>
                      <a:pt x="157" y="28"/>
                      <a:pt x="157" y="29"/>
                    </a:cubicBezTo>
                    <a:cubicBezTo>
                      <a:pt x="153" y="33"/>
                      <a:pt x="150" y="37"/>
                      <a:pt x="147" y="42"/>
                    </a:cubicBezTo>
                    <a:moveTo>
                      <a:pt x="146" y="19"/>
                    </a:moveTo>
                    <a:cubicBezTo>
                      <a:pt x="140" y="32"/>
                      <a:pt x="132" y="44"/>
                      <a:pt x="124" y="56"/>
                    </a:cubicBezTo>
                    <a:cubicBezTo>
                      <a:pt x="120" y="63"/>
                      <a:pt x="116" y="69"/>
                      <a:pt x="112" y="75"/>
                    </a:cubicBezTo>
                    <a:cubicBezTo>
                      <a:pt x="111" y="76"/>
                      <a:pt x="111" y="77"/>
                      <a:pt x="110" y="78"/>
                    </a:cubicBezTo>
                    <a:cubicBezTo>
                      <a:pt x="99" y="102"/>
                      <a:pt x="78" y="124"/>
                      <a:pt x="64" y="148"/>
                    </a:cubicBezTo>
                    <a:cubicBezTo>
                      <a:pt x="60" y="158"/>
                      <a:pt x="55" y="168"/>
                      <a:pt x="51" y="178"/>
                    </a:cubicBezTo>
                    <a:cubicBezTo>
                      <a:pt x="47" y="188"/>
                      <a:pt x="42" y="198"/>
                      <a:pt x="40" y="209"/>
                    </a:cubicBezTo>
                    <a:cubicBezTo>
                      <a:pt x="37" y="223"/>
                      <a:pt x="31" y="238"/>
                      <a:pt x="28" y="253"/>
                    </a:cubicBezTo>
                    <a:cubicBezTo>
                      <a:pt x="25" y="267"/>
                      <a:pt x="22" y="282"/>
                      <a:pt x="19" y="295"/>
                    </a:cubicBezTo>
                    <a:cubicBezTo>
                      <a:pt x="18" y="301"/>
                      <a:pt x="14" y="307"/>
                      <a:pt x="12" y="315"/>
                    </a:cubicBezTo>
                    <a:cubicBezTo>
                      <a:pt x="11" y="321"/>
                      <a:pt x="7" y="329"/>
                      <a:pt x="4" y="337"/>
                    </a:cubicBezTo>
                    <a:cubicBezTo>
                      <a:pt x="3" y="339"/>
                      <a:pt x="2" y="342"/>
                      <a:pt x="0" y="345"/>
                    </a:cubicBezTo>
                    <a:cubicBezTo>
                      <a:pt x="6" y="337"/>
                      <a:pt x="11" y="329"/>
                      <a:pt x="14" y="322"/>
                    </a:cubicBezTo>
                    <a:cubicBezTo>
                      <a:pt x="41" y="273"/>
                      <a:pt x="61" y="221"/>
                      <a:pt x="87" y="172"/>
                    </a:cubicBezTo>
                    <a:cubicBezTo>
                      <a:pt x="113" y="125"/>
                      <a:pt x="140" y="80"/>
                      <a:pt x="165" y="32"/>
                    </a:cubicBezTo>
                    <a:cubicBezTo>
                      <a:pt x="158" y="28"/>
                      <a:pt x="152" y="23"/>
                      <a:pt x="146" y="19"/>
                    </a:cubicBezTo>
                    <a:moveTo>
                      <a:pt x="152" y="0"/>
                    </a:moveTo>
                    <a:cubicBezTo>
                      <a:pt x="151" y="1"/>
                      <a:pt x="151" y="1"/>
                      <a:pt x="151" y="1"/>
                    </a:cubicBezTo>
                    <a:cubicBezTo>
                      <a:pt x="151" y="4"/>
                      <a:pt x="150" y="6"/>
                      <a:pt x="149" y="8"/>
                    </a:cubicBezTo>
                    <a:cubicBezTo>
                      <a:pt x="151" y="10"/>
                      <a:pt x="153" y="12"/>
                      <a:pt x="155" y="13"/>
                    </a:cubicBezTo>
                    <a:cubicBezTo>
                      <a:pt x="160" y="17"/>
                      <a:pt x="165" y="20"/>
                      <a:pt x="170" y="23"/>
                    </a:cubicBezTo>
                    <a:cubicBezTo>
                      <a:pt x="170" y="22"/>
                      <a:pt x="171" y="22"/>
                      <a:pt x="172" y="22"/>
                    </a:cubicBezTo>
                    <a:cubicBezTo>
                      <a:pt x="175" y="22"/>
                      <a:pt x="177" y="24"/>
                      <a:pt x="176" y="26"/>
                    </a:cubicBezTo>
                    <a:cubicBezTo>
                      <a:pt x="176" y="27"/>
                      <a:pt x="175" y="27"/>
                      <a:pt x="175" y="27"/>
                    </a:cubicBezTo>
                    <a:cubicBezTo>
                      <a:pt x="175" y="27"/>
                      <a:pt x="176" y="27"/>
                      <a:pt x="176" y="27"/>
                    </a:cubicBezTo>
                    <a:cubicBezTo>
                      <a:pt x="177" y="25"/>
                      <a:pt x="178" y="23"/>
                      <a:pt x="179" y="21"/>
                    </a:cubicBezTo>
                    <a:cubicBezTo>
                      <a:pt x="177" y="19"/>
                      <a:pt x="175" y="18"/>
                      <a:pt x="172" y="17"/>
                    </a:cubicBezTo>
                    <a:cubicBezTo>
                      <a:pt x="165" y="12"/>
                      <a:pt x="159" y="6"/>
                      <a:pt x="152" y="0"/>
                    </a:cubicBezTo>
                  </a:path>
                </a:pathLst>
              </a:custGeom>
              <a:solidFill>
                <a:srgbClr val="EF827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23" name="Freeform 69">
                <a:extLst>
                  <a:ext uri="{FF2B5EF4-FFF2-40B4-BE49-F238E27FC236}">
                    <a16:creationId xmlns:a16="http://schemas.microsoft.com/office/drawing/2014/main" id="{88576DA4-BB50-47B6-845B-E295730B879E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2739" y="2275"/>
                <a:ext cx="76" cy="456"/>
              </a:xfrm>
              <a:custGeom>
                <a:avLst/>
                <a:gdLst>
                  <a:gd name="T0" fmla="*/ 12 w 72"/>
                  <a:gd name="T1" fmla="*/ 256 h 431"/>
                  <a:gd name="T2" fmla="*/ 12 w 72"/>
                  <a:gd name="T3" fmla="*/ 255 h 431"/>
                  <a:gd name="T4" fmla="*/ 23 w 72"/>
                  <a:gd name="T5" fmla="*/ 137 h 431"/>
                  <a:gd name="T6" fmla="*/ 18 w 72"/>
                  <a:gd name="T7" fmla="*/ 76 h 431"/>
                  <a:gd name="T8" fmla="*/ 12 w 72"/>
                  <a:gd name="T9" fmla="*/ 26 h 431"/>
                  <a:gd name="T10" fmla="*/ 13 w 72"/>
                  <a:gd name="T11" fmla="*/ 24 h 431"/>
                  <a:gd name="T12" fmla="*/ 15 w 72"/>
                  <a:gd name="T13" fmla="*/ 26 h 431"/>
                  <a:gd name="T14" fmla="*/ 23 w 72"/>
                  <a:gd name="T15" fmla="*/ 137 h 431"/>
                  <a:gd name="T16" fmla="*/ 13 w 72"/>
                  <a:gd name="T17" fmla="*/ 255 h 431"/>
                  <a:gd name="T18" fmla="*/ 12 w 72"/>
                  <a:gd name="T19" fmla="*/ 256 h 431"/>
                  <a:gd name="T20" fmla="*/ 34 w 72"/>
                  <a:gd name="T21" fmla="*/ 11 h 431"/>
                  <a:gd name="T22" fmla="*/ 14 w 72"/>
                  <a:gd name="T23" fmla="*/ 18 h 431"/>
                  <a:gd name="T24" fmla="*/ 2 w 72"/>
                  <a:gd name="T25" fmla="*/ 21 h 431"/>
                  <a:gd name="T26" fmla="*/ 10 w 72"/>
                  <a:gd name="T27" fmla="*/ 65 h 431"/>
                  <a:gd name="T28" fmla="*/ 12 w 72"/>
                  <a:gd name="T29" fmla="*/ 110 h 431"/>
                  <a:gd name="T30" fmla="*/ 4 w 72"/>
                  <a:gd name="T31" fmla="*/ 254 h 431"/>
                  <a:gd name="T32" fmla="*/ 4 w 72"/>
                  <a:gd name="T33" fmla="*/ 265 h 431"/>
                  <a:gd name="T34" fmla="*/ 6 w 72"/>
                  <a:gd name="T35" fmla="*/ 322 h 431"/>
                  <a:gd name="T36" fmla="*/ 6 w 72"/>
                  <a:gd name="T37" fmla="*/ 322 h 431"/>
                  <a:gd name="T38" fmla="*/ 6 w 72"/>
                  <a:gd name="T39" fmla="*/ 322 h 431"/>
                  <a:gd name="T40" fmla="*/ 11 w 72"/>
                  <a:gd name="T41" fmla="*/ 355 h 431"/>
                  <a:gd name="T42" fmla="*/ 14 w 72"/>
                  <a:gd name="T43" fmla="*/ 369 h 431"/>
                  <a:gd name="T44" fmla="*/ 11 w 72"/>
                  <a:gd name="T45" fmla="*/ 334 h 431"/>
                  <a:gd name="T46" fmla="*/ 9 w 72"/>
                  <a:gd name="T47" fmla="*/ 294 h 431"/>
                  <a:gd name="T48" fmla="*/ 10 w 72"/>
                  <a:gd name="T49" fmla="*/ 293 h 431"/>
                  <a:gd name="T50" fmla="*/ 12 w 72"/>
                  <a:gd name="T51" fmla="*/ 295 h 431"/>
                  <a:gd name="T52" fmla="*/ 16 w 72"/>
                  <a:gd name="T53" fmla="*/ 337 h 431"/>
                  <a:gd name="T54" fmla="*/ 19 w 72"/>
                  <a:gd name="T55" fmla="*/ 373 h 431"/>
                  <a:gd name="T56" fmla="*/ 33 w 72"/>
                  <a:gd name="T57" fmla="*/ 410 h 431"/>
                  <a:gd name="T58" fmla="*/ 39 w 72"/>
                  <a:gd name="T59" fmla="*/ 416 h 431"/>
                  <a:gd name="T60" fmla="*/ 42 w 72"/>
                  <a:gd name="T61" fmla="*/ 418 h 431"/>
                  <a:gd name="T62" fmla="*/ 31 w 72"/>
                  <a:gd name="T63" fmla="*/ 375 h 431"/>
                  <a:gd name="T64" fmla="*/ 31 w 72"/>
                  <a:gd name="T65" fmla="*/ 246 h 431"/>
                  <a:gd name="T66" fmla="*/ 38 w 72"/>
                  <a:gd name="T67" fmla="*/ 94 h 431"/>
                  <a:gd name="T68" fmla="*/ 34 w 72"/>
                  <a:gd name="T69" fmla="*/ 11 h 431"/>
                  <a:gd name="T70" fmla="*/ 44 w 72"/>
                  <a:gd name="T71" fmla="*/ 7 h 431"/>
                  <a:gd name="T72" fmla="*/ 41 w 72"/>
                  <a:gd name="T73" fmla="*/ 8 h 431"/>
                  <a:gd name="T74" fmla="*/ 39 w 72"/>
                  <a:gd name="T75" fmla="*/ 68 h 431"/>
                  <a:gd name="T76" fmla="*/ 42 w 72"/>
                  <a:gd name="T77" fmla="*/ 129 h 431"/>
                  <a:gd name="T78" fmla="*/ 37 w 72"/>
                  <a:gd name="T79" fmla="*/ 239 h 431"/>
                  <a:gd name="T80" fmla="*/ 35 w 72"/>
                  <a:gd name="T81" fmla="*/ 349 h 431"/>
                  <a:gd name="T82" fmla="*/ 58 w 72"/>
                  <a:gd name="T83" fmla="*/ 428 h 431"/>
                  <a:gd name="T84" fmla="*/ 72 w 72"/>
                  <a:gd name="T85" fmla="*/ 431 h 431"/>
                  <a:gd name="T86" fmla="*/ 42 w 72"/>
                  <a:gd name="T87" fmla="*/ 362 h 431"/>
                  <a:gd name="T88" fmla="*/ 39 w 72"/>
                  <a:gd name="T89" fmla="*/ 306 h 431"/>
                  <a:gd name="T90" fmla="*/ 40 w 72"/>
                  <a:gd name="T91" fmla="*/ 279 h 431"/>
                  <a:gd name="T92" fmla="*/ 48 w 72"/>
                  <a:gd name="T93" fmla="*/ 173 h 431"/>
                  <a:gd name="T94" fmla="*/ 49 w 72"/>
                  <a:gd name="T95" fmla="*/ 121 h 431"/>
                  <a:gd name="T96" fmla="*/ 47 w 72"/>
                  <a:gd name="T97" fmla="*/ 67 h 431"/>
                  <a:gd name="T98" fmla="*/ 42 w 72"/>
                  <a:gd name="T99" fmla="*/ 25 h 431"/>
                  <a:gd name="T100" fmla="*/ 44 w 72"/>
                  <a:gd name="T101" fmla="*/ 9 h 431"/>
                  <a:gd name="T102" fmla="*/ 44 w 72"/>
                  <a:gd name="T103" fmla="*/ 7 h 431"/>
                  <a:gd name="T104" fmla="*/ 43 w 72"/>
                  <a:gd name="T105" fmla="*/ 0 h 431"/>
                  <a:gd name="T106" fmla="*/ 16 w 72"/>
                  <a:gd name="T107" fmla="*/ 7 h 431"/>
                  <a:gd name="T108" fmla="*/ 11 w 72"/>
                  <a:gd name="T109" fmla="*/ 8 h 431"/>
                  <a:gd name="T110" fmla="*/ 11 w 72"/>
                  <a:gd name="T111" fmla="*/ 8 h 431"/>
                  <a:gd name="T112" fmla="*/ 0 w 72"/>
                  <a:gd name="T113" fmla="*/ 12 h 431"/>
                  <a:gd name="T114" fmla="*/ 0 w 72"/>
                  <a:gd name="T115" fmla="*/ 13 h 431"/>
                  <a:gd name="T116" fmla="*/ 6 w 72"/>
                  <a:gd name="T117" fmla="*/ 12 h 431"/>
                  <a:gd name="T118" fmla="*/ 43 w 72"/>
                  <a:gd name="T119" fmla="*/ 0 h 4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72" h="431">
                    <a:moveTo>
                      <a:pt x="12" y="256"/>
                    </a:moveTo>
                    <a:cubicBezTo>
                      <a:pt x="12" y="256"/>
                      <a:pt x="12" y="256"/>
                      <a:pt x="12" y="255"/>
                    </a:cubicBezTo>
                    <a:cubicBezTo>
                      <a:pt x="14" y="216"/>
                      <a:pt x="22" y="176"/>
                      <a:pt x="23" y="137"/>
                    </a:cubicBezTo>
                    <a:cubicBezTo>
                      <a:pt x="23" y="117"/>
                      <a:pt x="20" y="96"/>
                      <a:pt x="18" y="76"/>
                    </a:cubicBezTo>
                    <a:cubicBezTo>
                      <a:pt x="17" y="59"/>
                      <a:pt x="12" y="43"/>
                      <a:pt x="12" y="26"/>
                    </a:cubicBezTo>
                    <a:cubicBezTo>
                      <a:pt x="12" y="25"/>
                      <a:pt x="13" y="24"/>
                      <a:pt x="13" y="24"/>
                    </a:cubicBezTo>
                    <a:cubicBezTo>
                      <a:pt x="14" y="24"/>
                      <a:pt x="15" y="25"/>
                      <a:pt x="15" y="26"/>
                    </a:cubicBezTo>
                    <a:cubicBezTo>
                      <a:pt x="17" y="63"/>
                      <a:pt x="24" y="100"/>
                      <a:pt x="23" y="137"/>
                    </a:cubicBezTo>
                    <a:cubicBezTo>
                      <a:pt x="23" y="177"/>
                      <a:pt x="17" y="216"/>
                      <a:pt x="13" y="255"/>
                    </a:cubicBezTo>
                    <a:cubicBezTo>
                      <a:pt x="13" y="256"/>
                      <a:pt x="13" y="256"/>
                      <a:pt x="12" y="256"/>
                    </a:cubicBezTo>
                    <a:moveTo>
                      <a:pt x="34" y="11"/>
                    </a:moveTo>
                    <a:cubicBezTo>
                      <a:pt x="27" y="14"/>
                      <a:pt x="21" y="16"/>
                      <a:pt x="14" y="18"/>
                    </a:cubicBezTo>
                    <a:cubicBezTo>
                      <a:pt x="10" y="19"/>
                      <a:pt x="6" y="20"/>
                      <a:pt x="2" y="21"/>
                    </a:cubicBezTo>
                    <a:cubicBezTo>
                      <a:pt x="6" y="36"/>
                      <a:pt x="9" y="51"/>
                      <a:pt x="10" y="65"/>
                    </a:cubicBezTo>
                    <a:cubicBezTo>
                      <a:pt x="11" y="80"/>
                      <a:pt x="12" y="95"/>
                      <a:pt x="12" y="110"/>
                    </a:cubicBezTo>
                    <a:cubicBezTo>
                      <a:pt x="12" y="159"/>
                      <a:pt x="6" y="207"/>
                      <a:pt x="4" y="254"/>
                    </a:cubicBezTo>
                    <a:cubicBezTo>
                      <a:pt x="4" y="258"/>
                      <a:pt x="4" y="262"/>
                      <a:pt x="4" y="265"/>
                    </a:cubicBezTo>
                    <a:cubicBezTo>
                      <a:pt x="4" y="284"/>
                      <a:pt x="5" y="303"/>
                      <a:pt x="6" y="322"/>
                    </a:cubicBezTo>
                    <a:cubicBezTo>
                      <a:pt x="6" y="322"/>
                      <a:pt x="6" y="322"/>
                      <a:pt x="6" y="322"/>
                    </a:cubicBezTo>
                    <a:cubicBezTo>
                      <a:pt x="6" y="322"/>
                      <a:pt x="6" y="322"/>
                      <a:pt x="6" y="322"/>
                    </a:cubicBezTo>
                    <a:cubicBezTo>
                      <a:pt x="7" y="333"/>
                      <a:pt x="9" y="344"/>
                      <a:pt x="11" y="355"/>
                    </a:cubicBezTo>
                    <a:cubicBezTo>
                      <a:pt x="12" y="359"/>
                      <a:pt x="13" y="364"/>
                      <a:pt x="14" y="369"/>
                    </a:cubicBezTo>
                    <a:cubicBezTo>
                      <a:pt x="12" y="357"/>
                      <a:pt x="12" y="346"/>
                      <a:pt x="11" y="334"/>
                    </a:cubicBezTo>
                    <a:cubicBezTo>
                      <a:pt x="10" y="321"/>
                      <a:pt x="7" y="308"/>
                      <a:pt x="9" y="294"/>
                    </a:cubicBezTo>
                    <a:cubicBezTo>
                      <a:pt x="9" y="294"/>
                      <a:pt x="10" y="293"/>
                      <a:pt x="10" y="293"/>
                    </a:cubicBezTo>
                    <a:cubicBezTo>
                      <a:pt x="11" y="293"/>
                      <a:pt x="12" y="294"/>
                      <a:pt x="12" y="295"/>
                    </a:cubicBezTo>
                    <a:cubicBezTo>
                      <a:pt x="11" y="309"/>
                      <a:pt x="14" y="323"/>
                      <a:pt x="16" y="337"/>
                    </a:cubicBezTo>
                    <a:cubicBezTo>
                      <a:pt x="17" y="349"/>
                      <a:pt x="17" y="361"/>
                      <a:pt x="19" y="373"/>
                    </a:cubicBezTo>
                    <a:cubicBezTo>
                      <a:pt x="22" y="386"/>
                      <a:pt x="27" y="398"/>
                      <a:pt x="33" y="410"/>
                    </a:cubicBezTo>
                    <a:cubicBezTo>
                      <a:pt x="35" y="412"/>
                      <a:pt x="37" y="414"/>
                      <a:pt x="39" y="416"/>
                    </a:cubicBezTo>
                    <a:cubicBezTo>
                      <a:pt x="40" y="417"/>
                      <a:pt x="41" y="418"/>
                      <a:pt x="42" y="418"/>
                    </a:cubicBezTo>
                    <a:cubicBezTo>
                      <a:pt x="35" y="404"/>
                      <a:pt x="32" y="388"/>
                      <a:pt x="31" y="375"/>
                    </a:cubicBezTo>
                    <a:cubicBezTo>
                      <a:pt x="26" y="332"/>
                      <a:pt x="28" y="289"/>
                      <a:pt x="31" y="246"/>
                    </a:cubicBezTo>
                    <a:cubicBezTo>
                      <a:pt x="35" y="195"/>
                      <a:pt x="40" y="145"/>
                      <a:pt x="38" y="94"/>
                    </a:cubicBezTo>
                    <a:cubicBezTo>
                      <a:pt x="37" y="75"/>
                      <a:pt x="23" y="33"/>
                      <a:pt x="34" y="11"/>
                    </a:cubicBezTo>
                    <a:moveTo>
                      <a:pt x="44" y="7"/>
                    </a:moveTo>
                    <a:cubicBezTo>
                      <a:pt x="43" y="7"/>
                      <a:pt x="42" y="8"/>
                      <a:pt x="41" y="8"/>
                    </a:cubicBezTo>
                    <a:cubicBezTo>
                      <a:pt x="31" y="24"/>
                      <a:pt x="38" y="52"/>
                      <a:pt x="39" y="68"/>
                    </a:cubicBezTo>
                    <a:cubicBezTo>
                      <a:pt x="41" y="88"/>
                      <a:pt x="42" y="108"/>
                      <a:pt x="42" y="129"/>
                    </a:cubicBezTo>
                    <a:cubicBezTo>
                      <a:pt x="43" y="166"/>
                      <a:pt x="40" y="202"/>
                      <a:pt x="37" y="239"/>
                    </a:cubicBezTo>
                    <a:cubicBezTo>
                      <a:pt x="34" y="275"/>
                      <a:pt x="33" y="312"/>
                      <a:pt x="35" y="349"/>
                    </a:cubicBezTo>
                    <a:cubicBezTo>
                      <a:pt x="37" y="378"/>
                      <a:pt x="40" y="406"/>
                      <a:pt x="58" y="428"/>
                    </a:cubicBezTo>
                    <a:cubicBezTo>
                      <a:pt x="62" y="430"/>
                      <a:pt x="67" y="431"/>
                      <a:pt x="72" y="431"/>
                    </a:cubicBezTo>
                    <a:cubicBezTo>
                      <a:pt x="52" y="417"/>
                      <a:pt x="44" y="383"/>
                      <a:pt x="42" y="362"/>
                    </a:cubicBezTo>
                    <a:cubicBezTo>
                      <a:pt x="41" y="342"/>
                      <a:pt x="39" y="324"/>
                      <a:pt x="39" y="306"/>
                    </a:cubicBezTo>
                    <a:cubicBezTo>
                      <a:pt x="39" y="297"/>
                      <a:pt x="40" y="288"/>
                      <a:pt x="40" y="279"/>
                    </a:cubicBezTo>
                    <a:cubicBezTo>
                      <a:pt x="41" y="244"/>
                      <a:pt x="45" y="208"/>
                      <a:pt x="48" y="173"/>
                    </a:cubicBezTo>
                    <a:cubicBezTo>
                      <a:pt x="49" y="156"/>
                      <a:pt x="49" y="138"/>
                      <a:pt x="49" y="121"/>
                    </a:cubicBezTo>
                    <a:cubicBezTo>
                      <a:pt x="49" y="103"/>
                      <a:pt x="48" y="85"/>
                      <a:pt x="47" y="67"/>
                    </a:cubicBezTo>
                    <a:cubicBezTo>
                      <a:pt x="45" y="52"/>
                      <a:pt x="42" y="38"/>
                      <a:pt x="42" y="25"/>
                    </a:cubicBezTo>
                    <a:cubicBezTo>
                      <a:pt x="42" y="19"/>
                      <a:pt x="43" y="14"/>
                      <a:pt x="44" y="9"/>
                    </a:cubicBezTo>
                    <a:cubicBezTo>
                      <a:pt x="44" y="8"/>
                      <a:pt x="44" y="7"/>
                      <a:pt x="44" y="7"/>
                    </a:cubicBezTo>
                    <a:moveTo>
                      <a:pt x="43" y="0"/>
                    </a:moveTo>
                    <a:cubicBezTo>
                      <a:pt x="34" y="3"/>
                      <a:pt x="25" y="5"/>
                      <a:pt x="16" y="7"/>
                    </a:cubicBezTo>
                    <a:cubicBezTo>
                      <a:pt x="14" y="7"/>
                      <a:pt x="13" y="8"/>
                      <a:pt x="11" y="8"/>
                    </a:cubicBezTo>
                    <a:cubicBezTo>
                      <a:pt x="11" y="8"/>
                      <a:pt x="11" y="8"/>
                      <a:pt x="11" y="8"/>
                    </a:cubicBezTo>
                    <a:cubicBezTo>
                      <a:pt x="7" y="10"/>
                      <a:pt x="4" y="11"/>
                      <a:pt x="0" y="12"/>
                    </a:cubicBezTo>
                    <a:cubicBezTo>
                      <a:pt x="0" y="13"/>
                      <a:pt x="0" y="13"/>
                      <a:pt x="0" y="13"/>
                    </a:cubicBezTo>
                    <a:cubicBezTo>
                      <a:pt x="2" y="13"/>
                      <a:pt x="4" y="12"/>
                      <a:pt x="6" y="12"/>
                    </a:cubicBezTo>
                    <a:cubicBezTo>
                      <a:pt x="20" y="8"/>
                      <a:pt x="31" y="6"/>
                      <a:pt x="43" y="0"/>
                    </a:cubicBezTo>
                  </a:path>
                </a:pathLst>
              </a:custGeom>
              <a:solidFill>
                <a:srgbClr val="EF827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24" name="Freeform 70">
                <a:extLst>
                  <a:ext uri="{FF2B5EF4-FFF2-40B4-BE49-F238E27FC236}">
                    <a16:creationId xmlns:a16="http://schemas.microsoft.com/office/drawing/2014/main" id="{397E7613-DD11-446E-8445-9B4512296B9C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2128" y="2156"/>
                <a:ext cx="624" cy="461"/>
              </a:xfrm>
              <a:custGeom>
                <a:avLst/>
                <a:gdLst>
                  <a:gd name="T0" fmla="*/ 574 w 589"/>
                  <a:gd name="T1" fmla="*/ 134 h 435"/>
                  <a:gd name="T2" fmla="*/ 577 w 589"/>
                  <a:gd name="T3" fmla="*/ 435 h 435"/>
                  <a:gd name="T4" fmla="*/ 581 w 589"/>
                  <a:gd name="T5" fmla="*/ 377 h 435"/>
                  <a:gd name="T6" fmla="*/ 589 w 589"/>
                  <a:gd name="T7" fmla="*/ 222 h 435"/>
                  <a:gd name="T8" fmla="*/ 579 w 589"/>
                  <a:gd name="T9" fmla="*/ 133 h 435"/>
                  <a:gd name="T10" fmla="*/ 577 w 589"/>
                  <a:gd name="T11" fmla="*/ 124 h 435"/>
                  <a:gd name="T12" fmla="*/ 571 w 589"/>
                  <a:gd name="T13" fmla="*/ 126 h 435"/>
                  <a:gd name="T14" fmla="*/ 577 w 589"/>
                  <a:gd name="T15" fmla="*/ 125 h 435"/>
                  <a:gd name="T16" fmla="*/ 577 w 589"/>
                  <a:gd name="T17" fmla="*/ 124 h 435"/>
                  <a:gd name="T18" fmla="*/ 5 w 589"/>
                  <a:gd name="T19" fmla="*/ 31 h 435"/>
                  <a:gd name="T20" fmla="*/ 0 w 589"/>
                  <a:gd name="T21" fmla="*/ 39 h 435"/>
                  <a:gd name="T22" fmla="*/ 38 w 589"/>
                  <a:gd name="T23" fmla="*/ 69 h 435"/>
                  <a:gd name="T24" fmla="*/ 147 w 589"/>
                  <a:gd name="T25" fmla="*/ 115 h 435"/>
                  <a:gd name="T26" fmla="*/ 159 w 589"/>
                  <a:gd name="T27" fmla="*/ 115 h 435"/>
                  <a:gd name="T28" fmla="*/ 128 w 589"/>
                  <a:gd name="T29" fmla="*/ 96 h 435"/>
                  <a:gd name="T30" fmla="*/ 171 w 589"/>
                  <a:gd name="T31" fmla="*/ 110 h 435"/>
                  <a:gd name="T32" fmla="*/ 201 w 589"/>
                  <a:gd name="T33" fmla="*/ 113 h 435"/>
                  <a:gd name="T34" fmla="*/ 344 w 589"/>
                  <a:gd name="T35" fmla="*/ 146 h 435"/>
                  <a:gd name="T36" fmla="*/ 367 w 589"/>
                  <a:gd name="T37" fmla="*/ 151 h 435"/>
                  <a:gd name="T38" fmla="*/ 370 w 589"/>
                  <a:gd name="T39" fmla="*/ 157 h 435"/>
                  <a:gd name="T40" fmla="*/ 376 w 589"/>
                  <a:gd name="T41" fmla="*/ 157 h 435"/>
                  <a:gd name="T42" fmla="*/ 373 w 589"/>
                  <a:gd name="T43" fmla="*/ 163 h 435"/>
                  <a:gd name="T44" fmla="*/ 420 w 589"/>
                  <a:gd name="T45" fmla="*/ 175 h 435"/>
                  <a:gd name="T46" fmla="*/ 450 w 589"/>
                  <a:gd name="T47" fmla="*/ 174 h 435"/>
                  <a:gd name="T48" fmla="*/ 486 w 589"/>
                  <a:gd name="T49" fmla="*/ 171 h 435"/>
                  <a:gd name="T50" fmla="*/ 553 w 589"/>
                  <a:gd name="T51" fmla="*/ 159 h 435"/>
                  <a:gd name="T52" fmla="*/ 552 w 589"/>
                  <a:gd name="T53" fmla="*/ 143 h 435"/>
                  <a:gd name="T54" fmla="*/ 558 w 589"/>
                  <a:gd name="T55" fmla="*/ 158 h 435"/>
                  <a:gd name="T56" fmla="*/ 568 w 589"/>
                  <a:gd name="T57" fmla="*/ 173 h 435"/>
                  <a:gd name="T58" fmla="*/ 573 w 589"/>
                  <a:gd name="T59" fmla="*/ 278 h 435"/>
                  <a:gd name="T60" fmla="*/ 564 w 589"/>
                  <a:gd name="T61" fmla="*/ 137 h 435"/>
                  <a:gd name="T62" fmla="*/ 503 w 589"/>
                  <a:gd name="T63" fmla="*/ 147 h 435"/>
                  <a:gd name="T64" fmla="*/ 210 w 589"/>
                  <a:gd name="T65" fmla="*/ 97 h 435"/>
                  <a:gd name="T66" fmla="*/ 19 w 589"/>
                  <a:gd name="T67" fmla="*/ 14 h 435"/>
                  <a:gd name="T68" fmla="*/ 30 w 589"/>
                  <a:gd name="T69" fmla="*/ 0 h 435"/>
                  <a:gd name="T70" fmla="*/ 25 w 589"/>
                  <a:gd name="T71" fmla="*/ 6 h 435"/>
                  <a:gd name="T72" fmla="*/ 115 w 589"/>
                  <a:gd name="T73" fmla="*/ 50 h 435"/>
                  <a:gd name="T74" fmla="*/ 305 w 589"/>
                  <a:gd name="T75" fmla="*/ 115 h 435"/>
                  <a:gd name="T76" fmla="*/ 489 w 589"/>
                  <a:gd name="T77" fmla="*/ 139 h 435"/>
                  <a:gd name="T78" fmla="*/ 542 w 589"/>
                  <a:gd name="T79" fmla="*/ 136 h 435"/>
                  <a:gd name="T80" fmla="*/ 563 w 589"/>
                  <a:gd name="T81" fmla="*/ 129 h 435"/>
                  <a:gd name="T82" fmla="*/ 526 w 589"/>
                  <a:gd name="T83" fmla="*/ 135 h 435"/>
                  <a:gd name="T84" fmla="*/ 526 w 589"/>
                  <a:gd name="T85" fmla="*/ 135 h 435"/>
                  <a:gd name="T86" fmla="*/ 525 w 589"/>
                  <a:gd name="T87" fmla="*/ 135 h 435"/>
                  <a:gd name="T88" fmla="*/ 423 w 589"/>
                  <a:gd name="T89" fmla="*/ 126 h 435"/>
                  <a:gd name="T90" fmla="*/ 249 w 589"/>
                  <a:gd name="T91" fmla="*/ 95 h 435"/>
                  <a:gd name="T92" fmla="*/ 71 w 589"/>
                  <a:gd name="T93" fmla="*/ 21 h 4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589" h="435">
                    <a:moveTo>
                      <a:pt x="579" y="133"/>
                    </a:moveTo>
                    <a:cubicBezTo>
                      <a:pt x="578" y="134"/>
                      <a:pt x="576" y="134"/>
                      <a:pt x="574" y="134"/>
                    </a:cubicBezTo>
                    <a:cubicBezTo>
                      <a:pt x="588" y="195"/>
                      <a:pt x="585" y="254"/>
                      <a:pt x="581" y="316"/>
                    </a:cubicBezTo>
                    <a:cubicBezTo>
                      <a:pt x="578" y="354"/>
                      <a:pt x="574" y="395"/>
                      <a:pt x="577" y="435"/>
                    </a:cubicBezTo>
                    <a:cubicBezTo>
                      <a:pt x="583" y="434"/>
                      <a:pt x="583" y="434"/>
                      <a:pt x="583" y="434"/>
                    </a:cubicBezTo>
                    <a:cubicBezTo>
                      <a:pt x="582" y="415"/>
                      <a:pt x="581" y="396"/>
                      <a:pt x="581" y="377"/>
                    </a:cubicBezTo>
                    <a:cubicBezTo>
                      <a:pt x="581" y="374"/>
                      <a:pt x="581" y="370"/>
                      <a:pt x="581" y="366"/>
                    </a:cubicBezTo>
                    <a:cubicBezTo>
                      <a:pt x="583" y="319"/>
                      <a:pt x="589" y="271"/>
                      <a:pt x="589" y="222"/>
                    </a:cubicBezTo>
                    <a:cubicBezTo>
                      <a:pt x="589" y="207"/>
                      <a:pt x="588" y="192"/>
                      <a:pt x="587" y="177"/>
                    </a:cubicBezTo>
                    <a:cubicBezTo>
                      <a:pt x="586" y="163"/>
                      <a:pt x="583" y="148"/>
                      <a:pt x="579" y="133"/>
                    </a:cubicBezTo>
                    <a:moveTo>
                      <a:pt x="577" y="124"/>
                    </a:moveTo>
                    <a:cubicBezTo>
                      <a:pt x="577" y="124"/>
                      <a:pt x="577" y="124"/>
                      <a:pt x="577" y="124"/>
                    </a:cubicBezTo>
                    <a:cubicBezTo>
                      <a:pt x="577" y="124"/>
                      <a:pt x="577" y="124"/>
                      <a:pt x="576" y="124"/>
                    </a:cubicBezTo>
                    <a:cubicBezTo>
                      <a:pt x="575" y="125"/>
                      <a:pt x="573" y="126"/>
                      <a:pt x="571" y="126"/>
                    </a:cubicBezTo>
                    <a:cubicBezTo>
                      <a:pt x="571" y="127"/>
                      <a:pt x="571" y="127"/>
                      <a:pt x="572" y="127"/>
                    </a:cubicBezTo>
                    <a:cubicBezTo>
                      <a:pt x="574" y="127"/>
                      <a:pt x="575" y="126"/>
                      <a:pt x="577" y="125"/>
                    </a:cubicBezTo>
                    <a:cubicBezTo>
                      <a:pt x="577" y="125"/>
                      <a:pt x="577" y="125"/>
                      <a:pt x="577" y="124"/>
                    </a:cubicBezTo>
                    <a:cubicBezTo>
                      <a:pt x="577" y="124"/>
                      <a:pt x="577" y="124"/>
                      <a:pt x="577" y="124"/>
                    </a:cubicBezTo>
                    <a:moveTo>
                      <a:pt x="19" y="14"/>
                    </a:moveTo>
                    <a:cubicBezTo>
                      <a:pt x="14" y="20"/>
                      <a:pt x="9" y="25"/>
                      <a:pt x="5" y="31"/>
                    </a:cubicBezTo>
                    <a:cubicBezTo>
                      <a:pt x="3" y="34"/>
                      <a:pt x="2" y="36"/>
                      <a:pt x="0" y="39"/>
                    </a:cubicBezTo>
                    <a:cubicBezTo>
                      <a:pt x="0" y="39"/>
                      <a:pt x="0" y="39"/>
                      <a:pt x="0" y="39"/>
                    </a:cubicBezTo>
                    <a:cubicBezTo>
                      <a:pt x="5" y="40"/>
                      <a:pt x="8" y="45"/>
                      <a:pt x="10" y="47"/>
                    </a:cubicBezTo>
                    <a:cubicBezTo>
                      <a:pt x="19" y="54"/>
                      <a:pt x="28" y="62"/>
                      <a:pt x="38" y="69"/>
                    </a:cubicBezTo>
                    <a:cubicBezTo>
                      <a:pt x="54" y="79"/>
                      <a:pt x="73" y="90"/>
                      <a:pt x="91" y="98"/>
                    </a:cubicBezTo>
                    <a:cubicBezTo>
                      <a:pt x="110" y="104"/>
                      <a:pt x="128" y="111"/>
                      <a:pt x="147" y="115"/>
                    </a:cubicBezTo>
                    <a:cubicBezTo>
                      <a:pt x="150" y="115"/>
                      <a:pt x="153" y="116"/>
                      <a:pt x="155" y="116"/>
                    </a:cubicBezTo>
                    <a:cubicBezTo>
                      <a:pt x="156" y="116"/>
                      <a:pt x="158" y="116"/>
                      <a:pt x="159" y="115"/>
                    </a:cubicBezTo>
                    <a:cubicBezTo>
                      <a:pt x="148" y="112"/>
                      <a:pt x="137" y="108"/>
                      <a:pt x="127" y="102"/>
                    </a:cubicBezTo>
                    <a:cubicBezTo>
                      <a:pt x="125" y="100"/>
                      <a:pt x="126" y="96"/>
                      <a:pt x="128" y="96"/>
                    </a:cubicBezTo>
                    <a:cubicBezTo>
                      <a:pt x="129" y="96"/>
                      <a:pt x="129" y="96"/>
                      <a:pt x="129" y="96"/>
                    </a:cubicBezTo>
                    <a:cubicBezTo>
                      <a:pt x="143" y="101"/>
                      <a:pt x="157" y="106"/>
                      <a:pt x="171" y="110"/>
                    </a:cubicBezTo>
                    <a:cubicBezTo>
                      <a:pt x="174" y="109"/>
                      <a:pt x="177" y="107"/>
                      <a:pt x="179" y="106"/>
                    </a:cubicBezTo>
                    <a:cubicBezTo>
                      <a:pt x="186" y="108"/>
                      <a:pt x="194" y="110"/>
                      <a:pt x="201" y="113"/>
                    </a:cubicBezTo>
                    <a:cubicBezTo>
                      <a:pt x="223" y="120"/>
                      <a:pt x="249" y="126"/>
                      <a:pt x="272" y="131"/>
                    </a:cubicBezTo>
                    <a:cubicBezTo>
                      <a:pt x="295" y="136"/>
                      <a:pt x="320" y="141"/>
                      <a:pt x="344" y="146"/>
                    </a:cubicBezTo>
                    <a:cubicBezTo>
                      <a:pt x="352" y="148"/>
                      <a:pt x="359" y="148"/>
                      <a:pt x="367" y="150"/>
                    </a:cubicBezTo>
                    <a:cubicBezTo>
                      <a:pt x="367" y="151"/>
                      <a:pt x="367" y="151"/>
                      <a:pt x="367" y="151"/>
                    </a:cubicBezTo>
                    <a:cubicBezTo>
                      <a:pt x="367" y="154"/>
                      <a:pt x="368" y="155"/>
                      <a:pt x="369" y="157"/>
                    </a:cubicBezTo>
                    <a:cubicBezTo>
                      <a:pt x="369" y="157"/>
                      <a:pt x="370" y="157"/>
                      <a:pt x="370" y="157"/>
                    </a:cubicBezTo>
                    <a:cubicBezTo>
                      <a:pt x="372" y="157"/>
                      <a:pt x="374" y="157"/>
                      <a:pt x="376" y="157"/>
                    </a:cubicBezTo>
                    <a:cubicBezTo>
                      <a:pt x="376" y="157"/>
                      <a:pt x="376" y="157"/>
                      <a:pt x="376" y="157"/>
                    </a:cubicBezTo>
                    <a:cubicBezTo>
                      <a:pt x="379" y="157"/>
                      <a:pt x="380" y="161"/>
                      <a:pt x="377" y="162"/>
                    </a:cubicBezTo>
                    <a:cubicBezTo>
                      <a:pt x="376" y="162"/>
                      <a:pt x="374" y="163"/>
                      <a:pt x="373" y="163"/>
                    </a:cubicBezTo>
                    <a:cubicBezTo>
                      <a:pt x="380" y="170"/>
                      <a:pt x="391" y="172"/>
                      <a:pt x="402" y="172"/>
                    </a:cubicBezTo>
                    <a:cubicBezTo>
                      <a:pt x="407" y="173"/>
                      <a:pt x="414" y="175"/>
                      <a:pt x="420" y="175"/>
                    </a:cubicBezTo>
                    <a:cubicBezTo>
                      <a:pt x="421" y="175"/>
                      <a:pt x="423" y="175"/>
                      <a:pt x="424" y="175"/>
                    </a:cubicBezTo>
                    <a:cubicBezTo>
                      <a:pt x="433" y="175"/>
                      <a:pt x="441" y="174"/>
                      <a:pt x="450" y="174"/>
                    </a:cubicBezTo>
                    <a:cubicBezTo>
                      <a:pt x="463" y="173"/>
                      <a:pt x="474" y="171"/>
                      <a:pt x="485" y="171"/>
                    </a:cubicBezTo>
                    <a:cubicBezTo>
                      <a:pt x="485" y="171"/>
                      <a:pt x="486" y="171"/>
                      <a:pt x="486" y="171"/>
                    </a:cubicBezTo>
                    <a:cubicBezTo>
                      <a:pt x="495" y="171"/>
                      <a:pt x="505" y="166"/>
                      <a:pt x="514" y="166"/>
                    </a:cubicBezTo>
                    <a:cubicBezTo>
                      <a:pt x="528" y="164"/>
                      <a:pt x="540" y="162"/>
                      <a:pt x="553" y="159"/>
                    </a:cubicBezTo>
                    <a:cubicBezTo>
                      <a:pt x="552" y="154"/>
                      <a:pt x="551" y="149"/>
                      <a:pt x="550" y="145"/>
                    </a:cubicBezTo>
                    <a:cubicBezTo>
                      <a:pt x="549" y="144"/>
                      <a:pt x="551" y="143"/>
                      <a:pt x="552" y="143"/>
                    </a:cubicBezTo>
                    <a:cubicBezTo>
                      <a:pt x="552" y="143"/>
                      <a:pt x="553" y="143"/>
                      <a:pt x="553" y="144"/>
                    </a:cubicBezTo>
                    <a:cubicBezTo>
                      <a:pt x="555" y="148"/>
                      <a:pt x="556" y="153"/>
                      <a:pt x="558" y="158"/>
                    </a:cubicBezTo>
                    <a:cubicBezTo>
                      <a:pt x="560" y="157"/>
                      <a:pt x="562" y="157"/>
                      <a:pt x="564" y="156"/>
                    </a:cubicBezTo>
                    <a:cubicBezTo>
                      <a:pt x="565" y="162"/>
                      <a:pt x="566" y="168"/>
                      <a:pt x="568" y="173"/>
                    </a:cubicBezTo>
                    <a:cubicBezTo>
                      <a:pt x="567" y="184"/>
                      <a:pt x="569" y="195"/>
                      <a:pt x="571" y="207"/>
                    </a:cubicBezTo>
                    <a:cubicBezTo>
                      <a:pt x="573" y="229"/>
                      <a:pt x="572" y="253"/>
                      <a:pt x="573" y="278"/>
                    </a:cubicBezTo>
                    <a:cubicBezTo>
                      <a:pt x="573" y="279"/>
                      <a:pt x="573" y="280"/>
                      <a:pt x="573" y="281"/>
                    </a:cubicBezTo>
                    <a:cubicBezTo>
                      <a:pt x="576" y="232"/>
                      <a:pt x="576" y="185"/>
                      <a:pt x="564" y="137"/>
                    </a:cubicBezTo>
                    <a:cubicBezTo>
                      <a:pt x="546" y="143"/>
                      <a:pt x="527" y="147"/>
                      <a:pt x="507" y="147"/>
                    </a:cubicBezTo>
                    <a:cubicBezTo>
                      <a:pt x="505" y="147"/>
                      <a:pt x="504" y="147"/>
                      <a:pt x="503" y="147"/>
                    </a:cubicBezTo>
                    <a:cubicBezTo>
                      <a:pt x="438" y="145"/>
                      <a:pt x="374" y="135"/>
                      <a:pt x="310" y="125"/>
                    </a:cubicBezTo>
                    <a:cubicBezTo>
                      <a:pt x="275" y="119"/>
                      <a:pt x="243" y="109"/>
                      <a:pt x="210" y="97"/>
                    </a:cubicBezTo>
                    <a:cubicBezTo>
                      <a:pt x="177" y="84"/>
                      <a:pt x="144" y="73"/>
                      <a:pt x="111" y="58"/>
                    </a:cubicBezTo>
                    <a:cubicBezTo>
                      <a:pt x="82" y="45"/>
                      <a:pt x="49" y="31"/>
                      <a:pt x="19" y="14"/>
                    </a:cubicBezTo>
                    <a:moveTo>
                      <a:pt x="30" y="0"/>
                    </a:moveTo>
                    <a:cubicBezTo>
                      <a:pt x="30" y="0"/>
                      <a:pt x="30" y="0"/>
                      <a:pt x="30" y="0"/>
                    </a:cubicBezTo>
                    <a:cubicBezTo>
                      <a:pt x="28" y="3"/>
                      <a:pt x="28" y="3"/>
                      <a:pt x="28" y="3"/>
                    </a:cubicBezTo>
                    <a:cubicBezTo>
                      <a:pt x="27" y="4"/>
                      <a:pt x="26" y="5"/>
                      <a:pt x="25" y="6"/>
                    </a:cubicBezTo>
                    <a:cubicBezTo>
                      <a:pt x="27" y="7"/>
                      <a:pt x="29" y="8"/>
                      <a:pt x="32" y="9"/>
                    </a:cubicBezTo>
                    <a:cubicBezTo>
                      <a:pt x="59" y="24"/>
                      <a:pt x="87" y="37"/>
                      <a:pt x="115" y="50"/>
                    </a:cubicBezTo>
                    <a:cubicBezTo>
                      <a:pt x="147" y="65"/>
                      <a:pt x="180" y="76"/>
                      <a:pt x="212" y="88"/>
                    </a:cubicBezTo>
                    <a:cubicBezTo>
                      <a:pt x="243" y="100"/>
                      <a:pt x="273" y="110"/>
                      <a:pt x="305" y="115"/>
                    </a:cubicBezTo>
                    <a:cubicBezTo>
                      <a:pt x="337" y="121"/>
                      <a:pt x="369" y="126"/>
                      <a:pt x="401" y="129"/>
                    </a:cubicBezTo>
                    <a:cubicBezTo>
                      <a:pt x="431" y="132"/>
                      <a:pt x="459" y="138"/>
                      <a:pt x="489" y="139"/>
                    </a:cubicBezTo>
                    <a:cubicBezTo>
                      <a:pt x="497" y="139"/>
                      <a:pt x="505" y="139"/>
                      <a:pt x="514" y="139"/>
                    </a:cubicBezTo>
                    <a:cubicBezTo>
                      <a:pt x="523" y="139"/>
                      <a:pt x="533" y="139"/>
                      <a:pt x="542" y="136"/>
                    </a:cubicBezTo>
                    <a:cubicBezTo>
                      <a:pt x="549" y="135"/>
                      <a:pt x="556" y="133"/>
                      <a:pt x="563" y="130"/>
                    </a:cubicBezTo>
                    <a:cubicBezTo>
                      <a:pt x="563" y="130"/>
                      <a:pt x="563" y="129"/>
                      <a:pt x="563" y="129"/>
                    </a:cubicBezTo>
                    <a:cubicBezTo>
                      <a:pt x="550" y="132"/>
                      <a:pt x="538" y="135"/>
                      <a:pt x="526" y="135"/>
                    </a:cubicBezTo>
                    <a:cubicBezTo>
                      <a:pt x="526" y="135"/>
                      <a:pt x="526" y="135"/>
                      <a:pt x="526" y="135"/>
                    </a:cubicBezTo>
                    <a:cubicBezTo>
                      <a:pt x="526" y="135"/>
                      <a:pt x="526" y="135"/>
                      <a:pt x="526" y="135"/>
                    </a:cubicBezTo>
                    <a:cubicBezTo>
                      <a:pt x="526" y="135"/>
                      <a:pt x="526" y="135"/>
                      <a:pt x="526" y="135"/>
                    </a:cubicBezTo>
                    <a:cubicBezTo>
                      <a:pt x="526" y="135"/>
                      <a:pt x="525" y="135"/>
                      <a:pt x="525" y="135"/>
                    </a:cubicBezTo>
                    <a:cubicBezTo>
                      <a:pt x="525" y="135"/>
                      <a:pt x="525" y="135"/>
                      <a:pt x="525" y="135"/>
                    </a:cubicBezTo>
                    <a:cubicBezTo>
                      <a:pt x="510" y="134"/>
                      <a:pt x="492" y="134"/>
                      <a:pt x="477" y="133"/>
                    </a:cubicBezTo>
                    <a:cubicBezTo>
                      <a:pt x="459" y="132"/>
                      <a:pt x="440" y="128"/>
                      <a:pt x="423" y="126"/>
                    </a:cubicBezTo>
                    <a:cubicBezTo>
                      <a:pt x="400" y="123"/>
                      <a:pt x="373" y="122"/>
                      <a:pt x="348" y="116"/>
                    </a:cubicBezTo>
                    <a:cubicBezTo>
                      <a:pt x="316" y="112"/>
                      <a:pt x="282" y="106"/>
                      <a:pt x="249" y="95"/>
                    </a:cubicBezTo>
                    <a:cubicBezTo>
                      <a:pt x="222" y="85"/>
                      <a:pt x="196" y="74"/>
                      <a:pt x="169" y="66"/>
                    </a:cubicBezTo>
                    <a:cubicBezTo>
                      <a:pt x="134" y="52"/>
                      <a:pt x="102" y="37"/>
                      <a:pt x="71" y="21"/>
                    </a:cubicBezTo>
                    <a:cubicBezTo>
                      <a:pt x="57" y="14"/>
                      <a:pt x="43" y="7"/>
                      <a:pt x="30" y="0"/>
                    </a:cubicBezTo>
                  </a:path>
                </a:pathLst>
              </a:custGeom>
              <a:solidFill>
                <a:srgbClr val="EF827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25" name="Freeform 71">
                <a:extLst>
                  <a:ext uri="{FF2B5EF4-FFF2-40B4-BE49-F238E27FC236}">
                    <a16:creationId xmlns:a16="http://schemas.microsoft.com/office/drawing/2014/main" id="{3D6AB3C5-9B06-4B55-A6E8-7E8C111029F1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2155" y="1715"/>
                <a:ext cx="838" cy="918"/>
              </a:xfrm>
              <a:custGeom>
                <a:avLst/>
                <a:gdLst>
                  <a:gd name="T0" fmla="*/ 401 w 791"/>
                  <a:gd name="T1" fmla="*/ 93 h 867"/>
                  <a:gd name="T2" fmla="*/ 401 w 791"/>
                  <a:gd name="T3" fmla="*/ 97 h 867"/>
                  <a:gd name="T4" fmla="*/ 401 w 791"/>
                  <a:gd name="T5" fmla="*/ 97 h 867"/>
                  <a:gd name="T6" fmla="*/ 519 w 791"/>
                  <a:gd name="T7" fmla="*/ 110 h 867"/>
                  <a:gd name="T8" fmla="*/ 665 w 791"/>
                  <a:gd name="T9" fmla="*/ 180 h 867"/>
                  <a:gd name="T10" fmla="*/ 785 w 791"/>
                  <a:gd name="T11" fmla="*/ 484 h 867"/>
                  <a:gd name="T12" fmla="*/ 769 w 791"/>
                  <a:gd name="T13" fmla="*/ 671 h 867"/>
                  <a:gd name="T14" fmla="*/ 730 w 791"/>
                  <a:gd name="T15" fmla="*/ 849 h 867"/>
                  <a:gd name="T16" fmla="*/ 724 w 791"/>
                  <a:gd name="T17" fmla="*/ 867 h 867"/>
                  <a:gd name="T18" fmla="*/ 730 w 791"/>
                  <a:gd name="T19" fmla="*/ 852 h 867"/>
                  <a:gd name="T20" fmla="*/ 758 w 791"/>
                  <a:gd name="T21" fmla="*/ 743 h 867"/>
                  <a:gd name="T22" fmla="*/ 789 w 791"/>
                  <a:gd name="T23" fmla="*/ 498 h 867"/>
                  <a:gd name="T24" fmla="*/ 754 w 791"/>
                  <a:gd name="T25" fmla="*/ 296 h 867"/>
                  <a:gd name="T26" fmla="*/ 630 w 791"/>
                  <a:gd name="T27" fmla="*/ 143 h 867"/>
                  <a:gd name="T28" fmla="*/ 437 w 791"/>
                  <a:gd name="T29" fmla="*/ 97 h 867"/>
                  <a:gd name="T30" fmla="*/ 401 w 791"/>
                  <a:gd name="T31" fmla="*/ 93 h 867"/>
                  <a:gd name="T32" fmla="*/ 65 w 791"/>
                  <a:gd name="T33" fmla="*/ 0 h 867"/>
                  <a:gd name="T34" fmla="*/ 0 w 791"/>
                  <a:gd name="T35" fmla="*/ 13 h 867"/>
                  <a:gd name="T36" fmla="*/ 56 w 791"/>
                  <a:gd name="T37" fmla="*/ 5 h 867"/>
                  <a:gd name="T38" fmla="*/ 160 w 791"/>
                  <a:gd name="T39" fmla="*/ 27 h 867"/>
                  <a:gd name="T40" fmla="*/ 336 w 791"/>
                  <a:gd name="T41" fmla="*/ 89 h 867"/>
                  <a:gd name="T42" fmla="*/ 391 w 791"/>
                  <a:gd name="T43" fmla="*/ 96 h 867"/>
                  <a:gd name="T44" fmla="*/ 391 w 791"/>
                  <a:gd name="T45" fmla="*/ 92 h 867"/>
                  <a:gd name="T46" fmla="*/ 336 w 791"/>
                  <a:gd name="T47" fmla="*/ 84 h 867"/>
                  <a:gd name="T48" fmla="*/ 239 w 791"/>
                  <a:gd name="T49" fmla="*/ 54 h 867"/>
                  <a:gd name="T50" fmla="*/ 65 w 791"/>
                  <a:gd name="T51" fmla="*/ 0 h 8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791" h="867">
                    <a:moveTo>
                      <a:pt x="401" y="93"/>
                    </a:moveTo>
                    <a:cubicBezTo>
                      <a:pt x="401" y="95"/>
                      <a:pt x="401" y="96"/>
                      <a:pt x="401" y="97"/>
                    </a:cubicBezTo>
                    <a:cubicBezTo>
                      <a:pt x="401" y="97"/>
                      <a:pt x="401" y="97"/>
                      <a:pt x="401" y="97"/>
                    </a:cubicBezTo>
                    <a:cubicBezTo>
                      <a:pt x="440" y="101"/>
                      <a:pt x="480" y="103"/>
                      <a:pt x="519" y="110"/>
                    </a:cubicBezTo>
                    <a:cubicBezTo>
                      <a:pt x="574" y="120"/>
                      <a:pt x="624" y="142"/>
                      <a:pt x="665" y="180"/>
                    </a:cubicBezTo>
                    <a:cubicBezTo>
                      <a:pt x="748" y="257"/>
                      <a:pt x="785" y="373"/>
                      <a:pt x="785" y="484"/>
                    </a:cubicBezTo>
                    <a:cubicBezTo>
                      <a:pt x="786" y="547"/>
                      <a:pt x="779" y="610"/>
                      <a:pt x="769" y="671"/>
                    </a:cubicBezTo>
                    <a:cubicBezTo>
                      <a:pt x="760" y="731"/>
                      <a:pt x="749" y="792"/>
                      <a:pt x="730" y="849"/>
                    </a:cubicBezTo>
                    <a:cubicBezTo>
                      <a:pt x="728" y="855"/>
                      <a:pt x="726" y="861"/>
                      <a:pt x="724" y="867"/>
                    </a:cubicBezTo>
                    <a:cubicBezTo>
                      <a:pt x="726" y="862"/>
                      <a:pt x="728" y="857"/>
                      <a:pt x="730" y="852"/>
                    </a:cubicBezTo>
                    <a:cubicBezTo>
                      <a:pt x="742" y="817"/>
                      <a:pt x="752" y="781"/>
                      <a:pt x="758" y="743"/>
                    </a:cubicBezTo>
                    <a:cubicBezTo>
                      <a:pt x="775" y="663"/>
                      <a:pt x="787" y="579"/>
                      <a:pt x="789" y="498"/>
                    </a:cubicBezTo>
                    <a:cubicBezTo>
                      <a:pt x="791" y="428"/>
                      <a:pt x="782" y="359"/>
                      <a:pt x="754" y="296"/>
                    </a:cubicBezTo>
                    <a:cubicBezTo>
                      <a:pt x="729" y="235"/>
                      <a:pt x="686" y="180"/>
                      <a:pt x="630" y="143"/>
                    </a:cubicBezTo>
                    <a:cubicBezTo>
                      <a:pt x="571" y="108"/>
                      <a:pt x="504" y="100"/>
                      <a:pt x="437" y="97"/>
                    </a:cubicBezTo>
                    <a:cubicBezTo>
                      <a:pt x="425" y="96"/>
                      <a:pt x="413" y="95"/>
                      <a:pt x="401" y="93"/>
                    </a:cubicBezTo>
                    <a:moveTo>
                      <a:pt x="65" y="0"/>
                    </a:moveTo>
                    <a:cubicBezTo>
                      <a:pt x="42" y="1"/>
                      <a:pt x="21" y="5"/>
                      <a:pt x="0" y="13"/>
                    </a:cubicBezTo>
                    <a:cubicBezTo>
                      <a:pt x="19" y="7"/>
                      <a:pt x="38" y="5"/>
                      <a:pt x="56" y="5"/>
                    </a:cubicBezTo>
                    <a:cubicBezTo>
                      <a:pt x="91" y="5"/>
                      <a:pt x="126" y="13"/>
                      <a:pt x="160" y="27"/>
                    </a:cubicBezTo>
                    <a:cubicBezTo>
                      <a:pt x="219" y="50"/>
                      <a:pt x="274" y="76"/>
                      <a:pt x="336" y="89"/>
                    </a:cubicBezTo>
                    <a:cubicBezTo>
                      <a:pt x="354" y="92"/>
                      <a:pt x="373" y="95"/>
                      <a:pt x="391" y="96"/>
                    </a:cubicBezTo>
                    <a:cubicBezTo>
                      <a:pt x="391" y="95"/>
                      <a:pt x="391" y="94"/>
                      <a:pt x="391" y="92"/>
                    </a:cubicBezTo>
                    <a:cubicBezTo>
                      <a:pt x="373" y="90"/>
                      <a:pt x="354" y="88"/>
                      <a:pt x="336" y="84"/>
                    </a:cubicBezTo>
                    <a:cubicBezTo>
                      <a:pt x="302" y="78"/>
                      <a:pt x="271" y="67"/>
                      <a:pt x="239" y="54"/>
                    </a:cubicBezTo>
                    <a:cubicBezTo>
                      <a:pt x="184" y="31"/>
                      <a:pt x="126" y="0"/>
                      <a:pt x="65" y="0"/>
                    </a:cubicBezTo>
                  </a:path>
                </a:pathLst>
              </a:custGeom>
              <a:solidFill>
                <a:srgbClr val="EF827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26" name="Freeform 72">
                <a:extLst>
                  <a:ext uri="{FF2B5EF4-FFF2-40B4-BE49-F238E27FC236}">
                    <a16:creationId xmlns:a16="http://schemas.microsoft.com/office/drawing/2014/main" id="{12E8CB00-92C2-47AE-B522-D4287670F6E9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569" y="1812"/>
                <a:ext cx="11" cy="6"/>
              </a:xfrm>
              <a:custGeom>
                <a:avLst/>
                <a:gdLst>
                  <a:gd name="T0" fmla="*/ 0 w 10"/>
                  <a:gd name="T1" fmla="*/ 0 h 5"/>
                  <a:gd name="T2" fmla="*/ 0 w 10"/>
                  <a:gd name="T3" fmla="*/ 4 h 5"/>
                  <a:gd name="T4" fmla="*/ 10 w 10"/>
                  <a:gd name="T5" fmla="*/ 5 h 5"/>
                  <a:gd name="T6" fmla="*/ 10 w 10"/>
                  <a:gd name="T7" fmla="*/ 5 h 5"/>
                  <a:gd name="T8" fmla="*/ 10 w 10"/>
                  <a:gd name="T9" fmla="*/ 1 h 5"/>
                  <a:gd name="T10" fmla="*/ 0 w 10"/>
                  <a:gd name="T11" fmla="*/ 0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0" h="5">
                    <a:moveTo>
                      <a:pt x="0" y="0"/>
                    </a:moveTo>
                    <a:cubicBezTo>
                      <a:pt x="0" y="2"/>
                      <a:pt x="0" y="3"/>
                      <a:pt x="0" y="4"/>
                    </a:cubicBezTo>
                    <a:cubicBezTo>
                      <a:pt x="3" y="5"/>
                      <a:pt x="6" y="5"/>
                      <a:pt x="10" y="5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4"/>
                      <a:pt x="10" y="3"/>
                      <a:pt x="10" y="1"/>
                    </a:cubicBezTo>
                    <a:cubicBezTo>
                      <a:pt x="6" y="1"/>
                      <a:pt x="3" y="1"/>
                      <a:pt x="0" y="0"/>
                    </a:cubicBezTo>
                  </a:path>
                </a:pathLst>
              </a:custGeom>
              <a:solidFill>
                <a:srgbClr val="9F333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27" name="Freeform 73">
                <a:extLst>
                  <a:ext uri="{FF2B5EF4-FFF2-40B4-BE49-F238E27FC236}">
                    <a16:creationId xmlns:a16="http://schemas.microsoft.com/office/drawing/2014/main" id="{F952085D-2C2F-434C-83B0-D14CDE7CA7E2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1799" y="1732"/>
                <a:ext cx="1193" cy="999"/>
              </a:xfrm>
              <a:custGeom>
                <a:avLst/>
                <a:gdLst>
                  <a:gd name="T0" fmla="*/ 176 w 1126"/>
                  <a:gd name="T1" fmla="*/ 577 h 944"/>
                  <a:gd name="T2" fmla="*/ 158 w 1126"/>
                  <a:gd name="T3" fmla="*/ 663 h 944"/>
                  <a:gd name="T4" fmla="*/ 203 w 1126"/>
                  <a:gd name="T5" fmla="*/ 516 h 944"/>
                  <a:gd name="T6" fmla="*/ 586 w 1126"/>
                  <a:gd name="T7" fmla="*/ 413 h 944"/>
                  <a:gd name="T8" fmla="*/ 632 w 1126"/>
                  <a:gd name="T9" fmla="*/ 446 h 944"/>
                  <a:gd name="T10" fmla="*/ 589 w 1126"/>
                  <a:gd name="T11" fmla="*/ 410 h 944"/>
                  <a:gd name="T12" fmla="*/ 282 w 1126"/>
                  <a:gd name="T13" fmla="*/ 384 h 944"/>
                  <a:gd name="T14" fmla="*/ 768 w 1126"/>
                  <a:gd name="T15" fmla="*/ 473 h 944"/>
                  <a:gd name="T16" fmla="*/ 861 w 1126"/>
                  <a:gd name="T17" fmla="*/ 456 h 944"/>
                  <a:gd name="T18" fmla="*/ 777 w 1126"/>
                  <a:gd name="T19" fmla="*/ 469 h 944"/>
                  <a:gd name="T20" fmla="*/ 752 w 1126"/>
                  <a:gd name="T21" fmla="*/ 467 h 944"/>
                  <a:gd name="T22" fmla="*/ 666 w 1126"/>
                  <a:gd name="T23" fmla="*/ 379 h 944"/>
                  <a:gd name="T24" fmla="*/ 232 w 1126"/>
                  <a:gd name="T25" fmla="*/ 245 h 944"/>
                  <a:gd name="T26" fmla="*/ 527 w 1126"/>
                  <a:gd name="T27" fmla="*/ 396 h 944"/>
                  <a:gd name="T28" fmla="*/ 525 w 1126"/>
                  <a:gd name="T29" fmla="*/ 394 h 944"/>
                  <a:gd name="T30" fmla="*/ 510 w 1126"/>
                  <a:gd name="T31" fmla="*/ 395 h 944"/>
                  <a:gd name="T32" fmla="*/ 438 w 1126"/>
                  <a:gd name="T33" fmla="*/ 378 h 944"/>
                  <a:gd name="T34" fmla="*/ 436 w 1126"/>
                  <a:gd name="T35" fmla="*/ 377 h 944"/>
                  <a:gd name="T36" fmla="*/ 435 w 1126"/>
                  <a:gd name="T37" fmla="*/ 376 h 944"/>
                  <a:gd name="T38" fmla="*/ 210 w 1126"/>
                  <a:gd name="T39" fmla="*/ 109 h 944"/>
                  <a:gd name="T40" fmla="*/ 636 w 1126"/>
                  <a:gd name="T41" fmla="*/ 393 h 944"/>
                  <a:gd name="T42" fmla="*/ 612 w 1126"/>
                  <a:gd name="T43" fmla="*/ 459 h 944"/>
                  <a:gd name="T44" fmla="*/ 599 w 1126"/>
                  <a:gd name="T45" fmla="*/ 395 h 944"/>
                  <a:gd name="T46" fmla="*/ 868 w 1126"/>
                  <a:gd name="T47" fmla="*/ 142 h 944"/>
                  <a:gd name="T48" fmla="*/ 785 w 1126"/>
                  <a:gd name="T49" fmla="*/ 132 h 944"/>
                  <a:gd name="T50" fmla="*/ 746 w 1126"/>
                  <a:gd name="T51" fmla="*/ 127 h 944"/>
                  <a:gd name="T52" fmla="*/ 363 w 1126"/>
                  <a:gd name="T53" fmla="*/ 23 h 944"/>
                  <a:gd name="T54" fmla="*/ 396 w 1126"/>
                  <a:gd name="T55" fmla="*/ 27 h 944"/>
                  <a:gd name="T56" fmla="*/ 616 w 1126"/>
                  <a:gd name="T57" fmla="*/ 110 h 944"/>
                  <a:gd name="T58" fmla="*/ 515 w 1126"/>
                  <a:gd name="T59" fmla="*/ 117 h 944"/>
                  <a:gd name="T60" fmla="*/ 585 w 1126"/>
                  <a:gd name="T61" fmla="*/ 355 h 944"/>
                  <a:gd name="T62" fmla="*/ 271 w 1126"/>
                  <a:gd name="T63" fmla="*/ 292 h 944"/>
                  <a:gd name="T64" fmla="*/ 308 w 1126"/>
                  <a:gd name="T65" fmla="*/ 31 h 944"/>
                  <a:gd name="T66" fmla="*/ 363 w 1126"/>
                  <a:gd name="T67" fmla="*/ 23 h 944"/>
                  <a:gd name="T68" fmla="*/ 89 w 1126"/>
                  <a:gd name="T69" fmla="*/ 259 h 944"/>
                  <a:gd name="T70" fmla="*/ 58 w 1126"/>
                  <a:gd name="T71" fmla="*/ 767 h 944"/>
                  <a:gd name="T72" fmla="*/ 98 w 1126"/>
                  <a:gd name="T73" fmla="*/ 755 h 944"/>
                  <a:gd name="T74" fmla="*/ 256 w 1126"/>
                  <a:gd name="T75" fmla="*/ 427 h 944"/>
                  <a:gd name="T76" fmla="*/ 256 w 1126"/>
                  <a:gd name="T77" fmla="*/ 349 h 944"/>
                  <a:gd name="T78" fmla="*/ 311 w 1126"/>
                  <a:gd name="T79" fmla="*/ 385 h 944"/>
                  <a:gd name="T80" fmla="*/ 245 w 1126"/>
                  <a:gd name="T81" fmla="*/ 323 h 944"/>
                  <a:gd name="T82" fmla="*/ 437 w 1126"/>
                  <a:gd name="T83" fmla="*/ 425 h 944"/>
                  <a:gd name="T84" fmla="*/ 855 w 1126"/>
                  <a:gd name="T85" fmla="*/ 507 h 944"/>
                  <a:gd name="T86" fmla="*/ 942 w 1126"/>
                  <a:gd name="T87" fmla="*/ 490 h 944"/>
                  <a:gd name="T88" fmla="*/ 903 w 1126"/>
                  <a:gd name="T89" fmla="*/ 520 h 944"/>
                  <a:gd name="T90" fmla="*/ 979 w 1126"/>
                  <a:gd name="T91" fmla="*/ 483 h 944"/>
                  <a:gd name="T92" fmla="*/ 929 w 1126"/>
                  <a:gd name="T93" fmla="*/ 538 h 944"/>
                  <a:gd name="T94" fmla="*/ 927 w 1126"/>
                  <a:gd name="T95" fmla="*/ 792 h 944"/>
                  <a:gd name="T96" fmla="*/ 961 w 1126"/>
                  <a:gd name="T97" fmla="*/ 944 h 944"/>
                  <a:gd name="T98" fmla="*/ 1099 w 1126"/>
                  <a:gd name="T99" fmla="*/ 357 h 944"/>
                  <a:gd name="T100" fmla="*/ 1062 w 1126"/>
                  <a:gd name="T101" fmla="*/ 358 h 944"/>
                  <a:gd name="T102" fmla="*/ 769 w 1126"/>
                  <a:gd name="T103" fmla="*/ 482 h 944"/>
                  <a:gd name="T104" fmla="*/ 912 w 1126"/>
                  <a:gd name="T105" fmla="*/ 161 h 944"/>
                  <a:gd name="T106" fmla="*/ 923 w 1126"/>
                  <a:gd name="T107" fmla="*/ 160 h 944"/>
                  <a:gd name="T108" fmla="*/ 911 w 1126"/>
                  <a:gd name="T109" fmla="*/ 119 h 944"/>
                  <a:gd name="T110" fmla="*/ 397 w 1126"/>
                  <a:gd name="T111" fmla="*/ 0 h 9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1126" h="944">
                    <a:moveTo>
                      <a:pt x="251" y="443"/>
                    </a:moveTo>
                    <a:cubicBezTo>
                      <a:pt x="246" y="451"/>
                      <a:pt x="240" y="459"/>
                      <a:pt x="236" y="468"/>
                    </a:cubicBezTo>
                    <a:cubicBezTo>
                      <a:pt x="223" y="488"/>
                      <a:pt x="206" y="507"/>
                      <a:pt x="196" y="528"/>
                    </a:cubicBezTo>
                    <a:cubicBezTo>
                      <a:pt x="188" y="544"/>
                      <a:pt x="181" y="561"/>
                      <a:pt x="176" y="577"/>
                    </a:cubicBezTo>
                    <a:cubicBezTo>
                      <a:pt x="164" y="614"/>
                      <a:pt x="159" y="653"/>
                      <a:pt x="148" y="690"/>
                    </a:cubicBezTo>
                    <a:cubicBezTo>
                      <a:pt x="146" y="695"/>
                      <a:pt x="144" y="700"/>
                      <a:pt x="143" y="705"/>
                    </a:cubicBezTo>
                    <a:cubicBezTo>
                      <a:pt x="146" y="697"/>
                      <a:pt x="150" y="689"/>
                      <a:pt x="151" y="683"/>
                    </a:cubicBezTo>
                    <a:cubicBezTo>
                      <a:pt x="153" y="675"/>
                      <a:pt x="157" y="669"/>
                      <a:pt x="158" y="663"/>
                    </a:cubicBezTo>
                    <a:cubicBezTo>
                      <a:pt x="161" y="650"/>
                      <a:pt x="164" y="635"/>
                      <a:pt x="167" y="621"/>
                    </a:cubicBezTo>
                    <a:cubicBezTo>
                      <a:pt x="170" y="606"/>
                      <a:pt x="176" y="591"/>
                      <a:pt x="179" y="577"/>
                    </a:cubicBezTo>
                    <a:cubicBezTo>
                      <a:pt x="181" y="566"/>
                      <a:pt x="186" y="556"/>
                      <a:pt x="190" y="546"/>
                    </a:cubicBezTo>
                    <a:cubicBezTo>
                      <a:pt x="194" y="536"/>
                      <a:pt x="199" y="526"/>
                      <a:pt x="203" y="516"/>
                    </a:cubicBezTo>
                    <a:cubicBezTo>
                      <a:pt x="217" y="492"/>
                      <a:pt x="238" y="470"/>
                      <a:pt x="249" y="446"/>
                    </a:cubicBezTo>
                    <a:cubicBezTo>
                      <a:pt x="250" y="445"/>
                      <a:pt x="250" y="444"/>
                      <a:pt x="251" y="443"/>
                    </a:cubicBezTo>
                    <a:moveTo>
                      <a:pt x="589" y="410"/>
                    </a:moveTo>
                    <a:cubicBezTo>
                      <a:pt x="588" y="411"/>
                      <a:pt x="587" y="412"/>
                      <a:pt x="586" y="413"/>
                    </a:cubicBezTo>
                    <a:cubicBezTo>
                      <a:pt x="582" y="420"/>
                      <a:pt x="581" y="430"/>
                      <a:pt x="583" y="436"/>
                    </a:cubicBezTo>
                    <a:cubicBezTo>
                      <a:pt x="587" y="447"/>
                      <a:pt x="600" y="453"/>
                      <a:pt x="613" y="453"/>
                    </a:cubicBezTo>
                    <a:cubicBezTo>
                      <a:pt x="618" y="453"/>
                      <a:pt x="623" y="452"/>
                      <a:pt x="627" y="450"/>
                    </a:cubicBezTo>
                    <a:cubicBezTo>
                      <a:pt x="629" y="449"/>
                      <a:pt x="631" y="447"/>
                      <a:pt x="632" y="446"/>
                    </a:cubicBezTo>
                    <a:cubicBezTo>
                      <a:pt x="629" y="447"/>
                      <a:pt x="625" y="447"/>
                      <a:pt x="621" y="447"/>
                    </a:cubicBezTo>
                    <a:cubicBezTo>
                      <a:pt x="610" y="447"/>
                      <a:pt x="599" y="443"/>
                      <a:pt x="592" y="435"/>
                    </a:cubicBezTo>
                    <a:cubicBezTo>
                      <a:pt x="588" y="430"/>
                      <a:pt x="587" y="425"/>
                      <a:pt x="587" y="421"/>
                    </a:cubicBezTo>
                    <a:cubicBezTo>
                      <a:pt x="587" y="417"/>
                      <a:pt x="588" y="413"/>
                      <a:pt x="589" y="410"/>
                    </a:cubicBezTo>
                    <a:moveTo>
                      <a:pt x="282" y="384"/>
                    </a:moveTo>
                    <a:cubicBezTo>
                      <a:pt x="277" y="398"/>
                      <a:pt x="271" y="412"/>
                      <a:pt x="263" y="424"/>
                    </a:cubicBezTo>
                    <a:cubicBezTo>
                      <a:pt x="271" y="412"/>
                      <a:pt x="279" y="400"/>
                      <a:pt x="285" y="387"/>
                    </a:cubicBezTo>
                    <a:cubicBezTo>
                      <a:pt x="284" y="386"/>
                      <a:pt x="283" y="385"/>
                      <a:pt x="282" y="384"/>
                    </a:cubicBezTo>
                    <a:moveTo>
                      <a:pt x="675" y="333"/>
                    </a:moveTo>
                    <a:cubicBezTo>
                      <a:pt x="666" y="351"/>
                      <a:pt x="661" y="369"/>
                      <a:pt x="661" y="389"/>
                    </a:cubicBezTo>
                    <a:cubicBezTo>
                      <a:pt x="662" y="427"/>
                      <a:pt x="688" y="454"/>
                      <a:pt x="722" y="466"/>
                    </a:cubicBezTo>
                    <a:cubicBezTo>
                      <a:pt x="737" y="471"/>
                      <a:pt x="752" y="473"/>
                      <a:pt x="768" y="473"/>
                    </a:cubicBezTo>
                    <a:cubicBezTo>
                      <a:pt x="790" y="473"/>
                      <a:pt x="812" y="469"/>
                      <a:pt x="833" y="465"/>
                    </a:cubicBezTo>
                    <a:cubicBezTo>
                      <a:pt x="869" y="457"/>
                      <a:pt x="905" y="451"/>
                      <a:pt x="939" y="439"/>
                    </a:cubicBezTo>
                    <a:cubicBezTo>
                      <a:pt x="952" y="435"/>
                      <a:pt x="965" y="430"/>
                      <a:pt x="977" y="424"/>
                    </a:cubicBezTo>
                    <a:cubicBezTo>
                      <a:pt x="939" y="440"/>
                      <a:pt x="900" y="449"/>
                      <a:pt x="861" y="456"/>
                    </a:cubicBezTo>
                    <a:cubicBezTo>
                      <a:pt x="861" y="456"/>
                      <a:pt x="861" y="456"/>
                      <a:pt x="861" y="456"/>
                    </a:cubicBezTo>
                    <a:cubicBezTo>
                      <a:pt x="860" y="456"/>
                      <a:pt x="859" y="456"/>
                      <a:pt x="858" y="456"/>
                    </a:cubicBezTo>
                    <a:cubicBezTo>
                      <a:pt x="858" y="456"/>
                      <a:pt x="858" y="456"/>
                      <a:pt x="858" y="456"/>
                    </a:cubicBezTo>
                    <a:cubicBezTo>
                      <a:pt x="831" y="463"/>
                      <a:pt x="804" y="469"/>
                      <a:pt x="777" y="469"/>
                    </a:cubicBezTo>
                    <a:cubicBezTo>
                      <a:pt x="777" y="469"/>
                      <a:pt x="777" y="469"/>
                      <a:pt x="777" y="469"/>
                    </a:cubicBezTo>
                    <a:cubicBezTo>
                      <a:pt x="777" y="469"/>
                      <a:pt x="777" y="469"/>
                      <a:pt x="777" y="469"/>
                    </a:cubicBezTo>
                    <a:cubicBezTo>
                      <a:pt x="777" y="469"/>
                      <a:pt x="777" y="469"/>
                      <a:pt x="777" y="469"/>
                    </a:cubicBezTo>
                    <a:cubicBezTo>
                      <a:pt x="769" y="469"/>
                      <a:pt x="760" y="468"/>
                      <a:pt x="752" y="467"/>
                    </a:cubicBezTo>
                    <a:cubicBezTo>
                      <a:pt x="751" y="467"/>
                      <a:pt x="751" y="467"/>
                      <a:pt x="751" y="467"/>
                    </a:cubicBezTo>
                    <a:cubicBezTo>
                      <a:pt x="751" y="467"/>
                      <a:pt x="751" y="467"/>
                      <a:pt x="751" y="467"/>
                    </a:cubicBezTo>
                    <a:cubicBezTo>
                      <a:pt x="712" y="461"/>
                      <a:pt x="677" y="438"/>
                      <a:pt x="668" y="400"/>
                    </a:cubicBezTo>
                    <a:cubicBezTo>
                      <a:pt x="666" y="393"/>
                      <a:pt x="666" y="386"/>
                      <a:pt x="666" y="379"/>
                    </a:cubicBezTo>
                    <a:cubicBezTo>
                      <a:pt x="666" y="363"/>
                      <a:pt x="669" y="348"/>
                      <a:pt x="675" y="333"/>
                    </a:cubicBezTo>
                    <a:moveTo>
                      <a:pt x="210" y="109"/>
                    </a:moveTo>
                    <a:cubicBezTo>
                      <a:pt x="207" y="114"/>
                      <a:pt x="205" y="119"/>
                      <a:pt x="203" y="125"/>
                    </a:cubicBezTo>
                    <a:cubicBezTo>
                      <a:pt x="191" y="164"/>
                      <a:pt x="207" y="214"/>
                      <a:pt x="232" y="245"/>
                    </a:cubicBezTo>
                    <a:cubicBezTo>
                      <a:pt x="253" y="271"/>
                      <a:pt x="281" y="291"/>
                      <a:pt x="308" y="310"/>
                    </a:cubicBezTo>
                    <a:cubicBezTo>
                      <a:pt x="341" y="333"/>
                      <a:pt x="375" y="355"/>
                      <a:pt x="411" y="373"/>
                    </a:cubicBezTo>
                    <a:cubicBezTo>
                      <a:pt x="437" y="387"/>
                      <a:pt x="469" y="400"/>
                      <a:pt x="500" y="400"/>
                    </a:cubicBezTo>
                    <a:cubicBezTo>
                      <a:pt x="509" y="400"/>
                      <a:pt x="518" y="399"/>
                      <a:pt x="527" y="396"/>
                    </a:cubicBezTo>
                    <a:cubicBezTo>
                      <a:pt x="534" y="394"/>
                      <a:pt x="540" y="391"/>
                      <a:pt x="546" y="387"/>
                    </a:cubicBezTo>
                    <a:cubicBezTo>
                      <a:pt x="540" y="390"/>
                      <a:pt x="533" y="392"/>
                      <a:pt x="526" y="394"/>
                    </a:cubicBezTo>
                    <a:cubicBezTo>
                      <a:pt x="526" y="394"/>
                      <a:pt x="525" y="394"/>
                      <a:pt x="525" y="394"/>
                    </a:cubicBezTo>
                    <a:cubicBezTo>
                      <a:pt x="525" y="394"/>
                      <a:pt x="525" y="394"/>
                      <a:pt x="525" y="394"/>
                    </a:cubicBezTo>
                    <a:cubicBezTo>
                      <a:pt x="525" y="394"/>
                      <a:pt x="525" y="394"/>
                      <a:pt x="525" y="394"/>
                    </a:cubicBezTo>
                    <a:cubicBezTo>
                      <a:pt x="520" y="394"/>
                      <a:pt x="515" y="395"/>
                      <a:pt x="510" y="395"/>
                    </a:cubicBezTo>
                    <a:cubicBezTo>
                      <a:pt x="510" y="395"/>
                      <a:pt x="510" y="395"/>
                      <a:pt x="510" y="395"/>
                    </a:cubicBezTo>
                    <a:cubicBezTo>
                      <a:pt x="510" y="395"/>
                      <a:pt x="510" y="395"/>
                      <a:pt x="510" y="395"/>
                    </a:cubicBezTo>
                    <a:cubicBezTo>
                      <a:pt x="510" y="395"/>
                      <a:pt x="510" y="395"/>
                      <a:pt x="510" y="395"/>
                    </a:cubicBezTo>
                    <a:cubicBezTo>
                      <a:pt x="485" y="395"/>
                      <a:pt x="461" y="388"/>
                      <a:pt x="439" y="378"/>
                    </a:cubicBezTo>
                    <a:cubicBezTo>
                      <a:pt x="439" y="378"/>
                      <a:pt x="439" y="378"/>
                      <a:pt x="439" y="378"/>
                    </a:cubicBezTo>
                    <a:cubicBezTo>
                      <a:pt x="438" y="378"/>
                      <a:pt x="438" y="378"/>
                      <a:pt x="438" y="378"/>
                    </a:cubicBezTo>
                    <a:cubicBezTo>
                      <a:pt x="438" y="377"/>
                      <a:pt x="438" y="377"/>
                      <a:pt x="437" y="377"/>
                    </a:cubicBezTo>
                    <a:cubicBezTo>
                      <a:pt x="437" y="377"/>
                      <a:pt x="437" y="377"/>
                      <a:pt x="437" y="377"/>
                    </a:cubicBezTo>
                    <a:cubicBezTo>
                      <a:pt x="437" y="377"/>
                      <a:pt x="437" y="377"/>
                      <a:pt x="437" y="377"/>
                    </a:cubicBezTo>
                    <a:cubicBezTo>
                      <a:pt x="437" y="377"/>
                      <a:pt x="437" y="377"/>
                      <a:pt x="436" y="377"/>
                    </a:cubicBezTo>
                    <a:cubicBezTo>
                      <a:pt x="436" y="377"/>
                      <a:pt x="436" y="377"/>
                      <a:pt x="436" y="377"/>
                    </a:cubicBezTo>
                    <a:cubicBezTo>
                      <a:pt x="436" y="377"/>
                      <a:pt x="435" y="376"/>
                      <a:pt x="435" y="376"/>
                    </a:cubicBezTo>
                    <a:cubicBezTo>
                      <a:pt x="435" y="376"/>
                      <a:pt x="435" y="376"/>
                      <a:pt x="435" y="376"/>
                    </a:cubicBezTo>
                    <a:cubicBezTo>
                      <a:pt x="435" y="376"/>
                      <a:pt x="435" y="376"/>
                      <a:pt x="435" y="376"/>
                    </a:cubicBezTo>
                    <a:cubicBezTo>
                      <a:pt x="385" y="352"/>
                      <a:pt x="336" y="322"/>
                      <a:pt x="291" y="287"/>
                    </a:cubicBezTo>
                    <a:cubicBezTo>
                      <a:pt x="260" y="263"/>
                      <a:pt x="227" y="236"/>
                      <a:pt x="215" y="198"/>
                    </a:cubicBezTo>
                    <a:cubicBezTo>
                      <a:pt x="209" y="182"/>
                      <a:pt x="204" y="162"/>
                      <a:pt x="204" y="143"/>
                    </a:cubicBezTo>
                    <a:cubicBezTo>
                      <a:pt x="204" y="131"/>
                      <a:pt x="206" y="120"/>
                      <a:pt x="210" y="109"/>
                    </a:cubicBezTo>
                    <a:moveTo>
                      <a:pt x="599" y="395"/>
                    </a:moveTo>
                    <a:cubicBezTo>
                      <a:pt x="603" y="393"/>
                      <a:pt x="607" y="391"/>
                      <a:pt x="613" y="390"/>
                    </a:cubicBezTo>
                    <a:cubicBezTo>
                      <a:pt x="613" y="388"/>
                      <a:pt x="613" y="388"/>
                      <a:pt x="613" y="388"/>
                    </a:cubicBezTo>
                    <a:cubicBezTo>
                      <a:pt x="621" y="388"/>
                      <a:pt x="630" y="391"/>
                      <a:pt x="636" y="393"/>
                    </a:cubicBezTo>
                    <a:cubicBezTo>
                      <a:pt x="644" y="399"/>
                      <a:pt x="649" y="410"/>
                      <a:pt x="649" y="421"/>
                    </a:cubicBezTo>
                    <a:cubicBezTo>
                      <a:pt x="649" y="429"/>
                      <a:pt x="646" y="437"/>
                      <a:pt x="641" y="441"/>
                    </a:cubicBezTo>
                    <a:cubicBezTo>
                      <a:pt x="638" y="449"/>
                      <a:pt x="633" y="454"/>
                      <a:pt x="624" y="457"/>
                    </a:cubicBezTo>
                    <a:cubicBezTo>
                      <a:pt x="620" y="458"/>
                      <a:pt x="616" y="459"/>
                      <a:pt x="612" y="459"/>
                    </a:cubicBezTo>
                    <a:cubicBezTo>
                      <a:pt x="597" y="459"/>
                      <a:pt x="580" y="451"/>
                      <a:pt x="576" y="435"/>
                    </a:cubicBezTo>
                    <a:cubicBezTo>
                      <a:pt x="572" y="420"/>
                      <a:pt x="580" y="403"/>
                      <a:pt x="595" y="398"/>
                    </a:cubicBezTo>
                    <a:cubicBezTo>
                      <a:pt x="594" y="397"/>
                      <a:pt x="594" y="396"/>
                      <a:pt x="595" y="396"/>
                    </a:cubicBezTo>
                    <a:cubicBezTo>
                      <a:pt x="597" y="396"/>
                      <a:pt x="598" y="395"/>
                      <a:pt x="599" y="395"/>
                    </a:cubicBezTo>
                    <a:moveTo>
                      <a:pt x="763" y="127"/>
                    </a:moveTo>
                    <a:cubicBezTo>
                      <a:pt x="770" y="127"/>
                      <a:pt x="778" y="127"/>
                      <a:pt x="785" y="127"/>
                    </a:cubicBezTo>
                    <a:cubicBezTo>
                      <a:pt x="787" y="127"/>
                      <a:pt x="789" y="127"/>
                      <a:pt x="790" y="127"/>
                    </a:cubicBezTo>
                    <a:cubicBezTo>
                      <a:pt x="818" y="127"/>
                      <a:pt x="842" y="133"/>
                      <a:pt x="868" y="142"/>
                    </a:cubicBezTo>
                    <a:cubicBezTo>
                      <a:pt x="869" y="142"/>
                      <a:pt x="869" y="144"/>
                      <a:pt x="867" y="144"/>
                    </a:cubicBezTo>
                    <a:cubicBezTo>
                      <a:pt x="867" y="144"/>
                      <a:pt x="867" y="144"/>
                      <a:pt x="867" y="144"/>
                    </a:cubicBezTo>
                    <a:cubicBezTo>
                      <a:pt x="841" y="138"/>
                      <a:pt x="817" y="132"/>
                      <a:pt x="790" y="132"/>
                    </a:cubicBezTo>
                    <a:cubicBezTo>
                      <a:pt x="789" y="132"/>
                      <a:pt x="787" y="132"/>
                      <a:pt x="785" y="132"/>
                    </a:cubicBezTo>
                    <a:cubicBezTo>
                      <a:pt x="754" y="133"/>
                      <a:pt x="724" y="133"/>
                      <a:pt x="693" y="133"/>
                    </a:cubicBezTo>
                    <a:cubicBezTo>
                      <a:pt x="693" y="133"/>
                      <a:pt x="693" y="133"/>
                      <a:pt x="693" y="133"/>
                    </a:cubicBezTo>
                    <a:cubicBezTo>
                      <a:pt x="691" y="133"/>
                      <a:pt x="690" y="130"/>
                      <a:pt x="693" y="129"/>
                    </a:cubicBezTo>
                    <a:cubicBezTo>
                      <a:pt x="711" y="127"/>
                      <a:pt x="728" y="127"/>
                      <a:pt x="746" y="127"/>
                    </a:cubicBezTo>
                    <a:cubicBezTo>
                      <a:pt x="749" y="127"/>
                      <a:pt x="752" y="127"/>
                      <a:pt x="754" y="127"/>
                    </a:cubicBezTo>
                    <a:cubicBezTo>
                      <a:pt x="757" y="127"/>
                      <a:pt x="760" y="127"/>
                      <a:pt x="763" y="127"/>
                    </a:cubicBezTo>
                    <a:moveTo>
                      <a:pt x="363" y="23"/>
                    </a:moveTo>
                    <a:cubicBezTo>
                      <a:pt x="363" y="23"/>
                      <a:pt x="363" y="23"/>
                      <a:pt x="363" y="23"/>
                    </a:cubicBezTo>
                    <a:cubicBezTo>
                      <a:pt x="363" y="23"/>
                      <a:pt x="363" y="23"/>
                      <a:pt x="363" y="23"/>
                    </a:cubicBezTo>
                    <a:cubicBezTo>
                      <a:pt x="374" y="23"/>
                      <a:pt x="384" y="24"/>
                      <a:pt x="394" y="27"/>
                    </a:cubicBezTo>
                    <a:cubicBezTo>
                      <a:pt x="394" y="27"/>
                      <a:pt x="394" y="27"/>
                      <a:pt x="394" y="27"/>
                    </a:cubicBezTo>
                    <a:cubicBezTo>
                      <a:pt x="395" y="27"/>
                      <a:pt x="395" y="27"/>
                      <a:pt x="396" y="27"/>
                    </a:cubicBezTo>
                    <a:cubicBezTo>
                      <a:pt x="396" y="27"/>
                      <a:pt x="396" y="27"/>
                      <a:pt x="396" y="27"/>
                    </a:cubicBezTo>
                    <a:cubicBezTo>
                      <a:pt x="411" y="32"/>
                      <a:pt x="425" y="39"/>
                      <a:pt x="439" y="47"/>
                    </a:cubicBezTo>
                    <a:cubicBezTo>
                      <a:pt x="464" y="48"/>
                      <a:pt x="487" y="59"/>
                      <a:pt x="510" y="71"/>
                    </a:cubicBezTo>
                    <a:cubicBezTo>
                      <a:pt x="543" y="89"/>
                      <a:pt x="578" y="105"/>
                      <a:pt x="616" y="110"/>
                    </a:cubicBezTo>
                    <a:cubicBezTo>
                      <a:pt x="616" y="110"/>
                      <a:pt x="616" y="110"/>
                      <a:pt x="616" y="110"/>
                    </a:cubicBezTo>
                    <a:cubicBezTo>
                      <a:pt x="584" y="109"/>
                      <a:pt x="553" y="100"/>
                      <a:pt x="524" y="86"/>
                    </a:cubicBezTo>
                    <a:cubicBezTo>
                      <a:pt x="499" y="74"/>
                      <a:pt x="475" y="59"/>
                      <a:pt x="448" y="53"/>
                    </a:cubicBezTo>
                    <a:cubicBezTo>
                      <a:pt x="474" y="71"/>
                      <a:pt x="496" y="93"/>
                      <a:pt x="515" y="117"/>
                    </a:cubicBezTo>
                    <a:cubicBezTo>
                      <a:pt x="535" y="146"/>
                      <a:pt x="550" y="180"/>
                      <a:pt x="567" y="213"/>
                    </a:cubicBezTo>
                    <a:cubicBezTo>
                      <a:pt x="584" y="241"/>
                      <a:pt x="598" y="273"/>
                      <a:pt x="598" y="306"/>
                    </a:cubicBezTo>
                    <a:cubicBezTo>
                      <a:pt x="598" y="311"/>
                      <a:pt x="597" y="317"/>
                      <a:pt x="596" y="323"/>
                    </a:cubicBezTo>
                    <a:cubicBezTo>
                      <a:pt x="594" y="335"/>
                      <a:pt x="590" y="346"/>
                      <a:pt x="585" y="355"/>
                    </a:cubicBezTo>
                    <a:cubicBezTo>
                      <a:pt x="583" y="358"/>
                      <a:pt x="582" y="361"/>
                      <a:pt x="580" y="364"/>
                    </a:cubicBezTo>
                    <a:cubicBezTo>
                      <a:pt x="562" y="395"/>
                      <a:pt x="534" y="406"/>
                      <a:pt x="504" y="406"/>
                    </a:cubicBezTo>
                    <a:cubicBezTo>
                      <a:pt x="465" y="406"/>
                      <a:pt x="423" y="388"/>
                      <a:pt x="391" y="371"/>
                    </a:cubicBezTo>
                    <a:cubicBezTo>
                      <a:pt x="349" y="348"/>
                      <a:pt x="308" y="322"/>
                      <a:pt x="271" y="292"/>
                    </a:cubicBezTo>
                    <a:cubicBezTo>
                      <a:pt x="242" y="269"/>
                      <a:pt x="215" y="244"/>
                      <a:pt x="203" y="208"/>
                    </a:cubicBezTo>
                    <a:cubicBezTo>
                      <a:pt x="191" y="176"/>
                      <a:pt x="184" y="135"/>
                      <a:pt x="203" y="105"/>
                    </a:cubicBezTo>
                    <a:cubicBezTo>
                      <a:pt x="223" y="72"/>
                      <a:pt x="266" y="52"/>
                      <a:pt x="300" y="35"/>
                    </a:cubicBezTo>
                    <a:cubicBezTo>
                      <a:pt x="302" y="34"/>
                      <a:pt x="305" y="33"/>
                      <a:pt x="308" y="31"/>
                    </a:cubicBezTo>
                    <a:cubicBezTo>
                      <a:pt x="310" y="35"/>
                      <a:pt x="310" y="35"/>
                      <a:pt x="310" y="35"/>
                    </a:cubicBezTo>
                    <a:cubicBezTo>
                      <a:pt x="310" y="35"/>
                      <a:pt x="311" y="35"/>
                      <a:pt x="311" y="35"/>
                    </a:cubicBezTo>
                    <a:cubicBezTo>
                      <a:pt x="311" y="35"/>
                      <a:pt x="311" y="35"/>
                      <a:pt x="312" y="35"/>
                    </a:cubicBezTo>
                    <a:cubicBezTo>
                      <a:pt x="329" y="27"/>
                      <a:pt x="346" y="23"/>
                      <a:pt x="363" y="23"/>
                    </a:cubicBezTo>
                    <a:cubicBezTo>
                      <a:pt x="363" y="23"/>
                      <a:pt x="363" y="23"/>
                      <a:pt x="363" y="23"/>
                    </a:cubicBezTo>
                    <a:moveTo>
                      <a:pt x="397" y="0"/>
                    </a:moveTo>
                    <a:cubicBezTo>
                      <a:pt x="358" y="0"/>
                      <a:pt x="321" y="11"/>
                      <a:pt x="285" y="31"/>
                    </a:cubicBezTo>
                    <a:cubicBezTo>
                      <a:pt x="193" y="82"/>
                      <a:pt x="126" y="162"/>
                      <a:pt x="89" y="259"/>
                    </a:cubicBezTo>
                    <a:cubicBezTo>
                      <a:pt x="81" y="280"/>
                      <a:pt x="75" y="300"/>
                      <a:pt x="69" y="321"/>
                    </a:cubicBezTo>
                    <a:cubicBezTo>
                      <a:pt x="49" y="392"/>
                      <a:pt x="34" y="463"/>
                      <a:pt x="20" y="536"/>
                    </a:cubicBezTo>
                    <a:cubicBezTo>
                      <a:pt x="11" y="587"/>
                      <a:pt x="0" y="639"/>
                      <a:pt x="4" y="691"/>
                    </a:cubicBezTo>
                    <a:cubicBezTo>
                      <a:pt x="8" y="723"/>
                      <a:pt x="22" y="761"/>
                      <a:pt x="58" y="767"/>
                    </a:cubicBezTo>
                    <a:cubicBezTo>
                      <a:pt x="62" y="768"/>
                      <a:pt x="66" y="768"/>
                      <a:pt x="70" y="768"/>
                    </a:cubicBezTo>
                    <a:cubicBezTo>
                      <a:pt x="75" y="768"/>
                      <a:pt x="80" y="768"/>
                      <a:pt x="84" y="766"/>
                    </a:cubicBezTo>
                    <a:cubicBezTo>
                      <a:pt x="88" y="764"/>
                      <a:pt x="93" y="762"/>
                      <a:pt x="97" y="759"/>
                    </a:cubicBezTo>
                    <a:cubicBezTo>
                      <a:pt x="96" y="758"/>
                      <a:pt x="96" y="756"/>
                      <a:pt x="98" y="755"/>
                    </a:cubicBezTo>
                    <a:cubicBezTo>
                      <a:pt x="154" y="704"/>
                      <a:pt x="150" y="620"/>
                      <a:pt x="179" y="554"/>
                    </a:cubicBezTo>
                    <a:cubicBezTo>
                      <a:pt x="185" y="539"/>
                      <a:pt x="191" y="525"/>
                      <a:pt x="200" y="511"/>
                    </a:cubicBezTo>
                    <a:cubicBezTo>
                      <a:pt x="210" y="498"/>
                      <a:pt x="220" y="485"/>
                      <a:pt x="229" y="472"/>
                    </a:cubicBezTo>
                    <a:cubicBezTo>
                      <a:pt x="238" y="457"/>
                      <a:pt x="246" y="442"/>
                      <a:pt x="256" y="427"/>
                    </a:cubicBezTo>
                    <a:cubicBezTo>
                      <a:pt x="265" y="413"/>
                      <a:pt x="274" y="398"/>
                      <a:pt x="279" y="382"/>
                    </a:cubicBezTo>
                    <a:cubicBezTo>
                      <a:pt x="269" y="373"/>
                      <a:pt x="260" y="364"/>
                      <a:pt x="252" y="354"/>
                    </a:cubicBezTo>
                    <a:cubicBezTo>
                      <a:pt x="251" y="352"/>
                      <a:pt x="252" y="349"/>
                      <a:pt x="254" y="349"/>
                    </a:cubicBezTo>
                    <a:cubicBezTo>
                      <a:pt x="255" y="349"/>
                      <a:pt x="255" y="349"/>
                      <a:pt x="256" y="349"/>
                    </a:cubicBezTo>
                    <a:cubicBezTo>
                      <a:pt x="267" y="357"/>
                      <a:pt x="278" y="367"/>
                      <a:pt x="288" y="376"/>
                    </a:cubicBezTo>
                    <a:cubicBezTo>
                      <a:pt x="289" y="374"/>
                      <a:pt x="290" y="372"/>
                      <a:pt x="290" y="369"/>
                    </a:cubicBezTo>
                    <a:cubicBezTo>
                      <a:pt x="291" y="368"/>
                      <a:pt x="291" y="368"/>
                      <a:pt x="291" y="368"/>
                    </a:cubicBezTo>
                    <a:cubicBezTo>
                      <a:pt x="298" y="374"/>
                      <a:pt x="304" y="380"/>
                      <a:pt x="311" y="385"/>
                    </a:cubicBezTo>
                    <a:cubicBezTo>
                      <a:pt x="314" y="386"/>
                      <a:pt x="316" y="387"/>
                      <a:pt x="318" y="389"/>
                    </a:cubicBezTo>
                    <a:cubicBezTo>
                      <a:pt x="319" y="388"/>
                      <a:pt x="319" y="386"/>
                      <a:pt x="320" y="385"/>
                    </a:cubicBezTo>
                    <a:cubicBezTo>
                      <a:pt x="292" y="368"/>
                      <a:pt x="266" y="349"/>
                      <a:pt x="243" y="327"/>
                    </a:cubicBezTo>
                    <a:cubicBezTo>
                      <a:pt x="241" y="325"/>
                      <a:pt x="243" y="323"/>
                      <a:pt x="245" y="323"/>
                    </a:cubicBezTo>
                    <a:cubicBezTo>
                      <a:pt x="245" y="323"/>
                      <a:pt x="246" y="323"/>
                      <a:pt x="246" y="323"/>
                    </a:cubicBezTo>
                    <a:cubicBezTo>
                      <a:pt x="271" y="343"/>
                      <a:pt x="297" y="361"/>
                      <a:pt x="324" y="378"/>
                    </a:cubicBezTo>
                    <a:cubicBezTo>
                      <a:pt x="328" y="371"/>
                      <a:pt x="328" y="371"/>
                      <a:pt x="328" y="371"/>
                    </a:cubicBezTo>
                    <a:cubicBezTo>
                      <a:pt x="363" y="392"/>
                      <a:pt x="400" y="410"/>
                      <a:pt x="437" y="425"/>
                    </a:cubicBezTo>
                    <a:cubicBezTo>
                      <a:pt x="486" y="445"/>
                      <a:pt x="538" y="458"/>
                      <a:pt x="588" y="471"/>
                    </a:cubicBezTo>
                    <a:cubicBezTo>
                      <a:pt x="641" y="485"/>
                      <a:pt x="691" y="498"/>
                      <a:pt x="745" y="505"/>
                    </a:cubicBezTo>
                    <a:cubicBezTo>
                      <a:pt x="763" y="508"/>
                      <a:pt x="782" y="509"/>
                      <a:pt x="801" y="509"/>
                    </a:cubicBezTo>
                    <a:cubicBezTo>
                      <a:pt x="819" y="509"/>
                      <a:pt x="836" y="508"/>
                      <a:pt x="855" y="507"/>
                    </a:cubicBezTo>
                    <a:cubicBezTo>
                      <a:pt x="867" y="506"/>
                      <a:pt x="880" y="505"/>
                      <a:pt x="893" y="501"/>
                    </a:cubicBezTo>
                    <a:cubicBezTo>
                      <a:pt x="895" y="506"/>
                      <a:pt x="895" y="506"/>
                      <a:pt x="895" y="506"/>
                    </a:cubicBezTo>
                    <a:cubicBezTo>
                      <a:pt x="911" y="502"/>
                      <a:pt x="926" y="497"/>
                      <a:pt x="942" y="490"/>
                    </a:cubicBezTo>
                    <a:cubicBezTo>
                      <a:pt x="942" y="490"/>
                      <a:pt x="942" y="490"/>
                      <a:pt x="942" y="490"/>
                    </a:cubicBezTo>
                    <a:cubicBezTo>
                      <a:pt x="942" y="490"/>
                      <a:pt x="943" y="490"/>
                      <a:pt x="942" y="491"/>
                    </a:cubicBezTo>
                    <a:cubicBezTo>
                      <a:pt x="927" y="499"/>
                      <a:pt x="911" y="505"/>
                      <a:pt x="895" y="509"/>
                    </a:cubicBezTo>
                    <a:cubicBezTo>
                      <a:pt x="898" y="521"/>
                      <a:pt x="898" y="521"/>
                      <a:pt x="898" y="521"/>
                    </a:cubicBezTo>
                    <a:cubicBezTo>
                      <a:pt x="900" y="521"/>
                      <a:pt x="901" y="520"/>
                      <a:pt x="903" y="520"/>
                    </a:cubicBezTo>
                    <a:cubicBezTo>
                      <a:pt x="912" y="518"/>
                      <a:pt x="921" y="516"/>
                      <a:pt x="930" y="513"/>
                    </a:cubicBezTo>
                    <a:cubicBezTo>
                      <a:pt x="933" y="512"/>
                      <a:pt x="935" y="510"/>
                      <a:pt x="937" y="509"/>
                    </a:cubicBezTo>
                    <a:cubicBezTo>
                      <a:pt x="951" y="501"/>
                      <a:pt x="964" y="492"/>
                      <a:pt x="978" y="483"/>
                    </a:cubicBezTo>
                    <a:cubicBezTo>
                      <a:pt x="978" y="483"/>
                      <a:pt x="978" y="483"/>
                      <a:pt x="979" y="483"/>
                    </a:cubicBezTo>
                    <a:cubicBezTo>
                      <a:pt x="980" y="483"/>
                      <a:pt x="981" y="485"/>
                      <a:pt x="980" y="486"/>
                    </a:cubicBezTo>
                    <a:cubicBezTo>
                      <a:pt x="964" y="500"/>
                      <a:pt x="949" y="511"/>
                      <a:pt x="931" y="520"/>
                    </a:cubicBezTo>
                    <a:cubicBezTo>
                      <a:pt x="931" y="520"/>
                      <a:pt x="931" y="521"/>
                      <a:pt x="931" y="522"/>
                    </a:cubicBezTo>
                    <a:cubicBezTo>
                      <a:pt x="930" y="527"/>
                      <a:pt x="929" y="532"/>
                      <a:pt x="929" y="538"/>
                    </a:cubicBezTo>
                    <a:cubicBezTo>
                      <a:pt x="929" y="551"/>
                      <a:pt x="932" y="565"/>
                      <a:pt x="934" y="580"/>
                    </a:cubicBezTo>
                    <a:cubicBezTo>
                      <a:pt x="935" y="598"/>
                      <a:pt x="936" y="616"/>
                      <a:pt x="936" y="634"/>
                    </a:cubicBezTo>
                    <a:cubicBezTo>
                      <a:pt x="936" y="651"/>
                      <a:pt x="936" y="669"/>
                      <a:pt x="935" y="686"/>
                    </a:cubicBezTo>
                    <a:cubicBezTo>
                      <a:pt x="932" y="721"/>
                      <a:pt x="928" y="757"/>
                      <a:pt x="927" y="792"/>
                    </a:cubicBezTo>
                    <a:cubicBezTo>
                      <a:pt x="927" y="801"/>
                      <a:pt x="926" y="810"/>
                      <a:pt x="926" y="819"/>
                    </a:cubicBezTo>
                    <a:cubicBezTo>
                      <a:pt x="926" y="837"/>
                      <a:pt x="928" y="855"/>
                      <a:pt x="929" y="875"/>
                    </a:cubicBezTo>
                    <a:cubicBezTo>
                      <a:pt x="931" y="896"/>
                      <a:pt x="939" y="930"/>
                      <a:pt x="959" y="944"/>
                    </a:cubicBezTo>
                    <a:cubicBezTo>
                      <a:pt x="960" y="944"/>
                      <a:pt x="961" y="944"/>
                      <a:pt x="961" y="944"/>
                    </a:cubicBezTo>
                    <a:cubicBezTo>
                      <a:pt x="968" y="944"/>
                      <a:pt x="974" y="943"/>
                      <a:pt x="980" y="941"/>
                    </a:cubicBezTo>
                    <a:cubicBezTo>
                      <a:pt x="1007" y="928"/>
                      <a:pt x="1024" y="905"/>
                      <a:pt x="1037" y="879"/>
                    </a:cubicBezTo>
                    <a:cubicBezTo>
                      <a:pt x="1065" y="823"/>
                      <a:pt x="1076" y="760"/>
                      <a:pt x="1088" y="698"/>
                    </a:cubicBezTo>
                    <a:cubicBezTo>
                      <a:pt x="1109" y="588"/>
                      <a:pt x="1126" y="468"/>
                      <a:pt x="1099" y="357"/>
                    </a:cubicBezTo>
                    <a:cubicBezTo>
                      <a:pt x="1094" y="335"/>
                      <a:pt x="1086" y="312"/>
                      <a:pt x="1077" y="291"/>
                    </a:cubicBezTo>
                    <a:cubicBezTo>
                      <a:pt x="1077" y="294"/>
                      <a:pt x="1078" y="298"/>
                      <a:pt x="1078" y="302"/>
                    </a:cubicBezTo>
                    <a:cubicBezTo>
                      <a:pt x="1078" y="317"/>
                      <a:pt x="1074" y="333"/>
                      <a:pt x="1068" y="348"/>
                    </a:cubicBezTo>
                    <a:cubicBezTo>
                      <a:pt x="1066" y="351"/>
                      <a:pt x="1064" y="355"/>
                      <a:pt x="1062" y="358"/>
                    </a:cubicBezTo>
                    <a:cubicBezTo>
                      <a:pt x="1038" y="412"/>
                      <a:pt x="972" y="439"/>
                      <a:pt x="916" y="455"/>
                    </a:cubicBezTo>
                    <a:cubicBezTo>
                      <a:pt x="893" y="461"/>
                      <a:pt x="869" y="465"/>
                      <a:pt x="846" y="470"/>
                    </a:cubicBezTo>
                    <a:cubicBezTo>
                      <a:pt x="825" y="475"/>
                      <a:pt x="804" y="480"/>
                      <a:pt x="782" y="481"/>
                    </a:cubicBezTo>
                    <a:cubicBezTo>
                      <a:pt x="778" y="481"/>
                      <a:pt x="773" y="482"/>
                      <a:pt x="769" y="482"/>
                    </a:cubicBezTo>
                    <a:cubicBezTo>
                      <a:pt x="739" y="482"/>
                      <a:pt x="709" y="475"/>
                      <a:pt x="686" y="456"/>
                    </a:cubicBezTo>
                    <a:cubicBezTo>
                      <a:pt x="625" y="407"/>
                      <a:pt x="660" y="328"/>
                      <a:pt x="702" y="280"/>
                    </a:cubicBezTo>
                    <a:cubicBezTo>
                      <a:pt x="733" y="244"/>
                      <a:pt x="771" y="215"/>
                      <a:pt x="814" y="194"/>
                    </a:cubicBezTo>
                    <a:cubicBezTo>
                      <a:pt x="844" y="177"/>
                      <a:pt x="877" y="166"/>
                      <a:pt x="912" y="161"/>
                    </a:cubicBezTo>
                    <a:cubicBezTo>
                      <a:pt x="911" y="161"/>
                      <a:pt x="912" y="161"/>
                      <a:pt x="912" y="161"/>
                    </a:cubicBezTo>
                    <a:cubicBezTo>
                      <a:pt x="912" y="161"/>
                      <a:pt x="912" y="161"/>
                      <a:pt x="912" y="161"/>
                    </a:cubicBezTo>
                    <a:cubicBezTo>
                      <a:pt x="913" y="161"/>
                      <a:pt x="914" y="161"/>
                      <a:pt x="915" y="161"/>
                    </a:cubicBezTo>
                    <a:cubicBezTo>
                      <a:pt x="918" y="160"/>
                      <a:pt x="921" y="160"/>
                      <a:pt x="923" y="160"/>
                    </a:cubicBezTo>
                    <a:cubicBezTo>
                      <a:pt x="924" y="153"/>
                      <a:pt x="924" y="153"/>
                      <a:pt x="924" y="153"/>
                    </a:cubicBezTo>
                    <a:cubicBezTo>
                      <a:pt x="949" y="155"/>
                      <a:pt x="973" y="162"/>
                      <a:pt x="993" y="173"/>
                    </a:cubicBezTo>
                    <a:cubicBezTo>
                      <a:pt x="997" y="175"/>
                      <a:pt x="1001" y="178"/>
                      <a:pt x="1005" y="180"/>
                    </a:cubicBezTo>
                    <a:cubicBezTo>
                      <a:pt x="978" y="154"/>
                      <a:pt x="947" y="133"/>
                      <a:pt x="911" y="119"/>
                    </a:cubicBezTo>
                    <a:cubicBezTo>
                      <a:pt x="862" y="101"/>
                      <a:pt x="809" y="98"/>
                      <a:pt x="757" y="94"/>
                    </a:cubicBezTo>
                    <a:cubicBezTo>
                      <a:pt x="703" y="90"/>
                      <a:pt x="649" y="83"/>
                      <a:pt x="599" y="65"/>
                    </a:cubicBezTo>
                    <a:cubicBezTo>
                      <a:pt x="548" y="47"/>
                      <a:pt x="501" y="20"/>
                      <a:pt x="450" y="7"/>
                    </a:cubicBezTo>
                    <a:cubicBezTo>
                      <a:pt x="432" y="2"/>
                      <a:pt x="414" y="0"/>
                      <a:pt x="397" y="0"/>
                    </a:cubicBezTo>
                  </a:path>
                </a:pathLst>
              </a:custGeom>
              <a:solidFill>
                <a:srgbClr val="EF827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28" name="Freeform 74">
                <a:extLst>
                  <a:ext uri="{FF2B5EF4-FFF2-40B4-BE49-F238E27FC236}">
                    <a16:creationId xmlns:a16="http://schemas.microsoft.com/office/drawing/2014/main" id="{103336B6-23F6-431C-B684-DD75714BD0A4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777" y="1720"/>
                <a:ext cx="1215" cy="1025"/>
              </a:xfrm>
              <a:custGeom>
                <a:avLst/>
                <a:gdLst>
                  <a:gd name="T0" fmla="*/ 357 w 1147"/>
                  <a:gd name="T1" fmla="*/ 8 h 968"/>
                  <a:gd name="T2" fmla="*/ 117 w 1147"/>
                  <a:gd name="T3" fmla="*/ 227 h 968"/>
                  <a:gd name="T4" fmla="*/ 21 w 1147"/>
                  <a:gd name="T5" fmla="*/ 591 h 968"/>
                  <a:gd name="T6" fmla="*/ 83 w 1147"/>
                  <a:gd name="T7" fmla="*/ 793 h 968"/>
                  <a:gd name="T8" fmla="*/ 187 w 1147"/>
                  <a:gd name="T9" fmla="*/ 700 h 968"/>
                  <a:gd name="T10" fmla="*/ 185 w 1147"/>
                  <a:gd name="T11" fmla="*/ 696 h 968"/>
                  <a:gd name="T12" fmla="*/ 223 w 1147"/>
                  <a:gd name="T13" fmla="*/ 622 h 968"/>
                  <a:gd name="T14" fmla="*/ 317 w 1147"/>
                  <a:gd name="T15" fmla="*/ 441 h 968"/>
                  <a:gd name="T16" fmla="*/ 331 w 1147"/>
                  <a:gd name="T17" fmla="*/ 415 h 968"/>
                  <a:gd name="T18" fmla="*/ 247 w 1147"/>
                  <a:gd name="T19" fmla="*/ 551 h 968"/>
                  <a:gd name="T20" fmla="*/ 160 w 1147"/>
                  <a:gd name="T21" fmla="*/ 724 h 968"/>
                  <a:gd name="T22" fmla="*/ 120 w 1147"/>
                  <a:gd name="T23" fmla="*/ 773 h 968"/>
                  <a:gd name="T24" fmla="*/ 105 w 1147"/>
                  <a:gd name="T25" fmla="*/ 777 h 968"/>
                  <a:gd name="T26" fmla="*/ 48 w 1147"/>
                  <a:gd name="T27" fmla="*/ 770 h 968"/>
                  <a:gd name="T28" fmla="*/ 108 w 1147"/>
                  <a:gd name="T29" fmla="*/ 276 h 968"/>
                  <a:gd name="T30" fmla="*/ 306 w 1147"/>
                  <a:gd name="T31" fmla="*/ 42 h 968"/>
                  <a:gd name="T32" fmla="*/ 471 w 1147"/>
                  <a:gd name="T33" fmla="*/ 18 h 968"/>
                  <a:gd name="T34" fmla="*/ 778 w 1147"/>
                  <a:gd name="T35" fmla="*/ 105 h 968"/>
                  <a:gd name="T36" fmla="*/ 1026 w 1147"/>
                  <a:gd name="T37" fmla="*/ 191 h 968"/>
                  <a:gd name="T38" fmla="*/ 1098 w 1147"/>
                  <a:gd name="T39" fmla="*/ 302 h 968"/>
                  <a:gd name="T40" fmla="*/ 1120 w 1147"/>
                  <a:gd name="T41" fmla="*/ 368 h 968"/>
                  <a:gd name="T42" fmla="*/ 1058 w 1147"/>
                  <a:gd name="T43" fmla="*/ 890 h 968"/>
                  <a:gd name="T44" fmla="*/ 999 w 1147"/>
                  <a:gd name="T45" fmla="*/ 953 h 968"/>
                  <a:gd name="T46" fmla="*/ 971 w 1147"/>
                  <a:gd name="T47" fmla="*/ 958 h 968"/>
                  <a:gd name="T48" fmla="*/ 974 w 1147"/>
                  <a:gd name="T49" fmla="*/ 968 h 968"/>
                  <a:gd name="T50" fmla="*/ 1002 w 1147"/>
                  <a:gd name="T51" fmla="*/ 962 h 968"/>
                  <a:gd name="T52" fmla="*/ 1087 w 1147"/>
                  <a:gd name="T53" fmla="*/ 844 h 968"/>
                  <a:gd name="T54" fmla="*/ 1142 w 1147"/>
                  <a:gd name="T55" fmla="*/ 479 h 968"/>
                  <a:gd name="T56" fmla="*/ 876 w 1147"/>
                  <a:gd name="T57" fmla="*/ 105 h 968"/>
                  <a:gd name="T58" fmla="*/ 752 w 1147"/>
                  <a:gd name="T59" fmla="*/ 97 h 968"/>
                  <a:gd name="T60" fmla="*/ 748 w 1147"/>
                  <a:gd name="T61" fmla="*/ 91 h 968"/>
                  <a:gd name="T62" fmla="*/ 517 w 1147"/>
                  <a:gd name="T63" fmla="*/ 22 h 9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1147" h="968">
                    <a:moveTo>
                      <a:pt x="413" y="0"/>
                    </a:moveTo>
                    <a:cubicBezTo>
                      <a:pt x="395" y="0"/>
                      <a:pt x="376" y="2"/>
                      <a:pt x="357" y="8"/>
                    </a:cubicBezTo>
                    <a:cubicBezTo>
                      <a:pt x="355" y="8"/>
                      <a:pt x="353" y="9"/>
                      <a:pt x="351" y="10"/>
                    </a:cubicBezTo>
                    <a:cubicBezTo>
                      <a:pt x="249" y="44"/>
                      <a:pt x="162" y="131"/>
                      <a:pt x="117" y="227"/>
                    </a:cubicBezTo>
                    <a:cubicBezTo>
                      <a:pt x="90" y="283"/>
                      <a:pt x="74" y="344"/>
                      <a:pt x="59" y="405"/>
                    </a:cubicBezTo>
                    <a:cubicBezTo>
                      <a:pt x="44" y="467"/>
                      <a:pt x="32" y="529"/>
                      <a:pt x="21" y="591"/>
                    </a:cubicBezTo>
                    <a:cubicBezTo>
                      <a:pt x="12" y="642"/>
                      <a:pt x="0" y="703"/>
                      <a:pt x="22" y="752"/>
                    </a:cubicBezTo>
                    <a:cubicBezTo>
                      <a:pt x="34" y="779"/>
                      <a:pt x="57" y="793"/>
                      <a:pt x="83" y="793"/>
                    </a:cubicBezTo>
                    <a:cubicBezTo>
                      <a:pt x="95" y="793"/>
                      <a:pt x="107" y="790"/>
                      <a:pt x="119" y="783"/>
                    </a:cubicBezTo>
                    <a:cubicBezTo>
                      <a:pt x="151" y="765"/>
                      <a:pt x="171" y="733"/>
                      <a:pt x="187" y="700"/>
                    </a:cubicBezTo>
                    <a:cubicBezTo>
                      <a:pt x="187" y="700"/>
                      <a:pt x="187" y="700"/>
                      <a:pt x="187" y="700"/>
                    </a:cubicBezTo>
                    <a:cubicBezTo>
                      <a:pt x="185" y="700"/>
                      <a:pt x="183" y="698"/>
                      <a:pt x="185" y="696"/>
                    </a:cubicBezTo>
                    <a:cubicBezTo>
                      <a:pt x="199" y="674"/>
                      <a:pt x="209" y="650"/>
                      <a:pt x="220" y="627"/>
                    </a:cubicBezTo>
                    <a:cubicBezTo>
                      <a:pt x="221" y="625"/>
                      <a:pt x="222" y="624"/>
                      <a:pt x="223" y="622"/>
                    </a:cubicBezTo>
                    <a:cubicBezTo>
                      <a:pt x="244" y="578"/>
                      <a:pt x="266" y="534"/>
                      <a:pt x="290" y="491"/>
                    </a:cubicBezTo>
                    <a:cubicBezTo>
                      <a:pt x="299" y="474"/>
                      <a:pt x="308" y="458"/>
                      <a:pt x="317" y="441"/>
                    </a:cubicBezTo>
                    <a:cubicBezTo>
                      <a:pt x="317" y="441"/>
                      <a:pt x="317" y="441"/>
                      <a:pt x="317" y="441"/>
                    </a:cubicBezTo>
                    <a:cubicBezTo>
                      <a:pt x="322" y="432"/>
                      <a:pt x="326" y="424"/>
                      <a:pt x="331" y="415"/>
                    </a:cubicBezTo>
                    <a:cubicBezTo>
                      <a:pt x="329" y="414"/>
                      <a:pt x="327" y="413"/>
                      <a:pt x="325" y="411"/>
                    </a:cubicBezTo>
                    <a:cubicBezTo>
                      <a:pt x="300" y="459"/>
                      <a:pt x="273" y="504"/>
                      <a:pt x="247" y="551"/>
                    </a:cubicBezTo>
                    <a:cubicBezTo>
                      <a:pt x="221" y="600"/>
                      <a:pt x="201" y="652"/>
                      <a:pt x="174" y="701"/>
                    </a:cubicBezTo>
                    <a:cubicBezTo>
                      <a:pt x="171" y="708"/>
                      <a:pt x="166" y="716"/>
                      <a:pt x="160" y="724"/>
                    </a:cubicBezTo>
                    <a:cubicBezTo>
                      <a:pt x="152" y="743"/>
                      <a:pt x="140" y="762"/>
                      <a:pt x="122" y="772"/>
                    </a:cubicBezTo>
                    <a:cubicBezTo>
                      <a:pt x="122" y="773"/>
                      <a:pt x="121" y="773"/>
                      <a:pt x="120" y="773"/>
                    </a:cubicBezTo>
                    <a:cubicBezTo>
                      <a:pt x="119" y="773"/>
                      <a:pt x="118" y="771"/>
                      <a:pt x="118" y="770"/>
                    </a:cubicBezTo>
                    <a:cubicBezTo>
                      <a:pt x="114" y="773"/>
                      <a:pt x="109" y="775"/>
                      <a:pt x="105" y="777"/>
                    </a:cubicBezTo>
                    <a:cubicBezTo>
                      <a:pt x="97" y="781"/>
                      <a:pt x="89" y="784"/>
                      <a:pt x="81" y="784"/>
                    </a:cubicBezTo>
                    <a:cubicBezTo>
                      <a:pt x="70" y="784"/>
                      <a:pt x="59" y="779"/>
                      <a:pt x="48" y="770"/>
                    </a:cubicBezTo>
                    <a:cubicBezTo>
                      <a:pt x="7" y="734"/>
                      <a:pt x="20" y="661"/>
                      <a:pt x="27" y="615"/>
                    </a:cubicBezTo>
                    <a:cubicBezTo>
                      <a:pt x="45" y="501"/>
                      <a:pt x="68" y="384"/>
                      <a:pt x="108" y="276"/>
                    </a:cubicBezTo>
                    <a:cubicBezTo>
                      <a:pt x="108" y="274"/>
                      <a:pt x="109" y="272"/>
                      <a:pt x="110" y="270"/>
                    </a:cubicBezTo>
                    <a:cubicBezTo>
                      <a:pt x="147" y="173"/>
                      <a:pt x="214" y="93"/>
                      <a:pt x="306" y="42"/>
                    </a:cubicBezTo>
                    <a:cubicBezTo>
                      <a:pt x="342" y="22"/>
                      <a:pt x="379" y="11"/>
                      <a:pt x="418" y="11"/>
                    </a:cubicBezTo>
                    <a:cubicBezTo>
                      <a:pt x="435" y="11"/>
                      <a:pt x="453" y="13"/>
                      <a:pt x="471" y="18"/>
                    </a:cubicBezTo>
                    <a:cubicBezTo>
                      <a:pt x="522" y="31"/>
                      <a:pt x="569" y="58"/>
                      <a:pt x="620" y="76"/>
                    </a:cubicBezTo>
                    <a:cubicBezTo>
                      <a:pt x="670" y="94"/>
                      <a:pt x="724" y="101"/>
                      <a:pt x="778" y="105"/>
                    </a:cubicBezTo>
                    <a:cubicBezTo>
                      <a:pt x="830" y="109"/>
                      <a:pt x="883" y="112"/>
                      <a:pt x="932" y="130"/>
                    </a:cubicBezTo>
                    <a:cubicBezTo>
                      <a:pt x="968" y="144"/>
                      <a:pt x="999" y="165"/>
                      <a:pt x="1026" y="191"/>
                    </a:cubicBezTo>
                    <a:cubicBezTo>
                      <a:pt x="1026" y="191"/>
                      <a:pt x="1026" y="191"/>
                      <a:pt x="1026" y="191"/>
                    </a:cubicBezTo>
                    <a:cubicBezTo>
                      <a:pt x="1057" y="223"/>
                      <a:pt x="1081" y="261"/>
                      <a:pt x="1098" y="302"/>
                    </a:cubicBezTo>
                    <a:cubicBezTo>
                      <a:pt x="1098" y="302"/>
                      <a:pt x="1098" y="302"/>
                      <a:pt x="1098" y="302"/>
                    </a:cubicBezTo>
                    <a:cubicBezTo>
                      <a:pt x="1107" y="323"/>
                      <a:pt x="1115" y="346"/>
                      <a:pt x="1120" y="368"/>
                    </a:cubicBezTo>
                    <a:cubicBezTo>
                      <a:pt x="1147" y="479"/>
                      <a:pt x="1130" y="599"/>
                      <a:pt x="1109" y="709"/>
                    </a:cubicBezTo>
                    <a:cubicBezTo>
                      <a:pt x="1097" y="771"/>
                      <a:pt x="1086" y="834"/>
                      <a:pt x="1058" y="890"/>
                    </a:cubicBezTo>
                    <a:cubicBezTo>
                      <a:pt x="1045" y="916"/>
                      <a:pt x="1028" y="939"/>
                      <a:pt x="1001" y="952"/>
                    </a:cubicBezTo>
                    <a:cubicBezTo>
                      <a:pt x="1001" y="953"/>
                      <a:pt x="1000" y="953"/>
                      <a:pt x="999" y="953"/>
                    </a:cubicBezTo>
                    <a:cubicBezTo>
                      <a:pt x="991" y="957"/>
                      <a:pt x="983" y="959"/>
                      <a:pt x="976" y="959"/>
                    </a:cubicBezTo>
                    <a:cubicBezTo>
                      <a:pt x="974" y="959"/>
                      <a:pt x="972" y="958"/>
                      <a:pt x="971" y="958"/>
                    </a:cubicBezTo>
                    <a:cubicBezTo>
                      <a:pt x="972" y="960"/>
                      <a:pt x="973" y="961"/>
                      <a:pt x="975" y="962"/>
                    </a:cubicBezTo>
                    <a:cubicBezTo>
                      <a:pt x="977" y="964"/>
                      <a:pt x="976" y="967"/>
                      <a:pt x="974" y="968"/>
                    </a:cubicBezTo>
                    <a:cubicBezTo>
                      <a:pt x="975" y="968"/>
                      <a:pt x="975" y="968"/>
                      <a:pt x="976" y="968"/>
                    </a:cubicBezTo>
                    <a:cubicBezTo>
                      <a:pt x="984" y="968"/>
                      <a:pt x="993" y="966"/>
                      <a:pt x="1002" y="962"/>
                    </a:cubicBezTo>
                    <a:cubicBezTo>
                      <a:pt x="1043" y="944"/>
                      <a:pt x="1066" y="902"/>
                      <a:pt x="1081" y="862"/>
                    </a:cubicBezTo>
                    <a:cubicBezTo>
                      <a:pt x="1083" y="856"/>
                      <a:pt x="1085" y="850"/>
                      <a:pt x="1087" y="844"/>
                    </a:cubicBezTo>
                    <a:cubicBezTo>
                      <a:pt x="1106" y="787"/>
                      <a:pt x="1117" y="726"/>
                      <a:pt x="1126" y="666"/>
                    </a:cubicBezTo>
                    <a:cubicBezTo>
                      <a:pt x="1136" y="605"/>
                      <a:pt x="1143" y="542"/>
                      <a:pt x="1142" y="479"/>
                    </a:cubicBezTo>
                    <a:cubicBezTo>
                      <a:pt x="1142" y="368"/>
                      <a:pt x="1105" y="252"/>
                      <a:pt x="1022" y="175"/>
                    </a:cubicBezTo>
                    <a:cubicBezTo>
                      <a:pt x="981" y="137"/>
                      <a:pt x="931" y="115"/>
                      <a:pt x="876" y="105"/>
                    </a:cubicBezTo>
                    <a:cubicBezTo>
                      <a:pt x="837" y="98"/>
                      <a:pt x="797" y="96"/>
                      <a:pt x="758" y="92"/>
                    </a:cubicBezTo>
                    <a:cubicBezTo>
                      <a:pt x="757" y="95"/>
                      <a:pt x="755" y="97"/>
                      <a:pt x="752" y="97"/>
                    </a:cubicBezTo>
                    <a:cubicBezTo>
                      <a:pt x="750" y="97"/>
                      <a:pt x="748" y="96"/>
                      <a:pt x="748" y="93"/>
                    </a:cubicBezTo>
                    <a:cubicBezTo>
                      <a:pt x="748" y="92"/>
                      <a:pt x="748" y="92"/>
                      <a:pt x="748" y="91"/>
                    </a:cubicBezTo>
                    <a:cubicBezTo>
                      <a:pt x="730" y="90"/>
                      <a:pt x="711" y="87"/>
                      <a:pt x="693" y="84"/>
                    </a:cubicBezTo>
                    <a:cubicBezTo>
                      <a:pt x="631" y="71"/>
                      <a:pt x="576" y="45"/>
                      <a:pt x="517" y="22"/>
                    </a:cubicBezTo>
                    <a:cubicBezTo>
                      <a:pt x="483" y="8"/>
                      <a:pt x="448" y="0"/>
                      <a:pt x="413" y="0"/>
                    </a:cubicBezTo>
                  </a:path>
                </a:pathLst>
              </a:custGeom>
              <a:solidFill>
                <a:srgbClr val="544D4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29" name="Freeform 75">
                <a:extLst>
                  <a:ext uri="{FF2B5EF4-FFF2-40B4-BE49-F238E27FC236}">
                    <a16:creationId xmlns:a16="http://schemas.microsoft.com/office/drawing/2014/main" id="{228C64BA-0223-4836-8660-69D1DB4E227B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569" y="1816"/>
                <a:ext cx="11" cy="7"/>
              </a:xfrm>
              <a:custGeom>
                <a:avLst/>
                <a:gdLst>
                  <a:gd name="T0" fmla="*/ 0 w 10"/>
                  <a:gd name="T1" fmla="*/ 0 h 6"/>
                  <a:gd name="T2" fmla="*/ 0 w 10"/>
                  <a:gd name="T3" fmla="*/ 2 h 6"/>
                  <a:gd name="T4" fmla="*/ 4 w 10"/>
                  <a:gd name="T5" fmla="*/ 6 h 6"/>
                  <a:gd name="T6" fmla="*/ 10 w 10"/>
                  <a:gd name="T7" fmla="*/ 1 h 6"/>
                  <a:gd name="T8" fmla="*/ 0 w 10"/>
                  <a:gd name="T9" fmla="*/ 0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" h="6">
                    <a:moveTo>
                      <a:pt x="0" y="0"/>
                    </a:moveTo>
                    <a:cubicBezTo>
                      <a:pt x="0" y="1"/>
                      <a:pt x="0" y="1"/>
                      <a:pt x="0" y="2"/>
                    </a:cubicBezTo>
                    <a:cubicBezTo>
                      <a:pt x="0" y="5"/>
                      <a:pt x="2" y="6"/>
                      <a:pt x="4" y="6"/>
                    </a:cubicBezTo>
                    <a:cubicBezTo>
                      <a:pt x="7" y="6"/>
                      <a:pt x="9" y="4"/>
                      <a:pt x="10" y="1"/>
                    </a:cubicBezTo>
                    <a:cubicBezTo>
                      <a:pt x="6" y="1"/>
                      <a:pt x="3" y="1"/>
                      <a:pt x="0" y="0"/>
                    </a:cubicBezTo>
                  </a:path>
                </a:pathLst>
              </a:custGeom>
              <a:solidFill>
                <a:srgbClr val="14161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30" name="Freeform 76">
                <a:extLst>
                  <a:ext uri="{FF2B5EF4-FFF2-40B4-BE49-F238E27FC236}">
                    <a16:creationId xmlns:a16="http://schemas.microsoft.com/office/drawing/2014/main" id="{371D10DC-2653-465F-B33E-3D0C8868CB76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2127" y="2145"/>
                <a:ext cx="679" cy="600"/>
              </a:xfrm>
              <a:custGeom>
                <a:avLst/>
                <a:gdLst>
                  <a:gd name="T0" fmla="*/ 623 w 641"/>
                  <a:gd name="T1" fmla="*/ 551 h 567"/>
                  <a:gd name="T2" fmla="*/ 630 w 641"/>
                  <a:gd name="T3" fmla="*/ 561 h 567"/>
                  <a:gd name="T4" fmla="*/ 630 w 641"/>
                  <a:gd name="T5" fmla="*/ 565 h 567"/>
                  <a:gd name="T6" fmla="*/ 641 w 641"/>
                  <a:gd name="T7" fmla="*/ 567 h 567"/>
                  <a:gd name="T8" fmla="*/ 626 w 641"/>
                  <a:gd name="T9" fmla="*/ 553 h 567"/>
                  <a:gd name="T10" fmla="*/ 623 w 641"/>
                  <a:gd name="T11" fmla="*/ 551 h 567"/>
                  <a:gd name="T12" fmla="*/ 575 w 641"/>
                  <a:gd name="T13" fmla="*/ 145 h 567"/>
                  <a:gd name="T14" fmla="*/ 565 w 641"/>
                  <a:gd name="T15" fmla="*/ 148 h 567"/>
                  <a:gd name="T16" fmla="*/ 574 w 641"/>
                  <a:gd name="T17" fmla="*/ 292 h 567"/>
                  <a:gd name="T18" fmla="*/ 571 w 641"/>
                  <a:gd name="T19" fmla="*/ 340 h 567"/>
                  <a:gd name="T20" fmla="*/ 581 w 641"/>
                  <a:gd name="T21" fmla="*/ 510 h 567"/>
                  <a:gd name="T22" fmla="*/ 623 w 641"/>
                  <a:gd name="T23" fmla="*/ 562 h 567"/>
                  <a:gd name="T24" fmla="*/ 608 w 641"/>
                  <a:gd name="T25" fmla="*/ 539 h 567"/>
                  <a:gd name="T26" fmla="*/ 592 w 641"/>
                  <a:gd name="T27" fmla="*/ 512 h 567"/>
                  <a:gd name="T28" fmla="*/ 578 w 641"/>
                  <a:gd name="T29" fmla="*/ 446 h 567"/>
                  <a:gd name="T30" fmla="*/ 582 w 641"/>
                  <a:gd name="T31" fmla="*/ 327 h 567"/>
                  <a:gd name="T32" fmla="*/ 575 w 641"/>
                  <a:gd name="T33" fmla="*/ 145 h 567"/>
                  <a:gd name="T34" fmla="*/ 569 w 641"/>
                  <a:gd name="T35" fmla="*/ 137 h 567"/>
                  <a:gd name="T36" fmla="*/ 564 w 641"/>
                  <a:gd name="T37" fmla="*/ 140 h 567"/>
                  <a:gd name="T38" fmla="*/ 564 w 641"/>
                  <a:gd name="T39" fmla="*/ 141 h 567"/>
                  <a:gd name="T40" fmla="*/ 573 w 641"/>
                  <a:gd name="T41" fmla="*/ 138 h 567"/>
                  <a:gd name="T42" fmla="*/ 572 w 641"/>
                  <a:gd name="T43" fmla="*/ 137 h 567"/>
                  <a:gd name="T44" fmla="*/ 569 w 641"/>
                  <a:gd name="T45" fmla="*/ 137 h 567"/>
                  <a:gd name="T46" fmla="*/ 2 w 641"/>
                  <a:gd name="T47" fmla="*/ 0 h 567"/>
                  <a:gd name="T48" fmla="*/ 0 w 641"/>
                  <a:gd name="T49" fmla="*/ 1 h 567"/>
                  <a:gd name="T50" fmla="*/ 5 w 641"/>
                  <a:gd name="T51" fmla="*/ 5 h 567"/>
                  <a:gd name="T52" fmla="*/ 6 w 641"/>
                  <a:gd name="T53" fmla="*/ 4 h 567"/>
                  <a:gd name="T54" fmla="*/ 2 w 641"/>
                  <a:gd name="T55" fmla="*/ 0 h 5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641" h="567">
                    <a:moveTo>
                      <a:pt x="623" y="551"/>
                    </a:moveTo>
                    <a:cubicBezTo>
                      <a:pt x="625" y="555"/>
                      <a:pt x="627" y="558"/>
                      <a:pt x="630" y="561"/>
                    </a:cubicBezTo>
                    <a:cubicBezTo>
                      <a:pt x="631" y="562"/>
                      <a:pt x="630" y="564"/>
                      <a:pt x="630" y="565"/>
                    </a:cubicBezTo>
                    <a:cubicBezTo>
                      <a:pt x="633" y="566"/>
                      <a:pt x="637" y="567"/>
                      <a:pt x="641" y="567"/>
                    </a:cubicBezTo>
                    <a:cubicBezTo>
                      <a:pt x="635" y="564"/>
                      <a:pt x="630" y="559"/>
                      <a:pt x="626" y="553"/>
                    </a:cubicBezTo>
                    <a:cubicBezTo>
                      <a:pt x="625" y="553"/>
                      <a:pt x="624" y="552"/>
                      <a:pt x="623" y="551"/>
                    </a:cubicBezTo>
                    <a:moveTo>
                      <a:pt x="575" y="145"/>
                    </a:moveTo>
                    <a:cubicBezTo>
                      <a:pt x="572" y="146"/>
                      <a:pt x="569" y="147"/>
                      <a:pt x="565" y="148"/>
                    </a:cubicBezTo>
                    <a:cubicBezTo>
                      <a:pt x="577" y="196"/>
                      <a:pt x="577" y="243"/>
                      <a:pt x="574" y="292"/>
                    </a:cubicBezTo>
                    <a:cubicBezTo>
                      <a:pt x="573" y="308"/>
                      <a:pt x="572" y="324"/>
                      <a:pt x="571" y="340"/>
                    </a:cubicBezTo>
                    <a:cubicBezTo>
                      <a:pt x="567" y="396"/>
                      <a:pt x="564" y="456"/>
                      <a:pt x="581" y="510"/>
                    </a:cubicBezTo>
                    <a:cubicBezTo>
                      <a:pt x="589" y="534"/>
                      <a:pt x="604" y="553"/>
                      <a:pt x="623" y="562"/>
                    </a:cubicBezTo>
                    <a:cubicBezTo>
                      <a:pt x="617" y="555"/>
                      <a:pt x="612" y="548"/>
                      <a:pt x="608" y="539"/>
                    </a:cubicBezTo>
                    <a:cubicBezTo>
                      <a:pt x="601" y="532"/>
                      <a:pt x="596" y="523"/>
                      <a:pt x="592" y="512"/>
                    </a:cubicBezTo>
                    <a:cubicBezTo>
                      <a:pt x="584" y="491"/>
                      <a:pt x="580" y="469"/>
                      <a:pt x="578" y="446"/>
                    </a:cubicBezTo>
                    <a:cubicBezTo>
                      <a:pt x="575" y="406"/>
                      <a:pt x="579" y="365"/>
                      <a:pt x="582" y="327"/>
                    </a:cubicBezTo>
                    <a:cubicBezTo>
                      <a:pt x="586" y="265"/>
                      <a:pt x="589" y="206"/>
                      <a:pt x="575" y="145"/>
                    </a:cubicBezTo>
                    <a:moveTo>
                      <a:pt x="569" y="137"/>
                    </a:moveTo>
                    <a:cubicBezTo>
                      <a:pt x="567" y="137"/>
                      <a:pt x="564" y="138"/>
                      <a:pt x="564" y="140"/>
                    </a:cubicBezTo>
                    <a:cubicBezTo>
                      <a:pt x="564" y="140"/>
                      <a:pt x="564" y="141"/>
                      <a:pt x="564" y="141"/>
                    </a:cubicBezTo>
                    <a:cubicBezTo>
                      <a:pt x="567" y="140"/>
                      <a:pt x="570" y="139"/>
                      <a:pt x="573" y="138"/>
                    </a:cubicBezTo>
                    <a:cubicBezTo>
                      <a:pt x="572" y="138"/>
                      <a:pt x="572" y="138"/>
                      <a:pt x="572" y="137"/>
                    </a:cubicBezTo>
                    <a:cubicBezTo>
                      <a:pt x="571" y="137"/>
                      <a:pt x="570" y="137"/>
                      <a:pt x="569" y="137"/>
                    </a:cubicBezTo>
                    <a:moveTo>
                      <a:pt x="2" y="0"/>
                    </a:moveTo>
                    <a:cubicBezTo>
                      <a:pt x="1" y="0"/>
                      <a:pt x="0" y="0"/>
                      <a:pt x="0" y="1"/>
                    </a:cubicBezTo>
                    <a:cubicBezTo>
                      <a:pt x="2" y="3"/>
                      <a:pt x="3" y="4"/>
                      <a:pt x="5" y="5"/>
                    </a:cubicBezTo>
                    <a:cubicBezTo>
                      <a:pt x="5" y="5"/>
                      <a:pt x="6" y="5"/>
                      <a:pt x="6" y="4"/>
                    </a:cubicBezTo>
                    <a:cubicBezTo>
                      <a:pt x="7" y="2"/>
                      <a:pt x="5" y="0"/>
                      <a:pt x="2" y="0"/>
                    </a:cubicBezTo>
                  </a:path>
                </a:pathLst>
              </a:custGeom>
              <a:solidFill>
                <a:srgbClr val="544D4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31" name="Freeform 77">
                <a:extLst>
                  <a:ext uri="{FF2B5EF4-FFF2-40B4-BE49-F238E27FC236}">
                    <a16:creationId xmlns:a16="http://schemas.microsoft.com/office/drawing/2014/main" id="{74B18D7D-A684-49B3-BA03-1CB590A07979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065" y="2101"/>
                <a:ext cx="774" cy="211"/>
              </a:xfrm>
              <a:custGeom>
                <a:avLst/>
                <a:gdLst>
                  <a:gd name="T0" fmla="*/ 3 w 730"/>
                  <a:gd name="T1" fmla="*/ 0 h 199"/>
                  <a:gd name="T2" fmla="*/ 1 w 730"/>
                  <a:gd name="T3" fmla="*/ 5 h 199"/>
                  <a:gd name="T4" fmla="*/ 28 w 730"/>
                  <a:gd name="T5" fmla="*/ 33 h 199"/>
                  <a:gd name="T6" fmla="*/ 29 w 730"/>
                  <a:gd name="T7" fmla="*/ 28 h 199"/>
                  <a:gd name="T8" fmla="*/ 31 w 730"/>
                  <a:gd name="T9" fmla="*/ 27 h 199"/>
                  <a:gd name="T10" fmla="*/ 32 w 730"/>
                  <a:gd name="T11" fmla="*/ 29 h 199"/>
                  <a:gd name="T12" fmla="*/ 31 w 730"/>
                  <a:gd name="T13" fmla="*/ 35 h 199"/>
                  <a:gd name="T14" fmla="*/ 34 w 730"/>
                  <a:gd name="T15" fmla="*/ 38 h 199"/>
                  <a:gd name="T16" fmla="*/ 34 w 730"/>
                  <a:gd name="T17" fmla="*/ 38 h 199"/>
                  <a:gd name="T18" fmla="*/ 53 w 730"/>
                  <a:gd name="T19" fmla="*/ 51 h 199"/>
                  <a:gd name="T20" fmla="*/ 59 w 730"/>
                  <a:gd name="T21" fmla="*/ 55 h 199"/>
                  <a:gd name="T22" fmla="*/ 59 w 730"/>
                  <a:gd name="T23" fmla="*/ 55 h 199"/>
                  <a:gd name="T24" fmla="*/ 59 w 730"/>
                  <a:gd name="T25" fmla="*/ 55 h 199"/>
                  <a:gd name="T26" fmla="*/ 75 w 730"/>
                  <a:gd name="T27" fmla="*/ 65 h 199"/>
                  <a:gd name="T28" fmla="*/ 78 w 730"/>
                  <a:gd name="T29" fmla="*/ 62 h 199"/>
                  <a:gd name="T30" fmla="*/ 78 w 730"/>
                  <a:gd name="T31" fmla="*/ 62 h 199"/>
                  <a:gd name="T32" fmla="*/ 80 w 730"/>
                  <a:gd name="T33" fmla="*/ 64 h 199"/>
                  <a:gd name="T34" fmla="*/ 78 w 730"/>
                  <a:gd name="T35" fmla="*/ 66 h 199"/>
                  <a:gd name="T36" fmla="*/ 170 w 730"/>
                  <a:gd name="T37" fmla="*/ 110 h 199"/>
                  <a:gd name="T38" fmla="*/ 269 w 730"/>
                  <a:gd name="T39" fmla="*/ 149 h 199"/>
                  <a:gd name="T40" fmla="*/ 369 w 730"/>
                  <a:gd name="T41" fmla="*/ 177 h 199"/>
                  <a:gd name="T42" fmla="*/ 562 w 730"/>
                  <a:gd name="T43" fmla="*/ 199 h 199"/>
                  <a:gd name="T44" fmla="*/ 566 w 730"/>
                  <a:gd name="T45" fmla="*/ 199 h 199"/>
                  <a:gd name="T46" fmla="*/ 623 w 730"/>
                  <a:gd name="T47" fmla="*/ 189 h 199"/>
                  <a:gd name="T48" fmla="*/ 633 w 730"/>
                  <a:gd name="T49" fmla="*/ 186 h 199"/>
                  <a:gd name="T50" fmla="*/ 638 w 730"/>
                  <a:gd name="T51" fmla="*/ 185 h 199"/>
                  <a:gd name="T52" fmla="*/ 650 w 730"/>
                  <a:gd name="T53" fmla="*/ 182 h 199"/>
                  <a:gd name="T54" fmla="*/ 670 w 730"/>
                  <a:gd name="T55" fmla="*/ 175 h 199"/>
                  <a:gd name="T56" fmla="*/ 678 w 730"/>
                  <a:gd name="T57" fmla="*/ 166 h 199"/>
                  <a:gd name="T58" fmla="*/ 679 w 730"/>
                  <a:gd name="T59" fmla="*/ 166 h 199"/>
                  <a:gd name="T60" fmla="*/ 680 w 730"/>
                  <a:gd name="T61" fmla="*/ 169 h 199"/>
                  <a:gd name="T62" fmla="*/ 677 w 730"/>
                  <a:gd name="T63" fmla="*/ 172 h 199"/>
                  <a:gd name="T64" fmla="*/ 680 w 730"/>
                  <a:gd name="T65" fmla="*/ 171 h 199"/>
                  <a:gd name="T66" fmla="*/ 729 w 730"/>
                  <a:gd name="T67" fmla="*/ 137 h 199"/>
                  <a:gd name="T68" fmla="*/ 728 w 730"/>
                  <a:gd name="T69" fmla="*/ 134 h 199"/>
                  <a:gd name="T70" fmla="*/ 727 w 730"/>
                  <a:gd name="T71" fmla="*/ 134 h 199"/>
                  <a:gd name="T72" fmla="*/ 686 w 730"/>
                  <a:gd name="T73" fmla="*/ 160 h 199"/>
                  <a:gd name="T74" fmla="*/ 679 w 730"/>
                  <a:gd name="T75" fmla="*/ 164 h 199"/>
                  <a:gd name="T76" fmla="*/ 679 w 730"/>
                  <a:gd name="T77" fmla="*/ 164 h 199"/>
                  <a:gd name="T78" fmla="*/ 642 w 730"/>
                  <a:gd name="T79" fmla="*/ 176 h 199"/>
                  <a:gd name="T80" fmla="*/ 636 w 730"/>
                  <a:gd name="T81" fmla="*/ 177 h 199"/>
                  <a:gd name="T82" fmla="*/ 631 w 730"/>
                  <a:gd name="T83" fmla="*/ 179 h 199"/>
                  <a:gd name="T84" fmla="*/ 622 w 730"/>
                  <a:gd name="T85" fmla="*/ 182 h 199"/>
                  <a:gd name="T86" fmla="*/ 601 w 730"/>
                  <a:gd name="T87" fmla="*/ 188 h 199"/>
                  <a:gd name="T88" fmla="*/ 573 w 730"/>
                  <a:gd name="T89" fmla="*/ 191 h 199"/>
                  <a:gd name="T90" fmla="*/ 548 w 730"/>
                  <a:gd name="T91" fmla="*/ 191 h 199"/>
                  <a:gd name="T92" fmla="*/ 460 w 730"/>
                  <a:gd name="T93" fmla="*/ 181 h 199"/>
                  <a:gd name="T94" fmla="*/ 364 w 730"/>
                  <a:gd name="T95" fmla="*/ 167 h 199"/>
                  <a:gd name="T96" fmla="*/ 271 w 730"/>
                  <a:gd name="T97" fmla="*/ 140 h 199"/>
                  <a:gd name="T98" fmla="*/ 174 w 730"/>
                  <a:gd name="T99" fmla="*/ 102 h 199"/>
                  <a:gd name="T100" fmla="*/ 91 w 730"/>
                  <a:gd name="T101" fmla="*/ 61 h 199"/>
                  <a:gd name="T102" fmla="*/ 84 w 730"/>
                  <a:gd name="T103" fmla="*/ 58 h 199"/>
                  <a:gd name="T104" fmla="*/ 64 w 730"/>
                  <a:gd name="T105" fmla="*/ 46 h 199"/>
                  <a:gd name="T106" fmla="*/ 64 w 730"/>
                  <a:gd name="T107" fmla="*/ 46 h 199"/>
                  <a:gd name="T108" fmla="*/ 63 w 730"/>
                  <a:gd name="T109" fmla="*/ 46 h 199"/>
                  <a:gd name="T110" fmla="*/ 58 w 730"/>
                  <a:gd name="T111" fmla="*/ 42 h 199"/>
                  <a:gd name="T112" fmla="*/ 43 w 730"/>
                  <a:gd name="T113" fmla="*/ 32 h 199"/>
                  <a:gd name="T114" fmla="*/ 37 w 730"/>
                  <a:gd name="T115" fmla="*/ 27 h 199"/>
                  <a:gd name="T116" fmla="*/ 37 w 730"/>
                  <a:gd name="T117" fmla="*/ 27 h 199"/>
                  <a:gd name="T118" fmla="*/ 5 w 730"/>
                  <a:gd name="T119" fmla="*/ 0 h 199"/>
                  <a:gd name="T120" fmla="*/ 3 w 730"/>
                  <a:gd name="T121" fmla="*/ 0 h 1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730" h="199">
                    <a:moveTo>
                      <a:pt x="3" y="0"/>
                    </a:moveTo>
                    <a:cubicBezTo>
                      <a:pt x="1" y="0"/>
                      <a:pt x="0" y="3"/>
                      <a:pt x="1" y="5"/>
                    </a:cubicBezTo>
                    <a:cubicBezTo>
                      <a:pt x="9" y="15"/>
                      <a:pt x="18" y="24"/>
                      <a:pt x="28" y="33"/>
                    </a:cubicBezTo>
                    <a:cubicBezTo>
                      <a:pt x="28" y="31"/>
                      <a:pt x="29" y="30"/>
                      <a:pt x="29" y="28"/>
                    </a:cubicBezTo>
                    <a:cubicBezTo>
                      <a:pt x="29" y="27"/>
                      <a:pt x="30" y="27"/>
                      <a:pt x="31" y="27"/>
                    </a:cubicBezTo>
                    <a:cubicBezTo>
                      <a:pt x="32" y="27"/>
                      <a:pt x="33" y="28"/>
                      <a:pt x="32" y="29"/>
                    </a:cubicBezTo>
                    <a:cubicBezTo>
                      <a:pt x="32" y="31"/>
                      <a:pt x="31" y="33"/>
                      <a:pt x="31" y="35"/>
                    </a:cubicBezTo>
                    <a:cubicBezTo>
                      <a:pt x="32" y="36"/>
                      <a:pt x="33" y="37"/>
                      <a:pt x="34" y="38"/>
                    </a:cubicBezTo>
                    <a:cubicBezTo>
                      <a:pt x="34" y="38"/>
                      <a:pt x="34" y="38"/>
                      <a:pt x="34" y="38"/>
                    </a:cubicBezTo>
                    <a:cubicBezTo>
                      <a:pt x="40" y="42"/>
                      <a:pt x="46" y="47"/>
                      <a:pt x="53" y="51"/>
                    </a:cubicBezTo>
                    <a:cubicBezTo>
                      <a:pt x="55" y="53"/>
                      <a:pt x="57" y="54"/>
                      <a:pt x="59" y="55"/>
                    </a:cubicBezTo>
                    <a:cubicBezTo>
                      <a:pt x="59" y="55"/>
                      <a:pt x="59" y="55"/>
                      <a:pt x="59" y="55"/>
                    </a:cubicBezTo>
                    <a:cubicBezTo>
                      <a:pt x="59" y="55"/>
                      <a:pt x="59" y="55"/>
                      <a:pt x="59" y="55"/>
                    </a:cubicBezTo>
                    <a:cubicBezTo>
                      <a:pt x="64" y="59"/>
                      <a:pt x="69" y="62"/>
                      <a:pt x="75" y="65"/>
                    </a:cubicBezTo>
                    <a:cubicBezTo>
                      <a:pt x="76" y="64"/>
                      <a:pt x="77" y="63"/>
                      <a:pt x="78" y="62"/>
                    </a:cubicBezTo>
                    <a:cubicBezTo>
                      <a:pt x="78" y="62"/>
                      <a:pt x="78" y="62"/>
                      <a:pt x="78" y="62"/>
                    </a:cubicBezTo>
                    <a:cubicBezTo>
                      <a:pt x="79" y="62"/>
                      <a:pt x="80" y="63"/>
                      <a:pt x="80" y="64"/>
                    </a:cubicBezTo>
                    <a:cubicBezTo>
                      <a:pt x="79" y="65"/>
                      <a:pt x="78" y="66"/>
                      <a:pt x="78" y="66"/>
                    </a:cubicBezTo>
                    <a:cubicBezTo>
                      <a:pt x="108" y="83"/>
                      <a:pt x="141" y="97"/>
                      <a:pt x="170" y="110"/>
                    </a:cubicBezTo>
                    <a:cubicBezTo>
                      <a:pt x="203" y="125"/>
                      <a:pt x="236" y="136"/>
                      <a:pt x="269" y="149"/>
                    </a:cubicBezTo>
                    <a:cubicBezTo>
                      <a:pt x="302" y="161"/>
                      <a:pt x="334" y="171"/>
                      <a:pt x="369" y="177"/>
                    </a:cubicBezTo>
                    <a:cubicBezTo>
                      <a:pt x="433" y="187"/>
                      <a:pt x="497" y="197"/>
                      <a:pt x="562" y="199"/>
                    </a:cubicBezTo>
                    <a:cubicBezTo>
                      <a:pt x="563" y="199"/>
                      <a:pt x="564" y="199"/>
                      <a:pt x="566" y="199"/>
                    </a:cubicBezTo>
                    <a:cubicBezTo>
                      <a:pt x="586" y="199"/>
                      <a:pt x="605" y="195"/>
                      <a:pt x="623" y="189"/>
                    </a:cubicBezTo>
                    <a:cubicBezTo>
                      <a:pt x="627" y="188"/>
                      <a:pt x="630" y="187"/>
                      <a:pt x="633" y="186"/>
                    </a:cubicBezTo>
                    <a:cubicBezTo>
                      <a:pt x="635" y="186"/>
                      <a:pt x="637" y="186"/>
                      <a:pt x="638" y="185"/>
                    </a:cubicBezTo>
                    <a:cubicBezTo>
                      <a:pt x="642" y="184"/>
                      <a:pt x="646" y="183"/>
                      <a:pt x="650" y="182"/>
                    </a:cubicBezTo>
                    <a:cubicBezTo>
                      <a:pt x="657" y="180"/>
                      <a:pt x="663" y="178"/>
                      <a:pt x="670" y="175"/>
                    </a:cubicBezTo>
                    <a:cubicBezTo>
                      <a:pt x="672" y="172"/>
                      <a:pt x="674" y="169"/>
                      <a:pt x="678" y="166"/>
                    </a:cubicBezTo>
                    <a:cubicBezTo>
                      <a:pt x="678" y="166"/>
                      <a:pt x="678" y="166"/>
                      <a:pt x="679" y="166"/>
                    </a:cubicBezTo>
                    <a:cubicBezTo>
                      <a:pt x="680" y="166"/>
                      <a:pt x="681" y="167"/>
                      <a:pt x="680" y="169"/>
                    </a:cubicBezTo>
                    <a:cubicBezTo>
                      <a:pt x="679" y="170"/>
                      <a:pt x="678" y="171"/>
                      <a:pt x="677" y="172"/>
                    </a:cubicBezTo>
                    <a:cubicBezTo>
                      <a:pt x="678" y="172"/>
                      <a:pt x="679" y="171"/>
                      <a:pt x="680" y="171"/>
                    </a:cubicBezTo>
                    <a:cubicBezTo>
                      <a:pt x="698" y="162"/>
                      <a:pt x="713" y="151"/>
                      <a:pt x="729" y="137"/>
                    </a:cubicBezTo>
                    <a:cubicBezTo>
                      <a:pt x="730" y="136"/>
                      <a:pt x="729" y="134"/>
                      <a:pt x="728" y="134"/>
                    </a:cubicBezTo>
                    <a:cubicBezTo>
                      <a:pt x="727" y="134"/>
                      <a:pt x="727" y="134"/>
                      <a:pt x="727" y="134"/>
                    </a:cubicBezTo>
                    <a:cubicBezTo>
                      <a:pt x="713" y="143"/>
                      <a:pt x="700" y="152"/>
                      <a:pt x="686" y="160"/>
                    </a:cubicBezTo>
                    <a:cubicBezTo>
                      <a:pt x="684" y="161"/>
                      <a:pt x="682" y="163"/>
                      <a:pt x="679" y="164"/>
                    </a:cubicBezTo>
                    <a:cubicBezTo>
                      <a:pt x="679" y="164"/>
                      <a:pt x="679" y="164"/>
                      <a:pt x="679" y="164"/>
                    </a:cubicBezTo>
                    <a:cubicBezTo>
                      <a:pt x="667" y="170"/>
                      <a:pt x="656" y="172"/>
                      <a:pt x="642" y="176"/>
                    </a:cubicBezTo>
                    <a:cubicBezTo>
                      <a:pt x="640" y="176"/>
                      <a:pt x="638" y="177"/>
                      <a:pt x="636" y="177"/>
                    </a:cubicBezTo>
                    <a:cubicBezTo>
                      <a:pt x="634" y="178"/>
                      <a:pt x="633" y="179"/>
                      <a:pt x="631" y="179"/>
                    </a:cubicBezTo>
                    <a:cubicBezTo>
                      <a:pt x="628" y="180"/>
                      <a:pt x="625" y="181"/>
                      <a:pt x="622" y="182"/>
                    </a:cubicBezTo>
                    <a:cubicBezTo>
                      <a:pt x="615" y="185"/>
                      <a:pt x="608" y="187"/>
                      <a:pt x="601" y="188"/>
                    </a:cubicBezTo>
                    <a:cubicBezTo>
                      <a:pt x="592" y="191"/>
                      <a:pt x="582" y="191"/>
                      <a:pt x="573" y="191"/>
                    </a:cubicBezTo>
                    <a:cubicBezTo>
                      <a:pt x="564" y="191"/>
                      <a:pt x="556" y="191"/>
                      <a:pt x="548" y="191"/>
                    </a:cubicBezTo>
                    <a:cubicBezTo>
                      <a:pt x="518" y="190"/>
                      <a:pt x="490" y="184"/>
                      <a:pt x="460" y="181"/>
                    </a:cubicBezTo>
                    <a:cubicBezTo>
                      <a:pt x="428" y="178"/>
                      <a:pt x="396" y="173"/>
                      <a:pt x="364" y="167"/>
                    </a:cubicBezTo>
                    <a:cubicBezTo>
                      <a:pt x="332" y="162"/>
                      <a:pt x="302" y="152"/>
                      <a:pt x="271" y="140"/>
                    </a:cubicBezTo>
                    <a:cubicBezTo>
                      <a:pt x="239" y="128"/>
                      <a:pt x="206" y="117"/>
                      <a:pt x="174" y="102"/>
                    </a:cubicBezTo>
                    <a:cubicBezTo>
                      <a:pt x="146" y="89"/>
                      <a:pt x="118" y="76"/>
                      <a:pt x="91" y="61"/>
                    </a:cubicBezTo>
                    <a:cubicBezTo>
                      <a:pt x="88" y="60"/>
                      <a:pt x="86" y="59"/>
                      <a:pt x="84" y="58"/>
                    </a:cubicBezTo>
                    <a:cubicBezTo>
                      <a:pt x="77" y="54"/>
                      <a:pt x="70" y="50"/>
                      <a:pt x="64" y="46"/>
                    </a:cubicBezTo>
                    <a:cubicBezTo>
                      <a:pt x="64" y="46"/>
                      <a:pt x="64" y="46"/>
                      <a:pt x="64" y="46"/>
                    </a:cubicBezTo>
                    <a:cubicBezTo>
                      <a:pt x="64" y="46"/>
                      <a:pt x="63" y="46"/>
                      <a:pt x="63" y="46"/>
                    </a:cubicBezTo>
                    <a:cubicBezTo>
                      <a:pt x="61" y="45"/>
                      <a:pt x="60" y="44"/>
                      <a:pt x="58" y="42"/>
                    </a:cubicBezTo>
                    <a:cubicBezTo>
                      <a:pt x="53" y="39"/>
                      <a:pt x="48" y="36"/>
                      <a:pt x="43" y="32"/>
                    </a:cubicBezTo>
                    <a:cubicBezTo>
                      <a:pt x="41" y="31"/>
                      <a:pt x="39" y="29"/>
                      <a:pt x="37" y="27"/>
                    </a:cubicBezTo>
                    <a:cubicBezTo>
                      <a:pt x="37" y="27"/>
                      <a:pt x="37" y="27"/>
                      <a:pt x="37" y="27"/>
                    </a:cubicBezTo>
                    <a:cubicBezTo>
                      <a:pt x="27" y="18"/>
                      <a:pt x="16" y="8"/>
                      <a:pt x="5" y="0"/>
                    </a:cubicBezTo>
                    <a:cubicBezTo>
                      <a:pt x="4" y="0"/>
                      <a:pt x="4" y="0"/>
                      <a:pt x="3" y="0"/>
                    </a:cubicBezTo>
                  </a:path>
                </a:pathLst>
              </a:custGeom>
              <a:solidFill>
                <a:srgbClr val="544D4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32" name="Freeform 78">
                <a:extLst>
                  <a:ext uri="{FF2B5EF4-FFF2-40B4-BE49-F238E27FC236}">
                    <a16:creationId xmlns:a16="http://schemas.microsoft.com/office/drawing/2014/main" id="{F4214A8B-9DF4-444D-AE4D-DD53B3780A63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901" y="2130"/>
                <a:ext cx="199" cy="408"/>
              </a:xfrm>
              <a:custGeom>
                <a:avLst/>
                <a:gdLst>
                  <a:gd name="T0" fmla="*/ 186 w 188"/>
                  <a:gd name="T1" fmla="*/ 0 h 386"/>
                  <a:gd name="T2" fmla="*/ 184 w 188"/>
                  <a:gd name="T3" fmla="*/ 1 h 386"/>
                  <a:gd name="T4" fmla="*/ 183 w 188"/>
                  <a:gd name="T5" fmla="*/ 6 h 386"/>
                  <a:gd name="T6" fmla="*/ 160 w 188"/>
                  <a:gd name="T7" fmla="*/ 51 h 386"/>
                  <a:gd name="T8" fmla="*/ 133 w 188"/>
                  <a:gd name="T9" fmla="*/ 96 h 386"/>
                  <a:gd name="T10" fmla="*/ 104 w 188"/>
                  <a:gd name="T11" fmla="*/ 135 h 386"/>
                  <a:gd name="T12" fmla="*/ 83 w 188"/>
                  <a:gd name="T13" fmla="*/ 178 h 386"/>
                  <a:gd name="T14" fmla="*/ 2 w 188"/>
                  <a:gd name="T15" fmla="*/ 379 h 386"/>
                  <a:gd name="T16" fmla="*/ 1 w 188"/>
                  <a:gd name="T17" fmla="*/ 383 h 386"/>
                  <a:gd name="T18" fmla="*/ 3 w 188"/>
                  <a:gd name="T19" fmla="*/ 386 h 386"/>
                  <a:gd name="T20" fmla="*/ 5 w 188"/>
                  <a:gd name="T21" fmla="*/ 385 h 386"/>
                  <a:gd name="T22" fmla="*/ 43 w 188"/>
                  <a:gd name="T23" fmla="*/ 337 h 386"/>
                  <a:gd name="T24" fmla="*/ 47 w 188"/>
                  <a:gd name="T25" fmla="*/ 329 h 386"/>
                  <a:gd name="T26" fmla="*/ 47 w 188"/>
                  <a:gd name="T27" fmla="*/ 329 h 386"/>
                  <a:gd name="T28" fmla="*/ 52 w 188"/>
                  <a:gd name="T29" fmla="*/ 314 h 386"/>
                  <a:gd name="T30" fmla="*/ 80 w 188"/>
                  <a:gd name="T31" fmla="*/ 201 h 386"/>
                  <a:gd name="T32" fmla="*/ 100 w 188"/>
                  <a:gd name="T33" fmla="*/ 152 h 386"/>
                  <a:gd name="T34" fmla="*/ 140 w 188"/>
                  <a:gd name="T35" fmla="*/ 92 h 386"/>
                  <a:gd name="T36" fmla="*/ 155 w 188"/>
                  <a:gd name="T37" fmla="*/ 67 h 386"/>
                  <a:gd name="T38" fmla="*/ 155 w 188"/>
                  <a:gd name="T39" fmla="*/ 67 h 386"/>
                  <a:gd name="T40" fmla="*/ 167 w 188"/>
                  <a:gd name="T41" fmla="*/ 48 h 386"/>
                  <a:gd name="T42" fmla="*/ 167 w 188"/>
                  <a:gd name="T43" fmla="*/ 48 h 386"/>
                  <a:gd name="T44" fmla="*/ 186 w 188"/>
                  <a:gd name="T45" fmla="*/ 8 h 386"/>
                  <a:gd name="T46" fmla="*/ 187 w 188"/>
                  <a:gd name="T47" fmla="*/ 2 h 386"/>
                  <a:gd name="T48" fmla="*/ 186 w 188"/>
                  <a:gd name="T49" fmla="*/ 0 h 3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188" h="386">
                    <a:moveTo>
                      <a:pt x="186" y="0"/>
                    </a:moveTo>
                    <a:cubicBezTo>
                      <a:pt x="185" y="0"/>
                      <a:pt x="184" y="0"/>
                      <a:pt x="184" y="1"/>
                    </a:cubicBezTo>
                    <a:cubicBezTo>
                      <a:pt x="184" y="3"/>
                      <a:pt x="183" y="4"/>
                      <a:pt x="183" y="6"/>
                    </a:cubicBezTo>
                    <a:cubicBezTo>
                      <a:pt x="178" y="22"/>
                      <a:pt x="169" y="37"/>
                      <a:pt x="160" y="51"/>
                    </a:cubicBezTo>
                    <a:cubicBezTo>
                      <a:pt x="150" y="66"/>
                      <a:pt x="142" y="81"/>
                      <a:pt x="133" y="96"/>
                    </a:cubicBezTo>
                    <a:cubicBezTo>
                      <a:pt x="124" y="109"/>
                      <a:pt x="114" y="122"/>
                      <a:pt x="104" y="135"/>
                    </a:cubicBezTo>
                    <a:cubicBezTo>
                      <a:pt x="95" y="149"/>
                      <a:pt x="89" y="163"/>
                      <a:pt x="83" y="178"/>
                    </a:cubicBezTo>
                    <a:cubicBezTo>
                      <a:pt x="54" y="244"/>
                      <a:pt x="58" y="328"/>
                      <a:pt x="2" y="379"/>
                    </a:cubicBezTo>
                    <a:cubicBezTo>
                      <a:pt x="0" y="380"/>
                      <a:pt x="0" y="382"/>
                      <a:pt x="1" y="383"/>
                    </a:cubicBezTo>
                    <a:cubicBezTo>
                      <a:pt x="1" y="384"/>
                      <a:pt x="2" y="386"/>
                      <a:pt x="3" y="386"/>
                    </a:cubicBezTo>
                    <a:cubicBezTo>
                      <a:pt x="4" y="386"/>
                      <a:pt x="5" y="386"/>
                      <a:pt x="5" y="385"/>
                    </a:cubicBezTo>
                    <a:cubicBezTo>
                      <a:pt x="23" y="375"/>
                      <a:pt x="35" y="356"/>
                      <a:pt x="43" y="337"/>
                    </a:cubicBezTo>
                    <a:cubicBezTo>
                      <a:pt x="45" y="334"/>
                      <a:pt x="46" y="331"/>
                      <a:pt x="47" y="329"/>
                    </a:cubicBezTo>
                    <a:cubicBezTo>
                      <a:pt x="47" y="329"/>
                      <a:pt x="47" y="329"/>
                      <a:pt x="47" y="329"/>
                    </a:cubicBezTo>
                    <a:cubicBezTo>
                      <a:pt x="48" y="324"/>
                      <a:pt x="50" y="319"/>
                      <a:pt x="52" y="314"/>
                    </a:cubicBezTo>
                    <a:cubicBezTo>
                      <a:pt x="63" y="277"/>
                      <a:pt x="68" y="238"/>
                      <a:pt x="80" y="201"/>
                    </a:cubicBezTo>
                    <a:cubicBezTo>
                      <a:pt x="85" y="185"/>
                      <a:pt x="92" y="168"/>
                      <a:pt x="100" y="152"/>
                    </a:cubicBezTo>
                    <a:cubicBezTo>
                      <a:pt x="110" y="131"/>
                      <a:pt x="127" y="112"/>
                      <a:pt x="140" y="92"/>
                    </a:cubicBezTo>
                    <a:cubicBezTo>
                      <a:pt x="144" y="83"/>
                      <a:pt x="150" y="75"/>
                      <a:pt x="155" y="67"/>
                    </a:cubicBezTo>
                    <a:cubicBezTo>
                      <a:pt x="155" y="67"/>
                      <a:pt x="155" y="67"/>
                      <a:pt x="155" y="67"/>
                    </a:cubicBezTo>
                    <a:cubicBezTo>
                      <a:pt x="159" y="61"/>
                      <a:pt x="163" y="55"/>
                      <a:pt x="167" y="48"/>
                    </a:cubicBezTo>
                    <a:cubicBezTo>
                      <a:pt x="167" y="48"/>
                      <a:pt x="167" y="48"/>
                      <a:pt x="167" y="48"/>
                    </a:cubicBezTo>
                    <a:cubicBezTo>
                      <a:pt x="175" y="36"/>
                      <a:pt x="181" y="22"/>
                      <a:pt x="186" y="8"/>
                    </a:cubicBezTo>
                    <a:cubicBezTo>
                      <a:pt x="186" y="6"/>
                      <a:pt x="187" y="4"/>
                      <a:pt x="187" y="2"/>
                    </a:cubicBezTo>
                    <a:cubicBezTo>
                      <a:pt x="188" y="1"/>
                      <a:pt x="187" y="0"/>
                      <a:pt x="186" y="0"/>
                    </a:cubicBezTo>
                  </a:path>
                </a:pathLst>
              </a:custGeom>
              <a:solidFill>
                <a:srgbClr val="544D4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33" name="Freeform 79">
                <a:extLst>
                  <a:ext uri="{FF2B5EF4-FFF2-40B4-BE49-F238E27FC236}">
                    <a16:creationId xmlns:a16="http://schemas.microsoft.com/office/drawing/2014/main" id="{D06FA0B2-B815-4FAF-9D2C-2EB35C43B955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763" y="2277"/>
                <a:ext cx="49" cy="468"/>
              </a:xfrm>
              <a:custGeom>
                <a:avLst/>
                <a:gdLst>
                  <a:gd name="T0" fmla="*/ 20 w 46"/>
                  <a:gd name="T1" fmla="*/ 0 h 442"/>
                  <a:gd name="T2" fmla="*/ 19 w 46"/>
                  <a:gd name="T3" fmla="*/ 0 h 442"/>
                  <a:gd name="T4" fmla="*/ 11 w 46"/>
                  <a:gd name="T5" fmla="*/ 9 h 442"/>
                  <a:gd name="T6" fmla="*/ 15 w 46"/>
                  <a:gd name="T7" fmla="*/ 92 h 442"/>
                  <a:gd name="T8" fmla="*/ 8 w 46"/>
                  <a:gd name="T9" fmla="*/ 244 h 442"/>
                  <a:gd name="T10" fmla="*/ 8 w 46"/>
                  <a:gd name="T11" fmla="*/ 373 h 442"/>
                  <a:gd name="T12" fmla="*/ 19 w 46"/>
                  <a:gd name="T13" fmla="*/ 416 h 442"/>
                  <a:gd name="T14" fmla="*/ 25 w 46"/>
                  <a:gd name="T15" fmla="*/ 428 h 442"/>
                  <a:gd name="T16" fmla="*/ 40 w 46"/>
                  <a:gd name="T17" fmla="*/ 442 h 442"/>
                  <a:gd name="T18" fmla="*/ 40 w 46"/>
                  <a:gd name="T19" fmla="*/ 442 h 442"/>
                  <a:gd name="T20" fmla="*/ 42 w 46"/>
                  <a:gd name="T21" fmla="*/ 442 h 442"/>
                  <a:gd name="T22" fmla="*/ 43 w 46"/>
                  <a:gd name="T23" fmla="*/ 442 h 442"/>
                  <a:gd name="T24" fmla="*/ 44 w 46"/>
                  <a:gd name="T25" fmla="*/ 436 h 442"/>
                  <a:gd name="T26" fmla="*/ 40 w 46"/>
                  <a:gd name="T27" fmla="*/ 432 h 442"/>
                  <a:gd name="T28" fmla="*/ 35 w 46"/>
                  <a:gd name="T29" fmla="*/ 426 h 442"/>
                  <a:gd name="T30" fmla="*/ 12 w 46"/>
                  <a:gd name="T31" fmla="*/ 347 h 442"/>
                  <a:gd name="T32" fmla="*/ 14 w 46"/>
                  <a:gd name="T33" fmla="*/ 237 h 442"/>
                  <a:gd name="T34" fmla="*/ 19 w 46"/>
                  <a:gd name="T35" fmla="*/ 127 h 442"/>
                  <a:gd name="T36" fmla="*/ 16 w 46"/>
                  <a:gd name="T37" fmla="*/ 66 h 442"/>
                  <a:gd name="T38" fmla="*/ 18 w 46"/>
                  <a:gd name="T39" fmla="*/ 6 h 442"/>
                  <a:gd name="T40" fmla="*/ 21 w 46"/>
                  <a:gd name="T41" fmla="*/ 3 h 442"/>
                  <a:gd name="T42" fmla="*/ 20 w 46"/>
                  <a:gd name="T43" fmla="*/ 0 h 4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46" h="442">
                    <a:moveTo>
                      <a:pt x="20" y="0"/>
                    </a:moveTo>
                    <a:cubicBezTo>
                      <a:pt x="19" y="0"/>
                      <a:pt x="19" y="0"/>
                      <a:pt x="19" y="0"/>
                    </a:cubicBezTo>
                    <a:cubicBezTo>
                      <a:pt x="15" y="3"/>
                      <a:pt x="13" y="6"/>
                      <a:pt x="11" y="9"/>
                    </a:cubicBezTo>
                    <a:cubicBezTo>
                      <a:pt x="0" y="31"/>
                      <a:pt x="14" y="73"/>
                      <a:pt x="15" y="92"/>
                    </a:cubicBezTo>
                    <a:cubicBezTo>
                      <a:pt x="17" y="143"/>
                      <a:pt x="12" y="193"/>
                      <a:pt x="8" y="244"/>
                    </a:cubicBezTo>
                    <a:cubicBezTo>
                      <a:pt x="5" y="287"/>
                      <a:pt x="3" y="330"/>
                      <a:pt x="8" y="373"/>
                    </a:cubicBezTo>
                    <a:cubicBezTo>
                      <a:pt x="9" y="386"/>
                      <a:pt x="12" y="402"/>
                      <a:pt x="19" y="416"/>
                    </a:cubicBezTo>
                    <a:cubicBezTo>
                      <a:pt x="20" y="421"/>
                      <a:pt x="23" y="425"/>
                      <a:pt x="25" y="428"/>
                    </a:cubicBezTo>
                    <a:cubicBezTo>
                      <a:pt x="29" y="434"/>
                      <a:pt x="34" y="439"/>
                      <a:pt x="40" y="442"/>
                    </a:cubicBezTo>
                    <a:cubicBezTo>
                      <a:pt x="40" y="442"/>
                      <a:pt x="40" y="442"/>
                      <a:pt x="40" y="442"/>
                    </a:cubicBezTo>
                    <a:cubicBezTo>
                      <a:pt x="41" y="442"/>
                      <a:pt x="41" y="442"/>
                      <a:pt x="42" y="442"/>
                    </a:cubicBezTo>
                    <a:cubicBezTo>
                      <a:pt x="42" y="442"/>
                      <a:pt x="43" y="442"/>
                      <a:pt x="43" y="442"/>
                    </a:cubicBezTo>
                    <a:cubicBezTo>
                      <a:pt x="45" y="441"/>
                      <a:pt x="46" y="438"/>
                      <a:pt x="44" y="436"/>
                    </a:cubicBezTo>
                    <a:cubicBezTo>
                      <a:pt x="42" y="435"/>
                      <a:pt x="41" y="434"/>
                      <a:pt x="40" y="432"/>
                    </a:cubicBezTo>
                    <a:cubicBezTo>
                      <a:pt x="38" y="430"/>
                      <a:pt x="36" y="428"/>
                      <a:pt x="35" y="426"/>
                    </a:cubicBezTo>
                    <a:cubicBezTo>
                      <a:pt x="17" y="404"/>
                      <a:pt x="14" y="376"/>
                      <a:pt x="12" y="347"/>
                    </a:cubicBezTo>
                    <a:cubicBezTo>
                      <a:pt x="10" y="310"/>
                      <a:pt x="11" y="273"/>
                      <a:pt x="14" y="237"/>
                    </a:cubicBezTo>
                    <a:cubicBezTo>
                      <a:pt x="17" y="200"/>
                      <a:pt x="20" y="164"/>
                      <a:pt x="19" y="127"/>
                    </a:cubicBezTo>
                    <a:cubicBezTo>
                      <a:pt x="19" y="106"/>
                      <a:pt x="18" y="86"/>
                      <a:pt x="16" y="66"/>
                    </a:cubicBezTo>
                    <a:cubicBezTo>
                      <a:pt x="15" y="50"/>
                      <a:pt x="8" y="22"/>
                      <a:pt x="18" y="6"/>
                    </a:cubicBezTo>
                    <a:cubicBezTo>
                      <a:pt x="19" y="5"/>
                      <a:pt x="20" y="4"/>
                      <a:pt x="21" y="3"/>
                    </a:cubicBezTo>
                    <a:cubicBezTo>
                      <a:pt x="22" y="1"/>
                      <a:pt x="21" y="0"/>
                      <a:pt x="20" y="0"/>
                    </a:cubicBezTo>
                  </a:path>
                </a:pathLst>
              </a:custGeom>
              <a:solidFill>
                <a:srgbClr val="544D4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34" name="Freeform 80">
                <a:extLst>
                  <a:ext uri="{FF2B5EF4-FFF2-40B4-BE49-F238E27FC236}">
                    <a16:creationId xmlns:a16="http://schemas.microsoft.com/office/drawing/2014/main" id="{F99F8378-71A3-46FF-B113-0D748B2B1FC8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035" y="2201"/>
                <a:ext cx="42" cy="74"/>
              </a:xfrm>
              <a:custGeom>
                <a:avLst/>
                <a:gdLst>
                  <a:gd name="T0" fmla="*/ 38 w 39"/>
                  <a:gd name="T1" fmla="*/ 0 h 70"/>
                  <a:gd name="T2" fmla="*/ 37 w 39"/>
                  <a:gd name="T3" fmla="*/ 0 h 70"/>
                  <a:gd name="T4" fmla="*/ 16 w 39"/>
                  <a:gd name="T5" fmla="*/ 33 h 70"/>
                  <a:gd name="T6" fmla="*/ 0 w 39"/>
                  <a:gd name="T7" fmla="*/ 70 h 70"/>
                  <a:gd name="T8" fmla="*/ 1 w 39"/>
                  <a:gd name="T9" fmla="*/ 70 h 70"/>
                  <a:gd name="T10" fmla="*/ 18 w 39"/>
                  <a:gd name="T11" fmla="*/ 39 h 70"/>
                  <a:gd name="T12" fmla="*/ 38 w 39"/>
                  <a:gd name="T13" fmla="*/ 1 h 70"/>
                  <a:gd name="T14" fmla="*/ 38 w 39"/>
                  <a:gd name="T15" fmla="*/ 0 h 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9" h="70">
                    <a:moveTo>
                      <a:pt x="38" y="0"/>
                    </a:moveTo>
                    <a:cubicBezTo>
                      <a:pt x="38" y="0"/>
                      <a:pt x="38" y="0"/>
                      <a:pt x="37" y="0"/>
                    </a:cubicBezTo>
                    <a:cubicBezTo>
                      <a:pt x="28" y="10"/>
                      <a:pt x="22" y="21"/>
                      <a:pt x="16" y="33"/>
                    </a:cubicBezTo>
                    <a:cubicBezTo>
                      <a:pt x="9" y="45"/>
                      <a:pt x="3" y="56"/>
                      <a:pt x="0" y="70"/>
                    </a:cubicBezTo>
                    <a:cubicBezTo>
                      <a:pt x="1" y="70"/>
                      <a:pt x="1" y="70"/>
                      <a:pt x="1" y="70"/>
                    </a:cubicBezTo>
                    <a:cubicBezTo>
                      <a:pt x="5" y="59"/>
                      <a:pt x="12" y="49"/>
                      <a:pt x="18" y="39"/>
                    </a:cubicBezTo>
                    <a:cubicBezTo>
                      <a:pt x="25" y="25"/>
                      <a:pt x="28" y="14"/>
                      <a:pt x="38" y="1"/>
                    </a:cubicBezTo>
                    <a:cubicBezTo>
                      <a:pt x="39" y="1"/>
                      <a:pt x="38" y="0"/>
                      <a:pt x="38" y="0"/>
                    </a:cubicBezTo>
                  </a:path>
                </a:pathLst>
              </a:custGeom>
              <a:solidFill>
                <a:srgbClr val="544D4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35" name="Freeform 81">
                <a:extLst>
                  <a:ext uri="{FF2B5EF4-FFF2-40B4-BE49-F238E27FC236}">
                    <a16:creationId xmlns:a16="http://schemas.microsoft.com/office/drawing/2014/main" id="{5CF2123D-44BA-41E9-A14D-3446FFB63AED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087" y="2175"/>
                <a:ext cx="9" cy="13"/>
              </a:xfrm>
              <a:custGeom>
                <a:avLst/>
                <a:gdLst>
                  <a:gd name="T0" fmla="*/ 7 w 8"/>
                  <a:gd name="T1" fmla="*/ 0 h 12"/>
                  <a:gd name="T2" fmla="*/ 0 w 8"/>
                  <a:gd name="T3" fmla="*/ 12 h 12"/>
                  <a:gd name="T4" fmla="*/ 1 w 8"/>
                  <a:gd name="T5" fmla="*/ 12 h 12"/>
                  <a:gd name="T6" fmla="*/ 8 w 8"/>
                  <a:gd name="T7" fmla="*/ 0 h 12"/>
                  <a:gd name="T8" fmla="*/ 7 w 8"/>
                  <a:gd name="T9" fmla="*/ 0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12">
                    <a:moveTo>
                      <a:pt x="7" y="0"/>
                    </a:moveTo>
                    <a:cubicBezTo>
                      <a:pt x="4" y="4"/>
                      <a:pt x="1" y="7"/>
                      <a:pt x="0" y="12"/>
                    </a:cubicBezTo>
                    <a:cubicBezTo>
                      <a:pt x="1" y="12"/>
                      <a:pt x="1" y="12"/>
                      <a:pt x="1" y="12"/>
                    </a:cubicBezTo>
                    <a:cubicBezTo>
                      <a:pt x="2" y="7"/>
                      <a:pt x="5" y="4"/>
                      <a:pt x="8" y="0"/>
                    </a:cubicBezTo>
                    <a:cubicBezTo>
                      <a:pt x="7" y="0"/>
                      <a:pt x="7" y="0"/>
                      <a:pt x="7" y="0"/>
                    </a:cubicBezTo>
                  </a:path>
                </a:pathLst>
              </a:custGeom>
              <a:solidFill>
                <a:srgbClr val="544D4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36" name="Freeform 82">
                <a:extLst>
                  <a:ext uri="{FF2B5EF4-FFF2-40B4-BE49-F238E27FC236}">
                    <a16:creationId xmlns:a16="http://schemas.microsoft.com/office/drawing/2014/main" id="{F3A9C9B6-3DFB-4E00-85A7-1DE0DE32105A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102" y="2150"/>
                <a:ext cx="11" cy="16"/>
              </a:xfrm>
              <a:custGeom>
                <a:avLst/>
                <a:gdLst>
                  <a:gd name="T0" fmla="*/ 9 w 10"/>
                  <a:gd name="T1" fmla="*/ 0 h 15"/>
                  <a:gd name="T2" fmla="*/ 9 w 10"/>
                  <a:gd name="T3" fmla="*/ 1 h 15"/>
                  <a:gd name="T4" fmla="*/ 0 w 10"/>
                  <a:gd name="T5" fmla="*/ 14 h 15"/>
                  <a:gd name="T6" fmla="*/ 0 w 10"/>
                  <a:gd name="T7" fmla="*/ 15 h 15"/>
                  <a:gd name="T8" fmla="*/ 10 w 10"/>
                  <a:gd name="T9" fmla="*/ 2 h 15"/>
                  <a:gd name="T10" fmla="*/ 9 w 10"/>
                  <a:gd name="T11" fmla="*/ 0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0" h="15">
                    <a:moveTo>
                      <a:pt x="9" y="0"/>
                    </a:moveTo>
                    <a:cubicBezTo>
                      <a:pt x="9" y="0"/>
                      <a:pt x="9" y="0"/>
                      <a:pt x="9" y="1"/>
                    </a:cubicBezTo>
                    <a:cubicBezTo>
                      <a:pt x="6" y="5"/>
                      <a:pt x="2" y="9"/>
                      <a:pt x="0" y="14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0"/>
                      <a:pt x="6" y="6"/>
                      <a:pt x="10" y="2"/>
                    </a:cubicBezTo>
                    <a:cubicBezTo>
                      <a:pt x="10" y="1"/>
                      <a:pt x="10" y="0"/>
                      <a:pt x="9" y="0"/>
                    </a:cubicBezTo>
                  </a:path>
                </a:pathLst>
              </a:custGeom>
              <a:solidFill>
                <a:srgbClr val="544D4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37" name="Freeform 83">
                <a:extLst>
                  <a:ext uri="{FF2B5EF4-FFF2-40B4-BE49-F238E27FC236}">
                    <a16:creationId xmlns:a16="http://schemas.microsoft.com/office/drawing/2014/main" id="{DC274046-D416-4519-AC44-B2D1A395044C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023" y="2291"/>
                <a:ext cx="9" cy="10"/>
              </a:xfrm>
              <a:custGeom>
                <a:avLst/>
                <a:gdLst>
                  <a:gd name="T0" fmla="*/ 7 w 9"/>
                  <a:gd name="T1" fmla="*/ 0 h 10"/>
                  <a:gd name="T2" fmla="*/ 6 w 9"/>
                  <a:gd name="T3" fmla="*/ 0 h 10"/>
                  <a:gd name="T4" fmla="*/ 0 w 9"/>
                  <a:gd name="T5" fmla="*/ 9 h 10"/>
                  <a:gd name="T6" fmla="*/ 1 w 9"/>
                  <a:gd name="T7" fmla="*/ 10 h 10"/>
                  <a:gd name="T8" fmla="*/ 2 w 9"/>
                  <a:gd name="T9" fmla="*/ 9 h 10"/>
                  <a:gd name="T10" fmla="*/ 4 w 9"/>
                  <a:gd name="T11" fmla="*/ 5 h 10"/>
                  <a:gd name="T12" fmla="*/ 8 w 9"/>
                  <a:gd name="T13" fmla="*/ 2 h 10"/>
                  <a:gd name="T14" fmla="*/ 7 w 9"/>
                  <a:gd name="T15" fmla="*/ 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9" h="10">
                    <a:moveTo>
                      <a:pt x="7" y="0"/>
                    </a:moveTo>
                    <a:cubicBezTo>
                      <a:pt x="7" y="0"/>
                      <a:pt x="6" y="0"/>
                      <a:pt x="6" y="0"/>
                    </a:cubicBezTo>
                    <a:cubicBezTo>
                      <a:pt x="3" y="2"/>
                      <a:pt x="0" y="5"/>
                      <a:pt x="0" y="9"/>
                    </a:cubicBezTo>
                    <a:cubicBezTo>
                      <a:pt x="0" y="10"/>
                      <a:pt x="0" y="10"/>
                      <a:pt x="1" y="10"/>
                    </a:cubicBezTo>
                    <a:cubicBezTo>
                      <a:pt x="1" y="10"/>
                      <a:pt x="2" y="10"/>
                      <a:pt x="2" y="9"/>
                    </a:cubicBezTo>
                    <a:cubicBezTo>
                      <a:pt x="3" y="8"/>
                      <a:pt x="3" y="6"/>
                      <a:pt x="4" y="5"/>
                    </a:cubicBezTo>
                    <a:cubicBezTo>
                      <a:pt x="5" y="4"/>
                      <a:pt x="7" y="3"/>
                      <a:pt x="8" y="2"/>
                    </a:cubicBezTo>
                    <a:cubicBezTo>
                      <a:pt x="9" y="2"/>
                      <a:pt x="8" y="0"/>
                      <a:pt x="7" y="0"/>
                    </a:cubicBezTo>
                  </a:path>
                </a:pathLst>
              </a:custGeom>
              <a:solidFill>
                <a:srgbClr val="544D4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38" name="Freeform 84">
                <a:extLst>
                  <a:ext uri="{FF2B5EF4-FFF2-40B4-BE49-F238E27FC236}">
                    <a16:creationId xmlns:a16="http://schemas.microsoft.com/office/drawing/2014/main" id="{915E1BCB-784C-47DB-A316-8B3E0B3D19E0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752" y="2300"/>
                <a:ext cx="12" cy="246"/>
              </a:xfrm>
              <a:custGeom>
                <a:avLst/>
                <a:gdLst>
                  <a:gd name="T0" fmla="*/ 1 w 12"/>
                  <a:gd name="T1" fmla="*/ 0 h 232"/>
                  <a:gd name="T2" fmla="*/ 0 w 12"/>
                  <a:gd name="T3" fmla="*/ 2 h 232"/>
                  <a:gd name="T4" fmla="*/ 6 w 12"/>
                  <a:gd name="T5" fmla="*/ 52 h 232"/>
                  <a:gd name="T6" fmla="*/ 11 w 12"/>
                  <a:gd name="T7" fmla="*/ 113 h 232"/>
                  <a:gd name="T8" fmla="*/ 0 w 12"/>
                  <a:gd name="T9" fmla="*/ 231 h 232"/>
                  <a:gd name="T10" fmla="*/ 0 w 12"/>
                  <a:gd name="T11" fmla="*/ 232 h 232"/>
                  <a:gd name="T12" fmla="*/ 1 w 12"/>
                  <a:gd name="T13" fmla="*/ 231 h 232"/>
                  <a:gd name="T14" fmla="*/ 11 w 12"/>
                  <a:gd name="T15" fmla="*/ 113 h 232"/>
                  <a:gd name="T16" fmla="*/ 3 w 12"/>
                  <a:gd name="T17" fmla="*/ 2 h 232"/>
                  <a:gd name="T18" fmla="*/ 1 w 12"/>
                  <a:gd name="T19" fmla="*/ 0 h 2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2" h="232">
                    <a:moveTo>
                      <a:pt x="1" y="0"/>
                    </a:moveTo>
                    <a:cubicBezTo>
                      <a:pt x="1" y="0"/>
                      <a:pt x="0" y="1"/>
                      <a:pt x="0" y="2"/>
                    </a:cubicBezTo>
                    <a:cubicBezTo>
                      <a:pt x="0" y="19"/>
                      <a:pt x="5" y="35"/>
                      <a:pt x="6" y="52"/>
                    </a:cubicBezTo>
                    <a:cubicBezTo>
                      <a:pt x="8" y="72"/>
                      <a:pt x="11" y="93"/>
                      <a:pt x="11" y="113"/>
                    </a:cubicBezTo>
                    <a:cubicBezTo>
                      <a:pt x="10" y="152"/>
                      <a:pt x="2" y="192"/>
                      <a:pt x="0" y="231"/>
                    </a:cubicBezTo>
                    <a:cubicBezTo>
                      <a:pt x="0" y="232"/>
                      <a:pt x="0" y="232"/>
                      <a:pt x="0" y="232"/>
                    </a:cubicBezTo>
                    <a:cubicBezTo>
                      <a:pt x="1" y="232"/>
                      <a:pt x="1" y="232"/>
                      <a:pt x="1" y="231"/>
                    </a:cubicBezTo>
                    <a:cubicBezTo>
                      <a:pt x="5" y="192"/>
                      <a:pt x="11" y="153"/>
                      <a:pt x="11" y="113"/>
                    </a:cubicBezTo>
                    <a:cubicBezTo>
                      <a:pt x="12" y="76"/>
                      <a:pt x="5" y="39"/>
                      <a:pt x="3" y="2"/>
                    </a:cubicBezTo>
                    <a:cubicBezTo>
                      <a:pt x="3" y="1"/>
                      <a:pt x="2" y="0"/>
                      <a:pt x="1" y="0"/>
                    </a:cubicBezTo>
                  </a:path>
                </a:pathLst>
              </a:custGeom>
              <a:solidFill>
                <a:srgbClr val="544D4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39" name="Freeform 85">
                <a:extLst>
                  <a:ext uri="{FF2B5EF4-FFF2-40B4-BE49-F238E27FC236}">
                    <a16:creationId xmlns:a16="http://schemas.microsoft.com/office/drawing/2014/main" id="{2291BA4C-E51C-41A3-8BF1-B3C0CBED6685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746" y="2585"/>
                <a:ext cx="49" cy="159"/>
              </a:xfrm>
              <a:custGeom>
                <a:avLst/>
                <a:gdLst>
                  <a:gd name="T0" fmla="*/ 3 w 46"/>
                  <a:gd name="T1" fmla="*/ 0 h 150"/>
                  <a:gd name="T2" fmla="*/ 2 w 46"/>
                  <a:gd name="T3" fmla="*/ 1 h 150"/>
                  <a:gd name="T4" fmla="*/ 4 w 46"/>
                  <a:gd name="T5" fmla="*/ 41 h 150"/>
                  <a:gd name="T6" fmla="*/ 7 w 46"/>
                  <a:gd name="T7" fmla="*/ 76 h 150"/>
                  <a:gd name="T8" fmla="*/ 9 w 46"/>
                  <a:gd name="T9" fmla="*/ 87 h 150"/>
                  <a:gd name="T10" fmla="*/ 23 w 46"/>
                  <a:gd name="T11" fmla="*/ 123 h 150"/>
                  <a:gd name="T12" fmla="*/ 38 w 46"/>
                  <a:gd name="T13" fmla="*/ 146 h 150"/>
                  <a:gd name="T14" fmla="*/ 40 w 46"/>
                  <a:gd name="T15" fmla="*/ 149 h 150"/>
                  <a:gd name="T16" fmla="*/ 42 w 46"/>
                  <a:gd name="T17" fmla="*/ 150 h 150"/>
                  <a:gd name="T18" fmla="*/ 45 w 46"/>
                  <a:gd name="T19" fmla="*/ 149 h 150"/>
                  <a:gd name="T20" fmla="*/ 45 w 46"/>
                  <a:gd name="T21" fmla="*/ 145 h 150"/>
                  <a:gd name="T22" fmla="*/ 38 w 46"/>
                  <a:gd name="T23" fmla="*/ 135 h 150"/>
                  <a:gd name="T24" fmla="*/ 26 w 46"/>
                  <a:gd name="T25" fmla="*/ 117 h 150"/>
                  <a:gd name="T26" fmla="*/ 12 w 46"/>
                  <a:gd name="T27" fmla="*/ 80 h 150"/>
                  <a:gd name="T28" fmla="*/ 9 w 46"/>
                  <a:gd name="T29" fmla="*/ 44 h 150"/>
                  <a:gd name="T30" fmla="*/ 5 w 46"/>
                  <a:gd name="T31" fmla="*/ 2 h 150"/>
                  <a:gd name="T32" fmla="*/ 3 w 46"/>
                  <a:gd name="T33" fmla="*/ 0 h 1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46" h="150">
                    <a:moveTo>
                      <a:pt x="3" y="0"/>
                    </a:moveTo>
                    <a:cubicBezTo>
                      <a:pt x="3" y="0"/>
                      <a:pt x="2" y="1"/>
                      <a:pt x="2" y="1"/>
                    </a:cubicBezTo>
                    <a:cubicBezTo>
                      <a:pt x="0" y="15"/>
                      <a:pt x="3" y="28"/>
                      <a:pt x="4" y="41"/>
                    </a:cubicBezTo>
                    <a:cubicBezTo>
                      <a:pt x="5" y="53"/>
                      <a:pt x="5" y="64"/>
                      <a:pt x="7" y="76"/>
                    </a:cubicBezTo>
                    <a:cubicBezTo>
                      <a:pt x="8" y="80"/>
                      <a:pt x="8" y="83"/>
                      <a:pt x="9" y="87"/>
                    </a:cubicBezTo>
                    <a:cubicBezTo>
                      <a:pt x="12" y="99"/>
                      <a:pt x="17" y="112"/>
                      <a:pt x="23" y="123"/>
                    </a:cubicBezTo>
                    <a:cubicBezTo>
                      <a:pt x="27" y="132"/>
                      <a:pt x="32" y="139"/>
                      <a:pt x="38" y="146"/>
                    </a:cubicBezTo>
                    <a:cubicBezTo>
                      <a:pt x="39" y="147"/>
                      <a:pt x="40" y="148"/>
                      <a:pt x="40" y="149"/>
                    </a:cubicBezTo>
                    <a:cubicBezTo>
                      <a:pt x="41" y="149"/>
                      <a:pt x="42" y="150"/>
                      <a:pt x="42" y="150"/>
                    </a:cubicBezTo>
                    <a:cubicBezTo>
                      <a:pt x="43" y="150"/>
                      <a:pt x="44" y="149"/>
                      <a:pt x="45" y="149"/>
                    </a:cubicBezTo>
                    <a:cubicBezTo>
                      <a:pt x="45" y="148"/>
                      <a:pt x="46" y="146"/>
                      <a:pt x="45" y="145"/>
                    </a:cubicBezTo>
                    <a:cubicBezTo>
                      <a:pt x="42" y="142"/>
                      <a:pt x="40" y="139"/>
                      <a:pt x="38" y="135"/>
                    </a:cubicBezTo>
                    <a:cubicBezTo>
                      <a:pt x="33" y="129"/>
                      <a:pt x="30" y="123"/>
                      <a:pt x="26" y="117"/>
                    </a:cubicBezTo>
                    <a:cubicBezTo>
                      <a:pt x="20" y="105"/>
                      <a:pt x="15" y="93"/>
                      <a:pt x="12" y="80"/>
                    </a:cubicBezTo>
                    <a:cubicBezTo>
                      <a:pt x="10" y="68"/>
                      <a:pt x="10" y="56"/>
                      <a:pt x="9" y="44"/>
                    </a:cubicBezTo>
                    <a:cubicBezTo>
                      <a:pt x="7" y="30"/>
                      <a:pt x="4" y="16"/>
                      <a:pt x="5" y="2"/>
                    </a:cubicBezTo>
                    <a:cubicBezTo>
                      <a:pt x="5" y="1"/>
                      <a:pt x="4" y="0"/>
                      <a:pt x="3" y="0"/>
                    </a:cubicBezTo>
                  </a:path>
                </a:pathLst>
              </a:custGeom>
              <a:solidFill>
                <a:srgbClr val="544D4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40" name="Freeform 86">
                <a:extLst>
                  <a:ext uri="{FF2B5EF4-FFF2-40B4-BE49-F238E27FC236}">
                    <a16:creationId xmlns:a16="http://schemas.microsoft.com/office/drawing/2014/main" id="{D15E2B6F-0073-4BCD-8548-F1AE869901CC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2709" y="2308"/>
                <a:ext cx="22" cy="320"/>
              </a:xfrm>
              <a:custGeom>
                <a:avLst/>
                <a:gdLst>
                  <a:gd name="T0" fmla="*/ 11 w 20"/>
                  <a:gd name="T1" fmla="*/ 23 h 303"/>
                  <a:gd name="T2" fmla="*/ 10 w 20"/>
                  <a:gd name="T3" fmla="*/ 23 h 303"/>
                  <a:gd name="T4" fmla="*/ 6 w 20"/>
                  <a:gd name="T5" fmla="*/ 25 h 303"/>
                  <a:gd name="T6" fmla="*/ 11 w 20"/>
                  <a:gd name="T7" fmla="*/ 73 h 303"/>
                  <a:gd name="T8" fmla="*/ 13 w 20"/>
                  <a:gd name="T9" fmla="*/ 155 h 303"/>
                  <a:gd name="T10" fmla="*/ 10 w 20"/>
                  <a:gd name="T11" fmla="*/ 230 h 303"/>
                  <a:gd name="T12" fmla="*/ 15 w 20"/>
                  <a:gd name="T13" fmla="*/ 302 h 303"/>
                  <a:gd name="T14" fmla="*/ 17 w 20"/>
                  <a:gd name="T15" fmla="*/ 303 h 303"/>
                  <a:gd name="T16" fmla="*/ 19 w 20"/>
                  <a:gd name="T17" fmla="*/ 301 h 303"/>
                  <a:gd name="T18" fmla="*/ 18 w 20"/>
                  <a:gd name="T19" fmla="*/ 144 h 303"/>
                  <a:gd name="T20" fmla="*/ 16 w 20"/>
                  <a:gd name="T21" fmla="*/ 72 h 303"/>
                  <a:gd name="T22" fmla="*/ 11 w 20"/>
                  <a:gd name="T23" fmla="*/ 23 h 303"/>
                  <a:gd name="T24" fmla="*/ 3 w 20"/>
                  <a:gd name="T25" fmla="*/ 0 h 303"/>
                  <a:gd name="T26" fmla="*/ 1 w 20"/>
                  <a:gd name="T27" fmla="*/ 2 h 303"/>
                  <a:gd name="T28" fmla="*/ 4 w 20"/>
                  <a:gd name="T29" fmla="*/ 16 h 303"/>
                  <a:gd name="T30" fmla="*/ 5 w 20"/>
                  <a:gd name="T31" fmla="*/ 19 h 303"/>
                  <a:gd name="T32" fmla="*/ 9 w 20"/>
                  <a:gd name="T33" fmla="*/ 18 h 303"/>
                  <a:gd name="T34" fmla="*/ 9 w 20"/>
                  <a:gd name="T35" fmla="*/ 18 h 303"/>
                  <a:gd name="T36" fmla="*/ 9 w 20"/>
                  <a:gd name="T37" fmla="*/ 15 h 303"/>
                  <a:gd name="T38" fmla="*/ 4 w 20"/>
                  <a:gd name="T39" fmla="*/ 1 h 303"/>
                  <a:gd name="T40" fmla="*/ 3 w 20"/>
                  <a:gd name="T41" fmla="*/ 0 h 3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0" h="303">
                    <a:moveTo>
                      <a:pt x="11" y="23"/>
                    </a:moveTo>
                    <a:cubicBezTo>
                      <a:pt x="10" y="23"/>
                      <a:pt x="10" y="23"/>
                      <a:pt x="10" y="23"/>
                    </a:cubicBezTo>
                    <a:cubicBezTo>
                      <a:pt x="9" y="24"/>
                      <a:pt x="7" y="24"/>
                      <a:pt x="6" y="25"/>
                    </a:cubicBezTo>
                    <a:cubicBezTo>
                      <a:pt x="8" y="41"/>
                      <a:pt x="10" y="58"/>
                      <a:pt x="11" y="73"/>
                    </a:cubicBezTo>
                    <a:cubicBezTo>
                      <a:pt x="14" y="100"/>
                      <a:pt x="13" y="128"/>
                      <a:pt x="13" y="155"/>
                    </a:cubicBezTo>
                    <a:cubicBezTo>
                      <a:pt x="13" y="180"/>
                      <a:pt x="11" y="205"/>
                      <a:pt x="10" y="230"/>
                    </a:cubicBezTo>
                    <a:cubicBezTo>
                      <a:pt x="9" y="253"/>
                      <a:pt x="9" y="280"/>
                      <a:pt x="15" y="302"/>
                    </a:cubicBezTo>
                    <a:cubicBezTo>
                      <a:pt x="15" y="303"/>
                      <a:pt x="16" y="303"/>
                      <a:pt x="17" y="303"/>
                    </a:cubicBezTo>
                    <a:cubicBezTo>
                      <a:pt x="18" y="303"/>
                      <a:pt x="20" y="302"/>
                      <a:pt x="19" y="301"/>
                    </a:cubicBezTo>
                    <a:cubicBezTo>
                      <a:pt x="13" y="249"/>
                      <a:pt x="19" y="196"/>
                      <a:pt x="18" y="144"/>
                    </a:cubicBezTo>
                    <a:cubicBezTo>
                      <a:pt x="18" y="120"/>
                      <a:pt x="19" y="96"/>
                      <a:pt x="16" y="72"/>
                    </a:cubicBezTo>
                    <a:cubicBezTo>
                      <a:pt x="14" y="57"/>
                      <a:pt x="14" y="39"/>
                      <a:pt x="11" y="23"/>
                    </a:cubicBezTo>
                    <a:moveTo>
                      <a:pt x="3" y="0"/>
                    </a:moveTo>
                    <a:cubicBezTo>
                      <a:pt x="2" y="0"/>
                      <a:pt x="0" y="1"/>
                      <a:pt x="1" y="2"/>
                    </a:cubicBezTo>
                    <a:cubicBezTo>
                      <a:pt x="2" y="6"/>
                      <a:pt x="3" y="11"/>
                      <a:pt x="4" y="16"/>
                    </a:cubicBezTo>
                    <a:cubicBezTo>
                      <a:pt x="4" y="17"/>
                      <a:pt x="5" y="18"/>
                      <a:pt x="5" y="19"/>
                    </a:cubicBezTo>
                    <a:cubicBezTo>
                      <a:pt x="6" y="19"/>
                      <a:pt x="8" y="18"/>
                      <a:pt x="9" y="18"/>
                    </a:cubicBezTo>
                    <a:cubicBezTo>
                      <a:pt x="9" y="18"/>
                      <a:pt x="9" y="18"/>
                      <a:pt x="9" y="18"/>
                    </a:cubicBezTo>
                    <a:cubicBezTo>
                      <a:pt x="9" y="17"/>
                      <a:pt x="9" y="16"/>
                      <a:pt x="9" y="15"/>
                    </a:cubicBezTo>
                    <a:cubicBezTo>
                      <a:pt x="7" y="10"/>
                      <a:pt x="6" y="5"/>
                      <a:pt x="4" y="1"/>
                    </a:cubicBezTo>
                    <a:cubicBezTo>
                      <a:pt x="4" y="0"/>
                      <a:pt x="3" y="0"/>
                      <a:pt x="3" y="0"/>
                    </a:cubicBezTo>
                  </a:path>
                </a:pathLst>
              </a:custGeom>
              <a:solidFill>
                <a:srgbClr val="544D4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41" name="Freeform 87">
                <a:extLst>
                  <a:ext uri="{FF2B5EF4-FFF2-40B4-BE49-F238E27FC236}">
                    <a16:creationId xmlns:a16="http://schemas.microsoft.com/office/drawing/2014/main" id="{020D6DDE-64C9-4E40-97CD-64389D4917E3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1971" y="2167"/>
                <a:ext cx="179" cy="294"/>
              </a:xfrm>
              <a:custGeom>
                <a:avLst/>
                <a:gdLst>
                  <a:gd name="T0" fmla="*/ 137 w 169"/>
                  <a:gd name="T1" fmla="*/ 40 h 278"/>
                  <a:gd name="T2" fmla="*/ 126 w 169"/>
                  <a:gd name="T3" fmla="*/ 59 h 278"/>
                  <a:gd name="T4" fmla="*/ 81 w 169"/>
                  <a:gd name="T5" fmla="*/ 132 h 278"/>
                  <a:gd name="T6" fmla="*/ 40 w 169"/>
                  <a:gd name="T7" fmla="*/ 200 h 278"/>
                  <a:gd name="T8" fmla="*/ 37 w 169"/>
                  <a:gd name="T9" fmla="*/ 205 h 278"/>
                  <a:gd name="T10" fmla="*/ 2 w 169"/>
                  <a:gd name="T11" fmla="*/ 274 h 278"/>
                  <a:gd name="T12" fmla="*/ 4 w 169"/>
                  <a:gd name="T13" fmla="*/ 278 h 278"/>
                  <a:gd name="T14" fmla="*/ 4 w 169"/>
                  <a:gd name="T15" fmla="*/ 278 h 278"/>
                  <a:gd name="T16" fmla="*/ 6 w 169"/>
                  <a:gd name="T17" fmla="*/ 277 h 278"/>
                  <a:gd name="T18" fmla="*/ 23 w 169"/>
                  <a:gd name="T19" fmla="*/ 250 h 278"/>
                  <a:gd name="T20" fmla="*/ 40 w 169"/>
                  <a:gd name="T21" fmla="*/ 215 h 278"/>
                  <a:gd name="T22" fmla="*/ 53 w 169"/>
                  <a:gd name="T23" fmla="*/ 188 h 278"/>
                  <a:gd name="T24" fmla="*/ 83 w 169"/>
                  <a:gd name="T25" fmla="*/ 138 h 278"/>
                  <a:gd name="T26" fmla="*/ 89 w 169"/>
                  <a:gd name="T27" fmla="*/ 128 h 278"/>
                  <a:gd name="T28" fmla="*/ 139 w 169"/>
                  <a:gd name="T29" fmla="*/ 41 h 278"/>
                  <a:gd name="T30" fmla="*/ 138 w 169"/>
                  <a:gd name="T31" fmla="*/ 40 h 278"/>
                  <a:gd name="T32" fmla="*/ 137 w 169"/>
                  <a:gd name="T33" fmla="*/ 40 h 278"/>
                  <a:gd name="T34" fmla="*/ 167 w 169"/>
                  <a:gd name="T35" fmla="*/ 0 h 278"/>
                  <a:gd name="T36" fmla="*/ 167 w 169"/>
                  <a:gd name="T37" fmla="*/ 0 h 278"/>
                  <a:gd name="T38" fmla="*/ 164 w 169"/>
                  <a:gd name="T39" fmla="*/ 3 h 278"/>
                  <a:gd name="T40" fmla="*/ 141 w 169"/>
                  <a:gd name="T41" fmla="*/ 33 h 278"/>
                  <a:gd name="T42" fmla="*/ 141 w 169"/>
                  <a:gd name="T43" fmla="*/ 34 h 278"/>
                  <a:gd name="T44" fmla="*/ 143 w 169"/>
                  <a:gd name="T45" fmla="*/ 35 h 278"/>
                  <a:gd name="T46" fmla="*/ 153 w 169"/>
                  <a:gd name="T47" fmla="*/ 21 h 278"/>
                  <a:gd name="T48" fmla="*/ 167 w 169"/>
                  <a:gd name="T49" fmla="*/ 4 h 278"/>
                  <a:gd name="T50" fmla="*/ 169 w 169"/>
                  <a:gd name="T51" fmla="*/ 2 h 278"/>
                  <a:gd name="T52" fmla="*/ 167 w 169"/>
                  <a:gd name="T53" fmla="*/ 0 h 2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169" h="278">
                    <a:moveTo>
                      <a:pt x="137" y="40"/>
                    </a:moveTo>
                    <a:cubicBezTo>
                      <a:pt x="134" y="46"/>
                      <a:pt x="130" y="53"/>
                      <a:pt x="126" y="59"/>
                    </a:cubicBezTo>
                    <a:cubicBezTo>
                      <a:pt x="111" y="83"/>
                      <a:pt x="97" y="108"/>
                      <a:pt x="81" y="132"/>
                    </a:cubicBezTo>
                    <a:cubicBezTo>
                      <a:pt x="66" y="154"/>
                      <a:pt x="52" y="176"/>
                      <a:pt x="40" y="200"/>
                    </a:cubicBezTo>
                    <a:cubicBezTo>
                      <a:pt x="39" y="202"/>
                      <a:pt x="38" y="203"/>
                      <a:pt x="37" y="205"/>
                    </a:cubicBezTo>
                    <a:cubicBezTo>
                      <a:pt x="26" y="228"/>
                      <a:pt x="16" y="252"/>
                      <a:pt x="2" y="274"/>
                    </a:cubicBezTo>
                    <a:cubicBezTo>
                      <a:pt x="0" y="276"/>
                      <a:pt x="2" y="278"/>
                      <a:pt x="4" y="278"/>
                    </a:cubicBezTo>
                    <a:cubicBezTo>
                      <a:pt x="4" y="278"/>
                      <a:pt x="4" y="278"/>
                      <a:pt x="4" y="278"/>
                    </a:cubicBezTo>
                    <a:cubicBezTo>
                      <a:pt x="5" y="278"/>
                      <a:pt x="6" y="278"/>
                      <a:pt x="6" y="277"/>
                    </a:cubicBezTo>
                    <a:cubicBezTo>
                      <a:pt x="13" y="269"/>
                      <a:pt x="18" y="260"/>
                      <a:pt x="23" y="250"/>
                    </a:cubicBezTo>
                    <a:cubicBezTo>
                      <a:pt x="29" y="239"/>
                      <a:pt x="34" y="226"/>
                      <a:pt x="40" y="215"/>
                    </a:cubicBezTo>
                    <a:cubicBezTo>
                      <a:pt x="44" y="206"/>
                      <a:pt x="49" y="197"/>
                      <a:pt x="53" y="188"/>
                    </a:cubicBezTo>
                    <a:cubicBezTo>
                      <a:pt x="63" y="171"/>
                      <a:pt x="72" y="154"/>
                      <a:pt x="83" y="138"/>
                    </a:cubicBezTo>
                    <a:cubicBezTo>
                      <a:pt x="85" y="135"/>
                      <a:pt x="87" y="131"/>
                      <a:pt x="89" y="128"/>
                    </a:cubicBezTo>
                    <a:cubicBezTo>
                      <a:pt x="107" y="100"/>
                      <a:pt x="121" y="69"/>
                      <a:pt x="139" y="41"/>
                    </a:cubicBezTo>
                    <a:cubicBezTo>
                      <a:pt x="139" y="41"/>
                      <a:pt x="138" y="41"/>
                      <a:pt x="138" y="40"/>
                    </a:cubicBezTo>
                    <a:cubicBezTo>
                      <a:pt x="137" y="40"/>
                      <a:pt x="137" y="40"/>
                      <a:pt x="137" y="40"/>
                    </a:cubicBezTo>
                    <a:moveTo>
                      <a:pt x="167" y="0"/>
                    </a:moveTo>
                    <a:cubicBezTo>
                      <a:pt x="167" y="0"/>
                      <a:pt x="167" y="0"/>
                      <a:pt x="167" y="0"/>
                    </a:cubicBezTo>
                    <a:cubicBezTo>
                      <a:pt x="166" y="1"/>
                      <a:pt x="165" y="2"/>
                      <a:pt x="164" y="3"/>
                    </a:cubicBezTo>
                    <a:cubicBezTo>
                      <a:pt x="154" y="11"/>
                      <a:pt x="147" y="22"/>
                      <a:pt x="141" y="33"/>
                    </a:cubicBezTo>
                    <a:cubicBezTo>
                      <a:pt x="141" y="34"/>
                      <a:pt x="141" y="34"/>
                      <a:pt x="141" y="34"/>
                    </a:cubicBezTo>
                    <a:cubicBezTo>
                      <a:pt x="142" y="34"/>
                      <a:pt x="143" y="34"/>
                      <a:pt x="143" y="35"/>
                    </a:cubicBezTo>
                    <a:cubicBezTo>
                      <a:pt x="146" y="30"/>
                      <a:pt x="149" y="26"/>
                      <a:pt x="153" y="21"/>
                    </a:cubicBezTo>
                    <a:cubicBezTo>
                      <a:pt x="157" y="15"/>
                      <a:pt x="162" y="10"/>
                      <a:pt x="167" y="4"/>
                    </a:cubicBezTo>
                    <a:cubicBezTo>
                      <a:pt x="167" y="4"/>
                      <a:pt x="168" y="3"/>
                      <a:pt x="169" y="2"/>
                    </a:cubicBezTo>
                    <a:cubicBezTo>
                      <a:pt x="169" y="1"/>
                      <a:pt x="168" y="0"/>
                      <a:pt x="167" y="0"/>
                    </a:cubicBezTo>
                  </a:path>
                </a:pathLst>
              </a:custGeom>
              <a:solidFill>
                <a:srgbClr val="544D4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42" name="Freeform 88">
                <a:extLst>
                  <a:ext uri="{FF2B5EF4-FFF2-40B4-BE49-F238E27FC236}">
                    <a16:creationId xmlns:a16="http://schemas.microsoft.com/office/drawing/2014/main" id="{634C5405-7940-4688-B226-B2A506244B3A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2504" y="2321"/>
                <a:ext cx="219" cy="33"/>
              </a:xfrm>
              <a:custGeom>
                <a:avLst/>
                <a:gdLst>
                  <a:gd name="T0" fmla="*/ 204 w 207"/>
                  <a:gd name="T1" fmla="*/ 5 h 31"/>
                  <a:gd name="T2" fmla="*/ 203 w 207"/>
                  <a:gd name="T3" fmla="*/ 5 h 31"/>
                  <a:gd name="T4" fmla="*/ 203 w 207"/>
                  <a:gd name="T5" fmla="*/ 5 h 31"/>
                  <a:gd name="T6" fmla="*/ 199 w 207"/>
                  <a:gd name="T7" fmla="*/ 6 h 31"/>
                  <a:gd name="T8" fmla="*/ 108 w 207"/>
                  <a:gd name="T9" fmla="*/ 21 h 31"/>
                  <a:gd name="T10" fmla="*/ 62 w 207"/>
                  <a:gd name="T11" fmla="*/ 24 h 31"/>
                  <a:gd name="T12" fmla="*/ 60 w 207"/>
                  <a:gd name="T13" fmla="*/ 24 h 31"/>
                  <a:gd name="T14" fmla="*/ 9 w 207"/>
                  <a:gd name="T15" fmla="*/ 8 h 31"/>
                  <a:gd name="T16" fmla="*/ 0 w 207"/>
                  <a:gd name="T17" fmla="*/ 7 h 31"/>
                  <a:gd name="T18" fmla="*/ 56 w 207"/>
                  <a:gd name="T19" fmla="*/ 31 h 31"/>
                  <a:gd name="T20" fmla="*/ 80 w 207"/>
                  <a:gd name="T21" fmla="*/ 30 h 31"/>
                  <a:gd name="T22" fmla="*/ 200 w 207"/>
                  <a:gd name="T23" fmla="*/ 12 h 31"/>
                  <a:gd name="T24" fmla="*/ 204 w 207"/>
                  <a:gd name="T25" fmla="*/ 10 h 31"/>
                  <a:gd name="T26" fmla="*/ 205 w 207"/>
                  <a:gd name="T27" fmla="*/ 10 h 31"/>
                  <a:gd name="T28" fmla="*/ 204 w 207"/>
                  <a:gd name="T29" fmla="*/ 5 h 31"/>
                  <a:gd name="T30" fmla="*/ 4 w 207"/>
                  <a:gd name="T31" fmla="*/ 0 h 31"/>
                  <a:gd name="T32" fmla="*/ 3 w 207"/>
                  <a:gd name="T33" fmla="*/ 0 h 31"/>
                  <a:gd name="T34" fmla="*/ 5 w 207"/>
                  <a:gd name="T35" fmla="*/ 1 h 31"/>
                  <a:gd name="T36" fmla="*/ 4 w 207"/>
                  <a:gd name="T37" fmla="*/ 0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207" h="31">
                    <a:moveTo>
                      <a:pt x="204" y="5"/>
                    </a:moveTo>
                    <a:cubicBezTo>
                      <a:pt x="204" y="5"/>
                      <a:pt x="204" y="5"/>
                      <a:pt x="203" y="5"/>
                    </a:cubicBezTo>
                    <a:cubicBezTo>
                      <a:pt x="203" y="5"/>
                      <a:pt x="203" y="5"/>
                      <a:pt x="203" y="5"/>
                    </a:cubicBezTo>
                    <a:cubicBezTo>
                      <a:pt x="202" y="5"/>
                      <a:pt x="200" y="6"/>
                      <a:pt x="199" y="6"/>
                    </a:cubicBezTo>
                    <a:cubicBezTo>
                      <a:pt x="169" y="13"/>
                      <a:pt x="139" y="18"/>
                      <a:pt x="108" y="21"/>
                    </a:cubicBezTo>
                    <a:cubicBezTo>
                      <a:pt x="93" y="22"/>
                      <a:pt x="78" y="24"/>
                      <a:pt x="62" y="24"/>
                    </a:cubicBezTo>
                    <a:cubicBezTo>
                      <a:pt x="61" y="24"/>
                      <a:pt x="60" y="24"/>
                      <a:pt x="60" y="24"/>
                    </a:cubicBezTo>
                    <a:cubicBezTo>
                      <a:pt x="44" y="24"/>
                      <a:pt x="18" y="22"/>
                      <a:pt x="9" y="8"/>
                    </a:cubicBezTo>
                    <a:cubicBezTo>
                      <a:pt x="6" y="8"/>
                      <a:pt x="3" y="7"/>
                      <a:pt x="0" y="7"/>
                    </a:cubicBezTo>
                    <a:cubicBezTo>
                      <a:pt x="8" y="28"/>
                      <a:pt x="33" y="31"/>
                      <a:pt x="56" y="31"/>
                    </a:cubicBezTo>
                    <a:cubicBezTo>
                      <a:pt x="65" y="31"/>
                      <a:pt x="74" y="31"/>
                      <a:pt x="80" y="30"/>
                    </a:cubicBezTo>
                    <a:cubicBezTo>
                      <a:pt x="120" y="28"/>
                      <a:pt x="161" y="22"/>
                      <a:pt x="200" y="12"/>
                    </a:cubicBezTo>
                    <a:cubicBezTo>
                      <a:pt x="201" y="11"/>
                      <a:pt x="203" y="11"/>
                      <a:pt x="204" y="10"/>
                    </a:cubicBezTo>
                    <a:cubicBezTo>
                      <a:pt x="204" y="10"/>
                      <a:pt x="204" y="10"/>
                      <a:pt x="205" y="10"/>
                    </a:cubicBezTo>
                    <a:cubicBezTo>
                      <a:pt x="207" y="9"/>
                      <a:pt x="206" y="5"/>
                      <a:pt x="204" y="5"/>
                    </a:cubicBezTo>
                    <a:moveTo>
                      <a:pt x="4" y="0"/>
                    </a:moveTo>
                    <a:cubicBezTo>
                      <a:pt x="4" y="0"/>
                      <a:pt x="3" y="0"/>
                      <a:pt x="3" y="0"/>
                    </a:cubicBezTo>
                    <a:cubicBezTo>
                      <a:pt x="4" y="0"/>
                      <a:pt x="4" y="0"/>
                      <a:pt x="5" y="1"/>
                    </a:cubicBezTo>
                    <a:cubicBezTo>
                      <a:pt x="5" y="0"/>
                      <a:pt x="4" y="0"/>
                      <a:pt x="4" y="0"/>
                    </a:cubicBezTo>
                  </a:path>
                </a:pathLst>
              </a:custGeom>
              <a:solidFill>
                <a:srgbClr val="544D4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43" name="Freeform 89">
                <a:extLst>
                  <a:ext uri="{FF2B5EF4-FFF2-40B4-BE49-F238E27FC236}">
                    <a16:creationId xmlns:a16="http://schemas.microsoft.com/office/drawing/2014/main" id="{21818BC4-08BE-4107-9328-6FF11778C0DE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2260" y="2258"/>
                <a:ext cx="270" cy="72"/>
              </a:xfrm>
              <a:custGeom>
                <a:avLst/>
                <a:gdLst>
                  <a:gd name="T0" fmla="*/ 51 w 255"/>
                  <a:gd name="T1" fmla="*/ 16 h 68"/>
                  <a:gd name="T2" fmla="*/ 51 w 255"/>
                  <a:gd name="T3" fmla="*/ 17 h 68"/>
                  <a:gd name="T4" fmla="*/ 44 w 255"/>
                  <a:gd name="T5" fmla="*/ 22 h 68"/>
                  <a:gd name="T6" fmla="*/ 63 w 255"/>
                  <a:gd name="T7" fmla="*/ 28 h 68"/>
                  <a:gd name="T8" fmla="*/ 131 w 255"/>
                  <a:gd name="T9" fmla="*/ 46 h 68"/>
                  <a:gd name="T10" fmla="*/ 203 w 255"/>
                  <a:gd name="T11" fmla="*/ 61 h 68"/>
                  <a:gd name="T12" fmla="*/ 230 w 255"/>
                  <a:gd name="T13" fmla="*/ 67 h 68"/>
                  <a:gd name="T14" fmla="*/ 239 w 255"/>
                  <a:gd name="T15" fmla="*/ 68 h 68"/>
                  <a:gd name="T16" fmla="*/ 240 w 255"/>
                  <a:gd name="T17" fmla="*/ 68 h 68"/>
                  <a:gd name="T18" fmla="*/ 248 w 255"/>
                  <a:gd name="T19" fmla="*/ 67 h 68"/>
                  <a:gd name="T20" fmla="*/ 252 w 255"/>
                  <a:gd name="T21" fmla="*/ 66 h 68"/>
                  <a:gd name="T22" fmla="*/ 251 w 255"/>
                  <a:gd name="T23" fmla="*/ 61 h 68"/>
                  <a:gd name="T24" fmla="*/ 251 w 255"/>
                  <a:gd name="T25" fmla="*/ 61 h 68"/>
                  <a:gd name="T26" fmla="*/ 245 w 255"/>
                  <a:gd name="T27" fmla="*/ 61 h 68"/>
                  <a:gd name="T28" fmla="*/ 244 w 255"/>
                  <a:gd name="T29" fmla="*/ 61 h 68"/>
                  <a:gd name="T30" fmla="*/ 235 w 255"/>
                  <a:gd name="T31" fmla="*/ 61 h 68"/>
                  <a:gd name="T32" fmla="*/ 233 w 255"/>
                  <a:gd name="T33" fmla="*/ 60 h 68"/>
                  <a:gd name="T34" fmla="*/ 196 w 255"/>
                  <a:gd name="T35" fmla="*/ 52 h 68"/>
                  <a:gd name="T36" fmla="*/ 132 w 255"/>
                  <a:gd name="T37" fmla="*/ 38 h 68"/>
                  <a:gd name="T38" fmla="*/ 51 w 255"/>
                  <a:gd name="T39" fmla="*/ 16 h 68"/>
                  <a:gd name="T40" fmla="*/ 3 w 255"/>
                  <a:gd name="T41" fmla="*/ 0 h 68"/>
                  <a:gd name="T42" fmla="*/ 2 w 255"/>
                  <a:gd name="T43" fmla="*/ 6 h 68"/>
                  <a:gd name="T44" fmla="*/ 34 w 255"/>
                  <a:gd name="T45" fmla="*/ 19 h 68"/>
                  <a:gd name="T46" fmla="*/ 36 w 255"/>
                  <a:gd name="T47" fmla="*/ 20 h 68"/>
                  <a:gd name="T48" fmla="*/ 47 w 255"/>
                  <a:gd name="T49" fmla="*/ 15 h 68"/>
                  <a:gd name="T50" fmla="*/ 46 w 255"/>
                  <a:gd name="T51" fmla="*/ 14 h 68"/>
                  <a:gd name="T52" fmla="*/ 4 w 255"/>
                  <a:gd name="T53" fmla="*/ 0 h 68"/>
                  <a:gd name="T54" fmla="*/ 3 w 255"/>
                  <a:gd name="T55" fmla="*/ 0 h 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255" h="68">
                    <a:moveTo>
                      <a:pt x="51" y="16"/>
                    </a:moveTo>
                    <a:cubicBezTo>
                      <a:pt x="51" y="16"/>
                      <a:pt x="51" y="16"/>
                      <a:pt x="51" y="17"/>
                    </a:cubicBezTo>
                    <a:cubicBezTo>
                      <a:pt x="49" y="19"/>
                      <a:pt x="46" y="21"/>
                      <a:pt x="44" y="22"/>
                    </a:cubicBezTo>
                    <a:cubicBezTo>
                      <a:pt x="50" y="24"/>
                      <a:pt x="57" y="26"/>
                      <a:pt x="63" y="28"/>
                    </a:cubicBezTo>
                    <a:cubicBezTo>
                      <a:pt x="85" y="36"/>
                      <a:pt x="108" y="41"/>
                      <a:pt x="131" y="46"/>
                    </a:cubicBezTo>
                    <a:cubicBezTo>
                      <a:pt x="155" y="51"/>
                      <a:pt x="179" y="56"/>
                      <a:pt x="203" y="61"/>
                    </a:cubicBezTo>
                    <a:cubicBezTo>
                      <a:pt x="210" y="63"/>
                      <a:pt x="220" y="66"/>
                      <a:pt x="230" y="67"/>
                    </a:cubicBezTo>
                    <a:cubicBezTo>
                      <a:pt x="233" y="67"/>
                      <a:pt x="236" y="68"/>
                      <a:pt x="239" y="68"/>
                    </a:cubicBezTo>
                    <a:cubicBezTo>
                      <a:pt x="239" y="68"/>
                      <a:pt x="240" y="68"/>
                      <a:pt x="240" y="68"/>
                    </a:cubicBezTo>
                    <a:cubicBezTo>
                      <a:pt x="243" y="68"/>
                      <a:pt x="245" y="67"/>
                      <a:pt x="248" y="67"/>
                    </a:cubicBezTo>
                    <a:cubicBezTo>
                      <a:pt x="249" y="67"/>
                      <a:pt x="251" y="66"/>
                      <a:pt x="252" y="66"/>
                    </a:cubicBezTo>
                    <a:cubicBezTo>
                      <a:pt x="255" y="65"/>
                      <a:pt x="254" y="61"/>
                      <a:pt x="251" y="61"/>
                    </a:cubicBezTo>
                    <a:cubicBezTo>
                      <a:pt x="251" y="61"/>
                      <a:pt x="251" y="61"/>
                      <a:pt x="251" y="61"/>
                    </a:cubicBezTo>
                    <a:cubicBezTo>
                      <a:pt x="249" y="61"/>
                      <a:pt x="247" y="61"/>
                      <a:pt x="245" y="61"/>
                    </a:cubicBezTo>
                    <a:cubicBezTo>
                      <a:pt x="245" y="61"/>
                      <a:pt x="244" y="61"/>
                      <a:pt x="244" y="61"/>
                    </a:cubicBezTo>
                    <a:cubicBezTo>
                      <a:pt x="241" y="61"/>
                      <a:pt x="238" y="61"/>
                      <a:pt x="235" y="61"/>
                    </a:cubicBezTo>
                    <a:cubicBezTo>
                      <a:pt x="234" y="60"/>
                      <a:pt x="234" y="60"/>
                      <a:pt x="233" y="60"/>
                    </a:cubicBezTo>
                    <a:cubicBezTo>
                      <a:pt x="220" y="58"/>
                      <a:pt x="207" y="54"/>
                      <a:pt x="196" y="52"/>
                    </a:cubicBezTo>
                    <a:cubicBezTo>
                      <a:pt x="175" y="47"/>
                      <a:pt x="153" y="43"/>
                      <a:pt x="132" y="38"/>
                    </a:cubicBezTo>
                    <a:cubicBezTo>
                      <a:pt x="104" y="32"/>
                      <a:pt x="78" y="24"/>
                      <a:pt x="51" y="16"/>
                    </a:cubicBezTo>
                    <a:moveTo>
                      <a:pt x="3" y="0"/>
                    </a:moveTo>
                    <a:cubicBezTo>
                      <a:pt x="1" y="0"/>
                      <a:pt x="0" y="4"/>
                      <a:pt x="2" y="6"/>
                    </a:cubicBezTo>
                    <a:cubicBezTo>
                      <a:pt x="12" y="12"/>
                      <a:pt x="23" y="16"/>
                      <a:pt x="34" y="19"/>
                    </a:cubicBezTo>
                    <a:cubicBezTo>
                      <a:pt x="34" y="20"/>
                      <a:pt x="35" y="20"/>
                      <a:pt x="36" y="20"/>
                    </a:cubicBezTo>
                    <a:cubicBezTo>
                      <a:pt x="40" y="19"/>
                      <a:pt x="44" y="17"/>
                      <a:pt x="47" y="15"/>
                    </a:cubicBezTo>
                    <a:cubicBezTo>
                      <a:pt x="47" y="15"/>
                      <a:pt x="46" y="14"/>
                      <a:pt x="46" y="14"/>
                    </a:cubicBezTo>
                    <a:cubicBezTo>
                      <a:pt x="32" y="10"/>
                      <a:pt x="18" y="5"/>
                      <a:pt x="4" y="0"/>
                    </a:cubicBezTo>
                    <a:cubicBezTo>
                      <a:pt x="4" y="0"/>
                      <a:pt x="4" y="0"/>
                      <a:pt x="3" y="0"/>
                    </a:cubicBezTo>
                  </a:path>
                </a:pathLst>
              </a:custGeom>
              <a:solidFill>
                <a:srgbClr val="544D4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44" name="Freeform 90">
                <a:extLst>
                  <a:ext uri="{FF2B5EF4-FFF2-40B4-BE49-F238E27FC236}">
                    <a16:creationId xmlns:a16="http://schemas.microsoft.com/office/drawing/2014/main" id="{4DAFF9A1-12FE-4791-B8D8-F4513150FF2E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113" y="2202"/>
                <a:ext cx="202" cy="89"/>
              </a:xfrm>
              <a:custGeom>
                <a:avLst/>
                <a:gdLst>
                  <a:gd name="T0" fmla="*/ 6 w 191"/>
                  <a:gd name="T1" fmla="*/ 0 h 84"/>
                  <a:gd name="T2" fmla="*/ 3 w 191"/>
                  <a:gd name="T3" fmla="*/ 7 h 84"/>
                  <a:gd name="T4" fmla="*/ 4 w 191"/>
                  <a:gd name="T5" fmla="*/ 7 h 84"/>
                  <a:gd name="T6" fmla="*/ 5 w 191"/>
                  <a:gd name="T7" fmla="*/ 8 h 84"/>
                  <a:gd name="T8" fmla="*/ 7 w 191"/>
                  <a:gd name="T9" fmla="*/ 10 h 84"/>
                  <a:gd name="T10" fmla="*/ 21 w 191"/>
                  <a:gd name="T11" fmla="*/ 23 h 84"/>
                  <a:gd name="T12" fmla="*/ 46 w 191"/>
                  <a:gd name="T13" fmla="*/ 41 h 84"/>
                  <a:gd name="T14" fmla="*/ 106 w 191"/>
                  <a:gd name="T15" fmla="*/ 71 h 84"/>
                  <a:gd name="T16" fmla="*/ 157 w 191"/>
                  <a:gd name="T17" fmla="*/ 84 h 84"/>
                  <a:gd name="T18" fmla="*/ 183 w 191"/>
                  <a:gd name="T19" fmla="*/ 75 h 84"/>
                  <a:gd name="T20" fmla="*/ 190 w 191"/>
                  <a:gd name="T21" fmla="*/ 70 h 84"/>
                  <a:gd name="T22" fmla="*/ 190 w 191"/>
                  <a:gd name="T23" fmla="*/ 69 h 84"/>
                  <a:gd name="T24" fmla="*/ 188 w 191"/>
                  <a:gd name="T25" fmla="*/ 66 h 84"/>
                  <a:gd name="T26" fmla="*/ 188 w 191"/>
                  <a:gd name="T27" fmla="*/ 67 h 84"/>
                  <a:gd name="T28" fmla="*/ 186 w 191"/>
                  <a:gd name="T29" fmla="*/ 68 h 84"/>
                  <a:gd name="T30" fmla="*/ 175 w 191"/>
                  <a:gd name="T31" fmla="*/ 73 h 84"/>
                  <a:gd name="T32" fmla="*/ 156 w 191"/>
                  <a:gd name="T33" fmla="*/ 76 h 84"/>
                  <a:gd name="T34" fmla="*/ 80 w 191"/>
                  <a:gd name="T35" fmla="*/ 51 h 84"/>
                  <a:gd name="T36" fmla="*/ 34 w 191"/>
                  <a:gd name="T37" fmla="*/ 23 h 84"/>
                  <a:gd name="T38" fmla="*/ 11 w 191"/>
                  <a:gd name="T39" fmla="*/ 3 h 84"/>
                  <a:gd name="T40" fmla="*/ 9 w 191"/>
                  <a:gd name="T41" fmla="*/ 2 h 84"/>
                  <a:gd name="T42" fmla="*/ 7 w 191"/>
                  <a:gd name="T43" fmla="*/ 1 h 84"/>
                  <a:gd name="T44" fmla="*/ 7 w 191"/>
                  <a:gd name="T45" fmla="*/ 0 h 84"/>
                  <a:gd name="T46" fmla="*/ 6 w 191"/>
                  <a:gd name="T47" fmla="*/ 0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191" h="84">
                    <a:moveTo>
                      <a:pt x="6" y="0"/>
                    </a:moveTo>
                    <a:cubicBezTo>
                      <a:pt x="3" y="0"/>
                      <a:pt x="0" y="5"/>
                      <a:pt x="3" y="7"/>
                    </a:cubicBezTo>
                    <a:cubicBezTo>
                      <a:pt x="3" y="7"/>
                      <a:pt x="3" y="7"/>
                      <a:pt x="4" y="7"/>
                    </a:cubicBezTo>
                    <a:cubicBezTo>
                      <a:pt x="4" y="8"/>
                      <a:pt x="5" y="8"/>
                      <a:pt x="5" y="8"/>
                    </a:cubicBezTo>
                    <a:cubicBezTo>
                      <a:pt x="6" y="9"/>
                      <a:pt x="7" y="9"/>
                      <a:pt x="7" y="10"/>
                    </a:cubicBezTo>
                    <a:cubicBezTo>
                      <a:pt x="12" y="14"/>
                      <a:pt x="17" y="19"/>
                      <a:pt x="21" y="23"/>
                    </a:cubicBezTo>
                    <a:cubicBezTo>
                      <a:pt x="30" y="29"/>
                      <a:pt x="38" y="35"/>
                      <a:pt x="46" y="41"/>
                    </a:cubicBezTo>
                    <a:cubicBezTo>
                      <a:pt x="65" y="53"/>
                      <a:pt x="85" y="64"/>
                      <a:pt x="106" y="71"/>
                    </a:cubicBezTo>
                    <a:cubicBezTo>
                      <a:pt x="123" y="76"/>
                      <a:pt x="140" y="84"/>
                      <a:pt x="157" y="84"/>
                    </a:cubicBezTo>
                    <a:cubicBezTo>
                      <a:pt x="166" y="84"/>
                      <a:pt x="175" y="81"/>
                      <a:pt x="183" y="75"/>
                    </a:cubicBezTo>
                    <a:cubicBezTo>
                      <a:pt x="185" y="74"/>
                      <a:pt x="188" y="72"/>
                      <a:pt x="190" y="70"/>
                    </a:cubicBezTo>
                    <a:cubicBezTo>
                      <a:pt x="190" y="69"/>
                      <a:pt x="190" y="69"/>
                      <a:pt x="190" y="69"/>
                    </a:cubicBezTo>
                    <a:cubicBezTo>
                      <a:pt x="191" y="68"/>
                      <a:pt x="190" y="66"/>
                      <a:pt x="188" y="66"/>
                    </a:cubicBezTo>
                    <a:cubicBezTo>
                      <a:pt x="188" y="66"/>
                      <a:pt x="188" y="66"/>
                      <a:pt x="188" y="67"/>
                    </a:cubicBezTo>
                    <a:cubicBezTo>
                      <a:pt x="187" y="67"/>
                      <a:pt x="187" y="67"/>
                      <a:pt x="186" y="68"/>
                    </a:cubicBezTo>
                    <a:cubicBezTo>
                      <a:pt x="183" y="70"/>
                      <a:pt x="179" y="72"/>
                      <a:pt x="175" y="73"/>
                    </a:cubicBezTo>
                    <a:cubicBezTo>
                      <a:pt x="169" y="75"/>
                      <a:pt x="163" y="76"/>
                      <a:pt x="156" y="76"/>
                    </a:cubicBezTo>
                    <a:cubicBezTo>
                      <a:pt x="130" y="76"/>
                      <a:pt x="100" y="62"/>
                      <a:pt x="80" y="51"/>
                    </a:cubicBezTo>
                    <a:cubicBezTo>
                      <a:pt x="64" y="43"/>
                      <a:pt x="48" y="34"/>
                      <a:pt x="34" y="23"/>
                    </a:cubicBezTo>
                    <a:cubicBezTo>
                      <a:pt x="26" y="17"/>
                      <a:pt x="19" y="8"/>
                      <a:pt x="11" y="3"/>
                    </a:cubicBezTo>
                    <a:cubicBezTo>
                      <a:pt x="10" y="2"/>
                      <a:pt x="10" y="2"/>
                      <a:pt x="9" y="2"/>
                    </a:cubicBezTo>
                    <a:cubicBezTo>
                      <a:pt x="9" y="1"/>
                      <a:pt x="8" y="1"/>
                      <a:pt x="7" y="1"/>
                    </a:cubicBezTo>
                    <a:cubicBezTo>
                      <a:pt x="7" y="1"/>
                      <a:pt x="7" y="1"/>
                      <a:pt x="7" y="0"/>
                    </a:cubicBezTo>
                    <a:cubicBezTo>
                      <a:pt x="6" y="0"/>
                      <a:pt x="6" y="0"/>
                      <a:pt x="6" y="0"/>
                    </a:cubicBezTo>
                  </a:path>
                </a:pathLst>
              </a:custGeom>
              <a:solidFill>
                <a:srgbClr val="544D4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45" name="Freeform 91">
                <a:extLst>
                  <a:ext uri="{FF2B5EF4-FFF2-40B4-BE49-F238E27FC236}">
                    <a16:creationId xmlns:a16="http://schemas.microsoft.com/office/drawing/2014/main" id="{BA589B78-1E36-4C47-93AC-1890F1A79DA5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2405" y="2149"/>
                <a:ext cx="75" cy="69"/>
              </a:xfrm>
              <a:custGeom>
                <a:avLst/>
                <a:gdLst>
                  <a:gd name="T0" fmla="*/ 17 w 71"/>
                  <a:gd name="T1" fmla="*/ 16 h 65"/>
                  <a:gd name="T2" fmla="*/ 33 w 71"/>
                  <a:gd name="T3" fmla="*/ 8 h 65"/>
                  <a:gd name="T4" fmla="*/ 35 w 71"/>
                  <a:gd name="T5" fmla="*/ 5 h 65"/>
                  <a:gd name="T6" fmla="*/ 62 w 71"/>
                  <a:gd name="T7" fmla="*/ 19 h 65"/>
                  <a:gd name="T8" fmla="*/ 60 w 71"/>
                  <a:gd name="T9" fmla="*/ 52 h 65"/>
                  <a:gd name="T10" fmla="*/ 55 w 71"/>
                  <a:gd name="T11" fmla="*/ 56 h 65"/>
                  <a:gd name="T12" fmla="*/ 41 w 71"/>
                  <a:gd name="T13" fmla="*/ 59 h 65"/>
                  <a:gd name="T14" fmla="*/ 11 w 71"/>
                  <a:gd name="T15" fmla="*/ 42 h 65"/>
                  <a:gd name="T16" fmla="*/ 14 w 71"/>
                  <a:gd name="T17" fmla="*/ 19 h 65"/>
                  <a:gd name="T18" fmla="*/ 17 w 71"/>
                  <a:gd name="T19" fmla="*/ 16 h 65"/>
                  <a:gd name="T20" fmla="*/ 17 w 71"/>
                  <a:gd name="T21" fmla="*/ 16 h 65"/>
                  <a:gd name="T22" fmla="*/ 36 w 71"/>
                  <a:gd name="T23" fmla="*/ 0 h 65"/>
                  <a:gd name="T24" fmla="*/ 27 w 71"/>
                  <a:gd name="T25" fmla="*/ 1 h 65"/>
                  <a:gd name="T26" fmla="*/ 27 w 71"/>
                  <a:gd name="T27" fmla="*/ 1 h 65"/>
                  <a:gd name="T28" fmla="*/ 23 w 71"/>
                  <a:gd name="T29" fmla="*/ 2 h 65"/>
                  <a:gd name="T30" fmla="*/ 23 w 71"/>
                  <a:gd name="T31" fmla="*/ 4 h 65"/>
                  <a:gd name="T32" fmla="*/ 4 w 71"/>
                  <a:gd name="T33" fmla="*/ 41 h 65"/>
                  <a:gd name="T34" fmla="*/ 40 w 71"/>
                  <a:gd name="T35" fmla="*/ 65 h 65"/>
                  <a:gd name="T36" fmla="*/ 52 w 71"/>
                  <a:gd name="T37" fmla="*/ 63 h 65"/>
                  <a:gd name="T38" fmla="*/ 69 w 71"/>
                  <a:gd name="T39" fmla="*/ 47 h 65"/>
                  <a:gd name="T40" fmla="*/ 69 w 71"/>
                  <a:gd name="T41" fmla="*/ 24 h 65"/>
                  <a:gd name="T42" fmla="*/ 36 w 71"/>
                  <a:gd name="T43" fmla="*/ 0 h 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71" h="65">
                    <a:moveTo>
                      <a:pt x="17" y="16"/>
                    </a:moveTo>
                    <a:cubicBezTo>
                      <a:pt x="21" y="12"/>
                      <a:pt x="28" y="10"/>
                      <a:pt x="33" y="8"/>
                    </a:cubicBezTo>
                    <a:cubicBezTo>
                      <a:pt x="35" y="7"/>
                      <a:pt x="35" y="6"/>
                      <a:pt x="35" y="5"/>
                    </a:cubicBezTo>
                    <a:cubicBezTo>
                      <a:pt x="46" y="6"/>
                      <a:pt x="57" y="10"/>
                      <a:pt x="62" y="19"/>
                    </a:cubicBezTo>
                    <a:cubicBezTo>
                      <a:pt x="66" y="29"/>
                      <a:pt x="67" y="43"/>
                      <a:pt x="60" y="52"/>
                    </a:cubicBezTo>
                    <a:cubicBezTo>
                      <a:pt x="59" y="53"/>
                      <a:pt x="57" y="55"/>
                      <a:pt x="55" y="56"/>
                    </a:cubicBezTo>
                    <a:cubicBezTo>
                      <a:pt x="51" y="58"/>
                      <a:pt x="46" y="59"/>
                      <a:pt x="41" y="59"/>
                    </a:cubicBezTo>
                    <a:cubicBezTo>
                      <a:pt x="28" y="59"/>
                      <a:pt x="15" y="53"/>
                      <a:pt x="11" y="42"/>
                    </a:cubicBezTo>
                    <a:cubicBezTo>
                      <a:pt x="9" y="36"/>
                      <a:pt x="10" y="26"/>
                      <a:pt x="14" y="19"/>
                    </a:cubicBezTo>
                    <a:cubicBezTo>
                      <a:pt x="15" y="18"/>
                      <a:pt x="16" y="17"/>
                      <a:pt x="17" y="16"/>
                    </a:cubicBezTo>
                    <a:cubicBezTo>
                      <a:pt x="17" y="16"/>
                      <a:pt x="17" y="16"/>
                      <a:pt x="17" y="16"/>
                    </a:cubicBezTo>
                    <a:moveTo>
                      <a:pt x="36" y="0"/>
                    </a:moveTo>
                    <a:cubicBezTo>
                      <a:pt x="33" y="0"/>
                      <a:pt x="30" y="1"/>
                      <a:pt x="27" y="1"/>
                    </a:cubicBezTo>
                    <a:cubicBezTo>
                      <a:pt x="27" y="1"/>
                      <a:pt x="27" y="1"/>
                      <a:pt x="27" y="1"/>
                    </a:cubicBezTo>
                    <a:cubicBezTo>
                      <a:pt x="26" y="1"/>
                      <a:pt x="25" y="2"/>
                      <a:pt x="23" y="2"/>
                    </a:cubicBezTo>
                    <a:cubicBezTo>
                      <a:pt x="22" y="2"/>
                      <a:pt x="22" y="3"/>
                      <a:pt x="23" y="4"/>
                    </a:cubicBezTo>
                    <a:cubicBezTo>
                      <a:pt x="8" y="9"/>
                      <a:pt x="0" y="26"/>
                      <a:pt x="4" y="41"/>
                    </a:cubicBezTo>
                    <a:cubicBezTo>
                      <a:pt x="8" y="57"/>
                      <a:pt x="25" y="65"/>
                      <a:pt x="40" y="65"/>
                    </a:cubicBezTo>
                    <a:cubicBezTo>
                      <a:pt x="44" y="65"/>
                      <a:pt x="48" y="64"/>
                      <a:pt x="52" y="63"/>
                    </a:cubicBezTo>
                    <a:cubicBezTo>
                      <a:pt x="61" y="60"/>
                      <a:pt x="66" y="55"/>
                      <a:pt x="69" y="47"/>
                    </a:cubicBezTo>
                    <a:cubicBezTo>
                      <a:pt x="71" y="40"/>
                      <a:pt x="71" y="32"/>
                      <a:pt x="69" y="24"/>
                    </a:cubicBezTo>
                    <a:cubicBezTo>
                      <a:pt x="64" y="8"/>
                      <a:pt x="51" y="0"/>
                      <a:pt x="36" y="0"/>
                    </a:cubicBezTo>
                  </a:path>
                </a:pathLst>
              </a:custGeom>
              <a:solidFill>
                <a:srgbClr val="544D4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46" name="Freeform 92">
                <a:extLst>
                  <a:ext uri="{FF2B5EF4-FFF2-40B4-BE49-F238E27FC236}">
                    <a16:creationId xmlns:a16="http://schemas.microsoft.com/office/drawing/2014/main" id="{0C930646-E87D-4580-99D6-A131A23222E5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055" y="2074"/>
                <a:ext cx="743" cy="209"/>
              </a:xfrm>
              <a:custGeom>
                <a:avLst/>
                <a:gdLst>
                  <a:gd name="T0" fmla="*/ 4 w 702"/>
                  <a:gd name="T1" fmla="*/ 0 h 198"/>
                  <a:gd name="T2" fmla="*/ 2 w 702"/>
                  <a:gd name="T3" fmla="*/ 4 h 198"/>
                  <a:gd name="T4" fmla="*/ 79 w 702"/>
                  <a:gd name="T5" fmla="*/ 62 h 198"/>
                  <a:gd name="T6" fmla="*/ 79 w 702"/>
                  <a:gd name="T7" fmla="*/ 62 h 198"/>
                  <a:gd name="T8" fmla="*/ 331 w 702"/>
                  <a:gd name="T9" fmla="*/ 158 h 198"/>
                  <a:gd name="T10" fmla="*/ 523 w 702"/>
                  <a:gd name="T11" fmla="*/ 196 h 198"/>
                  <a:gd name="T12" fmla="*/ 560 w 702"/>
                  <a:gd name="T13" fmla="*/ 198 h 198"/>
                  <a:gd name="T14" fmla="*/ 654 w 702"/>
                  <a:gd name="T15" fmla="*/ 186 h 198"/>
                  <a:gd name="T16" fmla="*/ 654 w 702"/>
                  <a:gd name="T17" fmla="*/ 186 h 198"/>
                  <a:gd name="T18" fmla="*/ 701 w 702"/>
                  <a:gd name="T19" fmla="*/ 168 h 198"/>
                  <a:gd name="T20" fmla="*/ 701 w 702"/>
                  <a:gd name="T21" fmla="*/ 167 h 198"/>
                  <a:gd name="T22" fmla="*/ 701 w 702"/>
                  <a:gd name="T23" fmla="*/ 167 h 198"/>
                  <a:gd name="T24" fmla="*/ 654 w 702"/>
                  <a:gd name="T25" fmla="*/ 183 h 198"/>
                  <a:gd name="T26" fmla="*/ 654 w 702"/>
                  <a:gd name="T27" fmla="*/ 183 h 198"/>
                  <a:gd name="T28" fmla="*/ 567 w 702"/>
                  <a:gd name="T29" fmla="*/ 194 h 198"/>
                  <a:gd name="T30" fmla="*/ 325 w 702"/>
                  <a:gd name="T31" fmla="*/ 150 h 198"/>
                  <a:gd name="T32" fmla="*/ 151 w 702"/>
                  <a:gd name="T33" fmla="*/ 91 h 198"/>
                  <a:gd name="T34" fmla="*/ 83 w 702"/>
                  <a:gd name="T35" fmla="*/ 55 h 198"/>
                  <a:gd name="T36" fmla="*/ 83 w 702"/>
                  <a:gd name="T37" fmla="*/ 55 h 198"/>
                  <a:gd name="T38" fmla="*/ 5 w 702"/>
                  <a:gd name="T39" fmla="*/ 0 h 198"/>
                  <a:gd name="T40" fmla="*/ 4 w 702"/>
                  <a:gd name="T41" fmla="*/ 0 h 1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702" h="198">
                    <a:moveTo>
                      <a:pt x="4" y="0"/>
                    </a:moveTo>
                    <a:cubicBezTo>
                      <a:pt x="2" y="0"/>
                      <a:pt x="0" y="2"/>
                      <a:pt x="2" y="4"/>
                    </a:cubicBezTo>
                    <a:cubicBezTo>
                      <a:pt x="25" y="26"/>
                      <a:pt x="51" y="45"/>
                      <a:pt x="79" y="62"/>
                    </a:cubicBezTo>
                    <a:cubicBezTo>
                      <a:pt x="79" y="62"/>
                      <a:pt x="79" y="62"/>
                      <a:pt x="79" y="62"/>
                    </a:cubicBezTo>
                    <a:cubicBezTo>
                      <a:pt x="156" y="109"/>
                      <a:pt x="245" y="136"/>
                      <a:pt x="331" y="158"/>
                    </a:cubicBezTo>
                    <a:cubicBezTo>
                      <a:pt x="394" y="174"/>
                      <a:pt x="458" y="192"/>
                      <a:pt x="523" y="196"/>
                    </a:cubicBezTo>
                    <a:cubicBezTo>
                      <a:pt x="536" y="197"/>
                      <a:pt x="548" y="198"/>
                      <a:pt x="560" y="198"/>
                    </a:cubicBezTo>
                    <a:cubicBezTo>
                      <a:pt x="592" y="198"/>
                      <a:pt x="624" y="195"/>
                      <a:pt x="654" y="186"/>
                    </a:cubicBezTo>
                    <a:cubicBezTo>
                      <a:pt x="654" y="186"/>
                      <a:pt x="654" y="186"/>
                      <a:pt x="654" y="186"/>
                    </a:cubicBezTo>
                    <a:cubicBezTo>
                      <a:pt x="670" y="182"/>
                      <a:pt x="686" y="176"/>
                      <a:pt x="701" y="168"/>
                    </a:cubicBezTo>
                    <a:cubicBezTo>
                      <a:pt x="702" y="167"/>
                      <a:pt x="701" y="167"/>
                      <a:pt x="701" y="167"/>
                    </a:cubicBezTo>
                    <a:cubicBezTo>
                      <a:pt x="701" y="167"/>
                      <a:pt x="701" y="167"/>
                      <a:pt x="701" y="167"/>
                    </a:cubicBezTo>
                    <a:cubicBezTo>
                      <a:pt x="685" y="174"/>
                      <a:pt x="670" y="179"/>
                      <a:pt x="654" y="183"/>
                    </a:cubicBezTo>
                    <a:cubicBezTo>
                      <a:pt x="654" y="183"/>
                      <a:pt x="654" y="183"/>
                      <a:pt x="654" y="183"/>
                    </a:cubicBezTo>
                    <a:cubicBezTo>
                      <a:pt x="625" y="191"/>
                      <a:pt x="596" y="194"/>
                      <a:pt x="567" y="194"/>
                    </a:cubicBezTo>
                    <a:cubicBezTo>
                      <a:pt x="485" y="194"/>
                      <a:pt x="402" y="170"/>
                      <a:pt x="325" y="150"/>
                    </a:cubicBezTo>
                    <a:cubicBezTo>
                      <a:pt x="266" y="135"/>
                      <a:pt x="207" y="117"/>
                      <a:pt x="151" y="91"/>
                    </a:cubicBezTo>
                    <a:cubicBezTo>
                      <a:pt x="128" y="80"/>
                      <a:pt x="105" y="68"/>
                      <a:pt x="83" y="55"/>
                    </a:cubicBezTo>
                    <a:cubicBezTo>
                      <a:pt x="83" y="55"/>
                      <a:pt x="83" y="55"/>
                      <a:pt x="83" y="55"/>
                    </a:cubicBezTo>
                    <a:cubicBezTo>
                      <a:pt x="56" y="38"/>
                      <a:pt x="30" y="20"/>
                      <a:pt x="5" y="0"/>
                    </a:cubicBezTo>
                    <a:cubicBezTo>
                      <a:pt x="5" y="0"/>
                      <a:pt x="4" y="0"/>
                      <a:pt x="4" y="0"/>
                    </a:cubicBezTo>
                  </a:path>
                </a:pathLst>
              </a:custGeom>
              <a:solidFill>
                <a:srgbClr val="544D4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47" name="Freeform 93">
                <a:extLst>
                  <a:ext uri="{FF2B5EF4-FFF2-40B4-BE49-F238E27FC236}">
                    <a16:creationId xmlns:a16="http://schemas.microsoft.com/office/drawing/2014/main" id="{D8D82F39-1F60-40DA-AFA5-76C152626FFA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1994" y="1764"/>
                <a:ext cx="439" cy="398"/>
              </a:xfrm>
              <a:custGeom>
                <a:avLst/>
                <a:gdLst>
                  <a:gd name="T0" fmla="*/ 117 w 414"/>
                  <a:gd name="T1" fmla="*/ 15 h 376"/>
                  <a:gd name="T2" fmla="*/ 118 w 414"/>
                  <a:gd name="T3" fmla="*/ 15 h 376"/>
                  <a:gd name="T4" fmla="*/ 172 w 414"/>
                  <a:gd name="T5" fmla="*/ 5 h 376"/>
                  <a:gd name="T6" fmla="*/ 228 w 414"/>
                  <a:gd name="T7" fmla="*/ 18 h 376"/>
                  <a:gd name="T8" fmla="*/ 304 w 414"/>
                  <a:gd name="T9" fmla="*/ 78 h 376"/>
                  <a:gd name="T10" fmla="*/ 362 w 414"/>
                  <a:gd name="T11" fmla="*/ 174 h 376"/>
                  <a:gd name="T12" fmla="*/ 401 w 414"/>
                  <a:gd name="T13" fmla="*/ 288 h 376"/>
                  <a:gd name="T14" fmla="*/ 362 w 414"/>
                  <a:gd name="T15" fmla="*/ 357 h 376"/>
                  <a:gd name="T16" fmla="*/ 343 w 414"/>
                  <a:gd name="T17" fmla="*/ 366 h 376"/>
                  <a:gd name="T18" fmla="*/ 316 w 414"/>
                  <a:gd name="T19" fmla="*/ 370 h 376"/>
                  <a:gd name="T20" fmla="*/ 227 w 414"/>
                  <a:gd name="T21" fmla="*/ 343 h 376"/>
                  <a:gd name="T22" fmla="*/ 124 w 414"/>
                  <a:gd name="T23" fmla="*/ 280 h 376"/>
                  <a:gd name="T24" fmla="*/ 48 w 414"/>
                  <a:gd name="T25" fmla="*/ 215 h 376"/>
                  <a:gd name="T26" fmla="*/ 19 w 414"/>
                  <a:gd name="T27" fmla="*/ 95 h 376"/>
                  <a:gd name="T28" fmla="*/ 26 w 414"/>
                  <a:gd name="T29" fmla="*/ 79 h 376"/>
                  <a:gd name="T30" fmla="*/ 26 w 414"/>
                  <a:gd name="T31" fmla="*/ 79 h 376"/>
                  <a:gd name="T32" fmla="*/ 116 w 414"/>
                  <a:gd name="T33" fmla="*/ 13 h 376"/>
                  <a:gd name="T34" fmla="*/ 117 w 414"/>
                  <a:gd name="T35" fmla="*/ 15 h 376"/>
                  <a:gd name="T36" fmla="*/ 170 w 414"/>
                  <a:gd name="T37" fmla="*/ 0 h 376"/>
                  <a:gd name="T38" fmla="*/ 118 w 414"/>
                  <a:gd name="T39" fmla="*/ 12 h 376"/>
                  <a:gd name="T40" fmla="*/ 120 w 414"/>
                  <a:gd name="T41" fmla="*/ 10 h 376"/>
                  <a:gd name="T42" fmla="*/ 119 w 414"/>
                  <a:gd name="T43" fmla="*/ 4 h 376"/>
                  <a:gd name="T44" fmla="*/ 117 w 414"/>
                  <a:gd name="T45" fmla="*/ 5 h 376"/>
                  <a:gd name="T46" fmla="*/ 116 w 414"/>
                  <a:gd name="T47" fmla="*/ 5 h 376"/>
                  <a:gd name="T48" fmla="*/ 116 w 414"/>
                  <a:gd name="T49" fmla="*/ 5 h 376"/>
                  <a:gd name="T50" fmla="*/ 19 w 414"/>
                  <a:gd name="T51" fmla="*/ 75 h 376"/>
                  <a:gd name="T52" fmla="*/ 19 w 414"/>
                  <a:gd name="T53" fmla="*/ 178 h 376"/>
                  <a:gd name="T54" fmla="*/ 87 w 414"/>
                  <a:gd name="T55" fmla="*/ 262 h 376"/>
                  <a:gd name="T56" fmla="*/ 207 w 414"/>
                  <a:gd name="T57" fmla="*/ 341 h 376"/>
                  <a:gd name="T58" fmla="*/ 320 w 414"/>
                  <a:gd name="T59" fmla="*/ 376 h 376"/>
                  <a:gd name="T60" fmla="*/ 396 w 414"/>
                  <a:gd name="T61" fmla="*/ 334 h 376"/>
                  <a:gd name="T62" fmla="*/ 401 w 414"/>
                  <a:gd name="T63" fmla="*/ 325 h 376"/>
                  <a:gd name="T64" fmla="*/ 396 w 414"/>
                  <a:gd name="T65" fmla="*/ 227 h 376"/>
                  <a:gd name="T66" fmla="*/ 367 w 414"/>
                  <a:gd name="T67" fmla="*/ 170 h 376"/>
                  <a:gd name="T68" fmla="*/ 333 w 414"/>
                  <a:gd name="T69" fmla="*/ 106 h 376"/>
                  <a:gd name="T70" fmla="*/ 244 w 414"/>
                  <a:gd name="T71" fmla="*/ 22 h 376"/>
                  <a:gd name="T72" fmla="*/ 170 w 414"/>
                  <a:gd name="T73" fmla="*/ 0 h 3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414" h="376">
                    <a:moveTo>
                      <a:pt x="117" y="15"/>
                    </a:moveTo>
                    <a:cubicBezTo>
                      <a:pt x="118" y="15"/>
                      <a:pt x="118" y="15"/>
                      <a:pt x="118" y="15"/>
                    </a:cubicBezTo>
                    <a:cubicBezTo>
                      <a:pt x="136" y="8"/>
                      <a:pt x="154" y="5"/>
                      <a:pt x="172" y="5"/>
                    </a:cubicBezTo>
                    <a:cubicBezTo>
                      <a:pt x="191" y="5"/>
                      <a:pt x="209" y="9"/>
                      <a:pt x="228" y="18"/>
                    </a:cubicBezTo>
                    <a:cubicBezTo>
                      <a:pt x="258" y="32"/>
                      <a:pt x="283" y="54"/>
                      <a:pt x="304" y="78"/>
                    </a:cubicBezTo>
                    <a:cubicBezTo>
                      <a:pt x="329" y="107"/>
                      <a:pt x="345" y="140"/>
                      <a:pt x="362" y="174"/>
                    </a:cubicBezTo>
                    <a:cubicBezTo>
                      <a:pt x="380" y="210"/>
                      <a:pt x="403" y="245"/>
                      <a:pt x="401" y="288"/>
                    </a:cubicBezTo>
                    <a:cubicBezTo>
                      <a:pt x="400" y="318"/>
                      <a:pt x="386" y="343"/>
                      <a:pt x="362" y="357"/>
                    </a:cubicBezTo>
                    <a:cubicBezTo>
                      <a:pt x="356" y="361"/>
                      <a:pt x="350" y="364"/>
                      <a:pt x="343" y="366"/>
                    </a:cubicBezTo>
                    <a:cubicBezTo>
                      <a:pt x="334" y="369"/>
                      <a:pt x="325" y="370"/>
                      <a:pt x="316" y="370"/>
                    </a:cubicBezTo>
                    <a:cubicBezTo>
                      <a:pt x="285" y="370"/>
                      <a:pt x="253" y="357"/>
                      <a:pt x="227" y="343"/>
                    </a:cubicBezTo>
                    <a:cubicBezTo>
                      <a:pt x="191" y="325"/>
                      <a:pt x="157" y="303"/>
                      <a:pt x="124" y="280"/>
                    </a:cubicBezTo>
                    <a:cubicBezTo>
                      <a:pt x="97" y="261"/>
                      <a:pt x="69" y="241"/>
                      <a:pt x="48" y="215"/>
                    </a:cubicBezTo>
                    <a:cubicBezTo>
                      <a:pt x="23" y="184"/>
                      <a:pt x="7" y="134"/>
                      <a:pt x="19" y="95"/>
                    </a:cubicBezTo>
                    <a:cubicBezTo>
                      <a:pt x="21" y="89"/>
                      <a:pt x="23" y="84"/>
                      <a:pt x="26" y="79"/>
                    </a:cubicBezTo>
                    <a:cubicBezTo>
                      <a:pt x="26" y="79"/>
                      <a:pt x="26" y="79"/>
                      <a:pt x="26" y="79"/>
                    </a:cubicBezTo>
                    <a:cubicBezTo>
                      <a:pt x="44" y="47"/>
                      <a:pt x="85" y="31"/>
                      <a:pt x="116" y="13"/>
                    </a:cubicBezTo>
                    <a:cubicBezTo>
                      <a:pt x="115" y="14"/>
                      <a:pt x="116" y="15"/>
                      <a:pt x="117" y="15"/>
                    </a:cubicBezTo>
                    <a:moveTo>
                      <a:pt x="170" y="0"/>
                    </a:moveTo>
                    <a:cubicBezTo>
                      <a:pt x="153" y="0"/>
                      <a:pt x="135" y="4"/>
                      <a:pt x="118" y="12"/>
                    </a:cubicBezTo>
                    <a:cubicBezTo>
                      <a:pt x="119" y="11"/>
                      <a:pt x="120" y="11"/>
                      <a:pt x="120" y="10"/>
                    </a:cubicBezTo>
                    <a:cubicBezTo>
                      <a:pt x="124" y="8"/>
                      <a:pt x="122" y="4"/>
                      <a:pt x="119" y="4"/>
                    </a:cubicBezTo>
                    <a:cubicBezTo>
                      <a:pt x="118" y="4"/>
                      <a:pt x="117" y="5"/>
                      <a:pt x="117" y="5"/>
                    </a:cubicBezTo>
                    <a:cubicBezTo>
                      <a:pt x="116" y="5"/>
                      <a:pt x="116" y="5"/>
                      <a:pt x="116" y="5"/>
                    </a:cubicBezTo>
                    <a:cubicBezTo>
                      <a:pt x="116" y="5"/>
                      <a:pt x="116" y="5"/>
                      <a:pt x="116" y="5"/>
                    </a:cubicBezTo>
                    <a:cubicBezTo>
                      <a:pt x="82" y="22"/>
                      <a:pt x="39" y="42"/>
                      <a:pt x="19" y="75"/>
                    </a:cubicBezTo>
                    <a:cubicBezTo>
                      <a:pt x="0" y="105"/>
                      <a:pt x="7" y="146"/>
                      <a:pt x="19" y="178"/>
                    </a:cubicBezTo>
                    <a:cubicBezTo>
                      <a:pt x="31" y="214"/>
                      <a:pt x="58" y="239"/>
                      <a:pt x="87" y="262"/>
                    </a:cubicBezTo>
                    <a:cubicBezTo>
                      <a:pt x="124" y="292"/>
                      <a:pt x="165" y="318"/>
                      <a:pt x="207" y="341"/>
                    </a:cubicBezTo>
                    <a:cubicBezTo>
                      <a:pt x="239" y="358"/>
                      <a:pt x="281" y="376"/>
                      <a:pt x="320" y="376"/>
                    </a:cubicBezTo>
                    <a:cubicBezTo>
                      <a:pt x="350" y="376"/>
                      <a:pt x="378" y="365"/>
                      <a:pt x="396" y="334"/>
                    </a:cubicBezTo>
                    <a:cubicBezTo>
                      <a:pt x="398" y="331"/>
                      <a:pt x="399" y="328"/>
                      <a:pt x="401" y="325"/>
                    </a:cubicBezTo>
                    <a:cubicBezTo>
                      <a:pt x="414" y="294"/>
                      <a:pt x="409" y="258"/>
                      <a:pt x="396" y="227"/>
                    </a:cubicBezTo>
                    <a:cubicBezTo>
                      <a:pt x="388" y="207"/>
                      <a:pt x="377" y="189"/>
                      <a:pt x="367" y="170"/>
                    </a:cubicBezTo>
                    <a:cubicBezTo>
                      <a:pt x="356" y="149"/>
                      <a:pt x="346" y="127"/>
                      <a:pt x="333" y="106"/>
                    </a:cubicBezTo>
                    <a:cubicBezTo>
                      <a:pt x="311" y="72"/>
                      <a:pt x="279" y="43"/>
                      <a:pt x="244" y="22"/>
                    </a:cubicBezTo>
                    <a:cubicBezTo>
                      <a:pt x="219" y="8"/>
                      <a:pt x="195" y="0"/>
                      <a:pt x="170" y="0"/>
                    </a:cubicBezTo>
                  </a:path>
                </a:pathLst>
              </a:custGeom>
              <a:solidFill>
                <a:srgbClr val="544D4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48" name="Freeform 94">
                <a:extLst>
                  <a:ext uri="{FF2B5EF4-FFF2-40B4-BE49-F238E27FC236}">
                    <a16:creationId xmlns:a16="http://schemas.microsoft.com/office/drawing/2014/main" id="{043A7012-4BC8-4185-9130-1E601EA51E40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461" y="1902"/>
                <a:ext cx="479" cy="340"/>
              </a:xfrm>
              <a:custGeom>
                <a:avLst/>
                <a:gdLst>
                  <a:gd name="T0" fmla="*/ 287 w 452"/>
                  <a:gd name="T1" fmla="*/ 0 h 321"/>
                  <a:gd name="T2" fmla="*/ 287 w 452"/>
                  <a:gd name="T3" fmla="*/ 0 h 321"/>
                  <a:gd name="T4" fmla="*/ 287 w 452"/>
                  <a:gd name="T5" fmla="*/ 0 h 321"/>
                  <a:gd name="T6" fmla="*/ 287 w 452"/>
                  <a:gd name="T7" fmla="*/ 1 h 321"/>
                  <a:gd name="T8" fmla="*/ 438 w 452"/>
                  <a:gd name="T9" fmla="*/ 127 h 321"/>
                  <a:gd name="T10" fmla="*/ 352 w 452"/>
                  <a:gd name="T11" fmla="*/ 263 h 321"/>
                  <a:gd name="T12" fmla="*/ 314 w 452"/>
                  <a:gd name="T13" fmla="*/ 278 h 321"/>
                  <a:gd name="T14" fmla="*/ 208 w 452"/>
                  <a:gd name="T15" fmla="*/ 304 h 321"/>
                  <a:gd name="T16" fmla="*/ 143 w 452"/>
                  <a:gd name="T17" fmla="*/ 312 h 321"/>
                  <a:gd name="T18" fmla="*/ 97 w 452"/>
                  <a:gd name="T19" fmla="*/ 305 h 321"/>
                  <a:gd name="T20" fmla="*/ 36 w 452"/>
                  <a:gd name="T21" fmla="*/ 228 h 321"/>
                  <a:gd name="T22" fmla="*/ 50 w 452"/>
                  <a:gd name="T23" fmla="*/ 172 h 321"/>
                  <a:gd name="T24" fmla="*/ 50 w 452"/>
                  <a:gd name="T25" fmla="*/ 172 h 321"/>
                  <a:gd name="T26" fmla="*/ 77 w 452"/>
                  <a:gd name="T27" fmla="*/ 132 h 321"/>
                  <a:gd name="T28" fmla="*/ 290 w 452"/>
                  <a:gd name="T29" fmla="*/ 11 h 321"/>
                  <a:gd name="T30" fmla="*/ 290 w 452"/>
                  <a:gd name="T31" fmla="*/ 4 h 321"/>
                  <a:gd name="T32" fmla="*/ 289 w 452"/>
                  <a:gd name="T33" fmla="*/ 4 h 321"/>
                  <a:gd name="T34" fmla="*/ 189 w 452"/>
                  <a:gd name="T35" fmla="*/ 33 h 321"/>
                  <a:gd name="T36" fmla="*/ 189 w 452"/>
                  <a:gd name="T37" fmla="*/ 33 h 321"/>
                  <a:gd name="T38" fmla="*/ 77 w 452"/>
                  <a:gd name="T39" fmla="*/ 119 h 321"/>
                  <a:gd name="T40" fmla="*/ 61 w 452"/>
                  <a:gd name="T41" fmla="*/ 295 h 321"/>
                  <a:gd name="T42" fmla="*/ 144 w 452"/>
                  <a:gd name="T43" fmla="*/ 321 h 321"/>
                  <a:gd name="T44" fmla="*/ 157 w 452"/>
                  <a:gd name="T45" fmla="*/ 320 h 321"/>
                  <a:gd name="T46" fmla="*/ 221 w 452"/>
                  <a:gd name="T47" fmla="*/ 309 h 321"/>
                  <a:gd name="T48" fmla="*/ 291 w 452"/>
                  <a:gd name="T49" fmla="*/ 294 h 321"/>
                  <a:gd name="T50" fmla="*/ 437 w 452"/>
                  <a:gd name="T51" fmla="*/ 197 h 321"/>
                  <a:gd name="T52" fmla="*/ 447 w 452"/>
                  <a:gd name="T53" fmla="*/ 157 h 321"/>
                  <a:gd name="T54" fmla="*/ 290 w 452"/>
                  <a:gd name="T55" fmla="*/ 0 h 321"/>
                  <a:gd name="T56" fmla="*/ 290 w 452"/>
                  <a:gd name="T57" fmla="*/ 0 h 321"/>
                  <a:gd name="T58" fmla="*/ 287 w 452"/>
                  <a:gd name="T59" fmla="*/ 0 h 321"/>
                  <a:gd name="T60" fmla="*/ 287 w 452"/>
                  <a:gd name="T61" fmla="*/ 0 h 3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452" h="321">
                    <a:moveTo>
                      <a:pt x="287" y="0"/>
                    </a:moveTo>
                    <a:cubicBezTo>
                      <a:pt x="287" y="0"/>
                      <a:pt x="286" y="0"/>
                      <a:pt x="287" y="0"/>
                    </a:cubicBezTo>
                    <a:cubicBezTo>
                      <a:pt x="287" y="0"/>
                      <a:pt x="287" y="0"/>
                      <a:pt x="287" y="0"/>
                    </a:cubicBezTo>
                    <a:cubicBezTo>
                      <a:pt x="287" y="1"/>
                      <a:pt x="287" y="1"/>
                      <a:pt x="287" y="1"/>
                    </a:cubicBezTo>
                    <a:cubicBezTo>
                      <a:pt x="355" y="9"/>
                      <a:pt x="423" y="56"/>
                      <a:pt x="438" y="127"/>
                    </a:cubicBezTo>
                    <a:cubicBezTo>
                      <a:pt x="452" y="193"/>
                      <a:pt x="406" y="238"/>
                      <a:pt x="352" y="263"/>
                    </a:cubicBezTo>
                    <a:cubicBezTo>
                      <a:pt x="340" y="269"/>
                      <a:pt x="327" y="274"/>
                      <a:pt x="314" y="278"/>
                    </a:cubicBezTo>
                    <a:cubicBezTo>
                      <a:pt x="280" y="290"/>
                      <a:pt x="244" y="296"/>
                      <a:pt x="208" y="304"/>
                    </a:cubicBezTo>
                    <a:cubicBezTo>
                      <a:pt x="187" y="308"/>
                      <a:pt x="165" y="312"/>
                      <a:pt x="143" y="312"/>
                    </a:cubicBezTo>
                    <a:cubicBezTo>
                      <a:pt x="127" y="312"/>
                      <a:pt x="112" y="310"/>
                      <a:pt x="97" y="305"/>
                    </a:cubicBezTo>
                    <a:cubicBezTo>
                      <a:pt x="63" y="293"/>
                      <a:pt x="37" y="266"/>
                      <a:pt x="36" y="228"/>
                    </a:cubicBezTo>
                    <a:cubicBezTo>
                      <a:pt x="36" y="208"/>
                      <a:pt x="41" y="190"/>
                      <a:pt x="50" y="172"/>
                    </a:cubicBezTo>
                    <a:cubicBezTo>
                      <a:pt x="50" y="172"/>
                      <a:pt x="50" y="172"/>
                      <a:pt x="50" y="172"/>
                    </a:cubicBezTo>
                    <a:cubicBezTo>
                      <a:pt x="57" y="158"/>
                      <a:pt x="67" y="145"/>
                      <a:pt x="77" y="132"/>
                    </a:cubicBezTo>
                    <a:cubicBezTo>
                      <a:pt x="129" y="67"/>
                      <a:pt x="208" y="21"/>
                      <a:pt x="290" y="11"/>
                    </a:cubicBezTo>
                    <a:cubicBezTo>
                      <a:pt x="295" y="11"/>
                      <a:pt x="294" y="4"/>
                      <a:pt x="290" y="4"/>
                    </a:cubicBezTo>
                    <a:cubicBezTo>
                      <a:pt x="290" y="4"/>
                      <a:pt x="290" y="4"/>
                      <a:pt x="289" y="4"/>
                    </a:cubicBezTo>
                    <a:cubicBezTo>
                      <a:pt x="254" y="8"/>
                      <a:pt x="220" y="18"/>
                      <a:pt x="189" y="33"/>
                    </a:cubicBezTo>
                    <a:cubicBezTo>
                      <a:pt x="189" y="33"/>
                      <a:pt x="189" y="33"/>
                      <a:pt x="189" y="33"/>
                    </a:cubicBezTo>
                    <a:cubicBezTo>
                      <a:pt x="146" y="54"/>
                      <a:pt x="108" y="83"/>
                      <a:pt x="77" y="119"/>
                    </a:cubicBezTo>
                    <a:cubicBezTo>
                      <a:pt x="35" y="167"/>
                      <a:pt x="0" y="246"/>
                      <a:pt x="61" y="295"/>
                    </a:cubicBezTo>
                    <a:cubicBezTo>
                      <a:pt x="84" y="314"/>
                      <a:pt x="114" y="321"/>
                      <a:pt x="144" y="321"/>
                    </a:cubicBezTo>
                    <a:cubicBezTo>
                      <a:pt x="148" y="321"/>
                      <a:pt x="153" y="320"/>
                      <a:pt x="157" y="320"/>
                    </a:cubicBezTo>
                    <a:cubicBezTo>
                      <a:pt x="179" y="319"/>
                      <a:pt x="200" y="314"/>
                      <a:pt x="221" y="309"/>
                    </a:cubicBezTo>
                    <a:cubicBezTo>
                      <a:pt x="244" y="304"/>
                      <a:pt x="268" y="300"/>
                      <a:pt x="291" y="294"/>
                    </a:cubicBezTo>
                    <a:cubicBezTo>
                      <a:pt x="347" y="278"/>
                      <a:pt x="413" y="251"/>
                      <a:pt x="437" y="197"/>
                    </a:cubicBezTo>
                    <a:cubicBezTo>
                      <a:pt x="443" y="185"/>
                      <a:pt x="446" y="171"/>
                      <a:pt x="447" y="157"/>
                    </a:cubicBezTo>
                    <a:cubicBezTo>
                      <a:pt x="452" y="73"/>
                      <a:pt x="369" y="4"/>
                      <a:pt x="290" y="0"/>
                    </a:cubicBezTo>
                    <a:cubicBezTo>
                      <a:pt x="290" y="0"/>
                      <a:pt x="290" y="0"/>
                      <a:pt x="290" y="0"/>
                    </a:cubicBezTo>
                    <a:cubicBezTo>
                      <a:pt x="289" y="0"/>
                      <a:pt x="288" y="0"/>
                      <a:pt x="287" y="0"/>
                    </a:cubicBezTo>
                    <a:cubicBezTo>
                      <a:pt x="287" y="0"/>
                      <a:pt x="287" y="0"/>
                      <a:pt x="287" y="0"/>
                    </a:cubicBezTo>
                  </a:path>
                </a:pathLst>
              </a:custGeom>
              <a:solidFill>
                <a:srgbClr val="544D4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49" name="Freeform 95">
                <a:extLst>
                  <a:ext uri="{FF2B5EF4-FFF2-40B4-BE49-F238E27FC236}">
                    <a16:creationId xmlns:a16="http://schemas.microsoft.com/office/drawing/2014/main" id="{4020AD64-2EA0-4876-8E96-92BD7942DFBD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555" y="2027"/>
                <a:ext cx="146" cy="148"/>
              </a:xfrm>
              <a:custGeom>
                <a:avLst/>
                <a:gdLst>
                  <a:gd name="T0" fmla="*/ 67 w 138"/>
                  <a:gd name="T1" fmla="*/ 0 h 140"/>
                  <a:gd name="T2" fmla="*/ 66 w 138"/>
                  <a:gd name="T3" fmla="*/ 0 h 140"/>
                  <a:gd name="T4" fmla="*/ 34 w 138"/>
                  <a:gd name="T5" fmla="*/ 10 h 140"/>
                  <a:gd name="T6" fmla="*/ 34 w 138"/>
                  <a:gd name="T7" fmla="*/ 10 h 140"/>
                  <a:gd name="T8" fmla="*/ 17 w 138"/>
                  <a:gd name="T9" fmla="*/ 24 h 140"/>
                  <a:gd name="T10" fmla="*/ 17 w 138"/>
                  <a:gd name="T11" fmla="*/ 24 h 140"/>
                  <a:gd name="T12" fmla="*/ 12 w 138"/>
                  <a:gd name="T13" fmla="*/ 30 h 140"/>
                  <a:gd name="T14" fmla="*/ 13 w 138"/>
                  <a:gd name="T15" fmla="*/ 30 h 140"/>
                  <a:gd name="T16" fmla="*/ 14 w 138"/>
                  <a:gd name="T17" fmla="*/ 30 h 140"/>
                  <a:gd name="T18" fmla="*/ 14 w 138"/>
                  <a:gd name="T19" fmla="*/ 34 h 140"/>
                  <a:gd name="T20" fmla="*/ 9 w 138"/>
                  <a:gd name="T21" fmla="*/ 35 h 140"/>
                  <a:gd name="T22" fmla="*/ 1 w 138"/>
                  <a:gd name="T23" fmla="*/ 75 h 140"/>
                  <a:gd name="T24" fmla="*/ 66 w 138"/>
                  <a:gd name="T25" fmla="*/ 140 h 140"/>
                  <a:gd name="T26" fmla="*/ 70 w 138"/>
                  <a:gd name="T27" fmla="*/ 140 h 140"/>
                  <a:gd name="T28" fmla="*/ 117 w 138"/>
                  <a:gd name="T29" fmla="*/ 121 h 140"/>
                  <a:gd name="T30" fmla="*/ 120 w 138"/>
                  <a:gd name="T31" fmla="*/ 112 h 140"/>
                  <a:gd name="T32" fmla="*/ 122 w 138"/>
                  <a:gd name="T33" fmla="*/ 111 h 140"/>
                  <a:gd name="T34" fmla="*/ 124 w 138"/>
                  <a:gd name="T35" fmla="*/ 113 h 140"/>
                  <a:gd name="T36" fmla="*/ 124 w 138"/>
                  <a:gd name="T37" fmla="*/ 114 h 140"/>
                  <a:gd name="T38" fmla="*/ 131 w 138"/>
                  <a:gd name="T39" fmla="*/ 105 h 140"/>
                  <a:gd name="T40" fmla="*/ 133 w 138"/>
                  <a:gd name="T41" fmla="*/ 100 h 140"/>
                  <a:gd name="T42" fmla="*/ 137 w 138"/>
                  <a:gd name="T43" fmla="*/ 79 h 140"/>
                  <a:gd name="T44" fmla="*/ 121 w 138"/>
                  <a:gd name="T45" fmla="*/ 30 h 140"/>
                  <a:gd name="T46" fmla="*/ 76 w 138"/>
                  <a:gd name="T47" fmla="*/ 2 h 140"/>
                  <a:gd name="T48" fmla="*/ 75 w 138"/>
                  <a:gd name="T49" fmla="*/ 2 h 140"/>
                  <a:gd name="T50" fmla="*/ 75 w 138"/>
                  <a:gd name="T51" fmla="*/ 5 h 140"/>
                  <a:gd name="T52" fmla="*/ 129 w 138"/>
                  <a:gd name="T53" fmla="*/ 65 h 140"/>
                  <a:gd name="T54" fmla="*/ 115 w 138"/>
                  <a:gd name="T55" fmla="*/ 114 h 140"/>
                  <a:gd name="T56" fmla="*/ 106 w 138"/>
                  <a:gd name="T57" fmla="*/ 122 h 140"/>
                  <a:gd name="T58" fmla="*/ 106 w 138"/>
                  <a:gd name="T59" fmla="*/ 122 h 140"/>
                  <a:gd name="T60" fmla="*/ 71 w 138"/>
                  <a:gd name="T61" fmla="*/ 134 h 140"/>
                  <a:gd name="T62" fmla="*/ 61 w 138"/>
                  <a:gd name="T63" fmla="*/ 133 h 140"/>
                  <a:gd name="T64" fmla="*/ 9 w 138"/>
                  <a:gd name="T65" fmla="*/ 69 h 140"/>
                  <a:gd name="T66" fmla="*/ 20 w 138"/>
                  <a:gd name="T67" fmla="*/ 32 h 140"/>
                  <a:gd name="T68" fmla="*/ 28 w 138"/>
                  <a:gd name="T69" fmla="*/ 22 h 140"/>
                  <a:gd name="T70" fmla="*/ 68 w 138"/>
                  <a:gd name="T71" fmla="*/ 7 h 140"/>
                  <a:gd name="T72" fmla="*/ 67 w 138"/>
                  <a:gd name="T73" fmla="*/ 0 h 1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138" h="140">
                    <a:moveTo>
                      <a:pt x="67" y="0"/>
                    </a:moveTo>
                    <a:cubicBezTo>
                      <a:pt x="67" y="0"/>
                      <a:pt x="67" y="0"/>
                      <a:pt x="66" y="0"/>
                    </a:cubicBezTo>
                    <a:cubicBezTo>
                      <a:pt x="54" y="2"/>
                      <a:pt x="43" y="5"/>
                      <a:pt x="34" y="10"/>
                    </a:cubicBezTo>
                    <a:cubicBezTo>
                      <a:pt x="34" y="10"/>
                      <a:pt x="34" y="10"/>
                      <a:pt x="34" y="10"/>
                    </a:cubicBezTo>
                    <a:cubicBezTo>
                      <a:pt x="27" y="14"/>
                      <a:pt x="21" y="18"/>
                      <a:pt x="17" y="24"/>
                    </a:cubicBezTo>
                    <a:cubicBezTo>
                      <a:pt x="17" y="24"/>
                      <a:pt x="17" y="24"/>
                      <a:pt x="17" y="24"/>
                    </a:cubicBezTo>
                    <a:cubicBezTo>
                      <a:pt x="15" y="26"/>
                      <a:pt x="13" y="28"/>
                      <a:pt x="12" y="30"/>
                    </a:cubicBezTo>
                    <a:cubicBezTo>
                      <a:pt x="12" y="30"/>
                      <a:pt x="13" y="30"/>
                      <a:pt x="13" y="30"/>
                    </a:cubicBezTo>
                    <a:cubicBezTo>
                      <a:pt x="13" y="30"/>
                      <a:pt x="14" y="30"/>
                      <a:pt x="14" y="30"/>
                    </a:cubicBezTo>
                    <a:cubicBezTo>
                      <a:pt x="17" y="30"/>
                      <a:pt x="17" y="34"/>
                      <a:pt x="14" y="34"/>
                    </a:cubicBezTo>
                    <a:cubicBezTo>
                      <a:pt x="12" y="34"/>
                      <a:pt x="10" y="34"/>
                      <a:pt x="9" y="35"/>
                    </a:cubicBezTo>
                    <a:cubicBezTo>
                      <a:pt x="3" y="46"/>
                      <a:pt x="0" y="59"/>
                      <a:pt x="1" y="75"/>
                    </a:cubicBezTo>
                    <a:cubicBezTo>
                      <a:pt x="2" y="105"/>
                      <a:pt x="35" y="137"/>
                      <a:pt x="66" y="140"/>
                    </a:cubicBezTo>
                    <a:cubicBezTo>
                      <a:pt x="67" y="140"/>
                      <a:pt x="68" y="140"/>
                      <a:pt x="70" y="140"/>
                    </a:cubicBezTo>
                    <a:cubicBezTo>
                      <a:pt x="86" y="140"/>
                      <a:pt x="104" y="133"/>
                      <a:pt x="117" y="121"/>
                    </a:cubicBezTo>
                    <a:cubicBezTo>
                      <a:pt x="118" y="118"/>
                      <a:pt x="119" y="115"/>
                      <a:pt x="120" y="112"/>
                    </a:cubicBezTo>
                    <a:cubicBezTo>
                      <a:pt x="121" y="112"/>
                      <a:pt x="122" y="111"/>
                      <a:pt x="122" y="111"/>
                    </a:cubicBezTo>
                    <a:cubicBezTo>
                      <a:pt x="123" y="111"/>
                      <a:pt x="124" y="112"/>
                      <a:pt x="124" y="113"/>
                    </a:cubicBezTo>
                    <a:cubicBezTo>
                      <a:pt x="124" y="114"/>
                      <a:pt x="124" y="114"/>
                      <a:pt x="124" y="114"/>
                    </a:cubicBezTo>
                    <a:cubicBezTo>
                      <a:pt x="127" y="111"/>
                      <a:pt x="129" y="108"/>
                      <a:pt x="131" y="105"/>
                    </a:cubicBezTo>
                    <a:cubicBezTo>
                      <a:pt x="132" y="103"/>
                      <a:pt x="133" y="101"/>
                      <a:pt x="133" y="100"/>
                    </a:cubicBezTo>
                    <a:cubicBezTo>
                      <a:pt x="136" y="93"/>
                      <a:pt x="138" y="86"/>
                      <a:pt x="137" y="79"/>
                    </a:cubicBezTo>
                    <a:cubicBezTo>
                      <a:pt x="137" y="62"/>
                      <a:pt x="131" y="43"/>
                      <a:pt x="121" y="30"/>
                    </a:cubicBezTo>
                    <a:cubicBezTo>
                      <a:pt x="110" y="13"/>
                      <a:pt x="94" y="8"/>
                      <a:pt x="76" y="2"/>
                    </a:cubicBezTo>
                    <a:cubicBezTo>
                      <a:pt x="76" y="2"/>
                      <a:pt x="76" y="2"/>
                      <a:pt x="75" y="2"/>
                    </a:cubicBezTo>
                    <a:cubicBezTo>
                      <a:pt x="74" y="2"/>
                      <a:pt x="73" y="4"/>
                      <a:pt x="75" y="5"/>
                    </a:cubicBezTo>
                    <a:cubicBezTo>
                      <a:pt x="103" y="19"/>
                      <a:pt x="122" y="32"/>
                      <a:pt x="129" y="65"/>
                    </a:cubicBezTo>
                    <a:cubicBezTo>
                      <a:pt x="133" y="85"/>
                      <a:pt x="130" y="100"/>
                      <a:pt x="115" y="114"/>
                    </a:cubicBezTo>
                    <a:cubicBezTo>
                      <a:pt x="112" y="117"/>
                      <a:pt x="109" y="119"/>
                      <a:pt x="106" y="122"/>
                    </a:cubicBezTo>
                    <a:cubicBezTo>
                      <a:pt x="106" y="122"/>
                      <a:pt x="106" y="122"/>
                      <a:pt x="106" y="122"/>
                    </a:cubicBezTo>
                    <a:cubicBezTo>
                      <a:pt x="95" y="129"/>
                      <a:pt x="83" y="134"/>
                      <a:pt x="71" y="134"/>
                    </a:cubicBezTo>
                    <a:cubicBezTo>
                      <a:pt x="68" y="134"/>
                      <a:pt x="64" y="133"/>
                      <a:pt x="61" y="133"/>
                    </a:cubicBezTo>
                    <a:cubicBezTo>
                      <a:pt x="35" y="127"/>
                      <a:pt x="8" y="96"/>
                      <a:pt x="9" y="69"/>
                    </a:cubicBezTo>
                    <a:cubicBezTo>
                      <a:pt x="9" y="57"/>
                      <a:pt x="13" y="42"/>
                      <a:pt x="20" y="32"/>
                    </a:cubicBezTo>
                    <a:cubicBezTo>
                      <a:pt x="22" y="28"/>
                      <a:pt x="25" y="25"/>
                      <a:pt x="28" y="22"/>
                    </a:cubicBezTo>
                    <a:cubicBezTo>
                      <a:pt x="39" y="13"/>
                      <a:pt x="54" y="11"/>
                      <a:pt x="68" y="7"/>
                    </a:cubicBezTo>
                    <a:cubicBezTo>
                      <a:pt x="71" y="6"/>
                      <a:pt x="70" y="0"/>
                      <a:pt x="67" y="0"/>
                    </a:cubicBezTo>
                  </a:path>
                </a:pathLst>
              </a:custGeom>
              <a:solidFill>
                <a:srgbClr val="544D4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50" name="Freeform 96">
                <a:extLst>
                  <a:ext uri="{FF2B5EF4-FFF2-40B4-BE49-F238E27FC236}">
                    <a16:creationId xmlns:a16="http://schemas.microsoft.com/office/drawing/2014/main" id="{FA9F5347-6EFF-47E2-B40A-72018E0C796F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527" y="2059"/>
                <a:ext cx="159" cy="143"/>
              </a:xfrm>
              <a:custGeom>
                <a:avLst/>
                <a:gdLst>
                  <a:gd name="T0" fmla="*/ 39 w 150"/>
                  <a:gd name="T1" fmla="*/ 0 h 135"/>
                  <a:gd name="T2" fmla="*/ 38 w 150"/>
                  <a:gd name="T3" fmla="*/ 0 h 135"/>
                  <a:gd name="T4" fmla="*/ 31 w 150"/>
                  <a:gd name="T5" fmla="*/ 2 h 135"/>
                  <a:gd name="T6" fmla="*/ 31 w 150"/>
                  <a:gd name="T7" fmla="*/ 2 h 135"/>
                  <a:gd name="T8" fmla="*/ 8 w 150"/>
                  <a:gd name="T9" fmla="*/ 35 h 135"/>
                  <a:gd name="T10" fmla="*/ 29 w 150"/>
                  <a:gd name="T11" fmla="*/ 109 h 135"/>
                  <a:gd name="T12" fmla="*/ 86 w 150"/>
                  <a:gd name="T13" fmla="*/ 135 h 135"/>
                  <a:gd name="T14" fmla="*/ 144 w 150"/>
                  <a:gd name="T15" fmla="*/ 102 h 135"/>
                  <a:gd name="T16" fmla="*/ 150 w 150"/>
                  <a:gd name="T17" fmla="*/ 84 h 135"/>
                  <a:gd name="T18" fmla="*/ 150 w 150"/>
                  <a:gd name="T19" fmla="*/ 83 h 135"/>
                  <a:gd name="T20" fmla="*/ 148 w 150"/>
                  <a:gd name="T21" fmla="*/ 81 h 135"/>
                  <a:gd name="T22" fmla="*/ 146 w 150"/>
                  <a:gd name="T23" fmla="*/ 82 h 135"/>
                  <a:gd name="T24" fmla="*/ 143 w 150"/>
                  <a:gd name="T25" fmla="*/ 91 h 135"/>
                  <a:gd name="T26" fmla="*/ 119 w 150"/>
                  <a:gd name="T27" fmla="*/ 121 h 135"/>
                  <a:gd name="T28" fmla="*/ 92 w 150"/>
                  <a:gd name="T29" fmla="*/ 130 h 135"/>
                  <a:gd name="T30" fmla="*/ 91 w 150"/>
                  <a:gd name="T31" fmla="*/ 130 h 135"/>
                  <a:gd name="T32" fmla="*/ 27 w 150"/>
                  <a:gd name="T33" fmla="*/ 96 h 135"/>
                  <a:gd name="T34" fmla="*/ 13 w 150"/>
                  <a:gd name="T35" fmla="*/ 38 h 135"/>
                  <a:gd name="T36" fmla="*/ 26 w 150"/>
                  <a:gd name="T37" fmla="*/ 9 h 135"/>
                  <a:gd name="T38" fmla="*/ 26 w 150"/>
                  <a:gd name="T39" fmla="*/ 9 h 135"/>
                  <a:gd name="T40" fmla="*/ 35 w 150"/>
                  <a:gd name="T41" fmla="*/ 5 h 135"/>
                  <a:gd name="T42" fmla="*/ 40 w 150"/>
                  <a:gd name="T43" fmla="*/ 4 h 135"/>
                  <a:gd name="T44" fmla="*/ 40 w 150"/>
                  <a:gd name="T45" fmla="*/ 0 h 135"/>
                  <a:gd name="T46" fmla="*/ 39 w 150"/>
                  <a:gd name="T47" fmla="*/ 0 h 1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150" h="135">
                    <a:moveTo>
                      <a:pt x="39" y="0"/>
                    </a:moveTo>
                    <a:cubicBezTo>
                      <a:pt x="39" y="0"/>
                      <a:pt x="38" y="0"/>
                      <a:pt x="38" y="0"/>
                    </a:cubicBezTo>
                    <a:cubicBezTo>
                      <a:pt x="35" y="0"/>
                      <a:pt x="33" y="1"/>
                      <a:pt x="31" y="2"/>
                    </a:cubicBezTo>
                    <a:cubicBezTo>
                      <a:pt x="31" y="2"/>
                      <a:pt x="31" y="2"/>
                      <a:pt x="31" y="2"/>
                    </a:cubicBezTo>
                    <a:cubicBezTo>
                      <a:pt x="19" y="7"/>
                      <a:pt x="12" y="23"/>
                      <a:pt x="8" y="35"/>
                    </a:cubicBezTo>
                    <a:cubicBezTo>
                      <a:pt x="0" y="62"/>
                      <a:pt x="10" y="88"/>
                      <a:pt x="29" y="109"/>
                    </a:cubicBezTo>
                    <a:cubicBezTo>
                      <a:pt x="44" y="127"/>
                      <a:pt x="65" y="135"/>
                      <a:pt x="86" y="135"/>
                    </a:cubicBezTo>
                    <a:cubicBezTo>
                      <a:pt x="109" y="135"/>
                      <a:pt x="132" y="124"/>
                      <a:pt x="144" y="102"/>
                    </a:cubicBezTo>
                    <a:cubicBezTo>
                      <a:pt x="146" y="97"/>
                      <a:pt x="149" y="91"/>
                      <a:pt x="150" y="84"/>
                    </a:cubicBezTo>
                    <a:cubicBezTo>
                      <a:pt x="150" y="84"/>
                      <a:pt x="150" y="84"/>
                      <a:pt x="150" y="83"/>
                    </a:cubicBezTo>
                    <a:cubicBezTo>
                      <a:pt x="150" y="82"/>
                      <a:pt x="149" y="81"/>
                      <a:pt x="148" y="81"/>
                    </a:cubicBezTo>
                    <a:cubicBezTo>
                      <a:pt x="148" y="81"/>
                      <a:pt x="147" y="82"/>
                      <a:pt x="146" y="82"/>
                    </a:cubicBezTo>
                    <a:cubicBezTo>
                      <a:pt x="145" y="85"/>
                      <a:pt x="144" y="88"/>
                      <a:pt x="143" y="91"/>
                    </a:cubicBezTo>
                    <a:cubicBezTo>
                      <a:pt x="138" y="103"/>
                      <a:pt x="130" y="114"/>
                      <a:pt x="119" y="121"/>
                    </a:cubicBezTo>
                    <a:cubicBezTo>
                      <a:pt x="112" y="126"/>
                      <a:pt x="102" y="130"/>
                      <a:pt x="92" y="130"/>
                    </a:cubicBezTo>
                    <a:cubicBezTo>
                      <a:pt x="92" y="130"/>
                      <a:pt x="91" y="130"/>
                      <a:pt x="91" y="130"/>
                    </a:cubicBezTo>
                    <a:cubicBezTo>
                      <a:pt x="66" y="130"/>
                      <a:pt x="41" y="116"/>
                      <a:pt x="27" y="96"/>
                    </a:cubicBezTo>
                    <a:cubicBezTo>
                      <a:pt x="15" y="78"/>
                      <a:pt x="8" y="60"/>
                      <a:pt x="13" y="38"/>
                    </a:cubicBezTo>
                    <a:cubicBezTo>
                      <a:pt x="15" y="28"/>
                      <a:pt x="18" y="16"/>
                      <a:pt x="26" y="9"/>
                    </a:cubicBezTo>
                    <a:cubicBezTo>
                      <a:pt x="26" y="9"/>
                      <a:pt x="26" y="9"/>
                      <a:pt x="26" y="9"/>
                    </a:cubicBezTo>
                    <a:cubicBezTo>
                      <a:pt x="28" y="7"/>
                      <a:pt x="31" y="6"/>
                      <a:pt x="35" y="5"/>
                    </a:cubicBezTo>
                    <a:cubicBezTo>
                      <a:pt x="36" y="4"/>
                      <a:pt x="38" y="4"/>
                      <a:pt x="40" y="4"/>
                    </a:cubicBezTo>
                    <a:cubicBezTo>
                      <a:pt x="43" y="4"/>
                      <a:pt x="43" y="0"/>
                      <a:pt x="40" y="0"/>
                    </a:cubicBezTo>
                    <a:cubicBezTo>
                      <a:pt x="40" y="0"/>
                      <a:pt x="39" y="0"/>
                      <a:pt x="39" y="0"/>
                    </a:cubicBezTo>
                  </a:path>
                </a:pathLst>
              </a:custGeom>
              <a:solidFill>
                <a:srgbClr val="544D4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51" name="Freeform 97">
                <a:extLst>
                  <a:ext uri="{FF2B5EF4-FFF2-40B4-BE49-F238E27FC236}">
                    <a16:creationId xmlns:a16="http://schemas.microsoft.com/office/drawing/2014/main" id="{B758A18D-673E-41EC-BB2B-F540701D803B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751" y="1942"/>
                <a:ext cx="40" cy="50"/>
              </a:xfrm>
              <a:custGeom>
                <a:avLst/>
                <a:gdLst>
                  <a:gd name="T0" fmla="*/ 21 w 38"/>
                  <a:gd name="T1" fmla="*/ 0 h 47"/>
                  <a:gd name="T2" fmla="*/ 8 w 38"/>
                  <a:gd name="T3" fmla="*/ 4 h 47"/>
                  <a:gd name="T4" fmla="*/ 0 w 38"/>
                  <a:gd name="T5" fmla="*/ 8 h 47"/>
                  <a:gd name="T6" fmla="*/ 0 w 38"/>
                  <a:gd name="T7" fmla="*/ 8 h 47"/>
                  <a:gd name="T8" fmla="*/ 5 w 38"/>
                  <a:gd name="T9" fmla="*/ 12 h 47"/>
                  <a:gd name="T10" fmla="*/ 13 w 38"/>
                  <a:gd name="T11" fmla="*/ 8 h 47"/>
                  <a:gd name="T12" fmla="*/ 25 w 38"/>
                  <a:gd name="T13" fmla="*/ 3 h 47"/>
                  <a:gd name="T14" fmla="*/ 29 w 38"/>
                  <a:gd name="T15" fmla="*/ 6 h 47"/>
                  <a:gd name="T16" fmla="*/ 29 w 38"/>
                  <a:gd name="T17" fmla="*/ 24 h 47"/>
                  <a:gd name="T18" fmla="*/ 29 w 38"/>
                  <a:gd name="T19" fmla="*/ 27 h 47"/>
                  <a:gd name="T20" fmla="*/ 29 w 38"/>
                  <a:gd name="T21" fmla="*/ 38 h 47"/>
                  <a:gd name="T22" fmla="*/ 35 w 38"/>
                  <a:gd name="T23" fmla="*/ 41 h 47"/>
                  <a:gd name="T24" fmla="*/ 34 w 38"/>
                  <a:gd name="T25" fmla="*/ 43 h 47"/>
                  <a:gd name="T26" fmla="*/ 34 w 38"/>
                  <a:gd name="T27" fmla="*/ 43 h 47"/>
                  <a:gd name="T28" fmla="*/ 30 w 38"/>
                  <a:gd name="T29" fmla="*/ 42 h 47"/>
                  <a:gd name="T30" fmla="*/ 31 w 38"/>
                  <a:gd name="T31" fmla="*/ 45 h 47"/>
                  <a:gd name="T32" fmla="*/ 33 w 38"/>
                  <a:gd name="T33" fmla="*/ 47 h 47"/>
                  <a:gd name="T34" fmla="*/ 37 w 38"/>
                  <a:gd name="T35" fmla="*/ 43 h 47"/>
                  <a:gd name="T36" fmla="*/ 35 w 38"/>
                  <a:gd name="T37" fmla="*/ 29 h 47"/>
                  <a:gd name="T38" fmla="*/ 31 w 38"/>
                  <a:gd name="T39" fmla="*/ 1 h 47"/>
                  <a:gd name="T40" fmla="*/ 24 w 38"/>
                  <a:gd name="T41" fmla="*/ 2 h 47"/>
                  <a:gd name="T42" fmla="*/ 23 w 38"/>
                  <a:gd name="T43" fmla="*/ 2 h 47"/>
                  <a:gd name="T44" fmla="*/ 21 w 38"/>
                  <a:gd name="T45" fmla="*/ 0 h 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38" h="47">
                    <a:moveTo>
                      <a:pt x="21" y="0"/>
                    </a:moveTo>
                    <a:cubicBezTo>
                      <a:pt x="17" y="1"/>
                      <a:pt x="13" y="2"/>
                      <a:pt x="8" y="4"/>
                    </a:cubicBezTo>
                    <a:cubicBezTo>
                      <a:pt x="6" y="5"/>
                      <a:pt x="3" y="7"/>
                      <a:pt x="0" y="8"/>
                    </a:cubicBezTo>
                    <a:cubicBezTo>
                      <a:pt x="0" y="8"/>
                      <a:pt x="0" y="8"/>
                      <a:pt x="0" y="8"/>
                    </a:cubicBezTo>
                    <a:cubicBezTo>
                      <a:pt x="2" y="9"/>
                      <a:pt x="3" y="10"/>
                      <a:pt x="5" y="12"/>
                    </a:cubicBezTo>
                    <a:cubicBezTo>
                      <a:pt x="7" y="11"/>
                      <a:pt x="10" y="9"/>
                      <a:pt x="13" y="8"/>
                    </a:cubicBezTo>
                    <a:cubicBezTo>
                      <a:pt x="17" y="5"/>
                      <a:pt x="22" y="3"/>
                      <a:pt x="25" y="3"/>
                    </a:cubicBezTo>
                    <a:cubicBezTo>
                      <a:pt x="27" y="3"/>
                      <a:pt x="28" y="4"/>
                      <a:pt x="29" y="6"/>
                    </a:cubicBezTo>
                    <a:cubicBezTo>
                      <a:pt x="31" y="10"/>
                      <a:pt x="30" y="18"/>
                      <a:pt x="29" y="24"/>
                    </a:cubicBezTo>
                    <a:cubicBezTo>
                      <a:pt x="29" y="25"/>
                      <a:pt x="29" y="26"/>
                      <a:pt x="29" y="27"/>
                    </a:cubicBezTo>
                    <a:cubicBezTo>
                      <a:pt x="29" y="31"/>
                      <a:pt x="29" y="34"/>
                      <a:pt x="29" y="38"/>
                    </a:cubicBezTo>
                    <a:cubicBezTo>
                      <a:pt x="31" y="39"/>
                      <a:pt x="33" y="40"/>
                      <a:pt x="35" y="41"/>
                    </a:cubicBezTo>
                    <a:cubicBezTo>
                      <a:pt x="36" y="41"/>
                      <a:pt x="35" y="43"/>
                      <a:pt x="34" y="43"/>
                    </a:cubicBezTo>
                    <a:cubicBezTo>
                      <a:pt x="34" y="43"/>
                      <a:pt x="34" y="43"/>
                      <a:pt x="34" y="43"/>
                    </a:cubicBezTo>
                    <a:cubicBezTo>
                      <a:pt x="33" y="43"/>
                      <a:pt x="31" y="42"/>
                      <a:pt x="30" y="42"/>
                    </a:cubicBezTo>
                    <a:cubicBezTo>
                      <a:pt x="30" y="43"/>
                      <a:pt x="30" y="44"/>
                      <a:pt x="31" y="45"/>
                    </a:cubicBezTo>
                    <a:cubicBezTo>
                      <a:pt x="31" y="47"/>
                      <a:pt x="32" y="47"/>
                      <a:pt x="33" y="47"/>
                    </a:cubicBezTo>
                    <a:cubicBezTo>
                      <a:pt x="35" y="47"/>
                      <a:pt x="38" y="45"/>
                      <a:pt x="37" y="43"/>
                    </a:cubicBezTo>
                    <a:cubicBezTo>
                      <a:pt x="36" y="38"/>
                      <a:pt x="36" y="34"/>
                      <a:pt x="35" y="29"/>
                    </a:cubicBezTo>
                    <a:cubicBezTo>
                      <a:pt x="34" y="20"/>
                      <a:pt x="34" y="10"/>
                      <a:pt x="31" y="1"/>
                    </a:cubicBezTo>
                    <a:cubicBezTo>
                      <a:pt x="29" y="1"/>
                      <a:pt x="26" y="1"/>
                      <a:pt x="24" y="2"/>
                    </a:cubicBezTo>
                    <a:cubicBezTo>
                      <a:pt x="24" y="2"/>
                      <a:pt x="23" y="2"/>
                      <a:pt x="23" y="2"/>
                    </a:cubicBezTo>
                    <a:cubicBezTo>
                      <a:pt x="22" y="2"/>
                      <a:pt x="21" y="1"/>
                      <a:pt x="21" y="0"/>
                    </a:cubicBezTo>
                  </a:path>
                </a:pathLst>
              </a:custGeom>
              <a:solidFill>
                <a:srgbClr val="544D4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52" name="Freeform 98">
                <a:extLst>
                  <a:ext uri="{FF2B5EF4-FFF2-40B4-BE49-F238E27FC236}">
                    <a16:creationId xmlns:a16="http://schemas.microsoft.com/office/drawing/2014/main" id="{5D282D90-4E52-4217-A040-2D9424EB014E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773" y="1936"/>
                <a:ext cx="87" cy="65"/>
              </a:xfrm>
              <a:custGeom>
                <a:avLst/>
                <a:gdLst>
                  <a:gd name="T0" fmla="*/ 16 w 82"/>
                  <a:gd name="T1" fmla="*/ 0 h 61"/>
                  <a:gd name="T2" fmla="*/ 1 w 82"/>
                  <a:gd name="T3" fmla="*/ 4 h 61"/>
                  <a:gd name="T4" fmla="*/ 0 w 82"/>
                  <a:gd name="T5" fmla="*/ 6 h 61"/>
                  <a:gd name="T6" fmla="*/ 2 w 82"/>
                  <a:gd name="T7" fmla="*/ 8 h 61"/>
                  <a:gd name="T8" fmla="*/ 3 w 82"/>
                  <a:gd name="T9" fmla="*/ 8 h 61"/>
                  <a:gd name="T10" fmla="*/ 10 w 82"/>
                  <a:gd name="T11" fmla="*/ 7 h 61"/>
                  <a:gd name="T12" fmla="*/ 14 w 82"/>
                  <a:gd name="T13" fmla="*/ 7 h 61"/>
                  <a:gd name="T14" fmla="*/ 19 w 82"/>
                  <a:gd name="T15" fmla="*/ 7 h 61"/>
                  <a:gd name="T16" fmla="*/ 19 w 82"/>
                  <a:gd name="T17" fmla="*/ 7 h 61"/>
                  <a:gd name="T18" fmla="*/ 35 w 82"/>
                  <a:gd name="T19" fmla="*/ 10 h 61"/>
                  <a:gd name="T20" fmla="*/ 48 w 82"/>
                  <a:gd name="T21" fmla="*/ 13 h 61"/>
                  <a:gd name="T22" fmla="*/ 72 w 82"/>
                  <a:gd name="T23" fmla="*/ 22 h 61"/>
                  <a:gd name="T24" fmla="*/ 64 w 82"/>
                  <a:gd name="T25" fmla="*/ 41 h 61"/>
                  <a:gd name="T26" fmla="*/ 53 w 82"/>
                  <a:gd name="T27" fmla="*/ 57 h 61"/>
                  <a:gd name="T28" fmla="*/ 55 w 82"/>
                  <a:gd name="T29" fmla="*/ 61 h 61"/>
                  <a:gd name="T30" fmla="*/ 56 w 82"/>
                  <a:gd name="T31" fmla="*/ 61 h 61"/>
                  <a:gd name="T32" fmla="*/ 58 w 82"/>
                  <a:gd name="T33" fmla="*/ 61 h 61"/>
                  <a:gd name="T34" fmla="*/ 56 w 82"/>
                  <a:gd name="T35" fmla="*/ 58 h 61"/>
                  <a:gd name="T36" fmla="*/ 58 w 82"/>
                  <a:gd name="T37" fmla="*/ 56 h 61"/>
                  <a:gd name="T38" fmla="*/ 59 w 82"/>
                  <a:gd name="T39" fmla="*/ 56 h 61"/>
                  <a:gd name="T40" fmla="*/ 61 w 82"/>
                  <a:gd name="T41" fmla="*/ 57 h 61"/>
                  <a:gd name="T42" fmla="*/ 62 w 82"/>
                  <a:gd name="T43" fmla="*/ 57 h 61"/>
                  <a:gd name="T44" fmla="*/ 66 w 82"/>
                  <a:gd name="T45" fmla="*/ 49 h 61"/>
                  <a:gd name="T46" fmla="*/ 66 w 82"/>
                  <a:gd name="T47" fmla="*/ 49 h 61"/>
                  <a:gd name="T48" fmla="*/ 67 w 82"/>
                  <a:gd name="T49" fmla="*/ 48 h 61"/>
                  <a:gd name="T50" fmla="*/ 67 w 82"/>
                  <a:gd name="T51" fmla="*/ 48 h 61"/>
                  <a:gd name="T52" fmla="*/ 67 w 82"/>
                  <a:gd name="T53" fmla="*/ 48 h 61"/>
                  <a:gd name="T54" fmla="*/ 73 w 82"/>
                  <a:gd name="T55" fmla="*/ 39 h 61"/>
                  <a:gd name="T56" fmla="*/ 73 w 82"/>
                  <a:gd name="T57" fmla="*/ 39 h 61"/>
                  <a:gd name="T58" fmla="*/ 77 w 82"/>
                  <a:gd name="T59" fmla="*/ 32 h 61"/>
                  <a:gd name="T60" fmla="*/ 75 w 82"/>
                  <a:gd name="T61" fmla="*/ 30 h 61"/>
                  <a:gd name="T62" fmla="*/ 77 w 82"/>
                  <a:gd name="T63" fmla="*/ 26 h 61"/>
                  <a:gd name="T64" fmla="*/ 79 w 82"/>
                  <a:gd name="T65" fmla="*/ 27 h 61"/>
                  <a:gd name="T66" fmla="*/ 80 w 82"/>
                  <a:gd name="T67" fmla="*/ 27 h 61"/>
                  <a:gd name="T68" fmla="*/ 81 w 82"/>
                  <a:gd name="T69" fmla="*/ 23 h 61"/>
                  <a:gd name="T70" fmla="*/ 82 w 82"/>
                  <a:gd name="T71" fmla="*/ 22 h 61"/>
                  <a:gd name="T72" fmla="*/ 82 w 82"/>
                  <a:gd name="T73" fmla="*/ 22 h 61"/>
                  <a:gd name="T74" fmla="*/ 80 w 82"/>
                  <a:gd name="T75" fmla="*/ 19 h 61"/>
                  <a:gd name="T76" fmla="*/ 34 w 82"/>
                  <a:gd name="T77" fmla="*/ 2 h 61"/>
                  <a:gd name="T78" fmla="*/ 18 w 82"/>
                  <a:gd name="T79" fmla="*/ 0 h 61"/>
                  <a:gd name="T80" fmla="*/ 18 w 82"/>
                  <a:gd name="T81" fmla="*/ 0 h 61"/>
                  <a:gd name="T82" fmla="*/ 16 w 82"/>
                  <a:gd name="T83" fmla="*/ 0 h 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82" h="61">
                    <a:moveTo>
                      <a:pt x="16" y="0"/>
                    </a:moveTo>
                    <a:cubicBezTo>
                      <a:pt x="11" y="0"/>
                      <a:pt x="6" y="1"/>
                      <a:pt x="1" y="4"/>
                    </a:cubicBezTo>
                    <a:cubicBezTo>
                      <a:pt x="1" y="4"/>
                      <a:pt x="0" y="5"/>
                      <a:pt x="0" y="6"/>
                    </a:cubicBezTo>
                    <a:cubicBezTo>
                      <a:pt x="0" y="7"/>
                      <a:pt x="1" y="8"/>
                      <a:pt x="2" y="8"/>
                    </a:cubicBezTo>
                    <a:cubicBezTo>
                      <a:pt x="2" y="8"/>
                      <a:pt x="3" y="8"/>
                      <a:pt x="3" y="8"/>
                    </a:cubicBezTo>
                    <a:cubicBezTo>
                      <a:pt x="5" y="7"/>
                      <a:pt x="8" y="7"/>
                      <a:pt x="10" y="7"/>
                    </a:cubicBezTo>
                    <a:cubicBezTo>
                      <a:pt x="12" y="7"/>
                      <a:pt x="13" y="7"/>
                      <a:pt x="14" y="7"/>
                    </a:cubicBezTo>
                    <a:cubicBezTo>
                      <a:pt x="16" y="7"/>
                      <a:pt x="17" y="7"/>
                      <a:pt x="19" y="7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24" y="7"/>
                      <a:pt x="29" y="8"/>
                      <a:pt x="35" y="10"/>
                    </a:cubicBezTo>
                    <a:cubicBezTo>
                      <a:pt x="39" y="11"/>
                      <a:pt x="44" y="12"/>
                      <a:pt x="48" y="13"/>
                    </a:cubicBezTo>
                    <a:cubicBezTo>
                      <a:pt x="52" y="14"/>
                      <a:pt x="71" y="18"/>
                      <a:pt x="72" y="22"/>
                    </a:cubicBezTo>
                    <a:cubicBezTo>
                      <a:pt x="73" y="26"/>
                      <a:pt x="66" y="37"/>
                      <a:pt x="64" y="41"/>
                    </a:cubicBezTo>
                    <a:cubicBezTo>
                      <a:pt x="61" y="47"/>
                      <a:pt x="58" y="53"/>
                      <a:pt x="53" y="57"/>
                    </a:cubicBezTo>
                    <a:cubicBezTo>
                      <a:pt x="51" y="59"/>
                      <a:pt x="53" y="61"/>
                      <a:pt x="55" y="61"/>
                    </a:cubicBezTo>
                    <a:cubicBezTo>
                      <a:pt x="55" y="61"/>
                      <a:pt x="56" y="61"/>
                      <a:pt x="56" y="61"/>
                    </a:cubicBezTo>
                    <a:cubicBezTo>
                      <a:pt x="57" y="61"/>
                      <a:pt x="57" y="61"/>
                      <a:pt x="58" y="61"/>
                    </a:cubicBezTo>
                    <a:cubicBezTo>
                      <a:pt x="57" y="60"/>
                      <a:pt x="57" y="59"/>
                      <a:pt x="56" y="58"/>
                    </a:cubicBezTo>
                    <a:cubicBezTo>
                      <a:pt x="56" y="57"/>
                      <a:pt x="57" y="56"/>
                      <a:pt x="58" y="56"/>
                    </a:cubicBezTo>
                    <a:cubicBezTo>
                      <a:pt x="58" y="56"/>
                      <a:pt x="58" y="56"/>
                      <a:pt x="59" y="56"/>
                    </a:cubicBezTo>
                    <a:cubicBezTo>
                      <a:pt x="59" y="57"/>
                      <a:pt x="60" y="57"/>
                      <a:pt x="61" y="57"/>
                    </a:cubicBezTo>
                    <a:cubicBezTo>
                      <a:pt x="61" y="57"/>
                      <a:pt x="62" y="57"/>
                      <a:pt x="62" y="57"/>
                    </a:cubicBezTo>
                    <a:cubicBezTo>
                      <a:pt x="64" y="55"/>
                      <a:pt x="65" y="52"/>
                      <a:pt x="66" y="49"/>
                    </a:cubicBezTo>
                    <a:cubicBezTo>
                      <a:pt x="66" y="49"/>
                      <a:pt x="66" y="49"/>
                      <a:pt x="66" y="49"/>
                    </a:cubicBezTo>
                    <a:cubicBezTo>
                      <a:pt x="66" y="49"/>
                      <a:pt x="67" y="49"/>
                      <a:pt x="67" y="48"/>
                    </a:cubicBezTo>
                    <a:cubicBezTo>
                      <a:pt x="67" y="48"/>
                      <a:pt x="67" y="48"/>
                      <a:pt x="67" y="48"/>
                    </a:cubicBezTo>
                    <a:cubicBezTo>
                      <a:pt x="67" y="48"/>
                      <a:pt x="67" y="48"/>
                      <a:pt x="67" y="48"/>
                    </a:cubicBezTo>
                    <a:cubicBezTo>
                      <a:pt x="69" y="45"/>
                      <a:pt x="71" y="42"/>
                      <a:pt x="73" y="39"/>
                    </a:cubicBezTo>
                    <a:cubicBezTo>
                      <a:pt x="73" y="39"/>
                      <a:pt x="73" y="39"/>
                      <a:pt x="73" y="39"/>
                    </a:cubicBezTo>
                    <a:cubicBezTo>
                      <a:pt x="74" y="36"/>
                      <a:pt x="75" y="34"/>
                      <a:pt x="77" y="32"/>
                    </a:cubicBezTo>
                    <a:cubicBezTo>
                      <a:pt x="76" y="32"/>
                      <a:pt x="76" y="31"/>
                      <a:pt x="75" y="30"/>
                    </a:cubicBezTo>
                    <a:cubicBezTo>
                      <a:pt x="73" y="28"/>
                      <a:pt x="75" y="26"/>
                      <a:pt x="77" y="26"/>
                    </a:cubicBezTo>
                    <a:cubicBezTo>
                      <a:pt x="78" y="26"/>
                      <a:pt x="79" y="26"/>
                      <a:pt x="79" y="27"/>
                    </a:cubicBezTo>
                    <a:cubicBezTo>
                      <a:pt x="79" y="27"/>
                      <a:pt x="79" y="27"/>
                      <a:pt x="80" y="27"/>
                    </a:cubicBezTo>
                    <a:cubicBezTo>
                      <a:pt x="80" y="26"/>
                      <a:pt x="81" y="24"/>
                      <a:pt x="81" y="23"/>
                    </a:cubicBezTo>
                    <a:cubicBezTo>
                      <a:pt x="82" y="23"/>
                      <a:pt x="82" y="23"/>
                      <a:pt x="82" y="22"/>
                    </a:cubicBezTo>
                    <a:cubicBezTo>
                      <a:pt x="82" y="22"/>
                      <a:pt x="82" y="22"/>
                      <a:pt x="82" y="22"/>
                    </a:cubicBezTo>
                    <a:cubicBezTo>
                      <a:pt x="82" y="21"/>
                      <a:pt x="81" y="20"/>
                      <a:pt x="80" y="19"/>
                    </a:cubicBezTo>
                    <a:cubicBezTo>
                      <a:pt x="65" y="11"/>
                      <a:pt x="50" y="6"/>
                      <a:pt x="34" y="2"/>
                    </a:cubicBezTo>
                    <a:cubicBezTo>
                      <a:pt x="28" y="1"/>
                      <a:pt x="23" y="0"/>
                      <a:pt x="18" y="0"/>
                    </a:cubicBezTo>
                    <a:cubicBezTo>
                      <a:pt x="18" y="0"/>
                      <a:pt x="18" y="0"/>
                      <a:pt x="18" y="0"/>
                    </a:cubicBezTo>
                    <a:cubicBezTo>
                      <a:pt x="17" y="0"/>
                      <a:pt x="17" y="0"/>
                      <a:pt x="16" y="0"/>
                    </a:cubicBezTo>
                  </a:path>
                </a:pathLst>
              </a:custGeom>
              <a:solidFill>
                <a:srgbClr val="544D4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53" name="Freeform 99">
                <a:extLst>
                  <a:ext uri="{FF2B5EF4-FFF2-40B4-BE49-F238E27FC236}">
                    <a16:creationId xmlns:a16="http://schemas.microsoft.com/office/drawing/2014/main" id="{A85E1314-046F-44E8-A135-59B81773B7CA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2832" y="1993"/>
                <a:ext cx="65" cy="63"/>
              </a:xfrm>
              <a:custGeom>
                <a:avLst/>
                <a:gdLst>
                  <a:gd name="T0" fmla="*/ 51 w 61"/>
                  <a:gd name="T1" fmla="*/ 58 h 59"/>
                  <a:gd name="T2" fmla="*/ 51 w 61"/>
                  <a:gd name="T3" fmla="*/ 59 h 59"/>
                  <a:gd name="T4" fmla="*/ 52 w 61"/>
                  <a:gd name="T5" fmla="*/ 59 h 59"/>
                  <a:gd name="T6" fmla="*/ 53 w 61"/>
                  <a:gd name="T7" fmla="*/ 58 h 59"/>
                  <a:gd name="T8" fmla="*/ 51 w 61"/>
                  <a:gd name="T9" fmla="*/ 58 h 59"/>
                  <a:gd name="T10" fmla="*/ 23 w 61"/>
                  <a:gd name="T11" fmla="*/ 0 h 59"/>
                  <a:gd name="T12" fmla="*/ 18 w 61"/>
                  <a:gd name="T13" fmla="*/ 0 h 59"/>
                  <a:gd name="T14" fmla="*/ 6 w 61"/>
                  <a:gd name="T15" fmla="*/ 3 h 59"/>
                  <a:gd name="T16" fmla="*/ 5 w 61"/>
                  <a:gd name="T17" fmla="*/ 3 h 59"/>
                  <a:gd name="T18" fmla="*/ 3 w 61"/>
                  <a:gd name="T19" fmla="*/ 2 h 59"/>
                  <a:gd name="T20" fmla="*/ 2 w 61"/>
                  <a:gd name="T21" fmla="*/ 2 h 59"/>
                  <a:gd name="T22" fmla="*/ 0 w 61"/>
                  <a:gd name="T23" fmla="*/ 4 h 59"/>
                  <a:gd name="T24" fmla="*/ 2 w 61"/>
                  <a:gd name="T25" fmla="*/ 7 h 59"/>
                  <a:gd name="T26" fmla="*/ 7 w 61"/>
                  <a:gd name="T27" fmla="*/ 9 h 59"/>
                  <a:gd name="T28" fmla="*/ 8 w 61"/>
                  <a:gd name="T29" fmla="*/ 9 h 59"/>
                  <a:gd name="T30" fmla="*/ 20 w 61"/>
                  <a:gd name="T31" fmla="*/ 7 h 59"/>
                  <a:gd name="T32" fmla="*/ 24 w 61"/>
                  <a:gd name="T33" fmla="*/ 6 h 59"/>
                  <a:gd name="T34" fmla="*/ 41 w 61"/>
                  <a:gd name="T35" fmla="*/ 8 h 59"/>
                  <a:gd name="T36" fmla="*/ 51 w 61"/>
                  <a:gd name="T37" fmla="*/ 10 h 59"/>
                  <a:gd name="T38" fmla="*/ 55 w 61"/>
                  <a:gd name="T39" fmla="*/ 19 h 59"/>
                  <a:gd name="T40" fmla="*/ 52 w 61"/>
                  <a:gd name="T41" fmla="*/ 37 h 59"/>
                  <a:gd name="T42" fmla="*/ 51 w 61"/>
                  <a:gd name="T43" fmla="*/ 51 h 59"/>
                  <a:gd name="T44" fmla="*/ 51 w 61"/>
                  <a:gd name="T45" fmla="*/ 52 h 59"/>
                  <a:gd name="T46" fmla="*/ 51 w 61"/>
                  <a:gd name="T47" fmla="*/ 54 h 59"/>
                  <a:gd name="T48" fmla="*/ 54 w 61"/>
                  <a:gd name="T49" fmla="*/ 55 h 59"/>
                  <a:gd name="T50" fmla="*/ 55 w 61"/>
                  <a:gd name="T51" fmla="*/ 55 h 59"/>
                  <a:gd name="T52" fmla="*/ 59 w 61"/>
                  <a:gd name="T53" fmla="*/ 23 h 59"/>
                  <a:gd name="T54" fmla="*/ 57 w 61"/>
                  <a:gd name="T55" fmla="*/ 7 h 59"/>
                  <a:gd name="T56" fmla="*/ 47 w 61"/>
                  <a:gd name="T57" fmla="*/ 4 h 59"/>
                  <a:gd name="T58" fmla="*/ 39 w 61"/>
                  <a:gd name="T59" fmla="*/ 2 h 59"/>
                  <a:gd name="T60" fmla="*/ 39 w 61"/>
                  <a:gd name="T61" fmla="*/ 3 h 59"/>
                  <a:gd name="T62" fmla="*/ 37 w 61"/>
                  <a:gd name="T63" fmla="*/ 4 h 59"/>
                  <a:gd name="T64" fmla="*/ 35 w 61"/>
                  <a:gd name="T65" fmla="*/ 3 h 59"/>
                  <a:gd name="T66" fmla="*/ 35 w 61"/>
                  <a:gd name="T67" fmla="*/ 1 h 59"/>
                  <a:gd name="T68" fmla="*/ 32 w 61"/>
                  <a:gd name="T69" fmla="*/ 0 h 59"/>
                  <a:gd name="T70" fmla="*/ 23 w 61"/>
                  <a:gd name="T71" fmla="*/ 0 h 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61" h="59">
                    <a:moveTo>
                      <a:pt x="51" y="58"/>
                    </a:moveTo>
                    <a:cubicBezTo>
                      <a:pt x="51" y="58"/>
                      <a:pt x="51" y="59"/>
                      <a:pt x="51" y="59"/>
                    </a:cubicBezTo>
                    <a:cubicBezTo>
                      <a:pt x="52" y="59"/>
                      <a:pt x="52" y="59"/>
                      <a:pt x="52" y="59"/>
                    </a:cubicBezTo>
                    <a:cubicBezTo>
                      <a:pt x="52" y="59"/>
                      <a:pt x="53" y="59"/>
                      <a:pt x="53" y="58"/>
                    </a:cubicBezTo>
                    <a:cubicBezTo>
                      <a:pt x="53" y="58"/>
                      <a:pt x="52" y="58"/>
                      <a:pt x="51" y="58"/>
                    </a:cubicBezTo>
                    <a:moveTo>
                      <a:pt x="23" y="0"/>
                    </a:moveTo>
                    <a:cubicBezTo>
                      <a:pt x="21" y="0"/>
                      <a:pt x="19" y="0"/>
                      <a:pt x="18" y="0"/>
                    </a:cubicBezTo>
                    <a:cubicBezTo>
                      <a:pt x="15" y="0"/>
                      <a:pt x="10" y="3"/>
                      <a:pt x="6" y="3"/>
                    </a:cubicBezTo>
                    <a:cubicBezTo>
                      <a:pt x="6" y="3"/>
                      <a:pt x="5" y="3"/>
                      <a:pt x="5" y="3"/>
                    </a:cubicBezTo>
                    <a:cubicBezTo>
                      <a:pt x="4" y="3"/>
                      <a:pt x="3" y="3"/>
                      <a:pt x="3" y="2"/>
                    </a:cubicBezTo>
                    <a:cubicBezTo>
                      <a:pt x="2" y="2"/>
                      <a:pt x="2" y="2"/>
                      <a:pt x="2" y="2"/>
                    </a:cubicBezTo>
                    <a:cubicBezTo>
                      <a:pt x="1" y="2"/>
                      <a:pt x="0" y="3"/>
                      <a:pt x="0" y="4"/>
                    </a:cubicBezTo>
                    <a:cubicBezTo>
                      <a:pt x="1" y="5"/>
                      <a:pt x="1" y="6"/>
                      <a:pt x="2" y="7"/>
                    </a:cubicBezTo>
                    <a:cubicBezTo>
                      <a:pt x="3" y="8"/>
                      <a:pt x="5" y="8"/>
                      <a:pt x="7" y="9"/>
                    </a:cubicBezTo>
                    <a:cubicBezTo>
                      <a:pt x="7" y="9"/>
                      <a:pt x="8" y="9"/>
                      <a:pt x="8" y="9"/>
                    </a:cubicBezTo>
                    <a:cubicBezTo>
                      <a:pt x="12" y="9"/>
                      <a:pt x="16" y="7"/>
                      <a:pt x="20" y="7"/>
                    </a:cubicBezTo>
                    <a:cubicBezTo>
                      <a:pt x="21" y="6"/>
                      <a:pt x="23" y="6"/>
                      <a:pt x="24" y="6"/>
                    </a:cubicBezTo>
                    <a:cubicBezTo>
                      <a:pt x="30" y="6"/>
                      <a:pt x="35" y="7"/>
                      <a:pt x="41" y="8"/>
                    </a:cubicBezTo>
                    <a:cubicBezTo>
                      <a:pt x="44" y="8"/>
                      <a:pt x="49" y="8"/>
                      <a:pt x="51" y="10"/>
                    </a:cubicBezTo>
                    <a:cubicBezTo>
                      <a:pt x="55" y="11"/>
                      <a:pt x="55" y="15"/>
                      <a:pt x="55" y="19"/>
                    </a:cubicBezTo>
                    <a:cubicBezTo>
                      <a:pt x="55" y="25"/>
                      <a:pt x="53" y="31"/>
                      <a:pt x="52" y="37"/>
                    </a:cubicBezTo>
                    <a:cubicBezTo>
                      <a:pt x="52" y="42"/>
                      <a:pt x="52" y="47"/>
                      <a:pt x="51" y="51"/>
                    </a:cubicBezTo>
                    <a:cubicBezTo>
                      <a:pt x="51" y="51"/>
                      <a:pt x="51" y="51"/>
                      <a:pt x="51" y="52"/>
                    </a:cubicBezTo>
                    <a:cubicBezTo>
                      <a:pt x="51" y="52"/>
                      <a:pt x="51" y="53"/>
                      <a:pt x="51" y="54"/>
                    </a:cubicBezTo>
                    <a:cubicBezTo>
                      <a:pt x="52" y="54"/>
                      <a:pt x="53" y="55"/>
                      <a:pt x="54" y="55"/>
                    </a:cubicBezTo>
                    <a:cubicBezTo>
                      <a:pt x="55" y="55"/>
                      <a:pt x="55" y="55"/>
                      <a:pt x="55" y="55"/>
                    </a:cubicBezTo>
                    <a:cubicBezTo>
                      <a:pt x="59" y="46"/>
                      <a:pt x="58" y="33"/>
                      <a:pt x="59" y="23"/>
                    </a:cubicBezTo>
                    <a:cubicBezTo>
                      <a:pt x="60" y="18"/>
                      <a:pt x="61" y="10"/>
                      <a:pt x="57" y="7"/>
                    </a:cubicBezTo>
                    <a:cubicBezTo>
                      <a:pt x="54" y="5"/>
                      <a:pt x="50" y="5"/>
                      <a:pt x="47" y="4"/>
                    </a:cubicBezTo>
                    <a:cubicBezTo>
                      <a:pt x="45" y="3"/>
                      <a:pt x="42" y="3"/>
                      <a:pt x="39" y="2"/>
                    </a:cubicBezTo>
                    <a:cubicBezTo>
                      <a:pt x="39" y="2"/>
                      <a:pt x="39" y="3"/>
                      <a:pt x="39" y="3"/>
                    </a:cubicBezTo>
                    <a:cubicBezTo>
                      <a:pt x="38" y="4"/>
                      <a:pt x="38" y="4"/>
                      <a:pt x="37" y="4"/>
                    </a:cubicBezTo>
                    <a:cubicBezTo>
                      <a:pt x="36" y="4"/>
                      <a:pt x="36" y="3"/>
                      <a:pt x="35" y="3"/>
                    </a:cubicBezTo>
                    <a:cubicBezTo>
                      <a:pt x="35" y="2"/>
                      <a:pt x="35" y="1"/>
                      <a:pt x="35" y="1"/>
                    </a:cubicBezTo>
                    <a:cubicBezTo>
                      <a:pt x="34" y="1"/>
                      <a:pt x="33" y="1"/>
                      <a:pt x="32" y="0"/>
                    </a:cubicBezTo>
                    <a:cubicBezTo>
                      <a:pt x="29" y="0"/>
                      <a:pt x="26" y="0"/>
                      <a:pt x="23" y="0"/>
                    </a:cubicBezTo>
                  </a:path>
                </a:pathLst>
              </a:custGeom>
              <a:solidFill>
                <a:srgbClr val="544D4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54" name="Freeform 100">
                <a:extLst>
                  <a:ext uri="{FF2B5EF4-FFF2-40B4-BE49-F238E27FC236}">
                    <a16:creationId xmlns:a16="http://schemas.microsoft.com/office/drawing/2014/main" id="{5359E5FA-B6BB-48D9-AA09-21825D3D17D9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2828" y="2030"/>
                <a:ext cx="64" cy="26"/>
              </a:xfrm>
              <a:custGeom>
                <a:avLst/>
                <a:gdLst>
                  <a:gd name="T0" fmla="*/ 55 w 60"/>
                  <a:gd name="T1" fmla="*/ 19 h 24"/>
                  <a:gd name="T2" fmla="*/ 55 w 60"/>
                  <a:gd name="T3" fmla="*/ 23 h 24"/>
                  <a:gd name="T4" fmla="*/ 57 w 60"/>
                  <a:gd name="T5" fmla="*/ 23 h 24"/>
                  <a:gd name="T6" fmla="*/ 58 w 60"/>
                  <a:gd name="T7" fmla="*/ 24 h 24"/>
                  <a:gd name="T8" fmla="*/ 58 w 60"/>
                  <a:gd name="T9" fmla="*/ 24 h 24"/>
                  <a:gd name="T10" fmla="*/ 59 w 60"/>
                  <a:gd name="T11" fmla="*/ 20 h 24"/>
                  <a:gd name="T12" fmla="*/ 58 w 60"/>
                  <a:gd name="T13" fmla="*/ 20 h 24"/>
                  <a:gd name="T14" fmla="*/ 55 w 60"/>
                  <a:gd name="T15" fmla="*/ 19 h 24"/>
                  <a:gd name="T16" fmla="*/ 53 w 60"/>
                  <a:gd name="T17" fmla="*/ 18 h 24"/>
                  <a:gd name="T18" fmla="*/ 54 w 60"/>
                  <a:gd name="T19" fmla="*/ 18 h 24"/>
                  <a:gd name="T20" fmla="*/ 54 w 60"/>
                  <a:gd name="T21" fmla="*/ 18 h 24"/>
                  <a:gd name="T22" fmla="*/ 53 w 60"/>
                  <a:gd name="T23" fmla="*/ 18 h 24"/>
                  <a:gd name="T24" fmla="*/ 6 w 60"/>
                  <a:gd name="T25" fmla="*/ 0 h 24"/>
                  <a:gd name="T26" fmla="*/ 4 w 60"/>
                  <a:gd name="T27" fmla="*/ 0 h 24"/>
                  <a:gd name="T28" fmla="*/ 3 w 60"/>
                  <a:gd name="T29" fmla="*/ 7 h 24"/>
                  <a:gd name="T30" fmla="*/ 5 w 60"/>
                  <a:gd name="T31" fmla="*/ 8 h 24"/>
                  <a:gd name="T32" fmla="*/ 4 w 60"/>
                  <a:gd name="T33" fmla="*/ 7 h 24"/>
                  <a:gd name="T34" fmla="*/ 6 w 60"/>
                  <a:gd name="T35" fmla="*/ 4 h 24"/>
                  <a:gd name="T36" fmla="*/ 8 w 60"/>
                  <a:gd name="T37" fmla="*/ 5 h 24"/>
                  <a:gd name="T38" fmla="*/ 19 w 60"/>
                  <a:gd name="T39" fmla="*/ 13 h 24"/>
                  <a:gd name="T40" fmla="*/ 30 w 60"/>
                  <a:gd name="T41" fmla="*/ 16 h 24"/>
                  <a:gd name="T42" fmla="*/ 50 w 60"/>
                  <a:gd name="T43" fmla="*/ 22 h 24"/>
                  <a:gd name="T44" fmla="*/ 51 w 60"/>
                  <a:gd name="T45" fmla="*/ 18 h 24"/>
                  <a:gd name="T46" fmla="*/ 51 w 60"/>
                  <a:gd name="T47" fmla="*/ 17 h 24"/>
                  <a:gd name="T48" fmla="*/ 31 w 60"/>
                  <a:gd name="T49" fmla="*/ 8 h 24"/>
                  <a:gd name="T50" fmla="*/ 6 w 60"/>
                  <a:gd name="T51" fmla="*/ 0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60" h="24">
                    <a:moveTo>
                      <a:pt x="55" y="19"/>
                    </a:moveTo>
                    <a:cubicBezTo>
                      <a:pt x="55" y="20"/>
                      <a:pt x="55" y="22"/>
                      <a:pt x="55" y="23"/>
                    </a:cubicBezTo>
                    <a:cubicBezTo>
                      <a:pt x="56" y="23"/>
                      <a:pt x="57" y="23"/>
                      <a:pt x="57" y="23"/>
                    </a:cubicBezTo>
                    <a:cubicBezTo>
                      <a:pt x="58" y="24"/>
                      <a:pt x="58" y="24"/>
                      <a:pt x="58" y="24"/>
                    </a:cubicBezTo>
                    <a:cubicBezTo>
                      <a:pt x="58" y="24"/>
                      <a:pt x="58" y="24"/>
                      <a:pt x="58" y="24"/>
                    </a:cubicBezTo>
                    <a:cubicBezTo>
                      <a:pt x="60" y="24"/>
                      <a:pt x="60" y="22"/>
                      <a:pt x="59" y="20"/>
                    </a:cubicBezTo>
                    <a:cubicBezTo>
                      <a:pt x="59" y="20"/>
                      <a:pt x="59" y="20"/>
                      <a:pt x="58" y="20"/>
                    </a:cubicBezTo>
                    <a:cubicBezTo>
                      <a:pt x="57" y="20"/>
                      <a:pt x="56" y="19"/>
                      <a:pt x="55" y="19"/>
                    </a:cubicBezTo>
                    <a:moveTo>
                      <a:pt x="53" y="18"/>
                    </a:moveTo>
                    <a:cubicBezTo>
                      <a:pt x="53" y="18"/>
                      <a:pt x="54" y="18"/>
                      <a:pt x="54" y="18"/>
                    </a:cubicBezTo>
                    <a:cubicBezTo>
                      <a:pt x="54" y="18"/>
                      <a:pt x="54" y="18"/>
                      <a:pt x="54" y="18"/>
                    </a:cubicBezTo>
                    <a:cubicBezTo>
                      <a:pt x="54" y="18"/>
                      <a:pt x="54" y="18"/>
                      <a:pt x="53" y="18"/>
                    </a:cubicBezTo>
                    <a:moveTo>
                      <a:pt x="6" y="0"/>
                    </a:moveTo>
                    <a:cubicBezTo>
                      <a:pt x="5" y="0"/>
                      <a:pt x="5" y="0"/>
                      <a:pt x="4" y="0"/>
                    </a:cubicBezTo>
                    <a:cubicBezTo>
                      <a:pt x="1" y="0"/>
                      <a:pt x="0" y="5"/>
                      <a:pt x="3" y="7"/>
                    </a:cubicBezTo>
                    <a:cubicBezTo>
                      <a:pt x="4" y="7"/>
                      <a:pt x="4" y="7"/>
                      <a:pt x="5" y="8"/>
                    </a:cubicBezTo>
                    <a:cubicBezTo>
                      <a:pt x="5" y="7"/>
                      <a:pt x="5" y="7"/>
                      <a:pt x="4" y="7"/>
                    </a:cubicBezTo>
                    <a:cubicBezTo>
                      <a:pt x="3" y="6"/>
                      <a:pt x="5" y="4"/>
                      <a:pt x="6" y="4"/>
                    </a:cubicBezTo>
                    <a:cubicBezTo>
                      <a:pt x="7" y="4"/>
                      <a:pt x="7" y="4"/>
                      <a:pt x="8" y="5"/>
                    </a:cubicBezTo>
                    <a:cubicBezTo>
                      <a:pt x="10" y="7"/>
                      <a:pt x="15" y="10"/>
                      <a:pt x="19" y="13"/>
                    </a:cubicBezTo>
                    <a:cubicBezTo>
                      <a:pt x="23" y="14"/>
                      <a:pt x="27" y="15"/>
                      <a:pt x="30" y="16"/>
                    </a:cubicBezTo>
                    <a:cubicBezTo>
                      <a:pt x="36" y="19"/>
                      <a:pt x="43" y="21"/>
                      <a:pt x="50" y="22"/>
                    </a:cubicBezTo>
                    <a:cubicBezTo>
                      <a:pt x="51" y="21"/>
                      <a:pt x="51" y="20"/>
                      <a:pt x="51" y="18"/>
                    </a:cubicBezTo>
                    <a:cubicBezTo>
                      <a:pt x="51" y="18"/>
                      <a:pt x="51" y="17"/>
                      <a:pt x="51" y="17"/>
                    </a:cubicBezTo>
                    <a:cubicBezTo>
                      <a:pt x="45" y="14"/>
                      <a:pt x="38" y="11"/>
                      <a:pt x="31" y="8"/>
                    </a:cubicBezTo>
                    <a:cubicBezTo>
                      <a:pt x="23" y="5"/>
                      <a:pt x="14" y="0"/>
                      <a:pt x="6" y="0"/>
                    </a:cubicBezTo>
                  </a:path>
                </a:pathLst>
              </a:custGeom>
              <a:solidFill>
                <a:srgbClr val="544D4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55" name="Freeform 101">
                <a:extLst>
                  <a:ext uri="{FF2B5EF4-FFF2-40B4-BE49-F238E27FC236}">
                    <a16:creationId xmlns:a16="http://schemas.microsoft.com/office/drawing/2014/main" id="{B9817F38-7174-4765-9BBD-83EB512E7807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868" y="2048"/>
                <a:ext cx="17" cy="17"/>
              </a:xfrm>
              <a:custGeom>
                <a:avLst/>
                <a:gdLst>
                  <a:gd name="T0" fmla="*/ 14 w 16"/>
                  <a:gd name="T1" fmla="*/ 0 h 16"/>
                  <a:gd name="T2" fmla="*/ 13 w 16"/>
                  <a:gd name="T3" fmla="*/ 0 h 16"/>
                  <a:gd name="T4" fmla="*/ 13 w 16"/>
                  <a:gd name="T5" fmla="*/ 1 h 16"/>
                  <a:gd name="T6" fmla="*/ 12 w 16"/>
                  <a:gd name="T7" fmla="*/ 5 h 16"/>
                  <a:gd name="T8" fmla="*/ 3 w 16"/>
                  <a:gd name="T9" fmla="*/ 9 h 16"/>
                  <a:gd name="T10" fmla="*/ 0 w 16"/>
                  <a:gd name="T11" fmla="*/ 11 h 16"/>
                  <a:gd name="T12" fmla="*/ 4 w 16"/>
                  <a:gd name="T13" fmla="*/ 16 h 16"/>
                  <a:gd name="T14" fmla="*/ 13 w 16"/>
                  <a:gd name="T15" fmla="*/ 10 h 16"/>
                  <a:gd name="T16" fmla="*/ 14 w 16"/>
                  <a:gd name="T17" fmla="*/ 10 h 16"/>
                  <a:gd name="T18" fmla="*/ 16 w 16"/>
                  <a:gd name="T19" fmla="*/ 1 h 16"/>
                  <a:gd name="T20" fmla="*/ 15 w 16"/>
                  <a:gd name="T21" fmla="*/ 1 h 16"/>
                  <a:gd name="T22" fmla="*/ 15 w 16"/>
                  <a:gd name="T23" fmla="*/ 1 h 16"/>
                  <a:gd name="T24" fmla="*/ 14 w 16"/>
                  <a:gd name="T25" fmla="*/ 0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6" h="16">
                    <a:moveTo>
                      <a:pt x="14" y="0"/>
                    </a:moveTo>
                    <a:cubicBezTo>
                      <a:pt x="14" y="0"/>
                      <a:pt x="14" y="0"/>
                      <a:pt x="13" y="0"/>
                    </a:cubicBezTo>
                    <a:cubicBezTo>
                      <a:pt x="13" y="0"/>
                      <a:pt x="13" y="1"/>
                      <a:pt x="13" y="1"/>
                    </a:cubicBezTo>
                    <a:cubicBezTo>
                      <a:pt x="13" y="3"/>
                      <a:pt x="13" y="4"/>
                      <a:pt x="12" y="5"/>
                    </a:cubicBezTo>
                    <a:cubicBezTo>
                      <a:pt x="10" y="7"/>
                      <a:pt x="6" y="8"/>
                      <a:pt x="3" y="9"/>
                    </a:cubicBezTo>
                    <a:cubicBezTo>
                      <a:pt x="2" y="9"/>
                      <a:pt x="1" y="10"/>
                      <a:pt x="0" y="11"/>
                    </a:cubicBezTo>
                    <a:cubicBezTo>
                      <a:pt x="1" y="12"/>
                      <a:pt x="3" y="14"/>
                      <a:pt x="4" y="16"/>
                    </a:cubicBezTo>
                    <a:cubicBezTo>
                      <a:pt x="7" y="15"/>
                      <a:pt x="11" y="12"/>
                      <a:pt x="13" y="10"/>
                    </a:cubicBezTo>
                    <a:cubicBezTo>
                      <a:pt x="13" y="10"/>
                      <a:pt x="13" y="10"/>
                      <a:pt x="14" y="10"/>
                    </a:cubicBezTo>
                    <a:cubicBezTo>
                      <a:pt x="14" y="7"/>
                      <a:pt x="15" y="4"/>
                      <a:pt x="16" y="1"/>
                    </a:cubicBezTo>
                    <a:cubicBezTo>
                      <a:pt x="16" y="1"/>
                      <a:pt x="15" y="1"/>
                      <a:pt x="15" y="1"/>
                    </a:cubicBezTo>
                    <a:cubicBezTo>
                      <a:pt x="15" y="1"/>
                      <a:pt x="15" y="1"/>
                      <a:pt x="15" y="1"/>
                    </a:cubicBezTo>
                    <a:cubicBezTo>
                      <a:pt x="15" y="0"/>
                      <a:pt x="15" y="0"/>
                      <a:pt x="14" y="0"/>
                    </a:cubicBezTo>
                  </a:path>
                </a:pathLst>
              </a:custGeom>
              <a:solidFill>
                <a:srgbClr val="544D4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56" name="Freeform 102">
                <a:extLst>
                  <a:ext uri="{FF2B5EF4-FFF2-40B4-BE49-F238E27FC236}">
                    <a16:creationId xmlns:a16="http://schemas.microsoft.com/office/drawing/2014/main" id="{20FA9D85-D0B8-4A94-9CE0-0E64E3175DBA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785" y="2035"/>
                <a:ext cx="93" cy="64"/>
              </a:xfrm>
              <a:custGeom>
                <a:avLst/>
                <a:gdLst>
                  <a:gd name="T0" fmla="*/ 47 w 88"/>
                  <a:gd name="T1" fmla="*/ 0 h 61"/>
                  <a:gd name="T2" fmla="*/ 45 w 88"/>
                  <a:gd name="T3" fmla="*/ 3 h 61"/>
                  <a:gd name="T4" fmla="*/ 46 w 88"/>
                  <a:gd name="T5" fmla="*/ 4 h 61"/>
                  <a:gd name="T6" fmla="*/ 68 w 88"/>
                  <a:gd name="T7" fmla="*/ 25 h 61"/>
                  <a:gd name="T8" fmla="*/ 73 w 88"/>
                  <a:gd name="T9" fmla="*/ 40 h 61"/>
                  <a:gd name="T10" fmla="*/ 68 w 88"/>
                  <a:gd name="T11" fmla="*/ 42 h 61"/>
                  <a:gd name="T12" fmla="*/ 58 w 88"/>
                  <a:gd name="T13" fmla="*/ 51 h 61"/>
                  <a:gd name="T14" fmla="*/ 50 w 88"/>
                  <a:gd name="T15" fmla="*/ 52 h 61"/>
                  <a:gd name="T16" fmla="*/ 35 w 88"/>
                  <a:gd name="T17" fmla="*/ 50 h 61"/>
                  <a:gd name="T18" fmla="*/ 8 w 88"/>
                  <a:gd name="T19" fmla="*/ 42 h 61"/>
                  <a:gd name="T20" fmla="*/ 5 w 88"/>
                  <a:gd name="T21" fmla="*/ 44 h 61"/>
                  <a:gd name="T22" fmla="*/ 5 w 88"/>
                  <a:gd name="T23" fmla="*/ 44 h 61"/>
                  <a:gd name="T24" fmla="*/ 3 w 88"/>
                  <a:gd name="T25" fmla="*/ 44 h 61"/>
                  <a:gd name="T26" fmla="*/ 3 w 88"/>
                  <a:gd name="T27" fmla="*/ 44 h 61"/>
                  <a:gd name="T28" fmla="*/ 0 w 88"/>
                  <a:gd name="T29" fmla="*/ 44 h 61"/>
                  <a:gd name="T30" fmla="*/ 0 w 88"/>
                  <a:gd name="T31" fmla="*/ 45 h 61"/>
                  <a:gd name="T32" fmla="*/ 41 w 88"/>
                  <a:gd name="T33" fmla="*/ 60 h 61"/>
                  <a:gd name="T34" fmla="*/ 50 w 88"/>
                  <a:gd name="T35" fmla="*/ 61 h 61"/>
                  <a:gd name="T36" fmla="*/ 58 w 88"/>
                  <a:gd name="T37" fmla="*/ 60 h 61"/>
                  <a:gd name="T38" fmla="*/ 75 w 88"/>
                  <a:gd name="T39" fmla="*/ 48 h 61"/>
                  <a:gd name="T40" fmla="*/ 85 w 88"/>
                  <a:gd name="T41" fmla="*/ 33 h 61"/>
                  <a:gd name="T42" fmla="*/ 83 w 88"/>
                  <a:gd name="T43" fmla="*/ 29 h 61"/>
                  <a:gd name="T44" fmla="*/ 79 w 88"/>
                  <a:gd name="T45" fmla="*/ 24 h 61"/>
                  <a:gd name="T46" fmla="*/ 60 w 88"/>
                  <a:gd name="T47" fmla="*/ 9 h 61"/>
                  <a:gd name="T48" fmla="*/ 49 w 88"/>
                  <a:gd name="T49" fmla="*/ 1 h 61"/>
                  <a:gd name="T50" fmla="*/ 47 w 88"/>
                  <a:gd name="T51" fmla="*/ 0 h 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88" h="61">
                    <a:moveTo>
                      <a:pt x="47" y="0"/>
                    </a:moveTo>
                    <a:cubicBezTo>
                      <a:pt x="46" y="0"/>
                      <a:pt x="44" y="2"/>
                      <a:pt x="45" y="3"/>
                    </a:cubicBezTo>
                    <a:cubicBezTo>
                      <a:pt x="46" y="3"/>
                      <a:pt x="46" y="3"/>
                      <a:pt x="46" y="4"/>
                    </a:cubicBezTo>
                    <a:cubicBezTo>
                      <a:pt x="52" y="12"/>
                      <a:pt x="61" y="18"/>
                      <a:pt x="68" y="25"/>
                    </a:cubicBezTo>
                    <a:cubicBezTo>
                      <a:pt x="73" y="29"/>
                      <a:pt x="78" y="33"/>
                      <a:pt x="73" y="40"/>
                    </a:cubicBezTo>
                    <a:cubicBezTo>
                      <a:pt x="73" y="41"/>
                      <a:pt x="70" y="41"/>
                      <a:pt x="68" y="42"/>
                    </a:cubicBezTo>
                    <a:cubicBezTo>
                      <a:pt x="66" y="45"/>
                      <a:pt x="62" y="49"/>
                      <a:pt x="58" y="51"/>
                    </a:cubicBezTo>
                    <a:cubicBezTo>
                      <a:pt x="56" y="52"/>
                      <a:pt x="53" y="52"/>
                      <a:pt x="50" y="52"/>
                    </a:cubicBezTo>
                    <a:cubicBezTo>
                      <a:pt x="45" y="52"/>
                      <a:pt x="40" y="51"/>
                      <a:pt x="35" y="50"/>
                    </a:cubicBezTo>
                    <a:cubicBezTo>
                      <a:pt x="25" y="48"/>
                      <a:pt x="17" y="45"/>
                      <a:pt x="8" y="42"/>
                    </a:cubicBezTo>
                    <a:cubicBezTo>
                      <a:pt x="8" y="43"/>
                      <a:pt x="7" y="44"/>
                      <a:pt x="5" y="44"/>
                    </a:cubicBezTo>
                    <a:cubicBezTo>
                      <a:pt x="5" y="44"/>
                      <a:pt x="5" y="44"/>
                      <a:pt x="5" y="44"/>
                    </a:cubicBezTo>
                    <a:cubicBezTo>
                      <a:pt x="5" y="44"/>
                      <a:pt x="4" y="44"/>
                      <a:pt x="3" y="44"/>
                    </a:cubicBezTo>
                    <a:cubicBezTo>
                      <a:pt x="3" y="44"/>
                      <a:pt x="3" y="44"/>
                      <a:pt x="3" y="44"/>
                    </a:cubicBezTo>
                    <a:cubicBezTo>
                      <a:pt x="2" y="44"/>
                      <a:pt x="1" y="44"/>
                      <a:pt x="0" y="44"/>
                    </a:cubicBezTo>
                    <a:cubicBezTo>
                      <a:pt x="0" y="44"/>
                      <a:pt x="0" y="45"/>
                      <a:pt x="0" y="45"/>
                    </a:cubicBezTo>
                    <a:cubicBezTo>
                      <a:pt x="7" y="58"/>
                      <a:pt x="28" y="59"/>
                      <a:pt x="41" y="60"/>
                    </a:cubicBezTo>
                    <a:cubicBezTo>
                      <a:pt x="44" y="61"/>
                      <a:pt x="47" y="61"/>
                      <a:pt x="50" y="61"/>
                    </a:cubicBezTo>
                    <a:cubicBezTo>
                      <a:pt x="53" y="61"/>
                      <a:pt x="56" y="61"/>
                      <a:pt x="58" y="60"/>
                    </a:cubicBezTo>
                    <a:cubicBezTo>
                      <a:pt x="65" y="58"/>
                      <a:pt x="69" y="52"/>
                      <a:pt x="75" y="48"/>
                    </a:cubicBezTo>
                    <a:cubicBezTo>
                      <a:pt x="81" y="44"/>
                      <a:pt x="88" y="43"/>
                      <a:pt x="85" y="33"/>
                    </a:cubicBezTo>
                    <a:cubicBezTo>
                      <a:pt x="84" y="32"/>
                      <a:pt x="84" y="30"/>
                      <a:pt x="83" y="29"/>
                    </a:cubicBezTo>
                    <a:cubicBezTo>
                      <a:pt x="82" y="27"/>
                      <a:pt x="80" y="25"/>
                      <a:pt x="79" y="24"/>
                    </a:cubicBezTo>
                    <a:cubicBezTo>
                      <a:pt x="74" y="18"/>
                      <a:pt x="67" y="13"/>
                      <a:pt x="60" y="9"/>
                    </a:cubicBezTo>
                    <a:cubicBezTo>
                      <a:pt x="56" y="6"/>
                      <a:pt x="51" y="3"/>
                      <a:pt x="49" y="1"/>
                    </a:cubicBezTo>
                    <a:cubicBezTo>
                      <a:pt x="48" y="0"/>
                      <a:pt x="48" y="0"/>
                      <a:pt x="47" y="0"/>
                    </a:cubicBezTo>
                  </a:path>
                </a:pathLst>
              </a:custGeom>
              <a:solidFill>
                <a:srgbClr val="544D4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57" name="Freeform 103">
                <a:extLst>
                  <a:ext uri="{FF2B5EF4-FFF2-40B4-BE49-F238E27FC236}">
                    <a16:creationId xmlns:a16="http://schemas.microsoft.com/office/drawing/2014/main" id="{BB5CF7EF-390C-4966-941F-A552FACB4AE9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2785" y="2026"/>
                <a:ext cx="14" cy="55"/>
              </a:xfrm>
              <a:custGeom>
                <a:avLst/>
                <a:gdLst>
                  <a:gd name="T0" fmla="*/ 14 w 14"/>
                  <a:gd name="T1" fmla="*/ 4 h 52"/>
                  <a:gd name="T2" fmla="*/ 4 w 14"/>
                  <a:gd name="T3" fmla="*/ 16 h 52"/>
                  <a:gd name="T4" fmla="*/ 2 w 14"/>
                  <a:gd name="T5" fmla="*/ 30 h 52"/>
                  <a:gd name="T6" fmla="*/ 1 w 14"/>
                  <a:gd name="T7" fmla="*/ 45 h 52"/>
                  <a:gd name="T8" fmla="*/ 4 w 14"/>
                  <a:gd name="T9" fmla="*/ 46 h 52"/>
                  <a:gd name="T10" fmla="*/ 5 w 14"/>
                  <a:gd name="T11" fmla="*/ 52 h 52"/>
                  <a:gd name="T12" fmla="*/ 5 w 14"/>
                  <a:gd name="T13" fmla="*/ 52 h 52"/>
                  <a:gd name="T14" fmla="*/ 8 w 14"/>
                  <a:gd name="T15" fmla="*/ 50 h 52"/>
                  <a:gd name="T16" fmla="*/ 7 w 14"/>
                  <a:gd name="T17" fmla="*/ 48 h 52"/>
                  <a:gd name="T18" fmla="*/ 9 w 14"/>
                  <a:gd name="T19" fmla="*/ 28 h 52"/>
                  <a:gd name="T20" fmla="*/ 14 w 14"/>
                  <a:gd name="T21" fmla="*/ 4 h 52"/>
                  <a:gd name="T22" fmla="*/ 11 w 14"/>
                  <a:gd name="T23" fmla="*/ 0 h 52"/>
                  <a:gd name="T24" fmla="*/ 9 w 14"/>
                  <a:gd name="T25" fmla="*/ 1 h 52"/>
                  <a:gd name="T26" fmla="*/ 8 w 14"/>
                  <a:gd name="T27" fmla="*/ 4 h 52"/>
                  <a:gd name="T28" fmla="*/ 13 w 14"/>
                  <a:gd name="T29" fmla="*/ 1 h 52"/>
                  <a:gd name="T30" fmla="*/ 14 w 14"/>
                  <a:gd name="T31" fmla="*/ 1 h 52"/>
                  <a:gd name="T32" fmla="*/ 11 w 14"/>
                  <a:gd name="T33" fmla="*/ 0 h 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4" h="52">
                    <a:moveTo>
                      <a:pt x="14" y="4"/>
                    </a:moveTo>
                    <a:cubicBezTo>
                      <a:pt x="10" y="8"/>
                      <a:pt x="7" y="12"/>
                      <a:pt x="4" y="16"/>
                    </a:cubicBezTo>
                    <a:cubicBezTo>
                      <a:pt x="3" y="21"/>
                      <a:pt x="2" y="26"/>
                      <a:pt x="2" y="30"/>
                    </a:cubicBezTo>
                    <a:cubicBezTo>
                      <a:pt x="1" y="34"/>
                      <a:pt x="0" y="40"/>
                      <a:pt x="1" y="45"/>
                    </a:cubicBezTo>
                    <a:cubicBezTo>
                      <a:pt x="2" y="45"/>
                      <a:pt x="3" y="46"/>
                      <a:pt x="4" y="46"/>
                    </a:cubicBezTo>
                    <a:cubicBezTo>
                      <a:pt x="7" y="47"/>
                      <a:pt x="7" y="50"/>
                      <a:pt x="5" y="52"/>
                    </a:cubicBezTo>
                    <a:cubicBezTo>
                      <a:pt x="5" y="52"/>
                      <a:pt x="5" y="52"/>
                      <a:pt x="5" y="52"/>
                    </a:cubicBezTo>
                    <a:cubicBezTo>
                      <a:pt x="7" y="52"/>
                      <a:pt x="8" y="51"/>
                      <a:pt x="8" y="50"/>
                    </a:cubicBezTo>
                    <a:cubicBezTo>
                      <a:pt x="8" y="49"/>
                      <a:pt x="8" y="49"/>
                      <a:pt x="7" y="48"/>
                    </a:cubicBezTo>
                    <a:cubicBezTo>
                      <a:pt x="5" y="44"/>
                      <a:pt x="8" y="33"/>
                      <a:pt x="9" y="28"/>
                    </a:cubicBezTo>
                    <a:cubicBezTo>
                      <a:pt x="11" y="20"/>
                      <a:pt x="14" y="12"/>
                      <a:pt x="14" y="4"/>
                    </a:cubicBezTo>
                    <a:moveTo>
                      <a:pt x="11" y="0"/>
                    </a:moveTo>
                    <a:cubicBezTo>
                      <a:pt x="10" y="0"/>
                      <a:pt x="10" y="0"/>
                      <a:pt x="9" y="1"/>
                    </a:cubicBezTo>
                    <a:cubicBezTo>
                      <a:pt x="9" y="2"/>
                      <a:pt x="8" y="3"/>
                      <a:pt x="8" y="4"/>
                    </a:cubicBezTo>
                    <a:cubicBezTo>
                      <a:pt x="9" y="3"/>
                      <a:pt x="11" y="2"/>
                      <a:pt x="13" y="1"/>
                    </a:cubicBezTo>
                    <a:cubicBezTo>
                      <a:pt x="13" y="1"/>
                      <a:pt x="13" y="1"/>
                      <a:pt x="14" y="1"/>
                    </a:cubicBezTo>
                    <a:cubicBezTo>
                      <a:pt x="13" y="0"/>
                      <a:pt x="12" y="0"/>
                      <a:pt x="11" y="0"/>
                    </a:cubicBezTo>
                  </a:path>
                </a:pathLst>
              </a:custGeom>
              <a:solidFill>
                <a:srgbClr val="544D4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58" name="Freeform 104">
                <a:extLst>
                  <a:ext uri="{FF2B5EF4-FFF2-40B4-BE49-F238E27FC236}">
                    <a16:creationId xmlns:a16="http://schemas.microsoft.com/office/drawing/2014/main" id="{A1828F22-8F86-43E4-B4A4-0CB42A605517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763" y="2027"/>
                <a:ext cx="39" cy="42"/>
              </a:xfrm>
              <a:custGeom>
                <a:avLst/>
                <a:gdLst>
                  <a:gd name="T0" fmla="*/ 34 w 36"/>
                  <a:gd name="T1" fmla="*/ 0 h 40"/>
                  <a:gd name="T2" fmla="*/ 34 w 36"/>
                  <a:gd name="T3" fmla="*/ 0 h 40"/>
                  <a:gd name="T4" fmla="*/ 33 w 36"/>
                  <a:gd name="T5" fmla="*/ 0 h 40"/>
                  <a:gd name="T6" fmla="*/ 28 w 36"/>
                  <a:gd name="T7" fmla="*/ 3 h 40"/>
                  <a:gd name="T8" fmla="*/ 15 w 36"/>
                  <a:gd name="T9" fmla="*/ 18 h 40"/>
                  <a:gd name="T10" fmla="*/ 4 w 36"/>
                  <a:gd name="T11" fmla="*/ 29 h 40"/>
                  <a:gd name="T12" fmla="*/ 0 w 36"/>
                  <a:gd name="T13" fmla="*/ 34 h 40"/>
                  <a:gd name="T14" fmla="*/ 4 w 36"/>
                  <a:gd name="T15" fmla="*/ 40 h 40"/>
                  <a:gd name="T16" fmla="*/ 11 w 36"/>
                  <a:gd name="T17" fmla="*/ 33 h 40"/>
                  <a:gd name="T18" fmla="*/ 18 w 36"/>
                  <a:gd name="T19" fmla="*/ 26 h 40"/>
                  <a:gd name="T20" fmla="*/ 24 w 36"/>
                  <a:gd name="T21" fmla="*/ 15 h 40"/>
                  <a:gd name="T22" fmla="*/ 34 w 36"/>
                  <a:gd name="T23" fmla="*/ 3 h 40"/>
                  <a:gd name="T24" fmla="*/ 34 w 36"/>
                  <a:gd name="T25" fmla="*/ 3 h 40"/>
                  <a:gd name="T26" fmla="*/ 34 w 36"/>
                  <a:gd name="T27" fmla="*/ 0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36" h="40">
                    <a:moveTo>
                      <a:pt x="34" y="0"/>
                    </a:moveTo>
                    <a:cubicBezTo>
                      <a:pt x="34" y="0"/>
                      <a:pt x="34" y="0"/>
                      <a:pt x="34" y="0"/>
                    </a:cubicBezTo>
                    <a:cubicBezTo>
                      <a:pt x="33" y="0"/>
                      <a:pt x="33" y="0"/>
                      <a:pt x="33" y="0"/>
                    </a:cubicBezTo>
                    <a:cubicBezTo>
                      <a:pt x="31" y="1"/>
                      <a:pt x="29" y="2"/>
                      <a:pt x="28" y="3"/>
                    </a:cubicBezTo>
                    <a:cubicBezTo>
                      <a:pt x="22" y="7"/>
                      <a:pt x="19" y="13"/>
                      <a:pt x="15" y="18"/>
                    </a:cubicBezTo>
                    <a:cubicBezTo>
                      <a:pt x="12" y="23"/>
                      <a:pt x="9" y="25"/>
                      <a:pt x="4" y="29"/>
                    </a:cubicBezTo>
                    <a:cubicBezTo>
                      <a:pt x="2" y="31"/>
                      <a:pt x="1" y="32"/>
                      <a:pt x="0" y="34"/>
                    </a:cubicBezTo>
                    <a:cubicBezTo>
                      <a:pt x="1" y="36"/>
                      <a:pt x="3" y="38"/>
                      <a:pt x="4" y="40"/>
                    </a:cubicBezTo>
                    <a:cubicBezTo>
                      <a:pt x="7" y="38"/>
                      <a:pt x="8" y="35"/>
                      <a:pt x="11" y="33"/>
                    </a:cubicBezTo>
                    <a:cubicBezTo>
                      <a:pt x="14" y="31"/>
                      <a:pt x="16" y="29"/>
                      <a:pt x="18" y="26"/>
                    </a:cubicBezTo>
                    <a:cubicBezTo>
                      <a:pt x="20" y="22"/>
                      <a:pt x="22" y="19"/>
                      <a:pt x="24" y="15"/>
                    </a:cubicBezTo>
                    <a:cubicBezTo>
                      <a:pt x="27" y="11"/>
                      <a:pt x="30" y="7"/>
                      <a:pt x="34" y="3"/>
                    </a:cubicBezTo>
                    <a:cubicBezTo>
                      <a:pt x="34" y="3"/>
                      <a:pt x="34" y="3"/>
                      <a:pt x="34" y="3"/>
                    </a:cubicBezTo>
                    <a:cubicBezTo>
                      <a:pt x="36" y="2"/>
                      <a:pt x="35" y="0"/>
                      <a:pt x="34" y="0"/>
                    </a:cubicBezTo>
                  </a:path>
                </a:pathLst>
              </a:custGeom>
              <a:solidFill>
                <a:srgbClr val="544D4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59" name="Freeform 105">
                <a:extLst>
                  <a:ext uri="{FF2B5EF4-FFF2-40B4-BE49-F238E27FC236}">
                    <a16:creationId xmlns:a16="http://schemas.microsoft.com/office/drawing/2014/main" id="{49B3366D-4694-4B70-A002-36FF2C47C436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770" y="2071"/>
                <a:ext cx="15" cy="3"/>
              </a:xfrm>
              <a:custGeom>
                <a:avLst/>
                <a:gdLst>
                  <a:gd name="T0" fmla="*/ 0 w 14"/>
                  <a:gd name="T1" fmla="*/ 0 h 3"/>
                  <a:gd name="T2" fmla="*/ 0 w 14"/>
                  <a:gd name="T3" fmla="*/ 0 h 3"/>
                  <a:gd name="T4" fmla="*/ 14 w 14"/>
                  <a:gd name="T5" fmla="*/ 3 h 3"/>
                  <a:gd name="T6" fmla="*/ 11 w 14"/>
                  <a:gd name="T7" fmla="*/ 1 h 3"/>
                  <a:gd name="T8" fmla="*/ 10 w 14"/>
                  <a:gd name="T9" fmla="*/ 1 h 3"/>
                  <a:gd name="T10" fmla="*/ 9 w 14"/>
                  <a:gd name="T11" fmla="*/ 1 h 3"/>
                  <a:gd name="T12" fmla="*/ 5 w 14"/>
                  <a:gd name="T13" fmla="*/ 1 h 3"/>
                  <a:gd name="T14" fmla="*/ 1 w 14"/>
                  <a:gd name="T15" fmla="*/ 0 h 3"/>
                  <a:gd name="T16" fmla="*/ 0 w 14"/>
                  <a:gd name="T17" fmla="*/ 0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4" h="3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3" y="2"/>
                      <a:pt x="9" y="2"/>
                      <a:pt x="14" y="3"/>
                    </a:cubicBezTo>
                    <a:cubicBezTo>
                      <a:pt x="14" y="2"/>
                      <a:pt x="13" y="1"/>
                      <a:pt x="11" y="1"/>
                    </a:cubicBezTo>
                    <a:cubicBezTo>
                      <a:pt x="11" y="1"/>
                      <a:pt x="11" y="1"/>
                      <a:pt x="10" y="1"/>
                    </a:cubicBezTo>
                    <a:cubicBezTo>
                      <a:pt x="10" y="1"/>
                      <a:pt x="9" y="1"/>
                      <a:pt x="9" y="1"/>
                    </a:cubicBezTo>
                    <a:cubicBezTo>
                      <a:pt x="8" y="1"/>
                      <a:pt x="6" y="1"/>
                      <a:pt x="5" y="1"/>
                    </a:cubicBezTo>
                    <a:cubicBezTo>
                      <a:pt x="4" y="0"/>
                      <a:pt x="2" y="0"/>
                      <a:pt x="1" y="0"/>
                    </a:cubicBezTo>
                    <a:cubicBezTo>
                      <a:pt x="1" y="0"/>
                      <a:pt x="1" y="0"/>
                      <a:pt x="0" y="0"/>
                    </a:cubicBezTo>
                  </a:path>
                </a:pathLst>
              </a:custGeom>
              <a:solidFill>
                <a:srgbClr val="544D4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60" name="Freeform 106">
                <a:extLst>
                  <a:ext uri="{FF2B5EF4-FFF2-40B4-BE49-F238E27FC236}">
                    <a16:creationId xmlns:a16="http://schemas.microsoft.com/office/drawing/2014/main" id="{739F27B6-4FCD-401C-86AB-61A906BB501C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2732" y="2018"/>
                <a:ext cx="68" cy="17"/>
              </a:xfrm>
              <a:custGeom>
                <a:avLst/>
                <a:gdLst>
                  <a:gd name="T0" fmla="*/ 49 w 65"/>
                  <a:gd name="T1" fmla="*/ 5 h 16"/>
                  <a:gd name="T2" fmla="*/ 39 w 65"/>
                  <a:gd name="T3" fmla="*/ 6 h 16"/>
                  <a:gd name="T4" fmla="*/ 29 w 65"/>
                  <a:gd name="T5" fmla="*/ 6 h 16"/>
                  <a:gd name="T6" fmla="*/ 20 w 65"/>
                  <a:gd name="T7" fmla="*/ 6 h 16"/>
                  <a:gd name="T8" fmla="*/ 2 w 65"/>
                  <a:gd name="T9" fmla="*/ 8 h 16"/>
                  <a:gd name="T10" fmla="*/ 2 w 65"/>
                  <a:gd name="T11" fmla="*/ 13 h 16"/>
                  <a:gd name="T12" fmla="*/ 17 w 65"/>
                  <a:gd name="T13" fmla="*/ 16 h 16"/>
                  <a:gd name="T14" fmla="*/ 36 w 65"/>
                  <a:gd name="T15" fmla="*/ 14 h 16"/>
                  <a:gd name="T16" fmla="*/ 43 w 65"/>
                  <a:gd name="T17" fmla="*/ 13 h 16"/>
                  <a:gd name="T18" fmla="*/ 45 w 65"/>
                  <a:gd name="T19" fmla="*/ 10 h 16"/>
                  <a:gd name="T20" fmla="*/ 49 w 65"/>
                  <a:gd name="T21" fmla="*/ 5 h 16"/>
                  <a:gd name="T22" fmla="*/ 63 w 65"/>
                  <a:gd name="T23" fmla="*/ 0 h 16"/>
                  <a:gd name="T24" fmla="*/ 62 w 65"/>
                  <a:gd name="T25" fmla="*/ 0 h 16"/>
                  <a:gd name="T26" fmla="*/ 61 w 65"/>
                  <a:gd name="T27" fmla="*/ 1 h 16"/>
                  <a:gd name="T28" fmla="*/ 60 w 65"/>
                  <a:gd name="T29" fmla="*/ 3 h 16"/>
                  <a:gd name="T30" fmla="*/ 51 w 65"/>
                  <a:gd name="T31" fmla="*/ 11 h 16"/>
                  <a:gd name="T32" fmla="*/ 65 w 65"/>
                  <a:gd name="T33" fmla="*/ 3 h 16"/>
                  <a:gd name="T34" fmla="*/ 63 w 65"/>
                  <a:gd name="T35" fmla="*/ 0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65" h="16">
                    <a:moveTo>
                      <a:pt x="49" y="5"/>
                    </a:moveTo>
                    <a:cubicBezTo>
                      <a:pt x="46" y="6"/>
                      <a:pt x="42" y="6"/>
                      <a:pt x="39" y="6"/>
                    </a:cubicBezTo>
                    <a:cubicBezTo>
                      <a:pt x="36" y="6"/>
                      <a:pt x="32" y="6"/>
                      <a:pt x="29" y="6"/>
                    </a:cubicBezTo>
                    <a:cubicBezTo>
                      <a:pt x="26" y="6"/>
                      <a:pt x="23" y="6"/>
                      <a:pt x="20" y="6"/>
                    </a:cubicBezTo>
                    <a:cubicBezTo>
                      <a:pt x="13" y="6"/>
                      <a:pt x="8" y="6"/>
                      <a:pt x="2" y="8"/>
                    </a:cubicBezTo>
                    <a:cubicBezTo>
                      <a:pt x="0" y="9"/>
                      <a:pt x="0" y="13"/>
                      <a:pt x="2" y="13"/>
                    </a:cubicBezTo>
                    <a:cubicBezTo>
                      <a:pt x="7" y="16"/>
                      <a:pt x="12" y="16"/>
                      <a:pt x="17" y="16"/>
                    </a:cubicBezTo>
                    <a:cubicBezTo>
                      <a:pt x="24" y="16"/>
                      <a:pt x="30" y="15"/>
                      <a:pt x="36" y="14"/>
                    </a:cubicBezTo>
                    <a:cubicBezTo>
                      <a:pt x="38" y="14"/>
                      <a:pt x="41" y="13"/>
                      <a:pt x="43" y="13"/>
                    </a:cubicBezTo>
                    <a:cubicBezTo>
                      <a:pt x="44" y="12"/>
                      <a:pt x="44" y="11"/>
                      <a:pt x="45" y="10"/>
                    </a:cubicBezTo>
                    <a:cubicBezTo>
                      <a:pt x="46" y="9"/>
                      <a:pt x="48" y="7"/>
                      <a:pt x="49" y="5"/>
                    </a:cubicBezTo>
                    <a:moveTo>
                      <a:pt x="63" y="0"/>
                    </a:moveTo>
                    <a:cubicBezTo>
                      <a:pt x="63" y="0"/>
                      <a:pt x="63" y="0"/>
                      <a:pt x="62" y="0"/>
                    </a:cubicBezTo>
                    <a:cubicBezTo>
                      <a:pt x="62" y="1"/>
                      <a:pt x="61" y="1"/>
                      <a:pt x="61" y="1"/>
                    </a:cubicBezTo>
                    <a:cubicBezTo>
                      <a:pt x="61" y="2"/>
                      <a:pt x="61" y="2"/>
                      <a:pt x="60" y="3"/>
                    </a:cubicBezTo>
                    <a:cubicBezTo>
                      <a:pt x="56" y="4"/>
                      <a:pt x="54" y="8"/>
                      <a:pt x="51" y="11"/>
                    </a:cubicBezTo>
                    <a:cubicBezTo>
                      <a:pt x="57" y="10"/>
                      <a:pt x="61" y="7"/>
                      <a:pt x="65" y="3"/>
                    </a:cubicBezTo>
                    <a:cubicBezTo>
                      <a:pt x="65" y="2"/>
                      <a:pt x="64" y="0"/>
                      <a:pt x="63" y="0"/>
                    </a:cubicBezTo>
                  </a:path>
                </a:pathLst>
              </a:custGeom>
              <a:solidFill>
                <a:srgbClr val="544D4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61" name="Freeform 107">
                <a:extLst>
                  <a:ext uri="{FF2B5EF4-FFF2-40B4-BE49-F238E27FC236}">
                    <a16:creationId xmlns:a16="http://schemas.microsoft.com/office/drawing/2014/main" id="{4D13837E-924A-40DA-9355-67D8F58CC9C0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727" y="1955"/>
                <a:ext cx="22" cy="68"/>
              </a:xfrm>
              <a:custGeom>
                <a:avLst/>
                <a:gdLst>
                  <a:gd name="T0" fmla="*/ 15 w 20"/>
                  <a:gd name="T1" fmla="*/ 0 h 64"/>
                  <a:gd name="T2" fmla="*/ 5 w 20"/>
                  <a:gd name="T3" fmla="*/ 27 h 64"/>
                  <a:gd name="T4" fmla="*/ 6 w 20"/>
                  <a:gd name="T5" fmla="*/ 64 h 64"/>
                  <a:gd name="T6" fmla="*/ 7 w 20"/>
                  <a:gd name="T7" fmla="*/ 64 h 64"/>
                  <a:gd name="T8" fmla="*/ 8 w 20"/>
                  <a:gd name="T9" fmla="*/ 63 h 64"/>
                  <a:gd name="T10" fmla="*/ 12 w 20"/>
                  <a:gd name="T11" fmla="*/ 27 h 64"/>
                  <a:gd name="T12" fmla="*/ 20 w 20"/>
                  <a:gd name="T13" fmla="*/ 4 h 64"/>
                  <a:gd name="T14" fmla="*/ 15 w 20"/>
                  <a:gd name="T15" fmla="*/ 0 h 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0" h="64">
                    <a:moveTo>
                      <a:pt x="15" y="0"/>
                    </a:moveTo>
                    <a:cubicBezTo>
                      <a:pt x="9" y="8"/>
                      <a:pt x="7" y="17"/>
                      <a:pt x="5" y="27"/>
                    </a:cubicBezTo>
                    <a:cubicBezTo>
                      <a:pt x="2" y="40"/>
                      <a:pt x="0" y="51"/>
                      <a:pt x="6" y="64"/>
                    </a:cubicBezTo>
                    <a:cubicBezTo>
                      <a:pt x="6" y="64"/>
                      <a:pt x="7" y="64"/>
                      <a:pt x="7" y="64"/>
                    </a:cubicBezTo>
                    <a:cubicBezTo>
                      <a:pt x="8" y="64"/>
                      <a:pt x="8" y="64"/>
                      <a:pt x="8" y="63"/>
                    </a:cubicBezTo>
                    <a:cubicBezTo>
                      <a:pt x="4" y="51"/>
                      <a:pt x="8" y="38"/>
                      <a:pt x="12" y="27"/>
                    </a:cubicBezTo>
                    <a:cubicBezTo>
                      <a:pt x="14" y="19"/>
                      <a:pt x="15" y="11"/>
                      <a:pt x="20" y="4"/>
                    </a:cubicBezTo>
                    <a:cubicBezTo>
                      <a:pt x="18" y="3"/>
                      <a:pt x="17" y="2"/>
                      <a:pt x="15" y="0"/>
                    </a:cubicBezTo>
                  </a:path>
                </a:pathLst>
              </a:custGeom>
              <a:solidFill>
                <a:srgbClr val="544D4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62" name="Freeform 108">
                <a:extLst>
                  <a:ext uri="{FF2B5EF4-FFF2-40B4-BE49-F238E27FC236}">
                    <a16:creationId xmlns:a16="http://schemas.microsoft.com/office/drawing/2014/main" id="{71B1C317-41B6-47AB-8C6C-A043186A732B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741" y="1949"/>
                <a:ext cx="48" cy="39"/>
              </a:xfrm>
              <a:custGeom>
                <a:avLst/>
                <a:gdLst>
                  <a:gd name="T0" fmla="*/ 2 w 45"/>
                  <a:gd name="T1" fmla="*/ 0 h 37"/>
                  <a:gd name="T2" fmla="*/ 0 w 45"/>
                  <a:gd name="T3" fmla="*/ 3 h 37"/>
                  <a:gd name="T4" fmla="*/ 0 w 45"/>
                  <a:gd name="T5" fmla="*/ 3 h 37"/>
                  <a:gd name="T6" fmla="*/ 0 w 45"/>
                  <a:gd name="T7" fmla="*/ 3 h 37"/>
                  <a:gd name="T8" fmla="*/ 0 w 45"/>
                  <a:gd name="T9" fmla="*/ 4 h 37"/>
                  <a:gd name="T10" fmla="*/ 2 w 45"/>
                  <a:gd name="T11" fmla="*/ 6 h 37"/>
                  <a:gd name="T12" fmla="*/ 7 w 45"/>
                  <a:gd name="T13" fmla="*/ 10 h 37"/>
                  <a:gd name="T14" fmla="*/ 11 w 45"/>
                  <a:gd name="T15" fmla="*/ 13 h 37"/>
                  <a:gd name="T16" fmla="*/ 22 w 45"/>
                  <a:gd name="T17" fmla="*/ 23 h 37"/>
                  <a:gd name="T18" fmla="*/ 39 w 45"/>
                  <a:gd name="T19" fmla="*/ 36 h 37"/>
                  <a:gd name="T20" fmla="*/ 43 w 45"/>
                  <a:gd name="T21" fmla="*/ 37 h 37"/>
                  <a:gd name="T22" fmla="*/ 43 w 45"/>
                  <a:gd name="T23" fmla="*/ 37 h 37"/>
                  <a:gd name="T24" fmla="*/ 44 w 45"/>
                  <a:gd name="T25" fmla="*/ 35 h 37"/>
                  <a:gd name="T26" fmla="*/ 38 w 45"/>
                  <a:gd name="T27" fmla="*/ 32 h 37"/>
                  <a:gd name="T28" fmla="*/ 21 w 45"/>
                  <a:gd name="T29" fmla="*/ 13 h 37"/>
                  <a:gd name="T30" fmla="*/ 14 w 45"/>
                  <a:gd name="T31" fmla="*/ 6 h 37"/>
                  <a:gd name="T32" fmla="*/ 9 w 45"/>
                  <a:gd name="T33" fmla="*/ 2 h 37"/>
                  <a:gd name="T34" fmla="*/ 2 w 45"/>
                  <a:gd name="T35" fmla="*/ 0 h 37"/>
                  <a:gd name="T36" fmla="*/ 2 w 45"/>
                  <a:gd name="T37" fmla="*/ 0 h 37"/>
                  <a:gd name="T38" fmla="*/ 2 w 45"/>
                  <a:gd name="T39" fmla="*/ 0 h 37"/>
                  <a:gd name="T40" fmla="*/ 2 w 45"/>
                  <a:gd name="T41" fmla="*/ 0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45" h="37">
                    <a:moveTo>
                      <a:pt x="2" y="0"/>
                    </a:moveTo>
                    <a:cubicBezTo>
                      <a:pt x="0" y="0"/>
                      <a:pt x="0" y="1"/>
                      <a:pt x="0" y="3"/>
                    </a:cubicBezTo>
                    <a:cubicBezTo>
                      <a:pt x="0" y="3"/>
                      <a:pt x="0" y="3"/>
                      <a:pt x="0" y="3"/>
                    </a:cubicBezTo>
                    <a:cubicBezTo>
                      <a:pt x="0" y="3"/>
                      <a:pt x="0" y="3"/>
                      <a:pt x="0" y="3"/>
                    </a:cubicBezTo>
                    <a:cubicBezTo>
                      <a:pt x="0" y="3"/>
                      <a:pt x="0" y="4"/>
                      <a:pt x="0" y="4"/>
                    </a:cubicBezTo>
                    <a:cubicBezTo>
                      <a:pt x="1" y="5"/>
                      <a:pt x="1" y="6"/>
                      <a:pt x="2" y="6"/>
                    </a:cubicBezTo>
                    <a:cubicBezTo>
                      <a:pt x="4" y="8"/>
                      <a:pt x="5" y="9"/>
                      <a:pt x="7" y="10"/>
                    </a:cubicBezTo>
                    <a:cubicBezTo>
                      <a:pt x="9" y="11"/>
                      <a:pt x="10" y="12"/>
                      <a:pt x="11" y="13"/>
                    </a:cubicBezTo>
                    <a:cubicBezTo>
                      <a:pt x="15" y="16"/>
                      <a:pt x="18" y="20"/>
                      <a:pt x="22" y="23"/>
                    </a:cubicBezTo>
                    <a:cubicBezTo>
                      <a:pt x="27" y="28"/>
                      <a:pt x="32" y="33"/>
                      <a:pt x="39" y="36"/>
                    </a:cubicBezTo>
                    <a:cubicBezTo>
                      <a:pt x="40" y="36"/>
                      <a:pt x="42" y="37"/>
                      <a:pt x="43" y="37"/>
                    </a:cubicBezTo>
                    <a:cubicBezTo>
                      <a:pt x="43" y="37"/>
                      <a:pt x="43" y="37"/>
                      <a:pt x="43" y="37"/>
                    </a:cubicBezTo>
                    <a:cubicBezTo>
                      <a:pt x="44" y="37"/>
                      <a:pt x="45" y="35"/>
                      <a:pt x="44" y="35"/>
                    </a:cubicBezTo>
                    <a:cubicBezTo>
                      <a:pt x="42" y="34"/>
                      <a:pt x="40" y="33"/>
                      <a:pt x="38" y="32"/>
                    </a:cubicBezTo>
                    <a:cubicBezTo>
                      <a:pt x="32" y="27"/>
                      <a:pt x="26" y="19"/>
                      <a:pt x="21" y="13"/>
                    </a:cubicBezTo>
                    <a:cubicBezTo>
                      <a:pt x="19" y="11"/>
                      <a:pt x="17" y="8"/>
                      <a:pt x="14" y="6"/>
                    </a:cubicBezTo>
                    <a:cubicBezTo>
                      <a:pt x="12" y="4"/>
                      <a:pt x="11" y="3"/>
                      <a:pt x="9" y="2"/>
                    </a:cubicBezTo>
                    <a:cubicBezTo>
                      <a:pt x="7" y="1"/>
                      <a:pt x="5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544D4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63" name="Freeform 109">
                <a:extLst>
                  <a:ext uri="{FF2B5EF4-FFF2-40B4-BE49-F238E27FC236}">
                    <a16:creationId xmlns:a16="http://schemas.microsoft.com/office/drawing/2014/main" id="{760C98CA-8970-4ADC-A3C0-CF80970111ED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708" y="1952"/>
                <a:ext cx="33" cy="82"/>
              </a:xfrm>
              <a:custGeom>
                <a:avLst/>
                <a:gdLst>
                  <a:gd name="T0" fmla="*/ 30 w 31"/>
                  <a:gd name="T1" fmla="*/ 0 h 77"/>
                  <a:gd name="T2" fmla="*/ 30 w 31"/>
                  <a:gd name="T3" fmla="*/ 0 h 77"/>
                  <a:gd name="T4" fmla="*/ 1 w 31"/>
                  <a:gd name="T5" fmla="*/ 41 h 77"/>
                  <a:gd name="T6" fmla="*/ 3 w 31"/>
                  <a:gd name="T7" fmla="*/ 45 h 77"/>
                  <a:gd name="T8" fmla="*/ 6 w 31"/>
                  <a:gd name="T9" fmla="*/ 48 h 77"/>
                  <a:gd name="T10" fmla="*/ 7 w 31"/>
                  <a:gd name="T11" fmla="*/ 47 h 77"/>
                  <a:gd name="T12" fmla="*/ 8 w 31"/>
                  <a:gd name="T13" fmla="*/ 49 h 77"/>
                  <a:gd name="T14" fmla="*/ 8 w 31"/>
                  <a:gd name="T15" fmla="*/ 58 h 77"/>
                  <a:gd name="T16" fmla="*/ 9 w 31"/>
                  <a:gd name="T17" fmla="*/ 59 h 77"/>
                  <a:gd name="T18" fmla="*/ 16 w 31"/>
                  <a:gd name="T19" fmla="*/ 75 h 77"/>
                  <a:gd name="T20" fmla="*/ 18 w 31"/>
                  <a:gd name="T21" fmla="*/ 77 h 77"/>
                  <a:gd name="T22" fmla="*/ 19 w 31"/>
                  <a:gd name="T23" fmla="*/ 77 h 77"/>
                  <a:gd name="T24" fmla="*/ 22 w 31"/>
                  <a:gd name="T25" fmla="*/ 73 h 77"/>
                  <a:gd name="T26" fmla="*/ 16 w 31"/>
                  <a:gd name="T27" fmla="*/ 60 h 77"/>
                  <a:gd name="T28" fmla="*/ 9 w 31"/>
                  <a:gd name="T29" fmla="*/ 43 h 77"/>
                  <a:gd name="T30" fmla="*/ 22 w 31"/>
                  <a:gd name="T31" fmla="*/ 12 h 77"/>
                  <a:gd name="T32" fmla="*/ 22 w 31"/>
                  <a:gd name="T33" fmla="*/ 12 h 77"/>
                  <a:gd name="T34" fmla="*/ 31 w 31"/>
                  <a:gd name="T35" fmla="*/ 2 h 77"/>
                  <a:gd name="T36" fmla="*/ 31 w 31"/>
                  <a:gd name="T37" fmla="*/ 1 h 77"/>
                  <a:gd name="T38" fmla="*/ 31 w 31"/>
                  <a:gd name="T39" fmla="*/ 0 h 77"/>
                  <a:gd name="T40" fmla="*/ 30 w 31"/>
                  <a:gd name="T41" fmla="*/ 0 h 77"/>
                  <a:gd name="T42" fmla="*/ 30 w 31"/>
                  <a:gd name="T43" fmla="*/ 0 h 77"/>
                  <a:gd name="T44" fmla="*/ 30 w 31"/>
                  <a:gd name="T45" fmla="*/ 0 h 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31" h="77">
                    <a:moveTo>
                      <a:pt x="30" y="0"/>
                    </a:moveTo>
                    <a:cubicBezTo>
                      <a:pt x="30" y="0"/>
                      <a:pt x="30" y="0"/>
                      <a:pt x="30" y="0"/>
                    </a:cubicBezTo>
                    <a:cubicBezTo>
                      <a:pt x="15" y="9"/>
                      <a:pt x="5" y="25"/>
                      <a:pt x="1" y="41"/>
                    </a:cubicBezTo>
                    <a:cubicBezTo>
                      <a:pt x="0" y="43"/>
                      <a:pt x="1" y="44"/>
                      <a:pt x="3" y="45"/>
                    </a:cubicBezTo>
                    <a:cubicBezTo>
                      <a:pt x="4" y="45"/>
                      <a:pt x="5" y="46"/>
                      <a:pt x="6" y="48"/>
                    </a:cubicBezTo>
                    <a:cubicBezTo>
                      <a:pt x="6" y="47"/>
                      <a:pt x="6" y="47"/>
                      <a:pt x="7" y="47"/>
                    </a:cubicBezTo>
                    <a:cubicBezTo>
                      <a:pt x="7" y="47"/>
                      <a:pt x="8" y="48"/>
                      <a:pt x="8" y="49"/>
                    </a:cubicBezTo>
                    <a:cubicBezTo>
                      <a:pt x="8" y="52"/>
                      <a:pt x="8" y="55"/>
                      <a:pt x="8" y="58"/>
                    </a:cubicBezTo>
                    <a:cubicBezTo>
                      <a:pt x="8" y="59"/>
                      <a:pt x="9" y="59"/>
                      <a:pt x="9" y="59"/>
                    </a:cubicBezTo>
                    <a:cubicBezTo>
                      <a:pt x="11" y="65"/>
                      <a:pt x="14" y="69"/>
                      <a:pt x="16" y="75"/>
                    </a:cubicBezTo>
                    <a:cubicBezTo>
                      <a:pt x="16" y="76"/>
                      <a:pt x="17" y="77"/>
                      <a:pt x="18" y="77"/>
                    </a:cubicBezTo>
                    <a:cubicBezTo>
                      <a:pt x="19" y="77"/>
                      <a:pt x="19" y="77"/>
                      <a:pt x="19" y="77"/>
                    </a:cubicBezTo>
                    <a:cubicBezTo>
                      <a:pt x="21" y="77"/>
                      <a:pt x="23" y="75"/>
                      <a:pt x="22" y="73"/>
                    </a:cubicBezTo>
                    <a:cubicBezTo>
                      <a:pt x="21" y="68"/>
                      <a:pt x="18" y="64"/>
                      <a:pt x="16" y="60"/>
                    </a:cubicBezTo>
                    <a:cubicBezTo>
                      <a:pt x="12" y="54"/>
                      <a:pt x="9" y="49"/>
                      <a:pt x="9" y="43"/>
                    </a:cubicBezTo>
                    <a:cubicBezTo>
                      <a:pt x="8" y="34"/>
                      <a:pt x="15" y="21"/>
                      <a:pt x="22" y="12"/>
                    </a:cubicBezTo>
                    <a:cubicBezTo>
                      <a:pt x="22" y="12"/>
                      <a:pt x="22" y="12"/>
                      <a:pt x="22" y="12"/>
                    </a:cubicBezTo>
                    <a:cubicBezTo>
                      <a:pt x="25" y="7"/>
                      <a:pt x="29" y="4"/>
                      <a:pt x="31" y="2"/>
                    </a:cubicBezTo>
                    <a:cubicBezTo>
                      <a:pt x="31" y="2"/>
                      <a:pt x="31" y="2"/>
                      <a:pt x="31" y="1"/>
                    </a:cubicBezTo>
                    <a:cubicBezTo>
                      <a:pt x="31" y="1"/>
                      <a:pt x="31" y="0"/>
                      <a:pt x="31" y="0"/>
                    </a:cubicBezTo>
                    <a:cubicBezTo>
                      <a:pt x="31" y="0"/>
                      <a:pt x="31" y="0"/>
                      <a:pt x="30" y="0"/>
                    </a:cubicBezTo>
                    <a:cubicBezTo>
                      <a:pt x="30" y="0"/>
                      <a:pt x="30" y="0"/>
                      <a:pt x="30" y="0"/>
                    </a:cubicBezTo>
                    <a:cubicBezTo>
                      <a:pt x="30" y="0"/>
                      <a:pt x="30" y="0"/>
                      <a:pt x="30" y="0"/>
                    </a:cubicBezTo>
                  </a:path>
                </a:pathLst>
              </a:custGeom>
              <a:solidFill>
                <a:srgbClr val="544D4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64" name="Freeform 110">
                <a:extLst>
                  <a:ext uri="{FF2B5EF4-FFF2-40B4-BE49-F238E27FC236}">
                    <a16:creationId xmlns:a16="http://schemas.microsoft.com/office/drawing/2014/main" id="{B21B2AB9-4B6F-4F58-A4DB-FAE773480E0B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850" y="1964"/>
                <a:ext cx="26" cy="34"/>
              </a:xfrm>
              <a:custGeom>
                <a:avLst/>
                <a:gdLst>
                  <a:gd name="T0" fmla="*/ 4 w 24"/>
                  <a:gd name="T1" fmla="*/ 0 h 32"/>
                  <a:gd name="T2" fmla="*/ 2 w 24"/>
                  <a:gd name="T3" fmla="*/ 4 h 32"/>
                  <a:gd name="T4" fmla="*/ 4 w 24"/>
                  <a:gd name="T5" fmla="*/ 6 h 32"/>
                  <a:gd name="T6" fmla="*/ 13 w 24"/>
                  <a:gd name="T7" fmla="*/ 18 h 32"/>
                  <a:gd name="T8" fmla="*/ 16 w 24"/>
                  <a:gd name="T9" fmla="*/ 22 h 32"/>
                  <a:gd name="T10" fmla="*/ 16 w 24"/>
                  <a:gd name="T11" fmla="*/ 22 h 32"/>
                  <a:gd name="T12" fmla="*/ 17 w 24"/>
                  <a:gd name="T13" fmla="*/ 24 h 32"/>
                  <a:gd name="T14" fmla="*/ 18 w 24"/>
                  <a:gd name="T15" fmla="*/ 29 h 32"/>
                  <a:gd name="T16" fmla="*/ 18 w 24"/>
                  <a:gd name="T17" fmla="*/ 31 h 32"/>
                  <a:gd name="T18" fmla="*/ 20 w 24"/>
                  <a:gd name="T19" fmla="*/ 32 h 32"/>
                  <a:gd name="T20" fmla="*/ 22 w 24"/>
                  <a:gd name="T21" fmla="*/ 31 h 32"/>
                  <a:gd name="T22" fmla="*/ 22 w 24"/>
                  <a:gd name="T23" fmla="*/ 30 h 32"/>
                  <a:gd name="T24" fmla="*/ 24 w 24"/>
                  <a:gd name="T25" fmla="*/ 25 h 32"/>
                  <a:gd name="T26" fmla="*/ 23 w 24"/>
                  <a:gd name="T27" fmla="*/ 23 h 32"/>
                  <a:gd name="T28" fmla="*/ 23 w 24"/>
                  <a:gd name="T29" fmla="*/ 23 h 32"/>
                  <a:gd name="T30" fmla="*/ 20 w 24"/>
                  <a:gd name="T31" fmla="*/ 17 h 32"/>
                  <a:gd name="T32" fmla="*/ 7 w 24"/>
                  <a:gd name="T33" fmla="*/ 1 h 32"/>
                  <a:gd name="T34" fmla="*/ 6 w 24"/>
                  <a:gd name="T35" fmla="*/ 1 h 32"/>
                  <a:gd name="T36" fmla="*/ 4 w 24"/>
                  <a:gd name="T37" fmla="*/ 0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24" h="32">
                    <a:moveTo>
                      <a:pt x="4" y="0"/>
                    </a:moveTo>
                    <a:cubicBezTo>
                      <a:pt x="2" y="0"/>
                      <a:pt x="0" y="2"/>
                      <a:pt x="2" y="4"/>
                    </a:cubicBezTo>
                    <a:cubicBezTo>
                      <a:pt x="3" y="5"/>
                      <a:pt x="3" y="6"/>
                      <a:pt x="4" y="6"/>
                    </a:cubicBezTo>
                    <a:cubicBezTo>
                      <a:pt x="7" y="10"/>
                      <a:pt x="10" y="14"/>
                      <a:pt x="13" y="18"/>
                    </a:cubicBezTo>
                    <a:cubicBezTo>
                      <a:pt x="14" y="19"/>
                      <a:pt x="15" y="21"/>
                      <a:pt x="16" y="22"/>
                    </a:cubicBezTo>
                    <a:cubicBezTo>
                      <a:pt x="16" y="22"/>
                      <a:pt x="16" y="22"/>
                      <a:pt x="16" y="22"/>
                    </a:cubicBezTo>
                    <a:cubicBezTo>
                      <a:pt x="16" y="23"/>
                      <a:pt x="17" y="24"/>
                      <a:pt x="17" y="24"/>
                    </a:cubicBezTo>
                    <a:cubicBezTo>
                      <a:pt x="18" y="26"/>
                      <a:pt x="18" y="27"/>
                      <a:pt x="18" y="29"/>
                    </a:cubicBezTo>
                    <a:cubicBezTo>
                      <a:pt x="18" y="29"/>
                      <a:pt x="18" y="30"/>
                      <a:pt x="18" y="31"/>
                    </a:cubicBezTo>
                    <a:cubicBezTo>
                      <a:pt x="19" y="31"/>
                      <a:pt x="19" y="32"/>
                      <a:pt x="20" y="32"/>
                    </a:cubicBezTo>
                    <a:cubicBezTo>
                      <a:pt x="21" y="32"/>
                      <a:pt x="21" y="32"/>
                      <a:pt x="22" y="31"/>
                    </a:cubicBezTo>
                    <a:cubicBezTo>
                      <a:pt x="22" y="31"/>
                      <a:pt x="22" y="30"/>
                      <a:pt x="22" y="30"/>
                    </a:cubicBezTo>
                    <a:cubicBezTo>
                      <a:pt x="23" y="29"/>
                      <a:pt x="24" y="27"/>
                      <a:pt x="24" y="25"/>
                    </a:cubicBezTo>
                    <a:cubicBezTo>
                      <a:pt x="24" y="25"/>
                      <a:pt x="24" y="24"/>
                      <a:pt x="23" y="23"/>
                    </a:cubicBezTo>
                    <a:cubicBezTo>
                      <a:pt x="23" y="23"/>
                      <a:pt x="23" y="23"/>
                      <a:pt x="23" y="23"/>
                    </a:cubicBezTo>
                    <a:cubicBezTo>
                      <a:pt x="22" y="21"/>
                      <a:pt x="21" y="18"/>
                      <a:pt x="20" y="17"/>
                    </a:cubicBezTo>
                    <a:cubicBezTo>
                      <a:pt x="16" y="11"/>
                      <a:pt x="12" y="6"/>
                      <a:pt x="7" y="1"/>
                    </a:cubicBezTo>
                    <a:cubicBezTo>
                      <a:pt x="6" y="1"/>
                      <a:pt x="6" y="1"/>
                      <a:pt x="6" y="1"/>
                    </a:cubicBezTo>
                    <a:cubicBezTo>
                      <a:pt x="6" y="0"/>
                      <a:pt x="5" y="0"/>
                      <a:pt x="4" y="0"/>
                    </a:cubicBezTo>
                  </a:path>
                </a:pathLst>
              </a:custGeom>
              <a:solidFill>
                <a:srgbClr val="544D4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65" name="Freeform 111">
                <a:extLst>
                  <a:ext uri="{FF2B5EF4-FFF2-40B4-BE49-F238E27FC236}">
                    <a16:creationId xmlns:a16="http://schemas.microsoft.com/office/drawing/2014/main" id="{BDF6C15D-86A9-43D7-8CC3-F5916E2E94E9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713" y="2002"/>
                <a:ext cx="174" cy="120"/>
              </a:xfrm>
              <a:custGeom>
                <a:avLst/>
                <a:gdLst>
                  <a:gd name="T0" fmla="*/ 3 w 165"/>
                  <a:gd name="T1" fmla="*/ 0 h 114"/>
                  <a:gd name="T2" fmla="*/ 2 w 165"/>
                  <a:gd name="T3" fmla="*/ 1 h 114"/>
                  <a:gd name="T4" fmla="*/ 1 w 165"/>
                  <a:gd name="T5" fmla="*/ 2 h 114"/>
                  <a:gd name="T6" fmla="*/ 76 w 165"/>
                  <a:gd name="T7" fmla="*/ 113 h 114"/>
                  <a:gd name="T8" fmla="*/ 89 w 165"/>
                  <a:gd name="T9" fmla="*/ 114 h 114"/>
                  <a:gd name="T10" fmla="*/ 131 w 165"/>
                  <a:gd name="T11" fmla="*/ 104 h 114"/>
                  <a:gd name="T12" fmla="*/ 162 w 165"/>
                  <a:gd name="T13" fmla="*/ 74 h 114"/>
                  <a:gd name="T14" fmla="*/ 162 w 165"/>
                  <a:gd name="T15" fmla="*/ 74 h 114"/>
                  <a:gd name="T16" fmla="*/ 164 w 165"/>
                  <a:gd name="T17" fmla="*/ 51 h 114"/>
                  <a:gd name="T18" fmla="*/ 164 w 165"/>
                  <a:gd name="T19" fmla="*/ 50 h 114"/>
                  <a:gd name="T20" fmla="*/ 164 w 165"/>
                  <a:gd name="T21" fmla="*/ 46 h 114"/>
                  <a:gd name="T22" fmla="*/ 164 w 165"/>
                  <a:gd name="T23" fmla="*/ 44 h 114"/>
                  <a:gd name="T24" fmla="*/ 164 w 165"/>
                  <a:gd name="T25" fmla="*/ 43 h 114"/>
                  <a:gd name="T26" fmla="*/ 164 w 165"/>
                  <a:gd name="T27" fmla="*/ 43 h 114"/>
                  <a:gd name="T28" fmla="*/ 163 w 165"/>
                  <a:gd name="T29" fmla="*/ 43 h 114"/>
                  <a:gd name="T30" fmla="*/ 163 w 165"/>
                  <a:gd name="T31" fmla="*/ 45 h 114"/>
                  <a:gd name="T32" fmla="*/ 163 w 165"/>
                  <a:gd name="T33" fmla="*/ 45 h 114"/>
                  <a:gd name="T34" fmla="*/ 161 w 165"/>
                  <a:gd name="T35" fmla="*/ 54 h 114"/>
                  <a:gd name="T36" fmla="*/ 137 w 165"/>
                  <a:gd name="T37" fmla="*/ 93 h 114"/>
                  <a:gd name="T38" fmla="*/ 123 w 165"/>
                  <a:gd name="T39" fmla="*/ 101 h 114"/>
                  <a:gd name="T40" fmla="*/ 94 w 165"/>
                  <a:gd name="T41" fmla="*/ 106 h 114"/>
                  <a:gd name="T42" fmla="*/ 59 w 165"/>
                  <a:gd name="T43" fmla="*/ 98 h 114"/>
                  <a:gd name="T44" fmla="*/ 4 w 165"/>
                  <a:gd name="T45" fmla="*/ 11 h 114"/>
                  <a:gd name="T46" fmla="*/ 4 w 165"/>
                  <a:gd name="T47" fmla="*/ 2 h 114"/>
                  <a:gd name="T48" fmla="*/ 3 w 165"/>
                  <a:gd name="T49" fmla="*/ 0 h 1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165" h="114">
                    <a:moveTo>
                      <a:pt x="3" y="0"/>
                    </a:moveTo>
                    <a:cubicBezTo>
                      <a:pt x="2" y="0"/>
                      <a:pt x="2" y="0"/>
                      <a:pt x="2" y="1"/>
                    </a:cubicBezTo>
                    <a:cubicBezTo>
                      <a:pt x="1" y="1"/>
                      <a:pt x="1" y="1"/>
                      <a:pt x="1" y="2"/>
                    </a:cubicBezTo>
                    <a:cubicBezTo>
                      <a:pt x="0" y="50"/>
                      <a:pt x="23" y="104"/>
                      <a:pt x="76" y="113"/>
                    </a:cubicBezTo>
                    <a:cubicBezTo>
                      <a:pt x="80" y="114"/>
                      <a:pt x="85" y="114"/>
                      <a:pt x="89" y="114"/>
                    </a:cubicBezTo>
                    <a:cubicBezTo>
                      <a:pt x="104" y="114"/>
                      <a:pt x="119" y="110"/>
                      <a:pt x="131" y="104"/>
                    </a:cubicBezTo>
                    <a:cubicBezTo>
                      <a:pt x="144" y="98"/>
                      <a:pt x="157" y="88"/>
                      <a:pt x="162" y="74"/>
                    </a:cubicBezTo>
                    <a:cubicBezTo>
                      <a:pt x="162" y="74"/>
                      <a:pt x="162" y="74"/>
                      <a:pt x="162" y="74"/>
                    </a:cubicBezTo>
                    <a:cubicBezTo>
                      <a:pt x="165" y="66"/>
                      <a:pt x="165" y="59"/>
                      <a:pt x="164" y="51"/>
                    </a:cubicBezTo>
                    <a:cubicBezTo>
                      <a:pt x="164" y="51"/>
                      <a:pt x="164" y="50"/>
                      <a:pt x="164" y="50"/>
                    </a:cubicBezTo>
                    <a:cubicBezTo>
                      <a:pt x="164" y="49"/>
                      <a:pt x="164" y="47"/>
                      <a:pt x="164" y="46"/>
                    </a:cubicBezTo>
                    <a:cubicBezTo>
                      <a:pt x="164" y="45"/>
                      <a:pt x="164" y="44"/>
                      <a:pt x="164" y="44"/>
                    </a:cubicBezTo>
                    <a:cubicBezTo>
                      <a:pt x="164" y="43"/>
                      <a:pt x="164" y="43"/>
                      <a:pt x="164" y="43"/>
                    </a:cubicBezTo>
                    <a:cubicBezTo>
                      <a:pt x="164" y="43"/>
                      <a:pt x="164" y="43"/>
                      <a:pt x="164" y="43"/>
                    </a:cubicBezTo>
                    <a:cubicBezTo>
                      <a:pt x="163" y="43"/>
                      <a:pt x="163" y="43"/>
                      <a:pt x="163" y="43"/>
                    </a:cubicBezTo>
                    <a:cubicBezTo>
                      <a:pt x="163" y="44"/>
                      <a:pt x="163" y="45"/>
                      <a:pt x="163" y="45"/>
                    </a:cubicBezTo>
                    <a:cubicBezTo>
                      <a:pt x="163" y="45"/>
                      <a:pt x="163" y="45"/>
                      <a:pt x="163" y="45"/>
                    </a:cubicBezTo>
                    <a:cubicBezTo>
                      <a:pt x="162" y="48"/>
                      <a:pt x="161" y="51"/>
                      <a:pt x="161" y="54"/>
                    </a:cubicBezTo>
                    <a:cubicBezTo>
                      <a:pt x="156" y="70"/>
                      <a:pt x="150" y="84"/>
                      <a:pt x="137" y="93"/>
                    </a:cubicBezTo>
                    <a:cubicBezTo>
                      <a:pt x="133" y="96"/>
                      <a:pt x="128" y="99"/>
                      <a:pt x="123" y="101"/>
                    </a:cubicBezTo>
                    <a:cubicBezTo>
                      <a:pt x="114" y="104"/>
                      <a:pt x="104" y="106"/>
                      <a:pt x="94" y="106"/>
                    </a:cubicBezTo>
                    <a:cubicBezTo>
                      <a:pt x="82" y="106"/>
                      <a:pt x="70" y="103"/>
                      <a:pt x="59" y="98"/>
                    </a:cubicBezTo>
                    <a:cubicBezTo>
                      <a:pt x="25" y="82"/>
                      <a:pt x="6" y="48"/>
                      <a:pt x="4" y="11"/>
                    </a:cubicBezTo>
                    <a:cubicBezTo>
                      <a:pt x="4" y="8"/>
                      <a:pt x="4" y="5"/>
                      <a:pt x="4" y="2"/>
                    </a:cubicBezTo>
                    <a:cubicBezTo>
                      <a:pt x="4" y="1"/>
                      <a:pt x="3" y="0"/>
                      <a:pt x="3" y="0"/>
                    </a:cubicBezTo>
                  </a:path>
                </a:pathLst>
              </a:custGeom>
              <a:solidFill>
                <a:srgbClr val="544D4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66" name="Freeform 112">
                <a:extLst>
                  <a:ext uri="{FF2B5EF4-FFF2-40B4-BE49-F238E27FC236}">
                    <a16:creationId xmlns:a16="http://schemas.microsoft.com/office/drawing/2014/main" id="{EA12E5C8-A3AC-4093-A052-84471D42A2BE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746" y="2017"/>
                <a:ext cx="50" cy="64"/>
              </a:xfrm>
              <a:custGeom>
                <a:avLst/>
                <a:gdLst>
                  <a:gd name="T0" fmla="*/ 45 w 47"/>
                  <a:gd name="T1" fmla="*/ 0 h 61"/>
                  <a:gd name="T2" fmla="*/ 44 w 47"/>
                  <a:gd name="T3" fmla="*/ 0 h 61"/>
                  <a:gd name="T4" fmla="*/ 35 w 47"/>
                  <a:gd name="T5" fmla="*/ 6 h 61"/>
                  <a:gd name="T6" fmla="*/ 31 w 47"/>
                  <a:gd name="T7" fmla="*/ 11 h 61"/>
                  <a:gd name="T8" fmla="*/ 29 w 47"/>
                  <a:gd name="T9" fmla="*/ 14 h 61"/>
                  <a:gd name="T10" fmla="*/ 10 w 47"/>
                  <a:gd name="T11" fmla="*/ 40 h 61"/>
                  <a:gd name="T12" fmla="*/ 36 w 47"/>
                  <a:gd name="T13" fmla="*/ 61 h 61"/>
                  <a:gd name="T14" fmla="*/ 39 w 47"/>
                  <a:gd name="T15" fmla="*/ 61 h 61"/>
                  <a:gd name="T16" fmla="*/ 39 w 47"/>
                  <a:gd name="T17" fmla="*/ 61 h 61"/>
                  <a:gd name="T18" fmla="*/ 41 w 47"/>
                  <a:gd name="T19" fmla="*/ 61 h 61"/>
                  <a:gd name="T20" fmla="*/ 40 w 47"/>
                  <a:gd name="T21" fmla="*/ 55 h 61"/>
                  <a:gd name="T22" fmla="*/ 37 w 47"/>
                  <a:gd name="T23" fmla="*/ 54 h 61"/>
                  <a:gd name="T24" fmla="*/ 36 w 47"/>
                  <a:gd name="T25" fmla="*/ 54 h 61"/>
                  <a:gd name="T26" fmla="*/ 22 w 47"/>
                  <a:gd name="T27" fmla="*/ 51 h 61"/>
                  <a:gd name="T28" fmla="*/ 21 w 47"/>
                  <a:gd name="T29" fmla="*/ 51 h 61"/>
                  <a:gd name="T30" fmla="*/ 20 w 47"/>
                  <a:gd name="T31" fmla="*/ 50 h 61"/>
                  <a:gd name="T32" fmla="*/ 16 w 47"/>
                  <a:gd name="T33" fmla="*/ 44 h 61"/>
                  <a:gd name="T34" fmla="*/ 15 w 47"/>
                  <a:gd name="T35" fmla="*/ 44 h 61"/>
                  <a:gd name="T36" fmla="*/ 17 w 47"/>
                  <a:gd name="T37" fmla="*/ 41 h 61"/>
                  <a:gd name="T38" fmla="*/ 22 w 47"/>
                  <a:gd name="T39" fmla="*/ 33 h 61"/>
                  <a:gd name="T40" fmla="*/ 34 w 47"/>
                  <a:gd name="T41" fmla="*/ 16 h 61"/>
                  <a:gd name="T42" fmla="*/ 37 w 47"/>
                  <a:gd name="T43" fmla="*/ 12 h 61"/>
                  <a:gd name="T44" fmla="*/ 46 w 47"/>
                  <a:gd name="T45" fmla="*/ 4 h 61"/>
                  <a:gd name="T46" fmla="*/ 47 w 47"/>
                  <a:gd name="T47" fmla="*/ 2 h 61"/>
                  <a:gd name="T48" fmla="*/ 45 w 47"/>
                  <a:gd name="T49" fmla="*/ 0 h 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47" h="61">
                    <a:moveTo>
                      <a:pt x="45" y="0"/>
                    </a:moveTo>
                    <a:cubicBezTo>
                      <a:pt x="45" y="0"/>
                      <a:pt x="45" y="0"/>
                      <a:pt x="44" y="0"/>
                    </a:cubicBezTo>
                    <a:cubicBezTo>
                      <a:pt x="41" y="1"/>
                      <a:pt x="38" y="4"/>
                      <a:pt x="35" y="6"/>
                    </a:cubicBezTo>
                    <a:cubicBezTo>
                      <a:pt x="34" y="8"/>
                      <a:pt x="32" y="10"/>
                      <a:pt x="31" y="11"/>
                    </a:cubicBezTo>
                    <a:cubicBezTo>
                      <a:pt x="30" y="12"/>
                      <a:pt x="30" y="13"/>
                      <a:pt x="29" y="14"/>
                    </a:cubicBezTo>
                    <a:cubicBezTo>
                      <a:pt x="22" y="23"/>
                      <a:pt x="16" y="31"/>
                      <a:pt x="10" y="40"/>
                    </a:cubicBezTo>
                    <a:cubicBezTo>
                      <a:pt x="0" y="55"/>
                      <a:pt x="23" y="59"/>
                      <a:pt x="36" y="61"/>
                    </a:cubicBezTo>
                    <a:cubicBezTo>
                      <a:pt x="37" y="61"/>
                      <a:pt x="38" y="61"/>
                      <a:pt x="39" y="61"/>
                    </a:cubicBezTo>
                    <a:cubicBezTo>
                      <a:pt x="39" y="61"/>
                      <a:pt x="39" y="61"/>
                      <a:pt x="39" y="61"/>
                    </a:cubicBezTo>
                    <a:cubicBezTo>
                      <a:pt x="40" y="61"/>
                      <a:pt x="41" y="61"/>
                      <a:pt x="41" y="61"/>
                    </a:cubicBezTo>
                    <a:cubicBezTo>
                      <a:pt x="43" y="59"/>
                      <a:pt x="43" y="56"/>
                      <a:pt x="40" y="55"/>
                    </a:cubicBezTo>
                    <a:cubicBezTo>
                      <a:pt x="39" y="55"/>
                      <a:pt x="38" y="54"/>
                      <a:pt x="37" y="54"/>
                    </a:cubicBezTo>
                    <a:cubicBezTo>
                      <a:pt x="37" y="54"/>
                      <a:pt x="36" y="54"/>
                      <a:pt x="36" y="54"/>
                    </a:cubicBezTo>
                    <a:cubicBezTo>
                      <a:pt x="31" y="53"/>
                      <a:pt x="25" y="53"/>
                      <a:pt x="22" y="51"/>
                    </a:cubicBezTo>
                    <a:cubicBezTo>
                      <a:pt x="21" y="51"/>
                      <a:pt x="21" y="51"/>
                      <a:pt x="21" y="51"/>
                    </a:cubicBezTo>
                    <a:cubicBezTo>
                      <a:pt x="21" y="50"/>
                      <a:pt x="20" y="50"/>
                      <a:pt x="20" y="50"/>
                    </a:cubicBezTo>
                    <a:cubicBezTo>
                      <a:pt x="19" y="48"/>
                      <a:pt x="17" y="46"/>
                      <a:pt x="16" y="44"/>
                    </a:cubicBezTo>
                    <a:cubicBezTo>
                      <a:pt x="15" y="44"/>
                      <a:pt x="15" y="44"/>
                      <a:pt x="15" y="44"/>
                    </a:cubicBezTo>
                    <a:cubicBezTo>
                      <a:pt x="16" y="43"/>
                      <a:pt x="17" y="42"/>
                      <a:pt x="17" y="41"/>
                    </a:cubicBezTo>
                    <a:cubicBezTo>
                      <a:pt x="18" y="39"/>
                      <a:pt x="20" y="35"/>
                      <a:pt x="22" y="33"/>
                    </a:cubicBezTo>
                    <a:cubicBezTo>
                      <a:pt x="26" y="27"/>
                      <a:pt x="30" y="22"/>
                      <a:pt x="34" y="16"/>
                    </a:cubicBezTo>
                    <a:cubicBezTo>
                      <a:pt x="35" y="15"/>
                      <a:pt x="36" y="14"/>
                      <a:pt x="37" y="12"/>
                    </a:cubicBezTo>
                    <a:cubicBezTo>
                      <a:pt x="40" y="9"/>
                      <a:pt x="42" y="5"/>
                      <a:pt x="46" y="4"/>
                    </a:cubicBezTo>
                    <a:cubicBezTo>
                      <a:pt x="47" y="3"/>
                      <a:pt x="47" y="3"/>
                      <a:pt x="47" y="2"/>
                    </a:cubicBezTo>
                    <a:cubicBezTo>
                      <a:pt x="47" y="1"/>
                      <a:pt x="46" y="0"/>
                      <a:pt x="45" y="0"/>
                    </a:cubicBezTo>
                  </a:path>
                </a:pathLst>
              </a:custGeom>
              <a:solidFill>
                <a:srgbClr val="544D4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67" name="Freeform 113">
                <a:extLst>
                  <a:ext uri="{FF2B5EF4-FFF2-40B4-BE49-F238E27FC236}">
                    <a16:creationId xmlns:a16="http://schemas.microsoft.com/office/drawing/2014/main" id="{658BBE6A-A99E-47C8-A821-9F1C0CF28BF1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2125" y="1787"/>
                <a:ext cx="91" cy="79"/>
              </a:xfrm>
              <a:custGeom>
                <a:avLst/>
                <a:gdLst>
                  <a:gd name="T0" fmla="*/ 17 w 85"/>
                  <a:gd name="T1" fmla="*/ 21 h 75"/>
                  <a:gd name="T2" fmla="*/ 48 w 85"/>
                  <a:gd name="T3" fmla="*/ 7 h 75"/>
                  <a:gd name="T4" fmla="*/ 51 w 85"/>
                  <a:gd name="T5" fmla="*/ 3 h 75"/>
                  <a:gd name="T6" fmla="*/ 75 w 85"/>
                  <a:gd name="T7" fmla="*/ 20 h 75"/>
                  <a:gd name="T8" fmla="*/ 76 w 85"/>
                  <a:gd name="T9" fmla="*/ 44 h 75"/>
                  <a:gd name="T10" fmla="*/ 64 w 85"/>
                  <a:gd name="T11" fmla="*/ 62 h 75"/>
                  <a:gd name="T12" fmla="*/ 46 w 85"/>
                  <a:gd name="T13" fmla="*/ 67 h 75"/>
                  <a:gd name="T14" fmla="*/ 37 w 85"/>
                  <a:gd name="T15" fmla="*/ 66 h 75"/>
                  <a:gd name="T16" fmla="*/ 12 w 85"/>
                  <a:gd name="T17" fmla="*/ 35 h 75"/>
                  <a:gd name="T18" fmla="*/ 17 w 85"/>
                  <a:gd name="T19" fmla="*/ 21 h 75"/>
                  <a:gd name="T20" fmla="*/ 41 w 85"/>
                  <a:gd name="T21" fmla="*/ 0 h 75"/>
                  <a:gd name="T22" fmla="*/ 33 w 85"/>
                  <a:gd name="T23" fmla="*/ 1 h 75"/>
                  <a:gd name="T24" fmla="*/ 33 w 85"/>
                  <a:gd name="T25" fmla="*/ 1 h 75"/>
                  <a:gd name="T26" fmla="*/ 15 w 85"/>
                  <a:gd name="T27" fmla="*/ 12 h 75"/>
                  <a:gd name="T28" fmla="*/ 15 w 85"/>
                  <a:gd name="T29" fmla="*/ 12 h 75"/>
                  <a:gd name="T30" fmla="*/ 10 w 85"/>
                  <a:gd name="T31" fmla="*/ 19 h 75"/>
                  <a:gd name="T32" fmla="*/ 11 w 85"/>
                  <a:gd name="T33" fmla="*/ 19 h 75"/>
                  <a:gd name="T34" fmla="*/ 11 w 85"/>
                  <a:gd name="T35" fmla="*/ 19 h 75"/>
                  <a:gd name="T36" fmla="*/ 12 w 85"/>
                  <a:gd name="T37" fmla="*/ 21 h 75"/>
                  <a:gd name="T38" fmla="*/ 8 w 85"/>
                  <a:gd name="T39" fmla="*/ 22 h 75"/>
                  <a:gd name="T40" fmla="*/ 4 w 85"/>
                  <a:gd name="T41" fmla="*/ 34 h 75"/>
                  <a:gd name="T42" fmla="*/ 38 w 85"/>
                  <a:gd name="T43" fmla="*/ 74 h 75"/>
                  <a:gd name="T44" fmla="*/ 46 w 85"/>
                  <a:gd name="T45" fmla="*/ 75 h 75"/>
                  <a:gd name="T46" fmla="*/ 81 w 85"/>
                  <a:gd name="T47" fmla="*/ 50 h 75"/>
                  <a:gd name="T48" fmla="*/ 81 w 85"/>
                  <a:gd name="T49" fmla="*/ 50 h 75"/>
                  <a:gd name="T50" fmla="*/ 83 w 85"/>
                  <a:gd name="T51" fmla="*/ 42 h 75"/>
                  <a:gd name="T52" fmla="*/ 77 w 85"/>
                  <a:gd name="T53" fmla="*/ 13 h 75"/>
                  <a:gd name="T54" fmla="*/ 48 w 85"/>
                  <a:gd name="T55" fmla="*/ 0 h 75"/>
                  <a:gd name="T56" fmla="*/ 46 w 85"/>
                  <a:gd name="T57" fmla="*/ 0 h 75"/>
                  <a:gd name="T58" fmla="*/ 46 w 85"/>
                  <a:gd name="T59" fmla="*/ 0 h 75"/>
                  <a:gd name="T60" fmla="*/ 41 w 85"/>
                  <a:gd name="T61" fmla="*/ 0 h 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85" h="75">
                    <a:moveTo>
                      <a:pt x="17" y="21"/>
                    </a:moveTo>
                    <a:cubicBezTo>
                      <a:pt x="24" y="12"/>
                      <a:pt x="36" y="7"/>
                      <a:pt x="48" y="7"/>
                    </a:cubicBezTo>
                    <a:cubicBezTo>
                      <a:pt x="50" y="7"/>
                      <a:pt x="51" y="5"/>
                      <a:pt x="51" y="3"/>
                    </a:cubicBezTo>
                    <a:cubicBezTo>
                      <a:pt x="62" y="5"/>
                      <a:pt x="70" y="9"/>
                      <a:pt x="75" y="20"/>
                    </a:cubicBezTo>
                    <a:cubicBezTo>
                      <a:pt x="79" y="28"/>
                      <a:pt x="78" y="37"/>
                      <a:pt x="76" y="44"/>
                    </a:cubicBezTo>
                    <a:cubicBezTo>
                      <a:pt x="74" y="52"/>
                      <a:pt x="70" y="58"/>
                      <a:pt x="64" y="62"/>
                    </a:cubicBezTo>
                    <a:cubicBezTo>
                      <a:pt x="59" y="65"/>
                      <a:pt x="53" y="67"/>
                      <a:pt x="46" y="67"/>
                    </a:cubicBezTo>
                    <a:cubicBezTo>
                      <a:pt x="43" y="67"/>
                      <a:pt x="40" y="67"/>
                      <a:pt x="37" y="66"/>
                    </a:cubicBezTo>
                    <a:cubicBezTo>
                      <a:pt x="23" y="62"/>
                      <a:pt x="9" y="51"/>
                      <a:pt x="12" y="35"/>
                    </a:cubicBezTo>
                    <a:cubicBezTo>
                      <a:pt x="12" y="30"/>
                      <a:pt x="15" y="25"/>
                      <a:pt x="17" y="21"/>
                    </a:cubicBezTo>
                    <a:moveTo>
                      <a:pt x="41" y="0"/>
                    </a:moveTo>
                    <a:cubicBezTo>
                      <a:pt x="38" y="0"/>
                      <a:pt x="35" y="0"/>
                      <a:pt x="33" y="1"/>
                    </a:cubicBezTo>
                    <a:cubicBezTo>
                      <a:pt x="33" y="1"/>
                      <a:pt x="33" y="1"/>
                      <a:pt x="33" y="1"/>
                    </a:cubicBezTo>
                    <a:cubicBezTo>
                      <a:pt x="26" y="3"/>
                      <a:pt x="20" y="7"/>
                      <a:pt x="15" y="12"/>
                    </a:cubicBezTo>
                    <a:cubicBezTo>
                      <a:pt x="15" y="12"/>
                      <a:pt x="15" y="12"/>
                      <a:pt x="15" y="12"/>
                    </a:cubicBezTo>
                    <a:cubicBezTo>
                      <a:pt x="13" y="14"/>
                      <a:pt x="12" y="17"/>
                      <a:pt x="10" y="19"/>
                    </a:cubicBezTo>
                    <a:cubicBezTo>
                      <a:pt x="10" y="19"/>
                      <a:pt x="11" y="19"/>
                      <a:pt x="11" y="19"/>
                    </a:cubicBezTo>
                    <a:cubicBezTo>
                      <a:pt x="11" y="19"/>
                      <a:pt x="11" y="19"/>
                      <a:pt x="11" y="19"/>
                    </a:cubicBezTo>
                    <a:cubicBezTo>
                      <a:pt x="13" y="19"/>
                      <a:pt x="13" y="21"/>
                      <a:pt x="12" y="21"/>
                    </a:cubicBezTo>
                    <a:cubicBezTo>
                      <a:pt x="10" y="22"/>
                      <a:pt x="9" y="22"/>
                      <a:pt x="8" y="22"/>
                    </a:cubicBezTo>
                    <a:cubicBezTo>
                      <a:pt x="6" y="26"/>
                      <a:pt x="5" y="30"/>
                      <a:pt x="4" y="34"/>
                    </a:cubicBezTo>
                    <a:cubicBezTo>
                      <a:pt x="0" y="54"/>
                      <a:pt x="20" y="71"/>
                      <a:pt x="38" y="74"/>
                    </a:cubicBezTo>
                    <a:cubicBezTo>
                      <a:pt x="41" y="75"/>
                      <a:pt x="43" y="75"/>
                      <a:pt x="46" y="75"/>
                    </a:cubicBezTo>
                    <a:cubicBezTo>
                      <a:pt x="62" y="75"/>
                      <a:pt x="75" y="65"/>
                      <a:pt x="81" y="50"/>
                    </a:cubicBezTo>
                    <a:cubicBezTo>
                      <a:pt x="81" y="50"/>
                      <a:pt x="81" y="50"/>
                      <a:pt x="81" y="50"/>
                    </a:cubicBezTo>
                    <a:cubicBezTo>
                      <a:pt x="82" y="48"/>
                      <a:pt x="83" y="45"/>
                      <a:pt x="83" y="42"/>
                    </a:cubicBezTo>
                    <a:cubicBezTo>
                      <a:pt x="85" y="31"/>
                      <a:pt x="83" y="21"/>
                      <a:pt x="77" y="13"/>
                    </a:cubicBezTo>
                    <a:cubicBezTo>
                      <a:pt x="68" y="1"/>
                      <a:pt x="62" y="0"/>
                      <a:pt x="48" y="0"/>
                    </a:cubicBezTo>
                    <a:cubicBezTo>
                      <a:pt x="48" y="0"/>
                      <a:pt x="47" y="0"/>
                      <a:pt x="46" y="0"/>
                    </a:cubicBezTo>
                    <a:cubicBezTo>
                      <a:pt x="46" y="0"/>
                      <a:pt x="46" y="0"/>
                      <a:pt x="46" y="0"/>
                    </a:cubicBezTo>
                    <a:cubicBezTo>
                      <a:pt x="44" y="0"/>
                      <a:pt x="42" y="0"/>
                      <a:pt x="41" y="0"/>
                    </a:cubicBezTo>
                  </a:path>
                </a:pathLst>
              </a:custGeom>
              <a:solidFill>
                <a:srgbClr val="544D4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68" name="Freeform 114">
                <a:extLst>
                  <a:ext uri="{FF2B5EF4-FFF2-40B4-BE49-F238E27FC236}">
                    <a16:creationId xmlns:a16="http://schemas.microsoft.com/office/drawing/2014/main" id="{C0C3E960-1E1D-4DBC-86A0-E6AB1AF3D217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195" y="1868"/>
                <a:ext cx="89" cy="71"/>
              </a:xfrm>
              <a:custGeom>
                <a:avLst/>
                <a:gdLst>
                  <a:gd name="T0" fmla="*/ 38 w 84"/>
                  <a:gd name="T1" fmla="*/ 0 h 67"/>
                  <a:gd name="T2" fmla="*/ 21 w 84"/>
                  <a:gd name="T3" fmla="*/ 3 h 67"/>
                  <a:gd name="T4" fmla="*/ 1 w 84"/>
                  <a:gd name="T5" fmla="*/ 26 h 67"/>
                  <a:gd name="T6" fmla="*/ 27 w 84"/>
                  <a:gd name="T7" fmla="*/ 64 h 67"/>
                  <a:gd name="T8" fmla="*/ 30 w 84"/>
                  <a:gd name="T9" fmla="*/ 58 h 67"/>
                  <a:gd name="T10" fmla="*/ 31 w 84"/>
                  <a:gd name="T11" fmla="*/ 58 h 67"/>
                  <a:gd name="T12" fmla="*/ 32 w 84"/>
                  <a:gd name="T13" fmla="*/ 59 h 67"/>
                  <a:gd name="T14" fmla="*/ 30 w 84"/>
                  <a:gd name="T15" fmla="*/ 65 h 67"/>
                  <a:gd name="T16" fmla="*/ 31 w 84"/>
                  <a:gd name="T17" fmla="*/ 65 h 67"/>
                  <a:gd name="T18" fmla="*/ 34 w 84"/>
                  <a:gd name="T19" fmla="*/ 66 h 67"/>
                  <a:gd name="T20" fmla="*/ 41 w 84"/>
                  <a:gd name="T21" fmla="*/ 67 h 67"/>
                  <a:gd name="T22" fmla="*/ 76 w 84"/>
                  <a:gd name="T23" fmla="*/ 41 h 67"/>
                  <a:gd name="T24" fmla="*/ 76 w 84"/>
                  <a:gd name="T25" fmla="*/ 41 h 67"/>
                  <a:gd name="T26" fmla="*/ 54 w 84"/>
                  <a:gd name="T27" fmla="*/ 3 h 67"/>
                  <a:gd name="T28" fmla="*/ 54 w 84"/>
                  <a:gd name="T29" fmla="*/ 3 h 67"/>
                  <a:gd name="T30" fmla="*/ 53 w 84"/>
                  <a:gd name="T31" fmla="*/ 5 h 67"/>
                  <a:gd name="T32" fmla="*/ 69 w 84"/>
                  <a:gd name="T33" fmla="*/ 41 h 67"/>
                  <a:gd name="T34" fmla="*/ 60 w 84"/>
                  <a:gd name="T35" fmla="*/ 53 h 67"/>
                  <a:gd name="T36" fmla="*/ 41 w 84"/>
                  <a:gd name="T37" fmla="*/ 60 h 67"/>
                  <a:gd name="T38" fmla="*/ 38 w 84"/>
                  <a:gd name="T39" fmla="*/ 60 h 67"/>
                  <a:gd name="T40" fmla="*/ 36 w 84"/>
                  <a:gd name="T41" fmla="*/ 59 h 67"/>
                  <a:gd name="T42" fmla="*/ 9 w 84"/>
                  <a:gd name="T43" fmla="*/ 32 h 67"/>
                  <a:gd name="T44" fmla="*/ 14 w 84"/>
                  <a:gd name="T45" fmla="*/ 15 h 67"/>
                  <a:gd name="T46" fmla="*/ 43 w 84"/>
                  <a:gd name="T47" fmla="*/ 8 h 67"/>
                  <a:gd name="T48" fmla="*/ 46 w 84"/>
                  <a:gd name="T49" fmla="*/ 2 h 67"/>
                  <a:gd name="T50" fmla="*/ 46 w 84"/>
                  <a:gd name="T51" fmla="*/ 2 h 67"/>
                  <a:gd name="T52" fmla="*/ 44 w 84"/>
                  <a:gd name="T53" fmla="*/ 1 h 67"/>
                  <a:gd name="T54" fmla="*/ 43 w 84"/>
                  <a:gd name="T55" fmla="*/ 1 h 67"/>
                  <a:gd name="T56" fmla="*/ 43 w 84"/>
                  <a:gd name="T57" fmla="*/ 0 h 67"/>
                  <a:gd name="T58" fmla="*/ 38 w 84"/>
                  <a:gd name="T59" fmla="*/ 0 h 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84" h="67">
                    <a:moveTo>
                      <a:pt x="38" y="0"/>
                    </a:moveTo>
                    <a:cubicBezTo>
                      <a:pt x="33" y="0"/>
                      <a:pt x="27" y="1"/>
                      <a:pt x="21" y="3"/>
                    </a:cubicBezTo>
                    <a:cubicBezTo>
                      <a:pt x="11" y="6"/>
                      <a:pt x="2" y="13"/>
                      <a:pt x="1" y="26"/>
                    </a:cubicBezTo>
                    <a:cubicBezTo>
                      <a:pt x="0" y="42"/>
                      <a:pt x="13" y="58"/>
                      <a:pt x="27" y="64"/>
                    </a:cubicBezTo>
                    <a:cubicBezTo>
                      <a:pt x="28" y="62"/>
                      <a:pt x="29" y="60"/>
                      <a:pt x="30" y="58"/>
                    </a:cubicBezTo>
                    <a:cubicBezTo>
                      <a:pt x="30" y="58"/>
                      <a:pt x="30" y="58"/>
                      <a:pt x="31" y="58"/>
                    </a:cubicBezTo>
                    <a:cubicBezTo>
                      <a:pt x="31" y="58"/>
                      <a:pt x="32" y="58"/>
                      <a:pt x="32" y="59"/>
                    </a:cubicBezTo>
                    <a:cubicBezTo>
                      <a:pt x="31" y="61"/>
                      <a:pt x="31" y="63"/>
                      <a:pt x="30" y="65"/>
                    </a:cubicBezTo>
                    <a:cubicBezTo>
                      <a:pt x="30" y="65"/>
                      <a:pt x="31" y="65"/>
                      <a:pt x="31" y="65"/>
                    </a:cubicBezTo>
                    <a:cubicBezTo>
                      <a:pt x="32" y="65"/>
                      <a:pt x="33" y="66"/>
                      <a:pt x="34" y="66"/>
                    </a:cubicBezTo>
                    <a:cubicBezTo>
                      <a:pt x="36" y="66"/>
                      <a:pt x="38" y="67"/>
                      <a:pt x="41" y="67"/>
                    </a:cubicBezTo>
                    <a:cubicBezTo>
                      <a:pt x="56" y="67"/>
                      <a:pt x="70" y="56"/>
                      <a:pt x="76" y="41"/>
                    </a:cubicBezTo>
                    <a:cubicBezTo>
                      <a:pt x="76" y="41"/>
                      <a:pt x="76" y="41"/>
                      <a:pt x="76" y="41"/>
                    </a:cubicBezTo>
                    <a:cubicBezTo>
                      <a:pt x="84" y="21"/>
                      <a:pt x="69" y="13"/>
                      <a:pt x="54" y="3"/>
                    </a:cubicBezTo>
                    <a:cubicBezTo>
                      <a:pt x="54" y="3"/>
                      <a:pt x="54" y="3"/>
                      <a:pt x="54" y="3"/>
                    </a:cubicBezTo>
                    <a:cubicBezTo>
                      <a:pt x="53" y="3"/>
                      <a:pt x="52" y="4"/>
                      <a:pt x="53" y="5"/>
                    </a:cubicBezTo>
                    <a:cubicBezTo>
                      <a:pt x="64" y="15"/>
                      <a:pt x="78" y="24"/>
                      <a:pt x="69" y="41"/>
                    </a:cubicBezTo>
                    <a:cubicBezTo>
                      <a:pt x="67" y="46"/>
                      <a:pt x="64" y="50"/>
                      <a:pt x="60" y="53"/>
                    </a:cubicBezTo>
                    <a:cubicBezTo>
                      <a:pt x="55" y="57"/>
                      <a:pt x="48" y="60"/>
                      <a:pt x="41" y="60"/>
                    </a:cubicBezTo>
                    <a:cubicBezTo>
                      <a:pt x="40" y="60"/>
                      <a:pt x="39" y="60"/>
                      <a:pt x="38" y="60"/>
                    </a:cubicBezTo>
                    <a:cubicBezTo>
                      <a:pt x="37" y="59"/>
                      <a:pt x="37" y="59"/>
                      <a:pt x="36" y="59"/>
                    </a:cubicBezTo>
                    <a:cubicBezTo>
                      <a:pt x="23" y="56"/>
                      <a:pt x="12" y="45"/>
                      <a:pt x="9" y="32"/>
                    </a:cubicBezTo>
                    <a:cubicBezTo>
                      <a:pt x="8" y="24"/>
                      <a:pt x="10" y="19"/>
                      <a:pt x="14" y="15"/>
                    </a:cubicBezTo>
                    <a:cubicBezTo>
                      <a:pt x="21" y="9"/>
                      <a:pt x="34" y="8"/>
                      <a:pt x="43" y="8"/>
                    </a:cubicBezTo>
                    <a:cubicBezTo>
                      <a:pt x="46" y="8"/>
                      <a:pt x="47" y="4"/>
                      <a:pt x="46" y="2"/>
                    </a:cubicBezTo>
                    <a:cubicBezTo>
                      <a:pt x="46" y="2"/>
                      <a:pt x="46" y="2"/>
                      <a:pt x="46" y="2"/>
                    </a:cubicBezTo>
                    <a:cubicBezTo>
                      <a:pt x="45" y="2"/>
                      <a:pt x="45" y="2"/>
                      <a:pt x="44" y="1"/>
                    </a:cubicBezTo>
                    <a:cubicBezTo>
                      <a:pt x="44" y="1"/>
                      <a:pt x="44" y="1"/>
                      <a:pt x="43" y="1"/>
                    </a:cubicBezTo>
                    <a:cubicBezTo>
                      <a:pt x="43" y="1"/>
                      <a:pt x="43" y="1"/>
                      <a:pt x="43" y="0"/>
                    </a:cubicBezTo>
                    <a:cubicBezTo>
                      <a:pt x="41" y="0"/>
                      <a:pt x="40" y="0"/>
                      <a:pt x="38" y="0"/>
                    </a:cubicBezTo>
                  </a:path>
                </a:pathLst>
              </a:custGeom>
              <a:solidFill>
                <a:srgbClr val="544D4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69" name="Freeform 115">
                <a:extLst>
                  <a:ext uri="{FF2B5EF4-FFF2-40B4-BE49-F238E27FC236}">
                    <a16:creationId xmlns:a16="http://schemas.microsoft.com/office/drawing/2014/main" id="{4AD029FB-AECF-496E-ABCE-3C4AB9897B1A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2022" y="1834"/>
                <a:ext cx="91" cy="77"/>
              </a:xfrm>
              <a:custGeom>
                <a:avLst/>
                <a:gdLst>
                  <a:gd name="T0" fmla="*/ 18 w 86"/>
                  <a:gd name="T1" fmla="*/ 19 h 72"/>
                  <a:gd name="T2" fmla="*/ 27 w 86"/>
                  <a:gd name="T3" fmla="*/ 11 h 72"/>
                  <a:gd name="T4" fmla="*/ 38 w 86"/>
                  <a:gd name="T5" fmla="*/ 8 h 72"/>
                  <a:gd name="T6" fmla="*/ 56 w 86"/>
                  <a:gd name="T7" fmla="*/ 13 h 72"/>
                  <a:gd name="T8" fmla="*/ 58 w 86"/>
                  <a:gd name="T9" fmla="*/ 14 h 72"/>
                  <a:gd name="T10" fmla="*/ 61 w 86"/>
                  <a:gd name="T11" fmla="*/ 11 h 72"/>
                  <a:gd name="T12" fmla="*/ 69 w 86"/>
                  <a:gd name="T13" fmla="*/ 53 h 72"/>
                  <a:gd name="T14" fmla="*/ 64 w 86"/>
                  <a:gd name="T15" fmla="*/ 58 h 72"/>
                  <a:gd name="T16" fmla="*/ 64 w 86"/>
                  <a:gd name="T17" fmla="*/ 58 h 72"/>
                  <a:gd name="T18" fmla="*/ 44 w 86"/>
                  <a:gd name="T19" fmla="*/ 64 h 72"/>
                  <a:gd name="T20" fmla="*/ 38 w 86"/>
                  <a:gd name="T21" fmla="*/ 64 h 72"/>
                  <a:gd name="T22" fmla="*/ 38 w 86"/>
                  <a:gd name="T23" fmla="*/ 64 h 72"/>
                  <a:gd name="T24" fmla="*/ 34 w 86"/>
                  <a:gd name="T25" fmla="*/ 63 h 72"/>
                  <a:gd name="T26" fmla="*/ 13 w 86"/>
                  <a:gd name="T27" fmla="*/ 32 h 72"/>
                  <a:gd name="T28" fmla="*/ 18 w 86"/>
                  <a:gd name="T29" fmla="*/ 19 h 72"/>
                  <a:gd name="T30" fmla="*/ 18 w 86"/>
                  <a:gd name="T31" fmla="*/ 19 h 72"/>
                  <a:gd name="T32" fmla="*/ 37 w 86"/>
                  <a:gd name="T33" fmla="*/ 0 h 72"/>
                  <a:gd name="T34" fmla="*/ 29 w 86"/>
                  <a:gd name="T35" fmla="*/ 1 h 72"/>
                  <a:gd name="T36" fmla="*/ 29 w 86"/>
                  <a:gd name="T37" fmla="*/ 1 h 72"/>
                  <a:gd name="T38" fmla="*/ 7 w 86"/>
                  <a:gd name="T39" fmla="*/ 22 h 72"/>
                  <a:gd name="T40" fmla="*/ 23 w 86"/>
                  <a:gd name="T41" fmla="*/ 69 h 72"/>
                  <a:gd name="T42" fmla="*/ 27 w 86"/>
                  <a:gd name="T43" fmla="*/ 70 h 72"/>
                  <a:gd name="T44" fmla="*/ 28 w 86"/>
                  <a:gd name="T45" fmla="*/ 68 h 72"/>
                  <a:gd name="T46" fmla="*/ 29 w 86"/>
                  <a:gd name="T47" fmla="*/ 66 h 72"/>
                  <a:gd name="T48" fmla="*/ 32 w 86"/>
                  <a:gd name="T49" fmla="*/ 69 h 72"/>
                  <a:gd name="T50" fmla="*/ 32 w 86"/>
                  <a:gd name="T51" fmla="*/ 71 h 72"/>
                  <a:gd name="T52" fmla="*/ 39 w 86"/>
                  <a:gd name="T53" fmla="*/ 72 h 72"/>
                  <a:gd name="T54" fmla="*/ 43 w 86"/>
                  <a:gd name="T55" fmla="*/ 72 h 72"/>
                  <a:gd name="T56" fmla="*/ 77 w 86"/>
                  <a:gd name="T57" fmla="*/ 54 h 72"/>
                  <a:gd name="T58" fmla="*/ 79 w 86"/>
                  <a:gd name="T59" fmla="*/ 49 h 72"/>
                  <a:gd name="T60" fmla="*/ 79 w 86"/>
                  <a:gd name="T61" fmla="*/ 49 h 72"/>
                  <a:gd name="T62" fmla="*/ 55 w 86"/>
                  <a:gd name="T63" fmla="*/ 4 h 72"/>
                  <a:gd name="T64" fmla="*/ 54 w 86"/>
                  <a:gd name="T65" fmla="*/ 4 h 72"/>
                  <a:gd name="T66" fmla="*/ 54 w 86"/>
                  <a:gd name="T67" fmla="*/ 4 h 72"/>
                  <a:gd name="T68" fmla="*/ 37 w 86"/>
                  <a:gd name="T69" fmla="*/ 0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86" h="72">
                    <a:moveTo>
                      <a:pt x="18" y="19"/>
                    </a:moveTo>
                    <a:cubicBezTo>
                      <a:pt x="20" y="16"/>
                      <a:pt x="23" y="13"/>
                      <a:pt x="27" y="11"/>
                    </a:cubicBezTo>
                    <a:cubicBezTo>
                      <a:pt x="31" y="9"/>
                      <a:pt x="34" y="8"/>
                      <a:pt x="38" y="8"/>
                    </a:cubicBezTo>
                    <a:cubicBezTo>
                      <a:pt x="44" y="8"/>
                      <a:pt x="50" y="11"/>
                      <a:pt x="56" y="13"/>
                    </a:cubicBezTo>
                    <a:cubicBezTo>
                      <a:pt x="57" y="14"/>
                      <a:pt x="57" y="14"/>
                      <a:pt x="58" y="14"/>
                    </a:cubicBezTo>
                    <a:cubicBezTo>
                      <a:pt x="59" y="14"/>
                      <a:pt x="60" y="13"/>
                      <a:pt x="61" y="11"/>
                    </a:cubicBezTo>
                    <a:cubicBezTo>
                      <a:pt x="73" y="21"/>
                      <a:pt x="80" y="38"/>
                      <a:pt x="69" y="53"/>
                    </a:cubicBezTo>
                    <a:cubicBezTo>
                      <a:pt x="68" y="55"/>
                      <a:pt x="66" y="57"/>
                      <a:pt x="64" y="58"/>
                    </a:cubicBezTo>
                    <a:cubicBezTo>
                      <a:pt x="64" y="58"/>
                      <a:pt x="64" y="58"/>
                      <a:pt x="64" y="58"/>
                    </a:cubicBezTo>
                    <a:cubicBezTo>
                      <a:pt x="59" y="63"/>
                      <a:pt x="51" y="64"/>
                      <a:pt x="44" y="64"/>
                    </a:cubicBezTo>
                    <a:cubicBezTo>
                      <a:pt x="42" y="64"/>
                      <a:pt x="40" y="64"/>
                      <a:pt x="38" y="64"/>
                    </a:cubicBezTo>
                    <a:cubicBezTo>
                      <a:pt x="38" y="64"/>
                      <a:pt x="38" y="64"/>
                      <a:pt x="38" y="64"/>
                    </a:cubicBezTo>
                    <a:cubicBezTo>
                      <a:pt x="36" y="64"/>
                      <a:pt x="35" y="64"/>
                      <a:pt x="34" y="63"/>
                    </a:cubicBezTo>
                    <a:cubicBezTo>
                      <a:pt x="17" y="60"/>
                      <a:pt x="10" y="48"/>
                      <a:pt x="13" y="32"/>
                    </a:cubicBezTo>
                    <a:cubicBezTo>
                      <a:pt x="14" y="27"/>
                      <a:pt x="15" y="23"/>
                      <a:pt x="18" y="19"/>
                    </a:cubicBezTo>
                    <a:cubicBezTo>
                      <a:pt x="18" y="19"/>
                      <a:pt x="18" y="19"/>
                      <a:pt x="18" y="19"/>
                    </a:cubicBezTo>
                    <a:moveTo>
                      <a:pt x="37" y="0"/>
                    </a:moveTo>
                    <a:cubicBezTo>
                      <a:pt x="35" y="0"/>
                      <a:pt x="32" y="0"/>
                      <a:pt x="29" y="1"/>
                    </a:cubicBezTo>
                    <a:cubicBezTo>
                      <a:pt x="29" y="1"/>
                      <a:pt x="29" y="1"/>
                      <a:pt x="29" y="1"/>
                    </a:cubicBezTo>
                    <a:cubicBezTo>
                      <a:pt x="19" y="3"/>
                      <a:pt x="11" y="10"/>
                      <a:pt x="7" y="22"/>
                    </a:cubicBezTo>
                    <a:cubicBezTo>
                      <a:pt x="0" y="40"/>
                      <a:pt x="4" y="61"/>
                      <a:pt x="23" y="69"/>
                    </a:cubicBezTo>
                    <a:cubicBezTo>
                      <a:pt x="25" y="69"/>
                      <a:pt x="26" y="70"/>
                      <a:pt x="27" y="70"/>
                    </a:cubicBezTo>
                    <a:cubicBezTo>
                      <a:pt x="27" y="69"/>
                      <a:pt x="27" y="69"/>
                      <a:pt x="28" y="68"/>
                    </a:cubicBezTo>
                    <a:cubicBezTo>
                      <a:pt x="28" y="67"/>
                      <a:pt x="29" y="66"/>
                      <a:pt x="29" y="66"/>
                    </a:cubicBezTo>
                    <a:cubicBezTo>
                      <a:pt x="31" y="66"/>
                      <a:pt x="32" y="67"/>
                      <a:pt x="32" y="69"/>
                    </a:cubicBezTo>
                    <a:cubicBezTo>
                      <a:pt x="32" y="70"/>
                      <a:pt x="32" y="70"/>
                      <a:pt x="32" y="71"/>
                    </a:cubicBezTo>
                    <a:cubicBezTo>
                      <a:pt x="34" y="72"/>
                      <a:pt x="36" y="72"/>
                      <a:pt x="39" y="72"/>
                    </a:cubicBezTo>
                    <a:cubicBezTo>
                      <a:pt x="40" y="72"/>
                      <a:pt x="42" y="72"/>
                      <a:pt x="43" y="72"/>
                    </a:cubicBezTo>
                    <a:cubicBezTo>
                      <a:pt x="57" y="72"/>
                      <a:pt x="70" y="67"/>
                      <a:pt x="77" y="54"/>
                    </a:cubicBezTo>
                    <a:cubicBezTo>
                      <a:pt x="78" y="52"/>
                      <a:pt x="79" y="50"/>
                      <a:pt x="79" y="49"/>
                    </a:cubicBezTo>
                    <a:cubicBezTo>
                      <a:pt x="79" y="49"/>
                      <a:pt x="79" y="49"/>
                      <a:pt x="79" y="49"/>
                    </a:cubicBezTo>
                    <a:cubicBezTo>
                      <a:pt x="86" y="29"/>
                      <a:pt x="74" y="11"/>
                      <a:pt x="55" y="4"/>
                    </a:cubicBezTo>
                    <a:cubicBezTo>
                      <a:pt x="55" y="4"/>
                      <a:pt x="54" y="4"/>
                      <a:pt x="54" y="4"/>
                    </a:cubicBezTo>
                    <a:cubicBezTo>
                      <a:pt x="54" y="4"/>
                      <a:pt x="54" y="4"/>
                      <a:pt x="54" y="4"/>
                    </a:cubicBezTo>
                    <a:cubicBezTo>
                      <a:pt x="49" y="1"/>
                      <a:pt x="43" y="0"/>
                      <a:pt x="37" y="0"/>
                    </a:cubicBezTo>
                  </a:path>
                </a:pathLst>
              </a:custGeom>
              <a:solidFill>
                <a:srgbClr val="544D4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70" name="Freeform 116">
                <a:extLst>
                  <a:ext uri="{FF2B5EF4-FFF2-40B4-BE49-F238E27FC236}">
                    <a16:creationId xmlns:a16="http://schemas.microsoft.com/office/drawing/2014/main" id="{887726B0-9DDC-436F-B6E0-3184C90B73DF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2087" y="1926"/>
                <a:ext cx="82" cy="73"/>
              </a:xfrm>
              <a:custGeom>
                <a:avLst/>
                <a:gdLst>
                  <a:gd name="T0" fmla="*/ 14 w 77"/>
                  <a:gd name="T1" fmla="*/ 17 h 69"/>
                  <a:gd name="T2" fmla="*/ 42 w 77"/>
                  <a:gd name="T3" fmla="*/ 5 h 69"/>
                  <a:gd name="T4" fmla="*/ 43 w 77"/>
                  <a:gd name="T5" fmla="*/ 4 h 69"/>
                  <a:gd name="T6" fmla="*/ 44 w 77"/>
                  <a:gd name="T7" fmla="*/ 5 h 69"/>
                  <a:gd name="T8" fmla="*/ 66 w 77"/>
                  <a:gd name="T9" fmla="*/ 15 h 69"/>
                  <a:gd name="T10" fmla="*/ 71 w 77"/>
                  <a:gd name="T11" fmla="*/ 32 h 69"/>
                  <a:gd name="T12" fmla="*/ 61 w 77"/>
                  <a:gd name="T13" fmla="*/ 55 h 69"/>
                  <a:gd name="T14" fmla="*/ 44 w 77"/>
                  <a:gd name="T15" fmla="*/ 62 h 69"/>
                  <a:gd name="T16" fmla="*/ 42 w 77"/>
                  <a:gd name="T17" fmla="*/ 62 h 69"/>
                  <a:gd name="T18" fmla="*/ 9 w 77"/>
                  <a:gd name="T19" fmla="*/ 27 h 69"/>
                  <a:gd name="T20" fmla="*/ 14 w 77"/>
                  <a:gd name="T21" fmla="*/ 17 h 69"/>
                  <a:gd name="T22" fmla="*/ 14 w 77"/>
                  <a:gd name="T23" fmla="*/ 17 h 69"/>
                  <a:gd name="T24" fmla="*/ 39 w 77"/>
                  <a:gd name="T25" fmla="*/ 0 h 69"/>
                  <a:gd name="T26" fmla="*/ 24 w 77"/>
                  <a:gd name="T27" fmla="*/ 2 h 69"/>
                  <a:gd name="T28" fmla="*/ 7 w 77"/>
                  <a:gd name="T29" fmla="*/ 13 h 69"/>
                  <a:gd name="T30" fmla="*/ 1 w 77"/>
                  <a:gd name="T31" fmla="*/ 27 h 69"/>
                  <a:gd name="T32" fmla="*/ 39 w 77"/>
                  <a:gd name="T33" fmla="*/ 69 h 69"/>
                  <a:gd name="T34" fmla="*/ 41 w 77"/>
                  <a:gd name="T35" fmla="*/ 69 h 69"/>
                  <a:gd name="T36" fmla="*/ 75 w 77"/>
                  <a:gd name="T37" fmla="*/ 47 h 69"/>
                  <a:gd name="T38" fmla="*/ 77 w 77"/>
                  <a:gd name="T39" fmla="*/ 37 h 69"/>
                  <a:gd name="T40" fmla="*/ 71 w 77"/>
                  <a:gd name="T41" fmla="*/ 12 h 69"/>
                  <a:gd name="T42" fmla="*/ 45 w 77"/>
                  <a:gd name="T43" fmla="*/ 2 h 69"/>
                  <a:gd name="T44" fmla="*/ 45 w 77"/>
                  <a:gd name="T45" fmla="*/ 2 h 69"/>
                  <a:gd name="T46" fmla="*/ 43 w 77"/>
                  <a:gd name="T47" fmla="*/ 3 h 69"/>
                  <a:gd name="T48" fmla="*/ 41 w 77"/>
                  <a:gd name="T49" fmla="*/ 0 h 69"/>
                  <a:gd name="T50" fmla="*/ 39 w 77"/>
                  <a:gd name="T51" fmla="*/ 0 h 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77" h="69">
                    <a:moveTo>
                      <a:pt x="14" y="17"/>
                    </a:moveTo>
                    <a:cubicBezTo>
                      <a:pt x="20" y="10"/>
                      <a:pt x="33" y="9"/>
                      <a:pt x="42" y="5"/>
                    </a:cubicBezTo>
                    <a:cubicBezTo>
                      <a:pt x="42" y="5"/>
                      <a:pt x="43" y="4"/>
                      <a:pt x="43" y="4"/>
                    </a:cubicBezTo>
                    <a:cubicBezTo>
                      <a:pt x="43" y="4"/>
                      <a:pt x="44" y="5"/>
                      <a:pt x="44" y="5"/>
                    </a:cubicBezTo>
                    <a:cubicBezTo>
                      <a:pt x="52" y="8"/>
                      <a:pt x="61" y="8"/>
                      <a:pt x="66" y="15"/>
                    </a:cubicBezTo>
                    <a:cubicBezTo>
                      <a:pt x="69" y="19"/>
                      <a:pt x="70" y="27"/>
                      <a:pt x="71" y="32"/>
                    </a:cubicBezTo>
                    <a:cubicBezTo>
                      <a:pt x="71" y="42"/>
                      <a:pt x="68" y="50"/>
                      <a:pt x="61" y="55"/>
                    </a:cubicBezTo>
                    <a:cubicBezTo>
                      <a:pt x="57" y="59"/>
                      <a:pt x="51" y="62"/>
                      <a:pt x="44" y="62"/>
                    </a:cubicBezTo>
                    <a:cubicBezTo>
                      <a:pt x="44" y="62"/>
                      <a:pt x="43" y="62"/>
                      <a:pt x="42" y="62"/>
                    </a:cubicBezTo>
                    <a:cubicBezTo>
                      <a:pt x="26" y="62"/>
                      <a:pt x="6" y="44"/>
                      <a:pt x="9" y="27"/>
                    </a:cubicBezTo>
                    <a:cubicBezTo>
                      <a:pt x="9" y="23"/>
                      <a:pt x="11" y="20"/>
                      <a:pt x="14" y="17"/>
                    </a:cubicBezTo>
                    <a:cubicBezTo>
                      <a:pt x="14" y="17"/>
                      <a:pt x="14" y="17"/>
                      <a:pt x="14" y="17"/>
                    </a:cubicBezTo>
                    <a:moveTo>
                      <a:pt x="39" y="0"/>
                    </a:moveTo>
                    <a:cubicBezTo>
                      <a:pt x="35" y="0"/>
                      <a:pt x="29" y="1"/>
                      <a:pt x="24" y="2"/>
                    </a:cubicBezTo>
                    <a:cubicBezTo>
                      <a:pt x="18" y="5"/>
                      <a:pt x="12" y="8"/>
                      <a:pt x="7" y="13"/>
                    </a:cubicBezTo>
                    <a:cubicBezTo>
                      <a:pt x="4" y="17"/>
                      <a:pt x="1" y="22"/>
                      <a:pt x="1" y="27"/>
                    </a:cubicBezTo>
                    <a:cubicBezTo>
                      <a:pt x="0" y="46"/>
                      <a:pt x="21" y="68"/>
                      <a:pt x="39" y="69"/>
                    </a:cubicBezTo>
                    <a:cubicBezTo>
                      <a:pt x="40" y="69"/>
                      <a:pt x="41" y="69"/>
                      <a:pt x="41" y="69"/>
                    </a:cubicBezTo>
                    <a:cubicBezTo>
                      <a:pt x="56" y="69"/>
                      <a:pt x="70" y="60"/>
                      <a:pt x="75" y="47"/>
                    </a:cubicBezTo>
                    <a:cubicBezTo>
                      <a:pt x="76" y="44"/>
                      <a:pt x="77" y="41"/>
                      <a:pt x="77" y="37"/>
                    </a:cubicBezTo>
                    <a:cubicBezTo>
                      <a:pt x="77" y="29"/>
                      <a:pt x="76" y="19"/>
                      <a:pt x="71" y="12"/>
                    </a:cubicBezTo>
                    <a:cubicBezTo>
                      <a:pt x="65" y="2"/>
                      <a:pt x="56" y="5"/>
                      <a:pt x="45" y="2"/>
                    </a:cubicBezTo>
                    <a:cubicBezTo>
                      <a:pt x="45" y="2"/>
                      <a:pt x="45" y="2"/>
                      <a:pt x="45" y="2"/>
                    </a:cubicBezTo>
                    <a:cubicBezTo>
                      <a:pt x="44" y="2"/>
                      <a:pt x="44" y="2"/>
                      <a:pt x="43" y="3"/>
                    </a:cubicBezTo>
                    <a:cubicBezTo>
                      <a:pt x="43" y="1"/>
                      <a:pt x="42" y="0"/>
                      <a:pt x="41" y="0"/>
                    </a:cubicBezTo>
                    <a:cubicBezTo>
                      <a:pt x="40" y="0"/>
                      <a:pt x="40" y="0"/>
                      <a:pt x="39" y="0"/>
                    </a:cubicBezTo>
                  </a:path>
                </a:pathLst>
              </a:custGeom>
              <a:solidFill>
                <a:srgbClr val="544D4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71" name="Freeform 117">
                <a:extLst>
                  <a:ext uri="{FF2B5EF4-FFF2-40B4-BE49-F238E27FC236}">
                    <a16:creationId xmlns:a16="http://schemas.microsoft.com/office/drawing/2014/main" id="{3257F746-46A0-4520-B43B-910A39E256EE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215" y="1832"/>
                <a:ext cx="31" cy="38"/>
              </a:xfrm>
              <a:custGeom>
                <a:avLst/>
                <a:gdLst>
                  <a:gd name="T0" fmla="*/ 4 w 30"/>
                  <a:gd name="T1" fmla="*/ 0 h 36"/>
                  <a:gd name="T2" fmla="*/ 2 w 30"/>
                  <a:gd name="T3" fmla="*/ 5 h 36"/>
                  <a:gd name="T4" fmla="*/ 25 w 30"/>
                  <a:gd name="T5" fmla="*/ 29 h 36"/>
                  <a:gd name="T6" fmla="*/ 26 w 30"/>
                  <a:gd name="T7" fmla="*/ 33 h 36"/>
                  <a:gd name="T8" fmla="*/ 26 w 30"/>
                  <a:gd name="T9" fmla="*/ 33 h 36"/>
                  <a:gd name="T10" fmla="*/ 25 w 30"/>
                  <a:gd name="T11" fmla="*/ 34 h 36"/>
                  <a:gd name="T12" fmla="*/ 25 w 30"/>
                  <a:gd name="T13" fmla="*/ 35 h 36"/>
                  <a:gd name="T14" fmla="*/ 26 w 30"/>
                  <a:gd name="T15" fmla="*/ 35 h 36"/>
                  <a:gd name="T16" fmla="*/ 28 w 30"/>
                  <a:gd name="T17" fmla="*/ 36 h 36"/>
                  <a:gd name="T18" fmla="*/ 28 w 30"/>
                  <a:gd name="T19" fmla="*/ 36 h 36"/>
                  <a:gd name="T20" fmla="*/ 29 w 30"/>
                  <a:gd name="T21" fmla="*/ 34 h 36"/>
                  <a:gd name="T22" fmla="*/ 29 w 30"/>
                  <a:gd name="T23" fmla="*/ 29 h 36"/>
                  <a:gd name="T24" fmla="*/ 29 w 30"/>
                  <a:gd name="T25" fmla="*/ 29 h 36"/>
                  <a:gd name="T26" fmla="*/ 23 w 30"/>
                  <a:gd name="T27" fmla="*/ 16 h 36"/>
                  <a:gd name="T28" fmla="*/ 5 w 30"/>
                  <a:gd name="T29" fmla="*/ 0 h 36"/>
                  <a:gd name="T30" fmla="*/ 4 w 30"/>
                  <a:gd name="T31" fmla="*/ 0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30" h="36">
                    <a:moveTo>
                      <a:pt x="4" y="0"/>
                    </a:moveTo>
                    <a:cubicBezTo>
                      <a:pt x="1" y="0"/>
                      <a:pt x="0" y="3"/>
                      <a:pt x="2" y="5"/>
                    </a:cubicBezTo>
                    <a:cubicBezTo>
                      <a:pt x="11" y="10"/>
                      <a:pt x="21" y="19"/>
                      <a:pt x="25" y="29"/>
                    </a:cubicBezTo>
                    <a:cubicBezTo>
                      <a:pt x="25" y="31"/>
                      <a:pt x="25" y="32"/>
                      <a:pt x="26" y="33"/>
                    </a:cubicBezTo>
                    <a:cubicBezTo>
                      <a:pt x="26" y="33"/>
                      <a:pt x="26" y="33"/>
                      <a:pt x="26" y="33"/>
                    </a:cubicBezTo>
                    <a:cubicBezTo>
                      <a:pt x="25" y="33"/>
                      <a:pt x="24" y="34"/>
                      <a:pt x="25" y="34"/>
                    </a:cubicBezTo>
                    <a:cubicBezTo>
                      <a:pt x="25" y="35"/>
                      <a:pt x="25" y="35"/>
                      <a:pt x="25" y="35"/>
                    </a:cubicBezTo>
                    <a:cubicBezTo>
                      <a:pt x="26" y="35"/>
                      <a:pt x="26" y="35"/>
                      <a:pt x="26" y="35"/>
                    </a:cubicBezTo>
                    <a:cubicBezTo>
                      <a:pt x="27" y="36"/>
                      <a:pt x="27" y="36"/>
                      <a:pt x="28" y="36"/>
                    </a:cubicBezTo>
                    <a:cubicBezTo>
                      <a:pt x="28" y="36"/>
                      <a:pt x="28" y="36"/>
                      <a:pt x="28" y="36"/>
                    </a:cubicBezTo>
                    <a:cubicBezTo>
                      <a:pt x="29" y="36"/>
                      <a:pt x="29" y="35"/>
                      <a:pt x="29" y="34"/>
                    </a:cubicBezTo>
                    <a:cubicBezTo>
                      <a:pt x="30" y="33"/>
                      <a:pt x="30" y="31"/>
                      <a:pt x="29" y="29"/>
                    </a:cubicBezTo>
                    <a:cubicBezTo>
                      <a:pt x="29" y="29"/>
                      <a:pt x="29" y="29"/>
                      <a:pt x="29" y="29"/>
                    </a:cubicBezTo>
                    <a:cubicBezTo>
                      <a:pt x="29" y="24"/>
                      <a:pt x="26" y="20"/>
                      <a:pt x="23" y="16"/>
                    </a:cubicBezTo>
                    <a:cubicBezTo>
                      <a:pt x="18" y="9"/>
                      <a:pt x="12" y="4"/>
                      <a:pt x="5" y="0"/>
                    </a:cubicBezTo>
                    <a:cubicBezTo>
                      <a:pt x="5" y="0"/>
                      <a:pt x="4" y="0"/>
                      <a:pt x="4" y="0"/>
                    </a:cubicBezTo>
                  </a:path>
                </a:pathLst>
              </a:custGeom>
              <a:solidFill>
                <a:srgbClr val="544D4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72" name="Freeform 118">
                <a:extLst>
                  <a:ext uri="{FF2B5EF4-FFF2-40B4-BE49-F238E27FC236}">
                    <a16:creationId xmlns:a16="http://schemas.microsoft.com/office/drawing/2014/main" id="{94BC6174-CC81-445C-95D9-E6B86D530E4E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083" y="1807"/>
                <a:ext cx="56" cy="23"/>
              </a:xfrm>
              <a:custGeom>
                <a:avLst/>
                <a:gdLst>
                  <a:gd name="T0" fmla="*/ 51 w 53"/>
                  <a:gd name="T1" fmla="*/ 0 h 22"/>
                  <a:gd name="T2" fmla="*/ 51 w 53"/>
                  <a:gd name="T3" fmla="*/ 0 h 22"/>
                  <a:gd name="T4" fmla="*/ 50 w 53"/>
                  <a:gd name="T5" fmla="*/ 0 h 22"/>
                  <a:gd name="T6" fmla="*/ 46 w 53"/>
                  <a:gd name="T7" fmla="*/ 0 h 22"/>
                  <a:gd name="T8" fmla="*/ 41 w 53"/>
                  <a:gd name="T9" fmla="*/ 0 h 22"/>
                  <a:gd name="T10" fmla="*/ 36 w 53"/>
                  <a:gd name="T11" fmla="*/ 0 h 22"/>
                  <a:gd name="T12" fmla="*/ 23 w 53"/>
                  <a:gd name="T13" fmla="*/ 2 h 22"/>
                  <a:gd name="T14" fmla="*/ 20 w 53"/>
                  <a:gd name="T15" fmla="*/ 4 h 22"/>
                  <a:gd name="T16" fmla="*/ 20 w 53"/>
                  <a:gd name="T17" fmla="*/ 4 h 22"/>
                  <a:gd name="T18" fmla="*/ 2 w 53"/>
                  <a:gd name="T19" fmla="*/ 18 h 22"/>
                  <a:gd name="T20" fmla="*/ 3 w 53"/>
                  <a:gd name="T21" fmla="*/ 22 h 22"/>
                  <a:gd name="T22" fmla="*/ 5 w 53"/>
                  <a:gd name="T23" fmla="*/ 21 h 22"/>
                  <a:gd name="T24" fmla="*/ 10 w 53"/>
                  <a:gd name="T25" fmla="*/ 17 h 22"/>
                  <a:gd name="T26" fmla="*/ 10 w 53"/>
                  <a:gd name="T27" fmla="*/ 17 h 22"/>
                  <a:gd name="T28" fmla="*/ 29 w 53"/>
                  <a:gd name="T29" fmla="*/ 5 h 22"/>
                  <a:gd name="T30" fmla="*/ 48 w 53"/>
                  <a:gd name="T31" fmla="*/ 3 h 22"/>
                  <a:gd name="T32" fmla="*/ 52 w 53"/>
                  <a:gd name="T33" fmla="*/ 2 h 22"/>
                  <a:gd name="T34" fmla="*/ 51 w 53"/>
                  <a:gd name="T35" fmla="*/ 0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53" h="22">
                    <a:moveTo>
                      <a:pt x="51" y="0"/>
                    </a:moveTo>
                    <a:cubicBezTo>
                      <a:pt x="51" y="0"/>
                      <a:pt x="51" y="0"/>
                      <a:pt x="51" y="0"/>
                    </a:cubicBezTo>
                    <a:cubicBezTo>
                      <a:pt x="51" y="0"/>
                      <a:pt x="50" y="0"/>
                      <a:pt x="50" y="0"/>
                    </a:cubicBezTo>
                    <a:cubicBezTo>
                      <a:pt x="49" y="0"/>
                      <a:pt x="47" y="0"/>
                      <a:pt x="46" y="0"/>
                    </a:cubicBezTo>
                    <a:cubicBezTo>
                      <a:pt x="44" y="0"/>
                      <a:pt x="43" y="0"/>
                      <a:pt x="41" y="0"/>
                    </a:cubicBezTo>
                    <a:cubicBezTo>
                      <a:pt x="39" y="0"/>
                      <a:pt x="38" y="0"/>
                      <a:pt x="36" y="0"/>
                    </a:cubicBezTo>
                    <a:cubicBezTo>
                      <a:pt x="32" y="0"/>
                      <a:pt x="28" y="0"/>
                      <a:pt x="23" y="2"/>
                    </a:cubicBezTo>
                    <a:cubicBezTo>
                      <a:pt x="22" y="3"/>
                      <a:pt x="21" y="3"/>
                      <a:pt x="20" y="4"/>
                    </a:cubicBezTo>
                    <a:cubicBezTo>
                      <a:pt x="20" y="4"/>
                      <a:pt x="20" y="4"/>
                      <a:pt x="20" y="4"/>
                    </a:cubicBezTo>
                    <a:cubicBezTo>
                      <a:pt x="13" y="7"/>
                      <a:pt x="7" y="12"/>
                      <a:pt x="2" y="18"/>
                    </a:cubicBezTo>
                    <a:cubicBezTo>
                      <a:pt x="0" y="20"/>
                      <a:pt x="2" y="22"/>
                      <a:pt x="3" y="22"/>
                    </a:cubicBezTo>
                    <a:cubicBezTo>
                      <a:pt x="4" y="22"/>
                      <a:pt x="5" y="21"/>
                      <a:pt x="5" y="21"/>
                    </a:cubicBezTo>
                    <a:cubicBezTo>
                      <a:pt x="7" y="19"/>
                      <a:pt x="8" y="18"/>
                      <a:pt x="10" y="17"/>
                    </a:cubicBezTo>
                    <a:cubicBezTo>
                      <a:pt x="10" y="17"/>
                      <a:pt x="10" y="17"/>
                      <a:pt x="10" y="17"/>
                    </a:cubicBezTo>
                    <a:cubicBezTo>
                      <a:pt x="16" y="12"/>
                      <a:pt x="22" y="8"/>
                      <a:pt x="29" y="5"/>
                    </a:cubicBezTo>
                    <a:cubicBezTo>
                      <a:pt x="35" y="3"/>
                      <a:pt x="42" y="4"/>
                      <a:pt x="48" y="3"/>
                    </a:cubicBezTo>
                    <a:cubicBezTo>
                      <a:pt x="49" y="3"/>
                      <a:pt x="50" y="3"/>
                      <a:pt x="52" y="2"/>
                    </a:cubicBezTo>
                    <a:cubicBezTo>
                      <a:pt x="53" y="2"/>
                      <a:pt x="53" y="0"/>
                      <a:pt x="51" y="0"/>
                    </a:cubicBezTo>
                  </a:path>
                </a:pathLst>
              </a:custGeom>
              <a:solidFill>
                <a:srgbClr val="544D4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73" name="Freeform 119">
                <a:extLst>
                  <a:ext uri="{FF2B5EF4-FFF2-40B4-BE49-F238E27FC236}">
                    <a16:creationId xmlns:a16="http://schemas.microsoft.com/office/drawing/2014/main" id="{78423F1A-5C9F-4FEB-AACA-463E9F24C128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048" y="1904"/>
                <a:ext cx="28" cy="47"/>
              </a:xfrm>
              <a:custGeom>
                <a:avLst/>
                <a:gdLst>
                  <a:gd name="T0" fmla="*/ 4 w 26"/>
                  <a:gd name="T1" fmla="*/ 0 h 44"/>
                  <a:gd name="T2" fmla="*/ 3 w 26"/>
                  <a:gd name="T3" fmla="*/ 2 h 44"/>
                  <a:gd name="T4" fmla="*/ 2 w 26"/>
                  <a:gd name="T5" fmla="*/ 4 h 44"/>
                  <a:gd name="T6" fmla="*/ 21 w 26"/>
                  <a:gd name="T7" fmla="*/ 43 h 44"/>
                  <a:gd name="T8" fmla="*/ 22 w 26"/>
                  <a:gd name="T9" fmla="*/ 44 h 44"/>
                  <a:gd name="T10" fmla="*/ 25 w 26"/>
                  <a:gd name="T11" fmla="*/ 40 h 44"/>
                  <a:gd name="T12" fmla="*/ 7 w 26"/>
                  <a:gd name="T13" fmla="*/ 5 h 44"/>
                  <a:gd name="T14" fmla="*/ 7 w 26"/>
                  <a:gd name="T15" fmla="*/ 3 h 44"/>
                  <a:gd name="T16" fmla="*/ 4 w 26"/>
                  <a:gd name="T17" fmla="*/ 0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6" h="44">
                    <a:moveTo>
                      <a:pt x="4" y="0"/>
                    </a:moveTo>
                    <a:cubicBezTo>
                      <a:pt x="4" y="0"/>
                      <a:pt x="3" y="1"/>
                      <a:pt x="3" y="2"/>
                    </a:cubicBezTo>
                    <a:cubicBezTo>
                      <a:pt x="2" y="3"/>
                      <a:pt x="2" y="3"/>
                      <a:pt x="2" y="4"/>
                    </a:cubicBezTo>
                    <a:cubicBezTo>
                      <a:pt x="0" y="19"/>
                      <a:pt x="10" y="33"/>
                      <a:pt x="21" y="43"/>
                    </a:cubicBezTo>
                    <a:cubicBezTo>
                      <a:pt x="21" y="44"/>
                      <a:pt x="22" y="44"/>
                      <a:pt x="22" y="44"/>
                    </a:cubicBezTo>
                    <a:cubicBezTo>
                      <a:pt x="24" y="44"/>
                      <a:pt x="26" y="42"/>
                      <a:pt x="25" y="40"/>
                    </a:cubicBezTo>
                    <a:cubicBezTo>
                      <a:pt x="18" y="30"/>
                      <a:pt x="7" y="19"/>
                      <a:pt x="7" y="5"/>
                    </a:cubicBezTo>
                    <a:cubicBezTo>
                      <a:pt x="7" y="4"/>
                      <a:pt x="7" y="4"/>
                      <a:pt x="7" y="3"/>
                    </a:cubicBezTo>
                    <a:cubicBezTo>
                      <a:pt x="7" y="1"/>
                      <a:pt x="6" y="0"/>
                      <a:pt x="4" y="0"/>
                    </a:cubicBezTo>
                  </a:path>
                </a:pathLst>
              </a:custGeom>
              <a:solidFill>
                <a:srgbClr val="544D4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74" name="Freeform 120">
                <a:extLst>
                  <a:ext uri="{FF2B5EF4-FFF2-40B4-BE49-F238E27FC236}">
                    <a16:creationId xmlns:a16="http://schemas.microsoft.com/office/drawing/2014/main" id="{CB13FF0E-BC53-493A-874F-9B59E9D18043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181" y="1930"/>
                <a:ext cx="48" cy="36"/>
              </a:xfrm>
              <a:custGeom>
                <a:avLst/>
                <a:gdLst>
                  <a:gd name="T0" fmla="*/ 45 w 46"/>
                  <a:gd name="T1" fmla="*/ 0 h 34"/>
                  <a:gd name="T2" fmla="*/ 44 w 46"/>
                  <a:gd name="T3" fmla="*/ 0 h 34"/>
                  <a:gd name="T4" fmla="*/ 41 w 46"/>
                  <a:gd name="T5" fmla="*/ 6 h 34"/>
                  <a:gd name="T6" fmla="*/ 32 w 46"/>
                  <a:gd name="T7" fmla="*/ 16 h 34"/>
                  <a:gd name="T8" fmla="*/ 2 w 46"/>
                  <a:gd name="T9" fmla="*/ 30 h 34"/>
                  <a:gd name="T10" fmla="*/ 3 w 46"/>
                  <a:gd name="T11" fmla="*/ 34 h 34"/>
                  <a:gd name="T12" fmla="*/ 3 w 46"/>
                  <a:gd name="T13" fmla="*/ 34 h 34"/>
                  <a:gd name="T14" fmla="*/ 44 w 46"/>
                  <a:gd name="T15" fmla="*/ 8 h 34"/>
                  <a:gd name="T16" fmla="*/ 44 w 46"/>
                  <a:gd name="T17" fmla="*/ 7 h 34"/>
                  <a:gd name="T18" fmla="*/ 46 w 46"/>
                  <a:gd name="T19" fmla="*/ 1 h 34"/>
                  <a:gd name="T20" fmla="*/ 45 w 46"/>
                  <a:gd name="T21" fmla="*/ 0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46" h="34">
                    <a:moveTo>
                      <a:pt x="45" y="0"/>
                    </a:moveTo>
                    <a:cubicBezTo>
                      <a:pt x="44" y="0"/>
                      <a:pt x="44" y="0"/>
                      <a:pt x="44" y="0"/>
                    </a:cubicBezTo>
                    <a:cubicBezTo>
                      <a:pt x="43" y="2"/>
                      <a:pt x="42" y="4"/>
                      <a:pt x="41" y="6"/>
                    </a:cubicBezTo>
                    <a:cubicBezTo>
                      <a:pt x="39" y="10"/>
                      <a:pt x="36" y="13"/>
                      <a:pt x="32" y="16"/>
                    </a:cubicBezTo>
                    <a:cubicBezTo>
                      <a:pt x="23" y="23"/>
                      <a:pt x="12" y="28"/>
                      <a:pt x="2" y="30"/>
                    </a:cubicBezTo>
                    <a:cubicBezTo>
                      <a:pt x="0" y="30"/>
                      <a:pt x="1" y="34"/>
                      <a:pt x="3" y="34"/>
                    </a:cubicBezTo>
                    <a:cubicBezTo>
                      <a:pt x="3" y="34"/>
                      <a:pt x="3" y="34"/>
                      <a:pt x="3" y="34"/>
                    </a:cubicBezTo>
                    <a:cubicBezTo>
                      <a:pt x="19" y="34"/>
                      <a:pt x="37" y="23"/>
                      <a:pt x="44" y="8"/>
                    </a:cubicBezTo>
                    <a:cubicBezTo>
                      <a:pt x="44" y="8"/>
                      <a:pt x="44" y="7"/>
                      <a:pt x="44" y="7"/>
                    </a:cubicBezTo>
                    <a:cubicBezTo>
                      <a:pt x="45" y="5"/>
                      <a:pt x="45" y="3"/>
                      <a:pt x="46" y="1"/>
                    </a:cubicBezTo>
                    <a:cubicBezTo>
                      <a:pt x="46" y="0"/>
                      <a:pt x="45" y="0"/>
                      <a:pt x="45" y="0"/>
                    </a:cubicBezTo>
                  </a:path>
                </a:pathLst>
              </a:custGeom>
              <a:solidFill>
                <a:srgbClr val="544D4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75" name="Freeform 121">
                <a:extLst>
                  <a:ext uri="{FF2B5EF4-FFF2-40B4-BE49-F238E27FC236}">
                    <a16:creationId xmlns:a16="http://schemas.microsoft.com/office/drawing/2014/main" id="{5978C7B6-8017-4DF4-8762-907935639927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2218" y="1954"/>
                <a:ext cx="158" cy="146"/>
              </a:xfrm>
              <a:custGeom>
                <a:avLst/>
                <a:gdLst>
                  <a:gd name="T0" fmla="*/ 17 w 149"/>
                  <a:gd name="T1" fmla="*/ 40 h 138"/>
                  <a:gd name="T2" fmla="*/ 84 w 149"/>
                  <a:gd name="T3" fmla="*/ 10 h 138"/>
                  <a:gd name="T4" fmla="*/ 89 w 149"/>
                  <a:gd name="T5" fmla="*/ 10 h 138"/>
                  <a:gd name="T6" fmla="*/ 112 w 149"/>
                  <a:gd name="T7" fmla="*/ 19 h 138"/>
                  <a:gd name="T8" fmla="*/ 143 w 149"/>
                  <a:gd name="T9" fmla="*/ 67 h 138"/>
                  <a:gd name="T10" fmla="*/ 115 w 149"/>
                  <a:gd name="T11" fmla="*/ 118 h 138"/>
                  <a:gd name="T12" fmla="*/ 74 w 149"/>
                  <a:gd name="T13" fmla="*/ 128 h 138"/>
                  <a:gd name="T14" fmla="*/ 53 w 149"/>
                  <a:gd name="T15" fmla="*/ 125 h 138"/>
                  <a:gd name="T16" fmla="*/ 15 w 149"/>
                  <a:gd name="T17" fmla="*/ 90 h 138"/>
                  <a:gd name="T18" fmla="*/ 12 w 149"/>
                  <a:gd name="T19" fmla="*/ 58 h 138"/>
                  <a:gd name="T20" fmla="*/ 17 w 149"/>
                  <a:gd name="T21" fmla="*/ 40 h 138"/>
                  <a:gd name="T22" fmla="*/ 17 w 149"/>
                  <a:gd name="T23" fmla="*/ 40 h 138"/>
                  <a:gd name="T24" fmla="*/ 75 w 149"/>
                  <a:gd name="T25" fmla="*/ 0 h 138"/>
                  <a:gd name="T26" fmla="*/ 54 w 149"/>
                  <a:gd name="T27" fmla="*/ 4 h 138"/>
                  <a:gd name="T28" fmla="*/ 54 w 149"/>
                  <a:gd name="T29" fmla="*/ 4 h 138"/>
                  <a:gd name="T30" fmla="*/ 3 w 149"/>
                  <a:gd name="T31" fmla="*/ 51 h 138"/>
                  <a:gd name="T32" fmla="*/ 4 w 149"/>
                  <a:gd name="T33" fmla="*/ 89 h 138"/>
                  <a:gd name="T34" fmla="*/ 7 w 149"/>
                  <a:gd name="T35" fmla="*/ 80 h 138"/>
                  <a:gd name="T36" fmla="*/ 9 w 149"/>
                  <a:gd name="T37" fmla="*/ 78 h 138"/>
                  <a:gd name="T38" fmla="*/ 12 w 149"/>
                  <a:gd name="T39" fmla="*/ 82 h 138"/>
                  <a:gd name="T40" fmla="*/ 11 w 149"/>
                  <a:gd name="T41" fmla="*/ 104 h 138"/>
                  <a:gd name="T42" fmla="*/ 27 w 149"/>
                  <a:gd name="T43" fmla="*/ 123 h 138"/>
                  <a:gd name="T44" fmla="*/ 50 w 149"/>
                  <a:gd name="T45" fmla="*/ 135 h 138"/>
                  <a:gd name="T46" fmla="*/ 70 w 149"/>
                  <a:gd name="T47" fmla="*/ 138 h 138"/>
                  <a:gd name="T48" fmla="*/ 146 w 149"/>
                  <a:gd name="T49" fmla="*/ 94 h 138"/>
                  <a:gd name="T50" fmla="*/ 146 w 149"/>
                  <a:gd name="T51" fmla="*/ 94 h 138"/>
                  <a:gd name="T52" fmla="*/ 147 w 149"/>
                  <a:gd name="T53" fmla="*/ 90 h 138"/>
                  <a:gd name="T54" fmla="*/ 149 w 149"/>
                  <a:gd name="T55" fmla="*/ 80 h 138"/>
                  <a:gd name="T56" fmla="*/ 144 w 149"/>
                  <a:gd name="T57" fmla="*/ 65 h 138"/>
                  <a:gd name="T58" fmla="*/ 145 w 149"/>
                  <a:gd name="T59" fmla="*/ 64 h 138"/>
                  <a:gd name="T60" fmla="*/ 147 w 149"/>
                  <a:gd name="T61" fmla="*/ 64 h 138"/>
                  <a:gd name="T62" fmla="*/ 149 w 149"/>
                  <a:gd name="T63" fmla="*/ 68 h 138"/>
                  <a:gd name="T64" fmla="*/ 137 w 149"/>
                  <a:gd name="T65" fmla="*/ 35 h 138"/>
                  <a:gd name="T66" fmla="*/ 97 w 149"/>
                  <a:gd name="T67" fmla="*/ 11 h 138"/>
                  <a:gd name="T68" fmla="*/ 98 w 149"/>
                  <a:gd name="T69" fmla="*/ 11 h 138"/>
                  <a:gd name="T70" fmla="*/ 98 w 149"/>
                  <a:gd name="T71" fmla="*/ 11 h 138"/>
                  <a:gd name="T72" fmla="*/ 100 w 149"/>
                  <a:gd name="T73" fmla="*/ 6 h 138"/>
                  <a:gd name="T74" fmla="*/ 75 w 149"/>
                  <a:gd name="T75" fmla="*/ 0 h 1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149" h="138">
                    <a:moveTo>
                      <a:pt x="17" y="40"/>
                    </a:moveTo>
                    <a:cubicBezTo>
                      <a:pt x="30" y="18"/>
                      <a:pt x="58" y="10"/>
                      <a:pt x="84" y="10"/>
                    </a:cubicBezTo>
                    <a:cubicBezTo>
                      <a:pt x="86" y="10"/>
                      <a:pt x="87" y="10"/>
                      <a:pt x="89" y="10"/>
                    </a:cubicBezTo>
                    <a:cubicBezTo>
                      <a:pt x="97" y="13"/>
                      <a:pt x="105" y="15"/>
                      <a:pt x="112" y="19"/>
                    </a:cubicBezTo>
                    <a:cubicBezTo>
                      <a:pt x="131" y="29"/>
                      <a:pt x="141" y="46"/>
                      <a:pt x="143" y="67"/>
                    </a:cubicBezTo>
                    <a:cubicBezTo>
                      <a:pt x="145" y="90"/>
                      <a:pt x="133" y="107"/>
                      <a:pt x="115" y="118"/>
                    </a:cubicBezTo>
                    <a:cubicBezTo>
                      <a:pt x="102" y="125"/>
                      <a:pt x="88" y="128"/>
                      <a:pt x="74" y="128"/>
                    </a:cubicBezTo>
                    <a:cubicBezTo>
                      <a:pt x="67" y="128"/>
                      <a:pt x="60" y="127"/>
                      <a:pt x="53" y="125"/>
                    </a:cubicBezTo>
                    <a:cubicBezTo>
                      <a:pt x="35" y="120"/>
                      <a:pt x="21" y="107"/>
                      <a:pt x="15" y="90"/>
                    </a:cubicBezTo>
                    <a:cubicBezTo>
                      <a:pt x="11" y="80"/>
                      <a:pt x="10" y="69"/>
                      <a:pt x="12" y="58"/>
                    </a:cubicBezTo>
                    <a:cubicBezTo>
                      <a:pt x="13" y="51"/>
                      <a:pt x="15" y="46"/>
                      <a:pt x="17" y="40"/>
                    </a:cubicBezTo>
                    <a:cubicBezTo>
                      <a:pt x="17" y="40"/>
                      <a:pt x="17" y="40"/>
                      <a:pt x="17" y="40"/>
                    </a:cubicBezTo>
                    <a:moveTo>
                      <a:pt x="75" y="0"/>
                    </a:moveTo>
                    <a:cubicBezTo>
                      <a:pt x="68" y="0"/>
                      <a:pt x="61" y="2"/>
                      <a:pt x="54" y="4"/>
                    </a:cubicBezTo>
                    <a:cubicBezTo>
                      <a:pt x="54" y="4"/>
                      <a:pt x="54" y="4"/>
                      <a:pt x="54" y="4"/>
                    </a:cubicBezTo>
                    <a:cubicBezTo>
                      <a:pt x="30" y="11"/>
                      <a:pt x="9" y="29"/>
                      <a:pt x="3" y="51"/>
                    </a:cubicBezTo>
                    <a:cubicBezTo>
                      <a:pt x="0" y="64"/>
                      <a:pt x="0" y="77"/>
                      <a:pt x="4" y="89"/>
                    </a:cubicBezTo>
                    <a:cubicBezTo>
                      <a:pt x="5" y="86"/>
                      <a:pt x="5" y="83"/>
                      <a:pt x="7" y="80"/>
                    </a:cubicBezTo>
                    <a:cubicBezTo>
                      <a:pt x="7" y="79"/>
                      <a:pt x="8" y="78"/>
                      <a:pt x="9" y="78"/>
                    </a:cubicBezTo>
                    <a:cubicBezTo>
                      <a:pt x="11" y="78"/>
                      <a:pt x="13" y="80"/>
                      <a:pt x="12" y="82"/>
                    </a:cubicBezTo>
                    <a:cubicBezTo>
                      <a:pt x="10" y="90"/>
                      <a:pt x="10" y="98"/>
                      <a:pt x="11" y="104"/>
                    </a:cubicBezTo>
                    <a:cubicBezTo>
                      <a:pt x="15" y="112"/>
                      <a:pt x="20" y="118"/>
                      <a:pt x="27" y="123"/>
                    </a:cubicBezTo>
                    <a:cubicBezTo>
                      <a:pt x="34" y="129"/>
                      <a:pt x="41" y="133"/>
                      <a:pt x="50" y="135"/>
                    </a:cubicBezTo>
                    <a:cubicBezTo>
                      <a:pt x="56" y="137"/>
                      <a:pt x="63" y="138"/>
                      <a:pt x="70" y="138"/>
                    </a:cubicBezTo>
                    <a:cubicBezTo>
                      <a:pt x="100" y="138"/>
                      <a:pt x="136" y="122"/>
                      <a:pt x="146" y="94"/>
                    </a:cubicBezTo>
                    <a:cubicBezTo>
                      <a:pt x="146" y="94"/>
                      <a:pt x="146" y="94"/>
                      <a:pt x="146" y="94"/>
                    </a:cubicBezTo>
                    <a:cubicBezTo>
                      <a:pt x="146" y="93"/>
                      <a:pt x="147" y="91"/>
                      <a:pt x="147" y="90"/>
                    </a:cubicBezTo>
                    <a:cubicBezTo>
                      <a:pt x="148" y="87"/>
                      <a:pt x="149" y="84"/>
                      <a:pt x="149" y="80"/>
                    </a:cubicBezTo>
                    <a:cubicBezTo>
                      <a:pt x="148" y="75"/>
                      <a:pt x="146" y="70"/>
                      <a:pt x="144" y="65"/>
                    </a:cubicBezTo>
                    <a:cubicBezTo>
                      <a:pt x="144" y="64"/>
                      <a:pt x="145" y="64"/>
                      <a:pt x="145" y="64"/>
                    </a:cubicBezTo>
                    <a:cubicBezTo>
                      <a:pt x="146" y="64"/>
                      <a:pt x="146" y="64"/>
                      <a:pt x="147" y="64"/>
                    </a:cubicBezTo>
                    <a:cubicBezTo>
                      <a:pt x="147" y="66"/>
                      <a:pt x="148" y="67"/>
                      <a:pt x="149" y="68"/>
                    </a:cubicBezTo>
                    <a:cubicBezTo>
                      <a:pt x="147" y="56"/>
                      <a:pt x="143" y="44"/>
                      <a:pt x="137" y="35"/>
                    </a:cubicBezTo>
                    <a:cubicBezTo>
                      <a:pt x="126" y="20"/>
                      <a:pt x="112" y="15"/>
                      <a:pt x="97" y="11"/>
                    </a:cubicBezTo>
                    <a:cubicBezTo>
                      <a:pt x="97" y="11"/>
                      <a:pt x="98" y="11"/>
                      <a:pt x="98" y="11"/>
                    </a:cubicBezTo>
                    <a:cubicBezTo>
                      <a:pt x="98" y="11"/>
                      <a:pt x="98" y="11"/>
                      <a:pt x="98" y="11"/>
                    </a:cubicBezTo>
                    <a:cubicBezTo>
                      <a:pt x="101" y="11"/>
                      <a:pt x="102" y="7"/>
                      <a:pt x="100" y="6"/>
                    </a:cubicBezTo>
                    <a:cubicBezTo>
                      <a:pt x="92" y="2"/>
                      <a:pt x="84" y="0"/>
                      <a:pt x="75" y="0"/>
                    </a:cubicBezTo>
                  </a:path>
                </a:pathLst>
              </a:custGeom>
              <a:solidFill>
                <a:srgbClr val="544D4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76" name="Freeform 122">
                <a:extLst>
                  <a:ext uri="{FF2B5EF4-FFF2-40B4-BE49-F238E27FC236}">
                    <a16:creationId xmlns:a16="http://schemas.microsoft.com/office/drawing/2014/main" id="{27B2E6B3-6072-4C1A-B3CF-9F501279B9B3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218" y="2022"/>
                <a:ext cx="167" cy="106"/>
              </a:xfrm>
              <a:custGeom>
                <a:avLst/>
                <a:gdLst>
                  <a:gd name="T0" fmla="*/ 145 w 158"/>
                  <a:gd name="T1" fmla="*/ 0 h 100"/>
                  <a:gd name="T2" fmla="*/ 144 w 158"/>
                  <a:gd name="T3" fmla="*/ 1 h 100"/>
                  <a:gd name="T4" fmla="*/ 149 w 158"/>
                  <a:gd name="T5" fmla="*/ 16 h 100"/>
                  <a:gd name="T6" fmla="*/ 150 w 158"/>
                  <a:gd name="T7" fmla="*/ 24 h 100"/>
                  <a:gd name="T8" fmla="*/ 150 w 158"/>
                  <a:gd name="T9" fmla="*/ 24 h 100"/>
                  <a:gd name="T10" fmla="*/ 144 w 158"/>
                  <a:gd name="T11" fmla="*/ 65 h 100"/>
                  <a:gd name="T12" fmla="*/ 129 w 158"/>
                  <a:gd name="T13" fmla="*/ 81 h 100"/>
                  <a:gd name="T14" fmla="*/ 96 w 158"/>
                  <a:gd name="T15" fmla="*/ 94 h 100"/>
                  <a:gd name="T16" fmla="*/ 87 w 158"/>
                  <a:gd name="T17" fmla="*/ 95 h 100"/>
                  <a:gd name="T18" fmla="*/ 11 w 158"/>
                  <a:gd name="T19" fmla="*/ 40 h 100"/>
                  <a:gd name="T20" fmla="*/ 12 w 158"/>
                  <a:gd name="T21" fmla="*/ 18 h 100"/>
                  <a:gd name="T22" fmla="*/ 9 w 158"/>
                  <a:gd name="T23" fmla="*/ 14 h 100"/>
                  <a:gd name="T24" fmla="*/ 7 w 158"/>
                  <a:gd name="T25" fmla="*/ 16 h 100"/>
                  <a:gd name="T26" fmla="*/ 4 w 158"/>
                  <a:gd name="T27" fmla="*/ 25 h 100"/>
                  <a:gd name="T28" fmla="*/ 20 w 158"/>
                  <a:gd name="T29" fmla="*/ 77 h 100"/>
                  <a:gd name="T30" fmla="*/ 84 w 158"/>
                  <a:gd name="T31" fmla="*/ 100 h 100"/>
                  <a:gd name="T32" fmla="*/ 92 w 158"/>
                  <a:gd name="T33" fmla="*/ 100 h 100"/>
                  <a:gd name="T34" fmla="*/ 147 w 158"/>
                  <a:gd name="T35" fmla="*/ 68 h 100"/>
                  <a:gd name="T36" fmla="*/ 153 w 158"/>
                  <a:gd name="T37" fmla="*/ 17 h 100"/>
                  <a:gd name="T38" fmla="*/ 153 w 158"/>
                  <a:gd name="T39" fmla="*/ 17 h 100"/>
                  <a:gd name="T40" fmla="*/ 149 w 158"/>
                  <a:gd name="T41" fmla="*/ 4 h 100"/>
                  <a:gd name="T42" fmla="*/ 147 w 158"/>
                  <a:gd name="T43" fmla="*/ 0 h 100"/>
                  <a:gd name="T44" fmla="*/ 145 w 158"/>
                  <a:gd name="T45" fmla="*/ 0 h 1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158" h="100">
                    <a:moveTo>
                      <a:pt x="145" y="0"/>
                    </a:moveTo>
                    <a:cubicBezTo>
                      <a:pt x="145" y="0"/>
                      <a:pt x="144" y="0"/>
                      <a:pt x="144" y="1"/>
                    </a:cubicBezTo>
                    <a:cubicBezTo>
                      <a:pt x="146" y="6"/>
                      <a:pt x="148" y="11"/>
                      <a:pt x="149" y="16"/>
                    </a:cubicBezTo>
                    <a:cubicBezTo>
                      <a:pt x="149" y="19"/>
                      <a:pt x="150" y="21"/>
                      <a:pt x="150" y="24"/>
                    </a:cubicBezTo>
                    <a:cubicBezTo>
                      <a:pt x="150" y="24"/>
                      <a:pt x="150" y="24"/>
                      <a:pt x="150" y="24"/>
                    </a:cubicBezTo>
                    <a:cubicBezTo>
                      <a:pt x="153" y="38"/>
                      <a:pt x="152" y="51"/>
                      <a:pt x="144" y="65"/>
                    </a:cubicBezTo>
                    <a:cubicBezTo>
                      <a:pt x="140" y="71"/>
                      <a:pt x="135" y="77"/>
                      <a:pt x="129" y="81"/>
                    </a:cubicBezTo>
                    <a:cubicBezTo>
                      <a:pt x="120" y="88"/>
                      <a:pt x="108" y="93"/>
                      <a:pt x="96" y="94"/>
                    </a:cubicBezTo>
                    <a:cubicBezTo>
                      <a:pt x="93" y="95"/>
                      <a:pt x="90" y="95"/>
                      <a:pt x="87" y="95"/>
                    </a:cubicBezTo>
                    <a:cubicBezTo>
                      <a:pt x="52" y="95"/>
                      <a:pt x="15" y="75"/>
                      <a:pt x="11" y="40"/>
                    </a:cubicBezTo>
                    <a:cubicBezTo>
                      <a:pt x="10" y="34"/>
                      <a:pt x="10" y="26"/>
                      <a:pt x="12" y="18"/>
                    </a:cubicBezTo>
                    <a:cubicBezTo>
                      <a:pt x="13" y="16"/>
                      <a:pt x="11" y="14"/>
                      <a:pt x="9" y="14"/>
                    </a:cubicBezTo>
                    <a:cubicBezTo>
                      <a:pt x="8" y="14"/>
                      <a:pt x="7" y="15"/>
                      <a:pt x="7" y="16"/>
                    </a:cubicBezTo>
                    <a:cubicBezTo>
                      <a:pt x="5" y="19"/>
                      <a:pt x="5" y="22"/>
                      <a:pt x="4" y="25"/>
                    </a:cubicBezTo>
                    <a:cubicBezTo>
                      <a:pt x="0" y="43"/>
                      <a:pt x="8" y="62"/>
                      <a:pt x="20" y="77"/>
                    </a:cubicBezTo>
                    <a:cubicBezTo>
                      <a:pt x="35" y="95"/>
                      <a:pt x="61" y="100"/>
                      <a:pt x="84" y="100"/>
                    </a:cubicBezTo>
                    <a:cubicBezTo>
                      <a:pt x="87" y="100"/>
                      <a:pt x="89" y="100"/>
                      <a:pt x="92" y="100"/>
                    </a:cubicBezTo>
                    <a:cubicBezTo>
                      <a:pt x="117" y="99"/>
                      <a:pt x="136" y="86"/>
                      <a:pt x="147" y="68"/>
                    </a:cubicBezTo>
                    <a:cubicBezTo>
                      <a:pt x="156" y="53"/>
                      <a:pt x="158" y="35"/>
                      <a:pt x="153" y="17"/>
                    </a:cubicBezTo>
                    <a:cubicBezTo>
                      <a:pt x="153" y="17"/>
                      <a:pt x="153" y="17"/>
                      <a:pt x="153" y="17"/>
                    </a:cubicBezTo>
                    <a:cubicBezTo>
                      <a:pt x="152" y="13"/>
                      <a:pt x="151" y="8"/>
                      <a:pt x="149" y="4"/>
                    </a:cubicBezTo>
                    <a:cubicBezTo>
                      <a:pt x="148" y="3"/>
                      <a:pt x="147" y="2"/>
                      <a:pt x="147" y="0"/>
                    </a:cubicBezTo>
                    <a:cubicBezTo>
                      <a:pt x="146" y="0"/>
                      <a:pt x="146" y="0"/>
                      <a:pt x="145" y="0"/>
                    </a:cubicBezTo>
                  </a:path>
                </a:pathLst>
              </a:custGeom>
              <a:solidFill>
                <a:srgbClr val="544D4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77" name="Freeform 123">
                <a:extLst>
                  <a:ext uri="{FF2B5EF4-FFF2-40B4-BE49-F238E27FC236}">
                    <a16:creationId xmlns:a16="http://schemas.microsoft.com/office/drawing/2014/main" id="{76102FA6-7CB9-441D-8E82-ECD01223436D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530" y="1866"/>
                <a:ext cx="190" cy="18"/>
              </a:xfrm>
              <a:custGeom>
                <a:avLst/>
                <a:gdLst>
                  <a:gd name="T0" fmla="*/ 100 w 179"/>
                  <a:gd name="T1" fmla="*/ 0 h 17"/>
                  <a:gd name="T2" fmla="*/ 95 w 179"/>
                  <a:gd name="T3" fmla="*/ 0 h 17"/>
                  <a:gd name="T4" fmla="*/ 73 w 179"/>
                  <a:gd name="T5" fmla="*/ 0 h 17"/>
                  <a:gd name="T6" fmla="*/ 64 w 179"/>
                  <a:gd name="T7" fmla="*/ 0 h 17"/>
                  <a:gd name="T8" fmla="*/ 56 w 179"/>
                  <a:gd name="T9" fmla="*/ 0 h 17"/>
                  <a:gd name="T10" fmla="*/ 3 w 179"/>
                  <a:gd name="T11" fmla="*/ 2 h 17"/>
                  <a:gd name="T12" fmla="*/ 3 w 179"/>
                  <a:gd name="T13" fmla="*/ 6 h 17"/>
                  <a:gd name="T14" fmla="*/ 3 w 179"/>
                  <a:gd name="T15" fmla="*/ 6 h 17"/>
                  <a:gd name="T16" fmla="*/ 95 w 179"/>
                  <a:gd name="T17" fmla="*/ 5 h 17"/>
                  <a:gd name="T18" fmla="*/ 100 w 179"/>
                  <a:gd name="T19" fmla="*/ 5 h 17"/>
                  <a:gd name="T20" fmla="*/ 177 w 179"/>
                  <a:gd name="T21" fmla="*/ 17 h 17"/>
                  <a:gd name="T22" fmla="*/ 177 w 179"/>
                  <a:gd name="T23" fmla="*/ 17 h 17"/>
                  <a:gd name="T24" fmla="*/ 178 w 179"/>
                  <a:gd name="T25" fmla="*/ 15 h 17"/>
                  <a:gd name="T26" fmla="*/ 100 w 179"/>
                  <a:gd name="T27" fmla="*/ 0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79" h="17">
                    <a:moveTo>
                      <a:pt x="100" y="0"/>
                    </a:moveTo>
                    <a:cubicBezTo>
                      <a:pt x="99" y="0"/>
                      <a:pt x="97" y="0"/>
                      <a:pt x="95" y="0"/>
                    </a:cubicBezTo>
                    <a:cubicBezTo>
                      <a:pt x="88" y="0"/>
                      <a:pt x="80" y="0"/>
                      <a:pt x="73" y="0"/>
                    </a:cubicBezTo>
                    <a:cubicBezTo>
                      <a:pt x="70" y="0"/>
                      <a:pt x="67" y="0"/>
                      <a:pt x="64" y="0"/>
                    </a:cubicBezTo>
                    <a:cubicBezTo>
                      <a:pt x="62" y="0"/>
                      <a:pt x="59" y="0"/>
                      <a:pt x="56" y="0"/>
                    </a:cubicBezTo>
                    <a:cubicBezTo>
                      <a:pt x="38" y="0"/>
                      <a:pt x="21" y="0"/>
                      <a:pt x="3" y="2"/>
                    </a:cubicBezTo>
                    <a:cubicBezTo>
                      <a:pt x="0" y="3"/>
                      <a:pt x="1" y="6"/>
                      <a:pt x="3" y="6"/>
                    </a:cubicBezTo>
                    <a:cubicBezTo>
                      <a:pt x="3" y="6"/>
                      <a:pt x="3" y="6"/>
                      <a:pt x="3" y="6"/>
                    </a:cubicBezTo>
                    <a:cubicBezTo>
                      <a:pt x="34" y="6"/>
                      <a:pt x="64" y="6"/>
                      <a:pt x="95" y="5"/>
                    </a:cubicBezTo>
                    <a:cubicBezTo>
                      <a:pt x="97" y="5"/>
                      <a:pt x="99" y="5"/>
                      <a:pt x="100" y="5"/>
                    </a:cubicBezTo>
                    <a:cubicBezTo>
                      <a:pt x="127" y="5"/>
                      <a:pt x="151" y="11"/>
                      <a:pt x="177" y="17"/>
                    </a:cubicBezTo>
                    <a:cubicBezTo>
                      <a:pt x="177" y="17"/>
                      <a:pt x="177" y="17"/>
                      <a:pt x="177" y="17"/>
                    </a:cubicBezTo>
                    <a:cubicBezTo>
                      <a:pt x="179" y="17"/>
                      <a:pt x="179" y="15"/>
                      <a:pt x="178" y="15"/>
                    </a:cubicBezTo>
                    <a:cubicBezTo>
                      <a:pt x="152" y="6"/>
                      <a:pt x="128" y="0"/>
                      <a:pt x="100" y="0"/>
                    </a:cubicBezTo>
                  </a:path>
                </a:pathLst>
              </a:custGeom>
              <a:solidFill>
                <a:srgbClr val="544D4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78" name="Freeform 124">
                <a:extLst>
                  <a:ext uri="{FF2B5EF4-FFF2-40B4-BE49-F238E27FC236}">
                    <a16:creationId xmlns:a16="http://schemas.microsoft.com/office/drawing/2014/main" id="{FCE0EE8A-05A2-46BF-B23A-2980D3214127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248" y="1782"/>
                <a:ext cx="204" cy="66"/>
              </a:xfrm>
              <a:custGeom>
                <a:avLst/>
                <a:gdLst>
                  <a:gd name="T0" fmla="*/ 10 w 192"/>
                  <a:gd name="T1" fmla="*/ 0 h 63"/>
                  <a:gd name="T2" fmla="*/ 2 w 192"/>
                  <a:gd name="T3" fmla="*/ 0 h 63"/>
                  <a:gd name="T4" fmla="*/ 2 w 192"/>
                  <a:gd name="T5" fmla="*/ 4 h 63"/>
                  <a:gd name="T6" fmla="*/ 24 w 192"/>
                  <a:gd name="T7" fmla="*/ 6 h 63"/>
                  <a:gd name="T8" fmla="*/ 24 w 192"/>
                  <a:gd name="T9" fmla="*/ 6 h 63"/>
                  <a:gd name="T10" fmla="*/ 100 w 192"/>
                  <a:gd name="T11" fmla="*/ 39 h 63"/>
                  <a:gd name="T12" fmla="*/ 192 w 192"/>
                  <a:gd name="T13" fmla="*/ 63 h 63"/>
                  <a:gd name="T14" fmla="*/ 192 w 192"/>
                  <a:gd name="T15" fmla="*/ 63 h 63"/>
                  <a:gd name="T16" fmla="*/ 86 w 192"/>
                  <a:gd name="T17" fmla="*/ 24 h 63"/>
                  <a:gd name="T18" fmla="*/ 15 w 192"/>
                  <a:gd name="T19" fmla="*/ 0 h 63"/>
                  <a:gd name="T20" fmla="*/ 15 w 192"/>
                  <a:gd name="T21" fmla="*/ 0 h 63"/>
                  <a:gd name="T22" fmla="*/ 10 w 192"/>
                  <a:gd name="T23" fmla="*/ 0 h 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92" h="63">
                    <a:moveTo>
                      <a:pt x="10" y="0"/>
                    </a:moveTo>
                    <a:cubicBezTo>
                      <a:pt x="8" y="0"/>
                      <a:pt x="5" y="0"/>
                      <a:pt x="2" y="0"/>
                    </a:cubicBezTo>
                    <a:cubicBezTo>
                      <a:pt x="0" y="0"/>
                      <a:pt x="0" y="4"/>
                      <a:pt x="2" y="4"/>
                    </a:cubicBezTo>
                    <a:cubicBezTo>
                      <a:pt x="10" y="4"/>
                      <a:pt x="17" y="5"/>
                      <a:pt x="24" y="6"/>
                    </a:cubicBezTo>
                    <a:cubicBezTo>
                      <a:pt x="24" y="6"/>
                      <a:pt x="24" y="6"/>
                      <a:pt x="24" y="6"/>
                    </a:cubicBezTo>
                    <a:cubicBezTo>
                      <a:pt x="51" y="12"/>
                      <a:pt x="75" y="27"/>
                      <a:pt x="100" y="39"/>
                    </a:cubicBezTo>
                    <a:cubicBezTo>
                      <a:pt x="129" y="53"/>
                      <a:pt x="160" y="62"/>
                      <a:pt x="192" y="63"/>
                    </a:cubicBezTo>
                    <a:cubicBezTo>
                      <a:pt x="192" y="63"/>
                      <a:pt x="192" y="63"/>
                      <a:pt x="192" y="63"/>
                    </a:cubicBezTo>
                    <a:cubicBezTo>
                      <a:pt x="154" y="58"/>
                      <a:pt x="119" y="42"/>
                      <a:pt x="86" y="24"/>
                    </a:cubicBezTo>
                    <a:cubicBezTo>
                      <a:pt x="63" y="12"/>
                      <a:pt x="40" y="1"/>
                      <a:pt x="15" y="0"/>
                    </a:cubicBezTo>
                    <a:cubicBezTo>
                      <a:pt x="15" y="0"/>
                      <a:pt x="15" y="0"/>
                      <a:pt x="15" y="0"/>
                    </a:cubicBezTo>
                    <a:cubicBezTo>
                      <a:pt x="13" y="0"/>
                      <a:pt x="12" y="0"/>
                      <a:pt x="10" y="0"/>
                    </a:cubicBezTo>
                  </a:path>
                </a:pathLst>
              </a:custGeom>
              <a:solidFill>
                <a:srgbClr val="544D4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79" name="Freeform 125">
                <a:extLst>
                  <a:ext uri="{FF2B5EF4-FFF2-40B4-BE49-F238E27FC236}">
                    <a16:creationId xmlns:a16="http://schemas.microsoft.com/office/drawing/2014/main" id="{97974662-458A-4050-B7CE-6C4F4C2C9CC4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7227" y="645"/>
                <a:ext cx="104" cy="2387"/>
              </a:xfrm>
              <a:custGeom>
                <a:avLst/>
                <a:gdLst>
                  <a:gd name="T0" fmla="*/ 28 w 98"/>
                  <a:gd name="T1" fmla="*/ 5 h 2255"/>
                  <a:gd name="T2" fmla="*/ 13 w 98"/>
                  <a:gd name="T3" fmla="*/ 436 h 2255"/>
                  <a:gd name="T4" fmla="*/ 4 w 98"/>
                  <a:gd name="T5" fmla="*/ 879 h 2255"/>
                  <a:gd name="T6" fmla="*/ 31 w 98"/>
                  <a:gd name="T7" fmla="*/ 1320 h 2255"/>
                  <a:gd name="T8" fmla="*/ 51 w 98"/>
                  <a:gd name="T9" fmla="*/ 1761 h 2255"/>
                  <a:gd name="T10" fmla="*/ 62 w 98"/>
                  <a:gd name="T11" fmla="*/ 2000 h 2255"/>
                  <a:gd name="T12" fmla="*/ 83 w 98"/>
                  <a:gd name="T13" fmla="*/ 2245 h 2255"/>
                  <a:gd name="T14" fmla="*/ 98 w 98"/>
                  <a:gd name="T15" fmla="*/ 2243 h 2255"/>
                  <a:gd name="T16" fmla="*/ 80 w 98"/>
                  <a:gd name="T17" fmla="*/ 2031 h 2255"/>
                  <a:gd name="T18" fmla="*/ 70 w 98"/>
                  <a:gd name="T19" fmla="*/ 1815 h 2255"/>
                  <a:gd name="T20" fmla="*/ 51 w 98"/>
                  <a:gd name="T21" fmla="*/ 1375 h 2255"/>
                  <a:gd name="T22" fmla="*/ 22 w 98"/>
                  <a:gd name="T23" fmla="*/ 934 h 2255"/>
                  <a:gd name="T24" fmla="*/ 25 w 98"/>
                  <a:gd name="T25" fmla="*/ 493 h 2255"/>
                  <a:gd name="T26" fmla="*/ 37 w 98"/>
                  <a:gd name="T27" fmla="*/ 245 h 2255"/>
                  <a:gd name="T28" fmla="*/ 35 w 98"/>
                  <a:gd name="T29" fmla="*/ 4 h 2255"/>
                  <a:gd name="T30" fmla="*/ 28 w 98"/>
                  <a:gd name="T31" fmla="*/ 5 h 22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98" h="2255">
                    <a:moveTo>
                      <a:pt x="28" y="5"/>
                    </a:moveTo>
                    <a:cubicBezTo>
                      <a:pt x="31" y="149"/>
                      <a:pt x="21" y="292"/>
                      <a:pt x="13" y="436"/>
                    </a:cubicBezTo>
                    <a:cubicBezTo>
                      <a:pt x="4" y="583"/>
                      <a:pt x="0" y="731"/>
                      <a:pt x="4" y="879"/>
                    </a:cubicBezTo>
                    <a:cubicBezTo>
                      <a:pt x="8" y="1026"/>
                      <a:pt x="22" y="1173"/>
                      <a:pt x="31" y="1320"/>
                    </a:cubicBezTo>
                    <a:cubicBezTo>
                      <a:pt x="41" y="1467"/>
                      <a:pt x="45" y="1614"/>
                      <a:pt x="51" y="1761"/>
                    </a:cubicBezTo>
                    <a:cubicBezTo>
                      <a:pt x="55" y="1841"/>
                      <a:pt x="59" y="1920"/>
                      <a:pt x="62" y="2000"/>
                    </a:cubicBezTo>
                    <a:cubicBezTo>
                      <a:pt x="66" y="2082"/>
                      <a:pt x="75" y="2164"/>
                      <a:pt x="83" y="2245"/>
                    </a:cubicBezTo>
                    <a:cubicBezTo>
                      <a:pt x="84" y="2255"/>
                      <a:pt x="98" y="2253"/>
                      <a:pt x="98" y="2243"/>
                    </a:cubicBezTo>
                    <a:cubicBezTo>
                      <a:pt x="95" y="2172"/>
                      <a:pt x="83" y="2102"/>
                      <a:pt x="80" y="2031"/>
                    </a:cubicBezTo>
                    <a:cubicBezTo>
                      <a:pt x="76" y="1959"/>
                      <a:pt x="73" y="1887"/>
                      <a:pt x="70" y="1815"/>
                    </a:cubicBezTo>
                    <a:cubicBezTo>
                      <a:pt x="64" y="1668"/>
                      <a:pt x="60" y="1521"/>
                      <a:pt x="51" y="1375"/>
                    </a:cubicBezTo>
                    <a:cubicBezTo>
                      <a:pt x="42" y="1228"/>
                      <a:pt x="28" y="1081"/>
                      <a:pt x="22" y="934"/>
                    </a:cubicBezTo>
                    <a:cubicBezTo>
                      <a:pt x="16" y="787"/>
                      <a:pt x="18" y="640"/>
                      <a:pt x="25" y="493"/>
                    </a:cubicBezTo>
                    <a:cubicBezTo>
                      <a:pt x="29" y="411"/>
                      <a:pt x="34" y="328"/>
                      <a:pt x="37" y="245"/>
                    </a:cubicBezTo>
                    <a:cubicBezTo>
                      <a:pt x="40" y="165"/>
                      <a:pt x="43" y="85"/>
                      <a:pt x="35" y="4"/>
                    </a:cubicBezTo>
                    <a:cubicBezTo>
                      <a:pt x="35" y="0"/>
                      <a:pt x="27" y="0"/>
                      <a:pt x="28" y="5"/>
                    </a:cubicBezTo>
                    <a:close/>
                  </a:path>
                </a:pathLst>
              </a:custGeom>
              <a:solidFill>
                <a:srgbClr val="04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80" name="Freeform 126">
                <a:extLst>
                  <a:ext uri="{FF2B5EF4-FFF2-40B4-BE49-F238E27FC236}">
                    <a16:creationId xmlns:a16="http://schemas.microsoft.com/office/drawing/2014/main" id="{F147AF46-8770-4AAC-95FA-48C0D88130DE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992" y="1102"/>
                <a:ext cx="204" cy="163"/>
              </a:xfrm>
              <a:custGeom>
                <a:avLst/>
                <a:gdLst>
                  <a:gd name="T0" fmla="*/ 2 w 193"/>
                  <a:gd name="T1" fmla="*/ 53 h 154"/>
                  <a:gd name="T2" fmla="*/ 26 w 193"/>
                  <a:gd name="T3" fmla="*/ 27 h 154"/>
                  <a:gd name="T4" fmla="*/ 34 w 193"/>
                  <a:gd name="T5" fmla="*/ 25 h 154"/>
                  <a:gd name="T6" fmla="*/ 54 w 193"/>
                  <a:gd name="T7" fmla="*/ 51 h 154"/>
                  <a:gd name="T8" fmla="*/ 110 w 193"/>
                  <a:gd name="T9" fmla="*/ 23 h 154"/>
                  <a:gd name="T10" fmla="*/ 104 w 193"/>
                  <a:gd name="T11" fmla="*/ 2 h 154"/>
                  <a:gd name="T12" fmla="*/ 106 w 193"/>
                  <a:gd name="T13" fmla="*/ 1 h 154"/>
                  <a:gd name="T14" fmla="*/ 124 w 193"/>
                  <a:gd name="T15" fmla="*/ 1 h 154"/>
                  <a:gd name="T16" fmla="*/ 156 w 193"/>
                  <a:gd name="T17" fmla="*/ 20 h 154"/>
                  <a:gd name="T18" fmla="*/ 161 w 193"/>
                  <a:gd name="T19" fmla="*/ 33 h 154"/>
                  <a:gd name="T20" fmla="*/ 139 w 193"/>
                  <a:gd name="T21" fmla="*/ 60 h 154"/>
                  <a:gd name="T22" fmla="*/ 168 w 193"/>
                  <a:gd name="T23" fmla="*/ 98 h 154"/>
                  <a:gd name="T24" fmla="*/ 189 w 193"/>
                  <a:gd name="T25" fmla="*/ 96 h 154"/>
                  <a:gd name="T26" fmla="*/ 189 w 193"/>
                  <a:gd name="T27" fmla="*/ 98 h 154"/>
                  <a:gd name="T28" fmla="*/ 170 w 193"/>
                  <a:gd name="T29" fmla="*/ 139 h 154"/>
                  <a:gd name="T30" fmla="*/ 149 w 193"/>
                  <a:gd name="T31" fmla="*/ 139 h 154"/>
                  <a:gd name="T32" fmla="*/ 113 w 193"/>
                  <a:gd name="T33" fmla="*/ 119 h 154"/>
                  <a:gd name="T34" fmla="*/ 109 w 193"/>
                  <a:gd name="T35" fmla="*/ 120 h 154"/>
                  <a:gd name="T36" fmla="*/ 91 w 193"/>
                  <a:gd name="T37" fmla="*/ 124 h 154"/>
                  <a:gd name="T38" fmla="*/ 78 w 193"/>
                  <a:gd name="T39" fmla="*/ 150 h 154"/>
                  <a:gd name="T40" fmla="*/ 78 w 193"/>
                  <a:gd name="T41" fmla="*/ 153 h 154"/>
                  <a:gd name="T42" fmla="*/ 60 w 193"/>
                  <a:gd name="T43" fmla="*/ 154 h 154"/>
                  <a:gd name="T44" fmla="*/ 17 w 193"/>
                  <a:gd name="T45" fmla="*/ 124 h 154"/>
                  <a:gd name="T46" fmla="*/ 40 w 193"/>
                  <a:gd name="T47" fmla="*/ 103 h 154"/>
                  <a:gd name="T48" fmla="*/ 39 w 193"/>
                  <a:gd name="T49" fmla="*/ 75 h 154"/>
                  <a:gd name="T50" fmla="*/ 4 w 193"/>
                  <a:gd name="T51" fmla="*/ 64 h 154"/>
                  <a:gd name="T52" fmla="*/ 1 w 193"/>
                  <a:gd name="T53" fmla="*/ 60 h 154"/>
                  <a:gd name="T54" fmla="*/ 2 w 193"/>
                  <a:gd name="T55" fmla="*/ 53 h 1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193" h="154">
                    <a:moveTo>
                      <a:pt x="2" y="53"/>
                    </a:moveTo>
                    <a:cubicBezTo>
                      <a:pt x="8" y="43"/>
                      <a:pt x="14" y="34"/>
                      <a:pt x="26" y="27"/>
                    </a:cubicBezTo>
                    <a:cubicBezTo>
                      <a:pt x="34" y="25"/>
                      <a:pt x="34" y="25"/>
                      <a:pt x="34" y="25"/>
                    </a:cubicBezTo>
                    <a:cubicBezTo>
                      <a:pt x="37" y="36"/>
                      <a:pt x="44" y="47"/>
                      <a:pt x="54" y="51"/>
                    </a:cubicBezTo>
                    <a:cubicBezTo>
                      <a:pt x="75" y="61"/>
                      <a:pt x="106" y="47"/>
                      <a:pt x="110" y="23"/>
                    </a:cubicBezTo>
                    <a:cubicBezTo>
                      <a:pt x="111" y="16"/>
                      <a:pt x="108" y="8"/>
                      <a:pt x="104" y="2"/>
                    </a:cubicBezTo>
                    <a:cubicBezTo>
                      <a:pt x="106" y="1"/>
                      <a:pt x="106" y="1"/>
                      <a:pt x="106" y="1"/>
                    </a:cubicBezTo>
                    <a:cubicBezTo>
                      <a:pt x="111" y="2"/>
                      <a:pt x="117" y="0"/>
                      <a:pt x="124" y="1"/>
                    </a:cubicBezTo>
                    <a:cubicBezTo>
                      <a:pt x="136" y="3"/>
                      <a:pt x="147" y="10"/>
                      <a:pt x="156" y="20"/>
                    </a:cubicBezTo>
                    <a:cubicBezTo>
                      <a:pt x="161" y="33"/>
                      <a:pt x="161" y="33"/>
                      <a:pt x="161" y="33"/>
                    </a:cubicBezTo>
                    <a:cubicBezTo>
                      <a:pt x="149" y="39"/>
                      <a:pt x="139" y="50"/>
                      <a:pt x="139" y="60"/>
                    </a:cubicBezTo>
                    <a:cubicBezTo>
                      <a:pt x="137" y="82"/>
                      <a:pt x="149" y="95"/>
                      <a:pt x="168" y="98"/>
                    </a:cubicBezTo>
                    <a:cubicBezTo>
                      <a:pt x="176" y="98"/>
                      <a:pt x="183" y="98"/>
                      <a:pt x="189" y="96"/>
                    </a:cubicBezTo>
                    <a:cubicBezTo>
                      <a:pt x="189" y="98"/>
                      <a:pt x="189" y="98"/>
                      <a:pt x="189" y="98"/>
                    </a:cubicBezTo>
                    <a:cubicBezTo>
                      <a:pt x="193" y="114"/>
                      <a:pt x="180" y="128"/>
                      <a:pt x="170" y="139"/>
                    </a:cubicBezTo>
                    <a:cubicBezTo>
                      <a:pt x="149" y="139"/>
                      <a:pt x="149" y="139"/>
                      <a:pt x="149" y="139"/>
                    </a:cubicBezTo>
                    <a:cubicBezTo>
                      <a:pt x="144" y="127"/>
                      <a:pt x="127" y="121"/>
                      <a:pt x="113" y="119"/>
                    </a:cubicBezTo>
                    <a:cubicBezTo>
                      <a:pt x="109" y="120"/>
                      <a:pt x="109" y="120"/>
                      <a:pt x="109" y="120"/>
                    </a:cubicBezTo>
                    <a:cubicBezTo>
                      <a:pt x="102" y="124"/>
                      <a:pt x="97" y="120"/>
                      <a:pt x="91" y="124"/>
                    </a:cubicBezTo>
                    <a:cubicBezTo>
                      <a:pt x="82" y="126"/>
                      <a:pt x="79" y="143"/>
                      <a:pt x="78" y="150"/>
                    </a:cubicBezTo>
                    <a:cubicBezTo>
                      <a:pt x="78" y="151"/>
                      <a:pt x="78" y="152"/>
                      <a:pt x="78" y="153"/>
                    </a:cubicBezTo>
                    <a:cubicBezTo>
                      <a:pt x="60" y="154"/>
                      <a:pt x="60" y="154"/>
                      <a:pt x="60" y="154"/>
                    </a:cubicBezTo>
                    <a:cubicBezTo>
                      <a:pt x="45" y="153"/>
                      <a:pt x="22" y="141"/>
                      <a:pt x="17" y="124"/>
                    </a:cubicBezTo>
                    <a:cubicBezTo>
                      <a:pt x="27" y="120"/>
                      <a:pt x="36" y="113"/>
                      <a:pt x="40" y="103"/>
                    </a:cubicBezTo>
                    <a:cubicBezTo>
                      <a:pt x="45" y="92"/>
                      <a:pt x="45" y="83"/>
                      <a:pt x="39" y="75"/>
                    </a:cubicBezTo>
                    <a:cubicBezTo>
                      <a:pt x="29" y="64"/>
                      <a:pt x="15" y="64"/>
                      <a:pt x="4" y="64"/>
                    </a:cubicBezTo>
                    <a:cubicBezTo>
                      <a:pt x="1" y="60"/>
                      <a:pt x="1" y="60"/>
                      <a:pt x="1" y="60"/>
                    </a:cubicBezTo>
                    <a:cubicBezTo>
                      <a:pt x="0" y="58"/>
                      <a:pt x="2" y="56"/>
                      <a:pt x="2" y="53"/>
                    </a:cubicBezTo>
                    <a:close/>
                  </a:path>
                </a:pathLst>
              </a:custGeom>
              <a:solidFill>
                <a:srgbClr val="F6B84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81" name="Freeform 127">
                <a:extLst>
                  <a:ext uri="{FF2B5EF4-FFF2-40B4-BE49-F238E27FC236}">
                    <a16:creationId xmlns:a16="http://schemas.microsoft.com/office/drawing/2014/main" id="{5EC68BE2-D9E1-46B9-9D5A-CBFCBA8B97B9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335" y="1267"/>
                <a:ext cx="40" cy="38"/>
              </a:xfrm>
              <a:custGeom>
                <a:avLst/>
                <a:gdLst>
                  <a:gd name="T0" fmla="*/ 31 w 38"/>
                  <a:gd name="T1" fmla="*/ 19 h 36"/>
                  <a:gd name="T2" fmla="*/ 38 w 38"/>
                  <a:gd name="T3" fmla="*/ 31 h 36"/>
                  <a:gd name="T4" fmla="*/ 38 w 38"/>
                  <a:gd name="T5" fmla="*/ 31 h 36"/>
                  <a:gd name="T6" fmla="*/ 24 w 38"/>
                  <a:gd name="T7" fmla="*/ 32 h 36"/>
                  <a:gd name="T8" fmla="*/ 1 w 38"/>
                  <a:gd name="T9" fmla="*/ 32 h 36"/>
                  <a:gd name="T10" fmla="*/ 1 w 38"/>
                  <a:gd name="T11" fmla="*/ 30 h 36"/>
                  <a:gd name="T12" fmla="*/ 0 w 38"/>
                  <a:gd name="T13" fmla="*/ 26 h 36"/>
                  <a:gd name="T14" fmla="*/ 17 w 38"/>
                  <a:gd name="T15" fmla="*/ 1 h 36"/>
                  <a:gd name="T16" fmla="*/ 19 w 38"/>
                  <a:gd name="T17" fmla="*/ 0 h 36"/>
                  <a:gd name="T18" fmla="*/ 23 w 38"/>
                  <a:gd name="T19" fmla="*/ 4 h 36"/>
                  <a:gd name="T20" fmla="*/ 31 w 38"/>
                  <a:gd name="T21" fmla="*/ 19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38" h="36">
                    <a:moveTo>
                      <a:pt x="31" y="19"/>
                    </a:moveTo>
                    <a:cubicBezTo>
                      <a:pt x="31" y="21"/>
                      <a:pt x="34" y="28"/>
                      <a:pt x="38" y="31"/>
                    </a:cubicBezTo>
                    <a:cubicBezTo>
                      <a:pt x="38" y="31"/>
                      <a:pt x="38" y="31"/>
                      <a:pt x="38" y="31"/>
                    </a:cubicBezTo>
                    <a:cubicBezTo>
                      <a:pt x="36" y="36"/>
                      <a:pt x="29" y="33"/>
                      <a:pt x="24" y="32"/>
                    </a:cubicBezTo>
                    <a:cubicBezTo>
                      <a:pt x="17" y="30"/>
                      <a:pt x="9" y="31"/>
                      <a:pt x="1" y="32"/>
                    </a:cubicBezTo>
                    <a:cubicBezTo>
                      <a:pt x="1" y="30"/>
                      <a:pt x="1" y="30"/>
                      <a:pt x="1" y="30"/>
                    </a:cubicBezTo>
                    <a:cubicBezTo>
                      <a:pt x="0" y="28"/>
                      <a:pt x="0" y="26"/>
                      <a:pt x="0" y="26"/>
                    </a:cubicBezTo>
                    <a:cubicBezTo>
                      <a:pt x="3" y="18"/>
                      <a:pt x="12" y="7"/>
                      <a:pt x="17" y="1"/>
                    </a:cubicBezTo>
                    <a:cubicBezTo>
                      <a:pt x="19" y="0"/>
                      <a:pt x="19" y="0"/>
                      <a:pt x="19" y="0"/>
                    </a:cubicBezTo>
                    <a:cubicBezTo>
                      <a:pt x="20" y="2"/>
                      <a:pt x="21" y="3"/>
                      <a:pt x="23" y="4"/>
                    </a:cubicBezTo>
                    <a:cubicBezTo>
                      <a:pt x="26" y="8"/>
                      <a:pt x="27" y="15"/>
                      <a:pt x="31" y="19"/>
                    </a:cubicBezTo>
                    <a:close/>
                  </a:path>
                </a:pathLst>
              </a:custGeom>
              <a:solidFill>
                <a:srgbClr val="3C3C3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82" name="Freeform 128">
                <a:extLst>
                  <a:ext uri="{FF2B5EF4-FFF2-40B4-BE49-F238E27FC236}">
                    <a16:creationId xmlns:a16="http://schemas.microsoft.com/office/drawing/2014/main" id="{ACD50951-67E6-4112-8EFC-91B4C72BDAF9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425" y="1244"/>
                <a:ext cx="39" cy="45"/>
              </a:xfrm>
              <a:custGeom>
                <a:avLst/>
                <a:gdLst>
                  <a:gd name="T0" fmla="*/ 0 w 37"/>
                  <a:gd name="T1" fmla="*/ 43 h 43"/>
                  <a:gd name="T2" fmla="*/ 4 w 37"/>
                  <a:gd name="T3" fmla="*/ 0 h 43"/>
                  <a:gd name="T4" fmla="*/ 10 w 37"/>
                  <a:gd name="T5" fmla="*/ 1 h 43"/>
                  <a:gd name="T6" fmla="*/ 21 w 37"/>
                  <a:gd name="T7" fmla="*/ 4 h 43"/>
                  <a:gd name="T8" fmla="*/ 34 w 37"/>
                  <a:gd name="T9" fmla="*/ 10 h 43"/>
                  <a:gd name="T10" fmla="*/ 37 w 37"/>
                  <a:gd name="T11" fmla="*/ 12 h 43"/>
                  <a:gd name="T12" fmla="*/ 23 w 37"/>
                  <a:gd name="T13" fmla="*/ 24 h 43"/>
                  <a:gd name="T14" fmla="*/ 0 w 37"/>
                  <a:gd name="T15" fmla="*/ 43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7" h="43">
                    <a:moveTo>
                      <a:pt x="0" y="43"/>
                    </a:moveTo>
                    <a:cubicBezTo>
                      <a:pt x="3" y="29"/>
                      <a:pt x="0" y="14"/>
                      <a:pt x="4" y="0"/>
                    </a:cubicBezTo>
                    <a:cubicBezTo>
                      <a:pt x="6" y="0"/>
                      <a:pt x="8" y="0"/>
                      <a:pt x="10" y="1"/>
                    </a:cubicBezTo>
                    <a:cubicBezTo>
                      <a:pt x="14" y="2"/>
                      <a:pt x="18" y="3"/>
                      <a:pt x="21" y="4"/>
                    </a:cubicBezTo>
                    <a:cubicBezTo>
                      <a:pt x="23" y="5"/>
                      <a:pt x="29" y="9"/>
                      <a:pt x="34" y="10"/>
                    </a:cubicBezTo>
                    <a:cubicBezTo>
                      <a:pt x="37" y="12"/>
                      <a:pt x="37" y="12"/>
                      <a:pt x="37" y="12"/>
                    </a:cubicBezTo>
                    <a:cubicBezTo>
                      <a:pt x="31" y="15"/>
                      <a:pt x="27" y="20"/>
                      <a:pt x="23" y="24"/>
                    </a:cubicBezTo>
                    <a:cubicBezTo>
                      <a:pt x="17" y="30"/>
                      <a:pt x="9" y="40"/>
                      <a:pt x="0" y="43"/>
                    </a:cubicBezTo>
                    <a:close/>
                  </a:path>
                </a:pathLst>
              </a:custGeom>
              <a:solidFill>
                <a:srgbClr val="3C3C3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83" name="Freeform 129">
                <a:extLst>
                  <a:ext uri="{FF2B5EF4-FFF2-40B4-BE49-F238E27FC236}">
                    <a16:creationId xmlns:a16="http://schemas.microsoft.com/office/drawing/2014/main" id="{FBB1177E-55F6-479E-9F43-F174B2D4FE3A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311" y="1238"/>
                <a:ext cx="191" cy="191"/>
              </a:xfrm>
              <a:custGeom>
                <a:avLst/>
                <a:gdLst>
                  <a:gd name="T0" fmla="*/ 24 w 181"/>
                  <a:gd name="T1" fmla="*/ 154 h 180"/>
                  <a:gd name="T2" fmla="*/ 11 w 181"/>
                  <a:gd name="T3" fmla="*/ 127 h 180"/>
                  <a:gd name="T4" fmla="*/ 10 w 181"/>
                  <a:gd name="T5" fmla="*/ 113 h 180"/>
                  <a:gd name="T6" fmla="*/ 8 w 181"/>
                  <a:gd name="T7" fmla="*/ 114 h 180"/>
                  <a:gd name="T8" fmla="*/ 8 w 181"/>
                  <a:gd name="T9" fmla="*/ 114 h 180"/>
                  <a:gd name="T10" fmla="*/ 8 w 181"/>
                  <a:gd name="T11" fmla="*/ 113 h 180"/>
                  <a:gd name="T12" fmla="*/ 5 w 181"/>
                  <a:gd name="T13" fmla="*/ 98 h 180"/>
                  <a:gd name="T14" fmla="*/ 3 w 181"/>
                  <a:gd name="T15" fmla="*/ 78 h 180"/>
                  <a:gd name="T16" fmla="*/ 4 w 181"/>
                  <a:gd name="T17" fmla="*/ 64 h 180"/>
                  <a:gd name="T18" fmla="*/ 15 w 181"/>
                  <a:gd name="T19" fmla="*/ 61 h 180"/>
                  <a:gd name="T20" fmla="*/ 24 w 181"/>
                  <a:gd name="T21" fmla="*/ 59 h 180"/>
                  <a:gd name="T22" fmla="*/ 47 w 181"/>
                  <a:gd name="T23" fmla="*/ 59 h 180"/>
                  <a:gd name="T24" fmla="*/ 61 w 181"/>
                  <a:gd name="T25" fmla="*/ 58 h 180"/>
                  <a:gd name="T26" fmla="*/ 61 w 181"/>
                  <a:gd name="T27" fmla="*/ 58 h 180"/>
                  <a:gd name="T28" fmla="*/ 54 w 181"/>
                  <a:gd name="T29" fmla="*/ 46 h 180"/>
                  <a:gd name="T30" fmla="*/ 46 w 181"/>
                  <a:gd name="T31" fmla="*/ 31 h 180"/>
                  <a:gd name="T32" fmla="*/ 42 w 181"/>
                  <a:gd name="T33" fmla="*/ 27 h 180"/>
                  <a:gd name="T34" fmla="*/ 39 w 181"/>
                  <a:gd name="T35" fmla="*/ 21 h 180"/>
                  <a:gd name="T36" fmla="*/ 97 w 181"/>
                  <a:gd name="T37" fmla="*/ 2 h 180"/>
                  <a:gd name="T38" fmla="*/ 118 w 181"/>
                  <a:gd name="T39" fmla="*/ 4 h 180"/>
                  <a:gd name="T40" fmla="*/ 118 w 181"/>
                  <a:gd name="T41" fmla="*/ 6 h 180"/>
                  <a:gd name="T42" fmla="*/ 112 w 181"/>
                  <a:gd name="T43" fmla="*/ 5 h 180"/>
                  <a:gd name="T44" fmla="*/ 108 w 181"/>
                  <a:gd name="T45" fmla="*/ 48 h 180"/>
                  <a:gd name="T46" fmla="*/ 131 w 181"/>
                  <a:gd name="T47" fmla="*/ 29 h 180"/>
                  <a:gd name="T48" fmla="*/ 145 w 181"/>
                  <a:gd name="T49" fmla="*/ 17 h 180"/>
                  <a:gd name="T50" fmla="*/ 147 w 181"/>
                  <a:gd name="T51" fmla="*/ 15 h 180"/>
                  <a:gd name="T52" fmla="*/ 153 w 181"/>
                  <a:gd name="T53" fmla="*/ 15 h 180"/>
                  <a:gd name="T54" fmla="*/ 181 w 181"/>
                  <a:gd name="T55" fmla="*/ 57 h 180"/>
                  <a:gd name="T56" fmla="*/ 176 w 181"/>
                  <a:gd name="T57" fmla="*/ 65 h 180"/>
                  <a:gd name="T58" fmla="*/ 178 w 181"/>
                  <a:gd name="T59" fmla="*/ 65 h 180"/>
                  <a:gd name="T60" fmla="*/ 162 w 181"/>
                  <a:gd name="T61" fmla="*/ 131 h 180"/>
                  <a:gd name="T62" fmla="*/ 100 w 181"/>
                  <a:gd name="T63" fmla="*/ 177 h 180"/>
                  <a:gd name="T64" fmla="*/ 24 w 181"/>
                  <a:gd name="T65" fmla="*/ 154 h 1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181" h="180">
                    <a:moveTo>
                      <a:pt x="24" y="154"/>
                    </a:moveTo>
                    <a:cubicBezTo>
                      <a:pt x="18" y="146"/>
                      <a:pt x="11" y="138"/>
                      <a:pt x="11" y="127"/>
                    </a:cubicBezTo>
                    <a:cubicBezTo>
                      <a:pt x="10" y="122"/>
                      <a:pt x="10" y="118"/>
                      <a:pt x="10" y="113"/>
                    </a:cubicBezTo>
                    <a:cubicBezTo>
                      <a:pt x="9" y="113"/>
                      <a:pt x="9" y="113"/>
                      <a:pt x="8" y="114"/>
                    </a:cubicBezTo>
                    <a:cubicBezTo>
                      <a:pt x="8" y="114"/>
                      <a:pt x="8" y="114"/>
                      <a:pt x="8" y="114"/>
                    </a:cubicBezTo>
                    <a:cubicBezTo>
                      <a:pt x="8" y="113"/>
                      <a:pt x="8" y="113"/>
                      <a:pt x="8" y="113"/>
                    </a:cubicBezTo>
                    <a:cubicBezTo>
                      <a:pt x="5" y="107"/>
                      <a:pt x="6" y="102"/>
                      <a:pt x="5" y="98"/>
                    </a:cubicBezTo>
                    <a:cubicBezTo>
                      <a:pt x="6" y="91"/>
                      <a:pt x="4" y="84"/>
                      <a:pt x="3" y="78"/>
                    </a:cubicBezTo>
                    <a:cubicBezTo>
                      <a:pt x="4" y="73"/>
                      <a:pt x="0" y="67"/>
                      <a:pt x="4" y="64"/>
                    </a:cubicBezTo>
                    <a:cubicBezTo>
                      <a:pt x="6" y="63"/>
                      <a:pt x="13" y="62"/>
                      <a:pt x="15" y="61"/>
                    </a:cubicBezTo>
                    <a:cubicBezTo>
                      <a:pt x="18" y="61"/>
                      <a:pt x="21" y="60"/>
                      <a:pt x="24" y="59"/>
                    </a:cubicBezTo>
                    <a:cubicBezTo>
                      <a:pt x="32" y="58"/>
                      <a:pt x="40" y="57"/>
                      <a:pt x="47" y="59"/>
                    </a:cubicBezTo>
                    <a:cubicBezTo>
                      <a:pt x="52" y="60"/>
                      <a:pt x="59" y="63"/>
                      <a:pt x="61" y="58"/>
                    </a:cubicBezTo>
                    <a:cubicBezTo>
                      <a:pt x="61" y="58"/>
                      <a:pt x="61" y="58"/>
                      <a:pt x="61" y="58"/>
                    </a:cubicBezTo>
                    <a:cubicBezTo>
                      <a:pt x="57" y="55"/>
                      <a:pt x="54" y="48"/>
                      <a:pt x="54" y="46"/>
                    </a:cubicBezTo>
                    <a:cubicBezTo>
                      <a:pt x="50" y="42"/>
                      <a:pt x="49" y="35"/>
                      <a:pt x="46" y="31"/>
                    </a:cubicBezTo>
                    <a:cubicBezTo>
                      <a:pt x="44" y="30"/>
                      <a:pt x="43" y="29"/>
                      <a:pt x="42" y="27"/>
                    </a:cubicBezTo>
                    <a:cubicBezTo>
                      <a:pt x="40" y="26"/>
                      <a:pt x="39" y="23"/>
                      <a:pt x="39" y="21"/>
                    </a:cubicBezTo>
                    <a:cubicBezTo>
                      <a:pt x="57" y="10"/>
                      <a:pt x="77" y="6"/>
                      <a:pt x="97" y="2"/>
                    </a:cubicBezTo>
                    <a:cubicBezTo>
                      <a:pt x="106" y="0"/>
                      <a:pt x="111" y="1"/>
                      <a:pt x="118" y="4"/>
                    </a:cubicBezTo>
                    <a:cubicBezTo>
                      <a:pt x="118" y="6"/>
                      <a:pt x="118" y="6"/>
                      <a:pt x="118" y="6"/>
                    </a:cubicBezTo>
                    <a:cubicBezTo>
                      <a:pt x="116" y="5"/>
                      <a:pt x="114" y="5"/>
                      <a:pt x="112" y="5"/>
                    </a:cubicBezTo>
                    <a:cubicBezTo>
                      <a:pt x="108" y="19"/>
                      <a:pt x="111" y="34"/>
                      <a:pt x="108" y="48"/>
                    </a:cubicBezTo>
                    <a:cubicBezTo>
                      <a:pt x="117" y="45"/>
                      <a:pt x="125" y="35"/>
                      <a:pt x="131" y="29"/>
                    </a:cubicBezTo>
                    <a:cubicBezTo>
                      <a:pt x="135" y="25"/>
                      <a:pt x="139" y="20"/>
                      <a:pt x="145" y="17"/>
                    </a:cubicBezTo>
                    <a:cubicBezTo>
                      <a:pt x="146" y="16"/>
                      <a:pt x="147" y="15"/>
                      <a:pt x="147" y="15"/>
                    </a:cubicBezTo>
                    <a:cubicBezTo>
                      <a:pt x="153" y="15"/>
                      <a:pt x="153" y="15"/>
                      <a:pt x="153" y="15"/>
                    </a:cubicBezTo>
                    <a:cubicBezTo>
                      <a:pt x="167" y="24"/>
                      <a:pt x="175" y="43"/>
                      <a:pt x="181" y="57"/>
                    </a:cubicBezTo>
                    <a:cubicBezTo>
                      <a:pt x="179" y="58"/>
                      <a:pt x="177" y="61"/>
                      <a:pt x="176" y="65"/>
                    </a:cubicBezTo>
                    <a:cubicBezTo>
                      <a:pt x="178" y="65"/>
                      <a:pt x="178" y="65"/>
                      <a:pt x="178" y="65"/>
                    </a:cubicBezTo>
                    <a:cubicBezTo>
                      <a:pt x="179" y="90"/>
                      <a:pt x="176" y="109"/>
                      <a:pt x="162" y="131"/>
                    </a:cubicBezTo>
                    <a:cubicBezTo>
                      <a:pt x="149" y="155"/>
                      <a:pt x="127" y="171"/>
                      <a:pt x="100" y="177"/>
                    </a:cubicBezTo>
                    <a:cubicBezTo>
                      <a:pt x="74" y="180"/>
                      <a:pt x="45" y="175"/>
                      <a:pt x="24" y="154"/>
                    </a:cubicBezTo>
                    <a:close/>
                  </a:path>
                </a:pathLst>
              </a:custGeom>
              <a:solidFill>
                <a:srgbClr val="3C3C3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84" name="Freeform 130">
                <a:extLst>
                  <a:ext uri="{FF2B5EF4-FFF2-40B4-BE49-F238E27FC236}">
                    <a16:creationId xmlns:a16="http://schemas.microsoft.com/office/drawing/2014/main" id="{FA8A1147-E201-4006-B779-1B50CB1108B3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137" y="1133"/>
                <a:ext cx="82" cy="73"/>
              </a:xfrm>
              <a:custGeom>
                <a:avLst/>
                <a:gdLst>
                  <a:gd name="T0" fmla="*/ 28 w 77"/>
                  <a:gd name="T1" fmla="*/ 5 h 69"/>
                  <a:gd name="T2" fmla="*/ 57 w 77"/>
                  <a:gd name="T3" fmla="*/ 3 h 69"/>
                  <a:gd name="T4" fmla="*/ 75 w 77"/>
                  <a:gd name="T5" fmla="*/ 34 h 69"/>
                  <a:gd name="T6" fmla="*/ 52 w 77"/>
                  <a:gd name="T7" fmla="*/ 67 h 69"/>
                  <a:gd name="T8" fmla="*/ 31 w 77"/>
                  <a:gd name="T9" fmla="*/ 69 h 69"/>
                  <a:gd name="T10" fmla="*/ 2 w 77"/>
                  <a:gd name="T11" fmla="*/ 31 h 69"/>
                  <a:gd name="T12" fmla="*/ 24 w 77"/>
                  <a:gd name="T13" fmla="*/ 4 h 69"/>
                  <a:gd name="T14" fmla="*/ 26 w 77"/>
                  <a:gd name="T15" fmla="*/ 3 h 69"/>
                  <a:gd name="T16" fmla="*/ 28 w 77"/>
                  <a:gd name="T17" fmla="*/ 5 h 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77" h="69">
                    <a:moveTo>
                      <a:pt x="28" y="5"/>
                    </a:moveTo>
                    <a:cubicBezTo>
                      <a:pt x="37" y="1"/>
                      <a:pt x="46" y="0"/>
                      <a:pt x="57" y="3"/>
                    </a:cubicBezTo>
                    <a:cubicBezTo>
                      <a:pt x="67" y="10"/>
                      <a:pt x="74" y="20"/>
                      <a:pt x="75" y="34"/>
                    </a:cubicBezTo>
                    <a:cubicBezTo>
                      <a:pt x="77" y="53"/>
                      <a:pt x="67" y="63"/>
                      <a:pt x="52" y="67"/>
                    </a:cubicBezTo>
                    <a:cubicBezTo>
                      <a:pt x="46" y="69"/>
                      <a:pt x="39" y="69"/>
                      <a:pt x="31" y="69"/>
                    </a:cubicBezTo>
                    <a:cubicBezTo>
                      <a:pt x="12" y="66"/>
                      <a:pt x="0" y="53"/>
                      <a:pt x="2" y="31"/>
                    </a:cubicBezTo>
                    <a:cubicBezTo>
                      <a:pt x="2" y="21"/>
                      <a:pt x="12" y="10"/>
                      <a:pt x="24" y="4"/>
                    </a:cubicBezTo>
                    <a:cubicBezTo>
                      <a:pt x="25" y="4"/>
                      <a:pt x="26" y="3"/>
                      <a:pt x="26" y="3"/>
                    </a:cubicBezTo>
                    <a:lnTo>
                      <a:pt x="28" y="5"/>
                    </a:lnTo>
                    <a:close/>
                  </a:path>
                </a:pathLst>
              </a:custGeom>
              <a:solidFill>
                <a:srgbClr val="3C3C3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85" name="Freeform 131">
                <a:extLst>
                  <a:ext uri="{FF2B5EF4-FFF2-40B4-BE49-F238E27FC236}">
                    <a16:creationId xmlns:a16="http://schemas.microsoft.com/office/drawing/2014/main" id="{2EEF796A-3B95-4FC5-A357-D3CA888AB927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075" y="1228"/>
                <a:ext cx="77" cy="73"/>
              </a:xfrm>
              <a:custGeom>
                <a:avLst/>
                <a:gdLst>
                  <a:gd name="T0" fmla="*/ 13 w 73"/>
                  <a:gd name="T1" fmla="*/ 5 h 69"/>
                  <a:gd name="T2" fmla="*/ 31 w 73"/>
                  <a:gd name="T3" fmla="*/ 1 h 69"/>
                  <a:gd name="T4" fmla="*/ 35 w 73"/>
                  <a:gd name="T5" fmla="*/ 0 h 69"/>
                  <a:gd name="T6" fmla="*/ 71 w 73"/>
                  <a:gd name="T7" fmla="*/ 20 h 69"/>
                  <a:gd name="T8" fmla="*/ 71 w 73"/>
                  <a:gd name="T9" fmla="*/ 36 h 69"/>
                  <a:gd name="T10" fmla="*/ 40 w 73"/>
                  <a:gd name="T11" fmla="*/ 66 h 69"/>
                  <a:gd name="T12" fmla="*/ 0 w 73"/>
                  <a:gd name="T13" fmla="*/ 34 h 69"/>
                  <a:gd name="T14" fmla="*/ 0 w 73"/>
                  <a:gd name="T15" fmla="*/ 31 h 69"/>
                  <a:gd name="T16" fmla="*/ 13 w 73"/>
                  <a:gd name="T17" fmla="*/ 5 h 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73" h="69">
                    <a:moveTo>
                      <a:pt x="13" y="5"/>
                    </a:moveTo>
                    <a:cubicBezTo>
                      <a:pt x="19" y="1"/>
                      <a:pt x="24" y="5"/>
                      <a:pt x="31" y="1"/>
                    </a:cubicBezTo>
                    <a:cubicBezTo>
                      <a:pt x="35" y="0"/>
                      <a:pt x="35" y="0"/>
                      <a:pt x="35" y="0"/>
                    </a:cubicBezTo>
                    <a:cubicBezTo>
                      <a:pt x="49" y="2"/>
                      <a:pt x="66" y="8"/>
                      <a:pt x="71" y="20"/>
                    </a:cubicBezTo>
                    <a:cubicBezTo>
                      <a:pt x="73" y="25"/>
                      <a:pt x="73" y="30"/>
                      <a:pt x="71" y="36"/>
                    </a:cubicBezTo>
                    <a:cubicBezTo>
                      <a:pt x="66" y="49"/>
                      <a:pt x="53" y="63"/>
                      <a:pt x="40" y="66"/>
                    </a:cubicBezTo>
                    <a:cubicBezTo>
                      <a:pt x="19" y="69"/>
                      <a:pt x="0" y="56"/>
                      <a:pt x="0" y="34"/>
                    </a:cubicBezTo>
                    <a:cubicBezTo>
                      <a:pt x="0" y="33"/>
                      <a:pt x="0" y="32"/>
                      <a:pt x="0" y="31"/>
                    </a:cubicBezTo>
                    <a:cubicBezTo>
                      <a:pt x="1" y="24"/>
                      <a:pt x="4" y="7"/>
                      <a:pt x="13" y="5"/>
                    </a:cubicBezTo>
                    <a:close/>
                  </a:path>
                </a:pathLst>
              </a:custGeom>
              <a:solidFill>
                <a:srgbClr val="3C3C3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86" name="Freeform 132">
                <a:extLst>
                  <a:ext uri="{FF2B5EF4-FFF2-40B4-BE49-F238E27FC236}">
                    <a16:creationId xmlns:a16="http://schemas.microsoft.com/office/drawing/2014/main" id="{F58100E3-E565-4B19-8A05-DFE289B56F0A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955" y="1165"/>
                <a:ext cx="85" cy="71"/>
              </a:xfrm>
              <a:custGeom>
                <a:avLst/>
                <a:gdLst>
                  <a:gd name="T0" fmla="*/ 27 w 80"/>
                  <a:gd name="T1" fmla="*/ 5 h 67"/>
                  <a:gd name="T2" fmla="*/ 36 w 80"/>
                  <a:gd name="T3" fmla="*/ 0 h 67"/>
                  <a:gd name="T4" fmla="*/ 39 w 80"/>
                  <a:gd name="T5" fmla="*/ 4 h 67"/>
                  <a:gd name="T6" fmla="*/ 74 w 80"/>
                  <a:gd name="T7" fmla="*/ 15 h 67"/>
                  <a:gd name="T8" fmla="*/ 75 w 80"/>
                  <a:gd name="T9" fmla="*/ 43 h 67"/>
                  <a:gd name="T10" fmla="*/ 52 w 80"/>
                  <a:gd name="T11" fmla="*/ 64 h 67"/>
                  <a:gd name="T12" fmla="*/ 26 w 80"/>
                  <a:gd name="T13" fmla="*/ 63 h 67"/>
                  <a:gd name="T14" fmla="*/ 6 w 80"/>
                  <a:gd name="T15" fmla="*/ 23 h 67"/>
                  <a:gd name="T16" fmla="*/ 27 w 80"/>
                  <a:gd name="T17" fmla="*/ 5 h 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80" h="67">
                    <a:moveTo>
                      <a:pt x="27" y="5"/>
                    </a:moveTo>
                    <a:cubicBezTo>
                      <a:pt x="36" y="0"/>
                      <a:pt x="36" y="0"/>
                      <a:pt x="36" y="0"/>
                    </a:cubicBezTo>
                    <a:cubicBezTo>
                      <a:pt x="39" y="4"/>
                      <a:pt x="39" y="4"/>
                      <a:pt x="39" y="4"/>
                    </a:cubicBezTo>
                    <a:cubicBezTo>
                      <a:pt x="50" y="4"/>
                      <a:pt x="64" y="4"/>
                      <a:pt x="74" y="15"/>
                    </a:cubicBezTo>
                    <a:cubicBezTo>
                      <a:pt x="80" y="23"/>
                      <a:pt x="80" y="32"/>
                      <a:pt x="75" y="43"/>
                    </a:cubicBezTo>
                    <a:cubicBezTo>
                      <a:pt x="71" y="53"/>
                      <a:pt x="62" y="60"/>
                      <a:pt x="52" y="64"/>
                    </a:cubicBezTo>
                    <a:cubicBezTo>
                      <a:pt x="44" y="67"/>
                      <a:pt x="34" y="67"/>
                      <a:pt x="26" y="63"/>
                    </a:cubicBezTo>
                    <a:cubicBezTo>
                      <a:pt x="14" y="58"/>
                      <a:pt x="0" y="36"/>
                      <a:pt x="6" y="23"/>
                    </a:cubicBezTo>
                    <a:cubicBezTo>
                      <a:pt x="11" y="15"/>
                      <a:pt x="20" y="11"/>
                      <a:pt x="27" y="5"/>
                    </a:cubicBezTo>
                    <a:close/>
                  </a:path>
                </a:pathLst>
              </a:custGeom>
              <a:solidFill>
                <a:srgbClr val="3C3C3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87" name="Freeform 133">
                <a:extLst>
                  <a:ext uri="{FF2B5EF4-FFF2-40B4-BE49-F238E27FC236}">
                    <a16:creationId xmlns:a16="http://schemas.microsoft.com/office/drawing/2014/main" id="{5159A4C4-2691-4294-A2F7-80040C7C1C6E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026" y="1082"/>
                <a:ext cx="84" cy="84"/>
              </a:xfrm>
              <a:custGeom>
                <a:avLst/>
                <a:gdLst>
                  <a:gd name="T0" fmla="*/ 4 w 79"/>
                  <a:gd name="T1" fmla="*/ 19 h 80"/>
                  <a:gd name="T2" fmla="*/ 23 w 79"/>
                  <a:gd name="T3" fmla="*/ 1 h 80"/>
                  <a:gd name="T4" fmla="*/ 37 w 79"/>
                  <a:gd name="T5" fmla="*/ 0 h 80"/>
                  <a:gd name="T6" fmla="*/ 37 w 79"/>
                  <a:gd name="T7" fmla="*/ 2 h 80"/>
                  <a:gd name="T8" fmla="*/ 72 w 79"/>
                  <a:gd name="T9" fmla="*/ 21 h 80"/>
                  <a:gd name="T10" fmla="*/ 78 w 79"/>
                  <a:gd name="T11" fmla="*/ 42 h 80"/>
                  <a:gd name="T12" fmla="*/ 22 w 79"/>
                  <a:gd name="T13" fmla="*/ 70 h 80"/>
                  <a:gd name="T14" fmla="*/ 2 w 79"/>
                  <a:gd name="T15" fmla="*/ 44 h 80"/>
                  <a:gd name="T16" fmla="*/ 4 w 79"/>
                  <a:gd name="T17" fmla="*/ 19 h 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79" h="80">
                    <a:moveTo>
                      <a:pt x="4" y="19"/>
                    </a:moveTo>
                    <a:cubicBezTo>
                      <a:pt x="9" y="11"/>
                      <a:pt x="14" y="2"/>
                      <a:pt x="23" y="1"/>
                    </a:cubicBezTo>
                    <a:cubicBezTo>
                      <a:pt x="28" y="0"/>
                      <a:pt x="33" y="1"/>
                      <a:pt x="37" y="0"/>
                    </a:cubicBezTo>
                    <a:cubicBezTo>
                      <a:pt x="37" y="2"/>
                      <a:pt x="37" y="2"/>
                      <a:pt x="37" y="2"/>
                    </a:cubicBezTo>
                    <a:cubicBezTo>
                      <a:pt x="51" y="0"/>
                      <a:pt x="64" y="9"/>
                      <a:pt x="72" y="21"/>
                    </a:cubicBezTo>
                    <a:cubicBezTo>
                      <a:pt x="76" y="27"/>
                      <a:pt x="79" y="35"/>
                      <a:pt x="78" y="42"/>
                    </a:cubicBezTo>
                    <a:cubicBezTo>
                      <a:pt x="74" y="66"/>
                      <a:pt x="43" y="80"/>
                      <a:pt x="22" y="70"/>
                    </a:cubicBezTo>
                    <a:cubicBezTo>
                      <a:pt x="12" y="66"/>
                      <a:pt x="5" y="55"/>
                      <a:pt x="2" y="44"/>
                    </a:cubicBezTo>
                    <a:cubicBezTo>
                      <a:pt x="0" y="35"/>
                      <a:pt x="0" y="26"/>
                      <a:pt x="4" y="19"/>
                    </a:cubicBezTo>
                    <a:close/>
                  </a:path>
                </a:pathLst>
              </a:custGeom>
              <a:solidFill>
                <a:srgbClr val="3C3C3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88" name="Freeform 134">
                <a:extLst>
                  <a:ext uri="{FF2B5EF4-FFF2-40B4-BE49-F238E27FC236}">
                    <a16:creationId xmlns:a16="http://schemas.microsoft.com/office/drawing/2014/main" id="{E6DD0081-D69B-4F06-A174-491E81AC83EF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742" y="1462"/>
                <a:ext cx="77" cy="70"/>
              </a:xfrm>
              <a:custGeom>
                <a:avLst/>
                <a:gdLst>
                  <a:gd name="T0" fmla="*/ 68 w 73"/>
                  <a:gd name="T1" fmla="*/ 21 h 66"/>
                  <a:gd name="T2" fmla="*/ 65 w 73"/>
                  <a:gd name="T3" fmla="*/ 49 h 66"/>
                  <a:gd name="T4" fmla="*/ 16 w 73"/>
                  <a:gd name="T5" fmla="*/ 57 h 66"/>
                  <a:gd name="T6" fmla="*/ 19 w 73"/>
                  <a:gd name="T7" fmla="*/ 6 h 66"/>
                  <a:gd name="T8" fmla="*/ 44 w 73"/>
                  <a:gd name="T9" fmla="*/ 0 h 66"/>
                  <a:gd name="T10" fmla="*/ 44 w 73"/>
                  <a:gd name="T11" fmla="*/ 3 h 66"/>
                  <a:gd name="T12" fmla="*/ 68 w 73"/>
                  <a:gd name="T13" fmla="*/ 21 h 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73" h="66">
                    <a:moveTo>
                      <a:pt x="68" y="21"/>
                    </a:moveTo>
                    <a:cubicBezTo>
                      <a:pt x="70" y="29"/>
                      <a:pt x="73" y="40"/>
                      <a:pt x="65" y="49"/>
                    </a:cubicBezTo>
                    <a:cubicBezTo>
                      <a:pt x="55" y="63"/>
                      <a:pt x="30" y="66"/>
                      <a:pt x="16" y="57"/>
                    </a:cubicBezTo>
                    <a:cubicBezTo>
                      <a:pt x="0" y="47"/>
                      <a:pt x="5" y="16"/>
                      <a:pt x="19" y="6"/>
                    </a:cubicBezTo>
                    <a:cubicBezTo>
                      <a:pt x="25" y="3"/>
                      <a:pt x="35" y="0"/>
                      <a:pt x="44" y="0"/>
                    </a:cubicBezTo>
                    <a:cubicBezTo>
                      <a:pt x="44" y="3"/>
                      <a:pt x="44" y="3"/>
                      <a:pt x="44" y="3"/>
                    </a:cubicBezTo>
                    <a:cubicBezTo>
                      <a:pt x="56" y="5"/>
                      <a:pt x="64" y="10"/>
                      <a:pt x="68" y="21"/>
                    </a:cubicBezTo>
                    <a:close/>
                  </a:path>
                </a:pathLst>
              </a:custGeom>
              <a:solidFill>
                <a:srgbClr val="E840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89" name="Freeform 135">
                <a:extLst>
                  <a:ext uri="{FF2B5EF4-FFF2-40B4-BE49-F238E27FC236}">
                    <a16:creationId xmlns:a16="http://schemas.microsoft.com/office/drawing/2014/main" id="{46B6E7DE-8091-493E-A16B-C61A287E79C3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532" y="1364"/>
                <a:ext cx="158" cy="154"/>
              </a:xfrm>
              <a:custGeom>
                <a:avLst/>
                <a:gdLst>
                  <a:gd name="T0" fmla="*/ 1 w 149"/>
                  <a:gd name="T1" fmla="*/ 86 h 145"/>
                  <a:gd name="T2" fmla="*/ 47 w 149"/>
                  <a:gd name="T3" fmla="*/ 112 h 145"/>
                  <a:gd name="T4" fmla="*/ 94 w 149"/>
                  <a:gd name="T5" fmla="*/ 95 h 145"/>
                  <a:gd name="T6" fmla="*/ 122 w 149"/>
                  <a:gd name="T7" fmla="*/ 54 h 145"/>
                  <a:gd name="T8" fmla="*/ 113 w 149"/>
                  <a:gd name="T9" fmla="*/ 3 h 145"/>
                  <a:gd name="T10" fmla="*/ 145 w 149"/>
                  <a:gd name="T11" fmla="*/ 44 h 145"/>
                  <a:gd name="T12" fmla="*/ 138 w 149"/>
                  <a:gd name="T13" fmla="*/ 87 h 145"/>
                  <a:gd name="T14" fmla="*/ 103 w 149"/>
                  <a:gd name="T15" fmla="*/ 127 h 145"/>
                  <a:gd name="T16" fmla="*/ 30 w 149"/>
                  <a:gd name="T17" fmla="*/ 132 h 145"/>
                  <a:gd name="T18" fmla="*/ 0 w 149"/>
                  <a:gd name="T19" fmla="*/ 87 h 145"/>
                  <a:gd name="T20" fmla="*/ 1 w 149"/>
                  <a:gd name="T21" fmla="*/ 86 h 1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49" h="145">
                    <a:moveTo>
                      <a:pt x="1" y="86"/>
                    </a:moveTo>
                    <a:cubicBezTo>
                      <a:pt x="13" y="100"/>
                      <a:pt x="30" y="109"/>
                      <a:pt x="47" y="112"/>
                    </a:cubicBezTo>
                    <a:cubicBezTo>
                      <a:pt x="66" y="115"/>
                      <a:pt x="80" y="107"/>
                      <a:pt x="94" y="95"/>
                    </a:cubicBezTo>
                    <a:cubicBezTo>
                      <a:pt x="107" y="82"/>
                      <a:pt x="121" y="70"/>
                      <a:pt x="122" y="54"/>
                    </a:cubicBezTo>
                    <a:cubicBezTo>
                      <a:pt x="125" y="37"/>
                      <a:pt x="119" y="18"/>
                      <a:pt x="113" y="3"/>
                    </a:cubicBezTo>
                    <a:cubicBezTo>
                      <a:pt x="133" y="0"/>
                      <a:pt x="142" y="29"/>
                      <a:pt x="145" y="44"/>
                    </a:cubicBezTo>
                    <a:cubicBezTo>
                      <a:pt x="149" y="60"/>
                      <a:pt x="147" y="74"/>
                      <a:pt x="138" y="87"/>
                    </a:cubicBezTo>
                    <a:cubicBezTo>
                      <a:pt x="130" y="103"/>
                      <a:pt x="120" y="119"/>
                      <a:pt x="103" y="127"/>
                    </a:cubicBezTo>
                    <a:cubicBezTo>
                      <a:pt x="83" y="141"/>
                      <a:pt x="52" y="145"/>
                      <a:pt x="30" y="132"/>
                    </a:cubicBezTo>
                    <a:cubicBezTo>
                      <a:pt x="17" y="123"/>
                      <a:pt x="4" y="105"/>
                      <a:pt x="0" y="87"/>
                    </a:cubicBezTo>
                    <a:lnTo>
                      <a:pt x="1" y="86"/>
                    </a:lnTo>
                    <a:close/>
                  </a:path>
                </a:pathLst>
              </a:custGeom>
              <a:solidFill>
                <a:srgbClr val="E840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90" name="Freeform 136">
                <a:extLst>
                  <a:ext uri="{FF2B5EF4-FFF2-40B4-BE49-F238E27FC236}">
                    <a16:creationId xmlns:a16="http://schemas.microsoft.com/office/drawing/2014/main" id="{750ADA8B-36DB-42C8-9041-AA65F16D45F2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516" y="1336"/>
                <a:ext cx="149" cy="150"/>
              </a:xfrm>
              <a:custGeom>
                <a:avLst/>
                <a:gdLst>
                  <a:gd name="T0" fmla="*/ 128 w 140"/>
                  <a:gd name="T1" fmla="*/ 30 h 142"/>
                  <a:gd name="T2" fmla="*/ 137 w 140"/>
                  <a:gd name="T3" fmla="*/ 81 h 142"/>
                  <a:gd name="T4" fmla="*/ 109 w 140"/>
                  <a:gd name="T5" fmla="*/ 122 h 142"/>
                  <a:gd name="T6" fmla="*/ 62 w 140"/>
                  <a:gd name="T7" fmla="*/ 139 h 142"/>
                  <a:gd name="T8" fmla="*/ 16 w 140"/>
                  <a:gd name="T9" fmla="*/ 113 h 142"/>
                  <a:gd name="T10" fmla="*/ 11 w 140"/>
                  <a:gd name="T11" fmla="*/ 108 h 142"/>
                  <a:gd name="T12" fmla="*/ 4 w 140"/>
                  <a:gd name="T13" fmla="*/ 66 h 142"/>
                  <a:gd name="T14" fmla="*/ 34 w 140"/>
                  <a:gd name="T15" fmla="*/ 13 h 142"/>
                  <a:gd name="T16" fmla="*/ 64 w 140"/>
                  <a:gd name="T17" fmla="*/ 0 h 142"/>
                  <a:gd name="T18" fmla="*/ 73 w 140"/>
                  <a:gd name="T19" fmla="*/ 0 h 142"/>
                  <a:gd name="T20" fmla="*/ 128 w 140"/>
                  <a:gd name="T21" fmla="*/ 30 h 1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40" h="142">
                    <a:moveTo>
                      <a:pt x="128" y="30"/>
                    </a:moveTo>
                    <a:cubicBezTo>
                      <a:pt x="134" y="45"/>
                      <a:pt x="140" y="64"/>
                      <a:pt x="137" y="81"/>
                    </a:cubicBezTo>
                    <a:cubicBezTo>
                      <a:pt x="136" y="97"/>
                      <a:pt x="122" y="109"/>
                      <a:pt x="109" y="122"/>
                    </a:cubicBezTo>
                    <a:cubicBezTo>
                      <a:pt x="95" y="134"/>
                      <a:pt x="81" y="142"/>
                      <a:pt x="62" y="139"/>
                    </a:cubicBezTo>
                    <a:cubicBezTo>
                      <a:pt x="45" y="136"/>
                      <a:pt x="28" y="127"/>
                      <a:pt x="16" y="113"/>
                    </a:cubicBezTo>
                    <a:cubicBezTo>
                      <a:pt x="14" y="112"/>
                      <a:pt x="13" y="110"/>
                      <a:pt x="11" y="108"/>
                    </a:cubicBezTo>
                    <a:cubicBezTo>
                      <a:pt x="2" y="96"/>
                      <a:pt x="0" y="80"/>
                      <a:pt x="4" y="66"/>
                    </a:cubicBezTo>
                    <a:cubicBezTo>
                      <a:pt x="7" y="47"/>
                      <a:pt x="18" y="23"/>
                      <a:pt x="34" y="13"/>
                    </a:cubicBezTo>
                    <a:cubicBezTo>
                      <a:pt x="44" y="6"/>
                      <a:pt x="53" y="4"/>
                      <a:pt x="64" y="0"/>
                    </a:cubicBezTo>
                    <a:cubicBezTo>
                      <a:pt x="73" y="0"/>
                      <a:pt x="73" y="0"/>
                      <a:pt x="73" y="0"/>
                    </a:cubicBezTo>
                    <a:cubicBezTo>
                      <a:pt x="95" y="4"/>
                      <a:pt x="117" y="9"/>
                      <a:pt x="128" y="30"/>
                    </a:cubicBezTo>
                    <a:close/>
                  </a:path>
                </a:pathLst>
              </a:custGeom>
              <a:solidFill>
                <a:srgbClr val="E840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91" name="Freeform 137">
                <a:extLst>
                  <a:ext uri="{FF2B5EF4-FFF2-40B4-BE49-F238E27FC236}">
                    <a16:creationId xmlns:a16="http://schemas.microsoft.com/office/drawing/2014/main" id="{9CA2A6E5-59B4-4C25-AC1C-A5A4BEDF6A26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848" y="1327"/>
                <a:ext cx="170" cy="107"/>
              </a:xfrm>
              <a:custGeom>
                <a:avLst/>
                <a:gdLst>
                  <a:gd name="T0" fmla="*/ 4 w 161"/>
                  <a:gd name="T1" fmla="*/ 13 h 101"/>
                  <a:gd name="T2" fmla="*/ 10 w 161"/>
                  <a:gd name="T3" fmla="*/ 0 h 101"/>
                  <a:gd name="T4" fmla="*/ 11 w 161"/>
                  <a:gd name="T5" fmla="*/ 0 h 101"/>
                  <a:gd name="T6" fmla="*/ 11 w 161"/>
                  <a:gd name="T7" fmla="*/ 25 h 101"/>
                  <a:gd name="T8" fmla="*/ 36 w 161"/>
                  <a:gd name="T9" fmla="*/ 54 h 101"/>
                  <a:gd name="T10" fmla="*/ 121 w 161"/>
                  <a:gd name="T11" fmla="*/ 64 h 101"/>
                  <a:gd name="T12" fmla="*/ 154 w 161"/>
                  <a:gd name="T13" fmla="*/ 21 h 101"/>
                  <a:gd name="T14" fmla="*/ 131 w 161"/>
                  <a:gd name="T15" fmla="*/ 85 h 101"/>
                  <a:gd name="T16" fmla="*/ 67 w 161"/>
                  <a:gd name="T17" fmla="*/ 101 h 101"/>
                  <a:gd name="T18" fmla="*/ 3 w 161"/>
                  <a:gd name="T19" fmla="*/ 52 h 101"/>
                  <a:gd name="T20" fmla="*/ 4 w 161"/>
                  <a:gd name="T21" fmla="*/ 13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61" h="101">
                    <a:moveTo>
                      <a:pt x="4" y="13"/>
                    </a:moveTo>
                    <a:cubicBezTo>
                      <a:pt x="5" y="8"/>
                      <a:pt x="9" y="5"/>
                      <a:pt x="10" y="0"/>
                    </a:cubicBezTo>
                    <a:cubicBezTo>
                      <a:pt x="11" y="0"/>
                      <a:pt x="11" y="0"/>
                      <a:pt x="11" y="0"/>
                    </a:cubicBezTo>
                    <a:cubicBezTo>
                      <a:pt x="10" y="8"/>
                      <a:pt x="9" y="17"/>
                      <a:pt x="11" y="25"/>
                    </a:cubicBezTo>
                    <a:cubicBezTo>
                      <a:pt x="14" y="36"/>
                      <a:pt x="25" y="47"/>
                      <a:pt x="36" y="54"/>
                    </a:cubicBezTo>
                    <a:cubicBezTo>
                      <a:pt x="61" y="74"/>
                      <a:pt x="92" y="77"/>
                      <a:pt x="121" y="64"/>
                    </a:cubicBezTo>
                    <a:cubicBezTo>
                      <a:pt x="138" y="56"/>
                      <a:pt x="149" y="39"/>
                      <a:pt x="154" y="21"/>
                    </a:cubicBezTo>
                    <a:cubicBezTo>
                      <a:pt x="161" y="43"/>
                      <a:pt x="147" y="70"/>
                      <a:pt x="131" y="85"/>
                    </a:cubicBezTo>
                    <a:cubicBezTo>
                      <a:pt x="113" y="98"/>
                      <a:pt x="90" y="100"/>
                      <a:pt x="67" y="101"/>
                    </a:cubicBezTo>
                    <a:cubicBezTo>
                      <a:pt x="39" y="100"/>
                      <a:pt x="9" y="81"/>
                      <a:pt x="3" y="52"/>
                    </a:cubicBezTo>
                    <a:cubicBezTo>
                      <a:pt x="0" y="39"/>
                      <a:pt x="0" y="25"/>
                      <a:pt x="4" y="13"/>
                    </a:cubicBezTo>
                    <a:close/>
                  </a:path>
                </a:pathLst>
              </a:custGeom>
              <a:solidFill>
                <a:srgbClr val="E840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92" name="Freeform 138">
                <a:extLst>
                  <a:ext uri="{FF2B5EF4-FFF2-40B4-BE49-F238E27FC236}">
                    <a16:creationId xmlns:a16="http://schemas.microsoft.com/office/drawing/2014/main" id="{143F54F9-E62C-442B-8C6C-D0980D73EB61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857" y="1260"/>
                <a:ext cx="158" cy="149"/>
              </a:xfrm>
              <a:custGeom>
                <a:avLst/>
                <a:gdLst>
                  <a:gd name="T0" fmla="*/ 69 w 149"/>
                  <a:gd name="T1" fmla="*/ 1 h 141"/>
                  <a:gd name="T2" fmla="*/ 102 w 149"/>
                  <a:gd name="T3" fmla="*/ 7 h 141"/>
                  <a:gd name="T4" fmla="*/ 142 w 149"/>
                  <a:gd name="T5" fmla="*/ 40 h 141"/>
                  <a:gd name="T6" fmla="*/ 145 w 149"/>
                  <a:gd name="T7" fmla="*/ 85 h 141"/>
                  <a:gd name="T8" fmla="*/ 112 w 149"/>
                  <a:gd name="T9" fmla="*/ 128 h 141"/>
                  <a:gd name="T10" fmla="*/ 27 w 149"/>
                  <a:gd name="T11" fmla="*/ 118 h 141"/>
                  <a:gd name="T12" fmla="*/ 2 w 149"/>
                  <a:gd name="T13" fmla="*/ 89 h 141"/>
                  <a:gd name="T14" fmla="*/ 2 w 149"/>
                  <a:gd name="T15" fmla="*/ 64 h 141"/>
                  <a:gd name="T16" fmla="*/ 6 w 149"/>
                  <a:gd name="T17" fmla="*/ 44 h 141"/>
                  <a:gd name="T18" fmla="*/ 41 w 149"/>
                  <a:gd name="T19" fmla="*/ 11 h 141"/>
                  <a:gd name="T20" fmla="*/ 69 w 149"/>
                  <a:gd name="T21" fmla="*/ 3 h 141"/>
                  <a:gd name="T22" fmla="*/ 69 w 149"/>
                  <a:gd name="T23" fmla="*/ 1 h 1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49" h="141">
                    <a:moveTo>
                      <a:pt x="69" y="1"/>
                    </a:moveTo>
                    <a:cubicBezTo>
                      <a:pt x="80" y="0"/>
                      <a:pt x="91" y="2"/>
                      <a:pt x="102" y="7"/>
                    </a:cubicBezTo>
                    <a:cubicBezTo>
                      <a:pt x="117" y="13"/>
                      <a:pt x="136" y="25"/>
                      <a:pt x="142" y="40"/>
                    </a:cubicBezTo>
                    <a:cubicBezTo>
                      <a:pt x="148" y="54"/>
                      <a:pt x="149" y="70"/>
                      <a:pt x="145" y="85"/>
                    </a:cubicBezTo>
                    <a:cubicBezTo>
                      <a:pt x="140" y="103"/>
                      <a:pt x="129" y="120"/>
                      <a:pt x="112" y="128"/>
                    </a:cubicBezTo>
                    <a:cubicBezTo>
                      <a:pt x="83" y="141"/>
                      <a:pt x="52" y="138"/>
                      <a:pt x="27" y="118"/>
                    </a:cubicBezTo>
                    <a:cubicBezTo>
                      <a:pt x="16" y="111"/>
                      <a:pt x="5" y="100"/>
                      <a:pt x="2" y="89"/>
                    </a:cubicBezTo>
                    <a:cubicBezTo>
                      <a:pt x="0" y="81"/>
                      <a:pt x="1" y="72"/>
                      <a:pt x="2" y="64"/>
                    </a:cubicBezTo>
                    <a:cubicBezTo>
                      <a:pt x="3" y="57"/>
                      <a:pt x="4" y="50"/>
                      <a:pt x="6" y="44"/>
                    </a:cubicBezTo>
                    <a:cubicBezTo>
                      <a:pt x="12" y="29"/>
                      <a:pt x="26" y="17"/>
                      <a:pt x="41" y="11"/>
                    </a:cubicBezTo>
                    <a:cubicBezTo>
                      <a:pt x="49" y="7"/>
                      <a:pt x="61" y="7"/>
                      <a:pt x="69" y="3"/>
                    </a:cubicBezTo>
                    <a:lnTo>
                      <a:pt x="69" y="1"/>
                    </a:lnTo>
                    <a:close/>
                  </a:path>
                </a:pathLst>
              </a:custGeom>
              <a:solidFill>
                <a:srgbClr val="E840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93" name="Freeform 139">
                <a:extLst>
                  <a:ext uri="{FF2B5EF4-FFF2-40B4-BE49-F238E27FC236}">
                    <a16:creationId xmlns:a16="http://schemas.microsoft.com/office/drawing/2014/main" id="{8902A972-3CA1-4A62-9DEE-B3A8410F11B4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5268" y="1201"/>
                <a:ext cx="469" cy="355"/>
              </a:xfrm>
              <a:custGeom>
                <a:avLst/>
                <a:gdLst>
                  <a:gd name="T0" fmla="*/ 17 w 442"/>
                  <a:gd name="T1" fmla="*/ 102 h 335"/>
                  <a:gd name="T2" fmla="*/ 92 w 442"/>
                  <a:gd name="T3" fmla="*/ 21 h 335"/>
                  <a:gd name="T4" fmla="*/ 165 w 442"/>
                  <a:gd name="T5" fmla="*/ 0 h 335"/>
                  <a:gd name="T6" fmla="*/ 165 w 442"/>
                  <a:gd name="T7" fmla="*/ 7 h 335"/>
                  <a:gd name="T8" fmla="*/ 285 w 442"/>
                  <a:gd name="T9" fmla="*/ 46 h 335"/>
                  <a:gd name="T10" fmla="*/ 399 w 442"/>
                  <a:gd name="T11" fmla="*/ 144 h 335"/>
                  <a:gd name="T12" fmla="*/ 433 w 442"/>
                  <a:gd name="T13" fmla="*/ 259 h 335"/>
                  <a:gd name="T14" fmla="*/ 346 w 442"/>
                  <a:gd name="T15" fmla="*/ 329 h 335"/>
                  <a:gd name="T16" fmla="*/ 230 w 442"/>
                  <a:gd name="T17" fmla="*/ 317 h 335"/>
                  <a:gd name="T18" fmla="*/ 108 w 442"/>
                  <a:gd name="T19" fmla="*/ 284 h 335"/>
                  <a:gd name="T20" fmla="*/ 14 w 442"/>
                  <a:gd name="T21" fmla="*/ 204 h 335"/>
                  <a:gd name="T22" fmla="*/ 17 w 442"/>
                  <a:gd name="T23" fmla="*/ 102 h 335"/>
                  <a:gd name="T24" fmla="*/ 64 w 442"/>
                  <a:gd name="T25" fmla="*/ 94 h 335"/>
                  <a:gd name="T26" fmla="*/ 55 w 442"/>
                  <a:gd name="T27" fmla="*/ 96 h 335"/>
                  <a:gd name="T28" fmla="*/ 44 w 442"/>
                  <a:gd name="T29" fmla="*/ 99 h 335"/>
                  <a:gd name="T30" fmla="*/ 43 w 442"/>
                  <a:gd name="T31" fmla="*/ 113 h 335"/>
                  <a:gd name="T32" fmla="*/ 45 w 442"/>
                  <a:gd name="T33" fmla="*/ 133 h 335"/>
                  <a:gd name="T34" fmla="*/ 48 w 442"/>
                  <a:gd name="T35" fmla="*/ 148 h 335"/>
                  <a:gd name="T36" fmla="*/ 48 w 442"/>
                  <a:gd name="T37" fmla="*/ 149 h 335"/>
                  <a:gd name="T38" fmla="*/ 48 w 442"/>
                  <a:gd name="T39" fmla="*/ 149 h 335"/>
                  <a:gd name="T40" fmla="*/ 50 w 442"/>
                  <a:gd name="T41" fmla="*/ 148 h 335"/>
                  <a:gd name="T42" fmla="*/ 51 w 442"/>
                  <a:gd name="T43" fmla="*/ 162 h 335"/>
                  <a:gd name="T44" fmla="*/ 64 w 442"/>
                  <a:gd name="T45" fmla="*/ 189 h 335"/>
                  <a:gd name="T46" fmla="*/ 140 w 442"/>
                  <a:gd name="T47" fmla="*/ 212 h 335"/>
                  <a:gd name="T48" fmla="*/ 202 w 442"/>
                  <a:gd name="T49" fmla="*/ 166 h 335"/>
                  <a:gd name="T50" fmla="*/ 218 w 442"/>
                  <a:gd name="T51" fmla="*/ 100 h 335"/>
                  <a:gd name="T52" fmla="*/ 216 w 442"/>
                  <a:gd name="T53" fmla="*/ 100 h 335"/>
                  <a:gd name="T54" fmla="*/ 221 w 442"/>
                  <a:gd name="T55" fmla="*/ 92 h 335"/>
                  <a:gd name="T56" fmla="*/ 193 w 442"/>
                  <a:gd name="T57" fmla="*/ 50 h 335"/>
                  <a:gd name="T58" fmla="*/ 187 w 442"/>
                  <a:gd name="T59" fmla="*/ 50 h 335"/>
                  <a:gd name="T60" fmla="*/ 185 w 442"/>
                  <a:gd name="T61" fmla="*/ 52 h 335"/>
                  <a:gd name="T62" fmla="*/ 182 w 442"/>
                  <a:gd name="T63" fmla="*/ 50 h 335"/>
                  <a:gd name="T64" fmla="*/ 169 w 442"/>
                  <a:gd name="T65" fmla="*/ 44 h 335"/>
                  <a:gd name="T66" fmla="*/ 158 w 442"/>
                  <a:gd name="T67" fmla="*/ 41 h 335"/>
                  <a:gd name="T68" fmla="*/ 158 w 442"/>
                  <a:gd name="T69" fmla="*/ 39 h 335"/>
                  <a:gd name="T70" fmla="*/ 137 w 442"/>
                  <a:gd name="T71" fmla="*/ 37 h 335"/>
                  <a:gd name="T72" fmla="*/ 79 w 442"/>
                  <a:gd name="T73" fmla="*/ 56 h 335"/>
                  <a:gd name="T74" fmla="*/ 82 w 442"/>
                  <a:gd name="T75" fmla="*/ 62 h 335"/>
                  <a:gd name="T76" fmla="*/ 80 w 442"/>
                  <a:gd name="T77" fmla="*/ 63 h 335"/>
                  <a:gd name="T78" fmla="*/ 63 w 442"/>
                  <a:gd name="T79" fmla="*/ 88 h 335"/>
                  <a:gd name="T80" fmla="*/ 64 w 442"/>
                  <a:gd name="T81" fmla="*/ 92 h 335"/>
                  <a:gd name="T82" fmla="*/ 64 w 442"/>
                  <a:gd name="T83" fmla="*/ 94 h 335"/>
                  <a:gd name="T84" fmla="*/ 387 w 442"/>
                  <a:gd name="T85" fmla="*/ 241 h 335"/>
                  <a:gd name="T86" fmla="*/ 394 w 442"/>
                  <a:gd name="T87" fmla="*/ 198 h 335"/>
                  <a:gd name="T88" fmla="*/ 362 w 442"/>
                  <a:gd name="T89" fmla="*/ 157 h 335"/>
                  <a:gd name="T90" fmla="*/ 307 w 442"/>
                  <a:gd name="T91" fmla="*/ 127 h 335"/>
                  <a:gd name="T92" fmla="*/ 298 w 442"/>
                  <a:gd name="T93" fmla="*/ 127 h 335"/>
                  <a:gd name="T94" fmla="*/ 268 w 442"/>
                  <a:gd name="T95" fmla="*/ 140 h 335"/>
                  <a:gd name="T96" fmla="*/ 238 w 442"/>
                  <a:gd name="T97" fmla="*/ 193 h 335"/>
                  <a:gd name="T98" fmla="*/ 245 w 442"/>
                  <a:gd name="T99" fmla="*/ 235 h 335"/>
                  <a:gd name="T100" fmla="*/ 250 w 442"/>
                  <a:gd name="T101" fmla="*/ 240 h 335"/>
                  <a:gd name="T102" fmla="*/ 249 w 442"/>
                  <a:gd name="T103" fmla="*/ 241 h 335"/>
                  <a:gd name="T104" fmla="*/ 279 w 442"/>
                  <a:gd name="T105" fmla="*/ 286 h 335"/>
                  <a:gd name="T106" fmla="*/ 352 w 442"/>
                  <a:gd name="T107" fmla="*/ 281 h 335"/>
                  <a:gd name="T108" fmla="*/ 387 w 442"/>
                  <a:gd name="T109" fmla="*/ 241 h 3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442" h="335">
                    <a:moveTo>
                      <a:pt x="17" y="102"/>
                    </a:moveTo>
                    <a:cubicBezTo>
                      <a:pt x="33" y="69"/>
                      <a:pt x="60" y="42"/>
                      <a:pt x="92" y="21"/>
                    </a:cubicBezTo>
                    <a:cubicBezTo>
                      <a:pt x="114" y="10"/>
                      <a:pt x="139" y="2"/>
                      <a:pt x="165" y="0"/>
                    </a:cubicBezTo>
                    <a:cubicBezTo>
                      <a:pt x="165" y="7"/>
                      <a:pt x="165" y="7"/>
                      <a:pt x="165" y="7"/>
                    </a:cubicBezTo>
                    <a:cubicBezTo>
                      <a:pt x="208" y="12"/>
                      <a:pt x="248" y="24"/>
                      <a:pt x="285" y="46"/>
                    </a:cubicBezTo>
                    <a:cubicBezTo>
                      <a:pt x="327" y="72"/>
                      <a:pt x="369" y="104"/>
                      <a:pt x="399" y="144"/>
                    </a:cubicBezTo>
                    <a:cubicBezTo>
                      <a:pt x="424" y="176"/>
                      <a:pt x="442" y="218"/>
                      <a:pt x="433" y="259"/>
                    </a:cubicBezTo>
                    <a:cubicBezTo>
                      <a:pt x="423" y="298"/>
                      <a:pt x="387" y="322"/>
                      <a:pt x="346" y="329"/>
                    </a:cubicBezTo>
                    <a:cubicBezTo>
                      <a:pt x="308" y="335"/>
                      <a:pt x="270" y="327"/>
                      <a:pt x="230" y="317"/>
                    </a:cubicBezTo>
                    <a:cubicBezTo>
                      <a:pt x="190" y="310"/>
                      <a:pt x="148" y="300"/>
                      <a:pt x="108" y="284"/>
                    </a:cubicBezTo>
                    <a:cubicBezTo>
                      <a:pt x="70" y="269"/>
                      <a:pt x="34" y="242"/>
                      <a:pt x="14" y="204"/>
                    </a:cubicBezTo>
                    <a:cubicBezTo>
                      <a:pt x="0" y="171"/>
                      <a:pt x="1" y="133"/>
                      <a:pt x="17" y="102"/>
                    </a:cubicBezTo>
                    <a:close/>
                    <a:moveTo>
                      <a:pt x="64" y="94"/>
                    </a:moveTo>
                    <a:cubicBezTo>
                      <a:pt x="61" y="95"/>
                      <a:pt x="58" y="96"/>
                      <a:pt x="55" y="96"/>
                    </a:cubicBezTo>
                    <a:cubicBezTo>
                      <a:pt x="53" y="97"/>
                      <a:pt x="46" y="98"/>
                      <a:pt x="44" y="99"/>
                    </a:cubicBezTo>
                    <a:cubicBezTo>
                      <a:pt x="40" y="102"/>
                      <a:pt x="44" y="108"/>
                      <a:pt x="43" y="113"/>
                    </a:cubicBezTo>
                    <a:cubicBezTo>
                      <a:pt x="44" y="119"/>
                      <a:pt x="46" y="126"/>
                      <a:pt x="45" y="133"/>
                    </a:cubicBezTo>
                    <a:cubicBezTo>
                      <a:pt x="46" y="137"/>
                      <a:pt x="45" y="142"/>
                      <a:pt x="48" y="148"/>
                    </a:cubicBezTo>
                    <a:cubicBezTo>
                      <a:pt x="48" y="149"/>
                      <a:pt x="48" y="149"/>
                      <a:pt x="48" y="149"/>
                    </a:cubicBezTo>
                    <a:cubicBezTo>
                      <a:pt x="48" y="149"/>
                      <a:pt x="48" y="149"/>
                      <a:pt x="48" y="149"/>
                    </a:cubicBezTo>
                    <a:cubicBezTo>
                      <a:pt x="49" y="148"/>
                      <a:pt x="49" y="148"/>
                      <a:pt x="50" y="148"/>
                    </a:cubicBezTo>
                    <a:cubicBezTo>
                      <a:pt x="50" y="153"/>
                      <a:pt x="50" y="157"/>
                      <a:pt x="51" y="162"/>
                    </a:cubicBezTo>
                    <a:cubicBezTo>
                      <a:pt x="51" y="173"/>
                      <a:pt x="58" y="181"/>
                      <a:pt x="64" y="189"/>
                    </a:cubicBezTo>
                    <a:cubicBezTo>
                      <a:pt x="85" y="210"/>
                      <a:pt x="114" y="215"/>
                      <a:pt x="140" y="212"/>
                    </a:cubicBezTo>
                    <a:cubicBezTo>
                      <a:pt x="167" y="206"/>
                      <a:pt x="189" y="190"/>
                      <a:pt x="202" y="166"/>
                    </a:cubicBezTo>
                    <a:cubicBezTo>
                      <a:pt x="216" y="144"/>
                      <a:pt x="219" y="125"/>
                      <a:pt x="218" y="100"/>
                    </a:cubicBezTo>
                    <a:cubicBezTo>
                      <a:pt x="216" y="100"/>
                      <a:pt x="216" y="100"/>
                      <a:pt x="216" y="100"/>
                    </a:cubicBezTo>
                    <a:cubicBezTo>
                      <a:pt x="217" y="96"/>
                      <a:pt x="219" y="93"/>
                      <a:pt x="221" y="92"/>
                    </a:cubicBezTo>
                    <a:cubicBezTo>
                      <a:pt x="215" y="78"/>
                      <a:pt x="207" y="59"/>
                      <a:pt x="193" y="50"/>
                    </a:cubicBezTo>
                    <a:cubicBezTo>
                      <a:pt x="187" y="50"/>
                      <a:pt x="187" y="50"/>
                      <a:pt x="187" y="50"/>
                    </a:cubicBezTo>
                    <a:cubicBezTo>
                      <a:pt x="187" y="50"/>
                      <a:pt x="186" y="51"/>
                      <a:pt x="185" y="52"/>
                    </a:cubicBezTo>
                    <a:cubicBezTo>
                      <a:pt x="182" y="50"/>
                      <a:pt x="182" y="50"/>
                      <a:pt x="182" y="50"/>
                    </a:cubicBezTo>
                    <a:cubicBezTo>
                      <a:pt x="177" y="49"/>
                      <a:pt x="171" y="45"/>
                      <a:pt x="169" y="44"/>
                    </a:cubicBezTo>
                    <a:cubicBezTo>
                      <a:pt x="166" y="43"/>
                      <a:pt x="162" y="42"/>
                      <a:pt x="158" y="41"/>
                    </a:cubicBezTo>
                    <a:cubicBezTo>
                      <a:pt x="158" y="39"/>
                      <a:pt x="158" y="39"/>
                      <a:pt x="158" y="39"/>
                    </a:cubicBezTo>
                    <a:cubicBezTo>
                      <a:pt x="151" y="36"/>
                      <a:pt x="146" y="35"/>
                      <a:pt x="137" y="37"/>
                    </a:cubicBezTo>
                    <a:cubicBezTo>
                      <a:pt x="117" y="41"/>
                      <a:pt x="97" y="45"/>
                      <a:pt x="79" y="56"/>
                    </a:cubicBezTo>
                    <a:cubicBezTo>
                      <a:pt x="79" y="58"/>
                      <a:pt x="80" y="61"/>
                      <a:pt x="82" y="62"/>
                    </a:cubicBezTo>
                    <a:cubicBezTo>
                      <a:pt x="80" y="63"/>
                      <a:pt x="80" y="63"/>
                      <a:pt x="80" y="63"/>
                    </a:cubicBezTo>
                    <a:cubicBezTo>
                      <a:pt x="75" y="69"/>
                      <a:pt x="66" y="80"/>
                      <a:pt x="63" y="88"/>
                    </a:cubicBezTo>
                    <a:cubicBezTo>
                      <a:pt x="63" y="88"/>
                      <a:pt x="63" y="90"/>
                      <a:pt x="64" y="92"/>
                    </a:cubicBezTo>
                    <a:lnTo>
                      <a:pt x="64" y="94"/>
                    </a:lnTo>
                    <a:close/>
                    <a:moveTo>
                      <a:pt x="387" y="241"/>
                    </a:moveTo>
                    <a:cubicBezTo>
                      <a:pt x="396" y="228"/>
                      <a:pt x="398" y="214"/>
                      <a:pt x="394" y="198"/>
                    </a:cubicBezTo>
                    <a:cubicBezTo>
                      <a:pt x="391" y="183"/>
                      <a:pt x="382" y="154"/>
                      <a:pt x="362" y="157"/>
                    </a:cubicBezTo>
                    <a:cubicBezTo>
                      <a:pt x="351" y="136"/>
                      <a:pt x="329" y="131"/>
                      <a:pt x="307" y="127"/>
                    </a:cubicBezTo>
                    <a:cubicBezTo>
                      <a:pt x="298" y="127"/>
                      <a:pt x="298" y="127"/>
                      <a:pt x="298" y="127"/>
                    </a:cubicBezTo>
                    <a:cubicBezTo>
                      <a:pt x="287" y="131"/>
                      <a:pt x="278" y="133"/>
                      <a:pt x="268" y="140"/>
                    </a:cubicBezTo>
                    <a:cubicBezTo>
                      <a:pt x="252" y="150"/>
                      <a:pt x="241" y="174"/>
                      <a:pt x="238" y="193"/>
                    </a:cubicBezTo>
                    <a:cubicBezTo>
                      <a:pt x="234" y="207"/>
                      <a:pt x="236" y="223"/>
                      <a:pt x="245" y="235"/>
                    </a:cubicBezTo>
                    <a:cubicBezTo>
                      <a:pt x="247" y="237"/>
                      <a:pt x="248" y="239"/>
                      <a:pt x="250" y="240"/>
                    </a:cubicBezTo>
                    <a:cubicBezTo>
                      <a:pt x="249" y="241"/>
                      <a:pt x="249" y="241"/>
                      <a:pt x="249" y="241"/>
                    </a:cubicBezTo>
                    <a:cubicBezTo>
                      <a:pt x="253" y="259"/>
                      <a:pt x="266" y="277"/>
                      <a:pt x="279" y="286"/>
                    </a:cubicBezTo>
                    <a:cubicBezTo>
                      <a:pt x="301" y="299"/>
                      <a:pt x="332" y="295"/>
                      <a:pt x="352" y="281"/>
                    </a:cubicBezTo>
                    <a:cubicBezTo>
                      <a:pt x="369" y="273"/>
                      <a:pt x="379" y="257"/>
                      <a:pt x="387" y="241"/>
                    </a:cubicBezTo>
                    <a:close/>
                  </a:path>
                </a:pathLst>
              </a:custGeom>
              <a:solidFill>
                <a:srgbClr val="F6B84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94" name="Freeform 140">
                <a:extLst>
                  <a:ext uri="{FF2B5EF4-FFF2-40B4-BE49-F238E27FC236}">
                    <a16:creationId xmlns:a16="http://schemas.microsoft.com/office/drawing/2014/main" id="{57EAD7EC-BA60-4A88-917F-A224A1D97387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5799" y="1053"/>
                <a:ext cx="447" cy="420"/>
              </a:xfrm>
              <a:custGeom>
                <a:avLst/>
                <a:gdLst>
                  <a:gd name="T0" fmla="*/ 217 w 422"/>
                  <a:gd name="T1" fmla="*/ 9 h 397"/>
                  <a:gd name="T2" fmla="*/ 307 w 422"/>
                  <a:gd name="T3" fmla="*/ 17 h 397"/>
                  <a:gd name="T4" fmla="*/ 309 w 422"/>
                  <a:gd name="T5" fmla="*/ 13 h 397"/>
                  <a:gd name="T6" fmla="*/ 374 w 422"/>
                  <a:gd name="T7" fmla="*/ 51 h 397"/>
                  <a:gd name="T8" fmla="*/ 411 w 422"/>
                  <a:gd name="T9" fmla="*/ 94 h 397"/>
                  <a:gd name="T10" fmla="*/ 406 w 422"/>
                  <a:gd name="T11" fmla="*/ 187 h 397"/>
                  <a:gd name="T12" fmla="*/ 327 w 422"/>
                  <a:gd name="T13" fmla="*/ 281 h 397"/>
                  <a:gd name="T14" fmla="*/ 176 w 422"/>
                  <a:gd name="T15" fmla="*/ 374 h 397"/>
                  <a:gd name="T16" fmla="*/ 81 w 422"/>
                  <a:gd name="T17" fmla="*/ 392 h 397"/>
                  <a:gd name="T18" fmla="*/ 7 w 422"/>
                  <a:gd name="T19" fmla="*/ 318 h 397"/>
                  <a:gd name="T20" fmla="*/ 37 w 422"/>
                  <a:gd name="T21" fmla="*/ 203 h 397"/>
                  <a:gd name="T22" fmla="*/ 92 w 422"/>
                  <a:gd name="T23" fmla="*/ 103 h 397"/>
                  <a:gd name="T24" fmla="*/ 217 w 422"/>
                  <a:gd name="T25" fmla="*/ 9 h 397"/>
                  <a:gd name="T26" fmla="*/ 174 w 422"/>
                  <a:gd name="T27" fmla="*/ 111 h 397"/>
                  <a:gd name="T28" fmla="*/ 153 w 422"/>
                  <a:gd name="T29" fmla="*/ 129 h 397"/>
                  <a:gd name="T30" fmla="*/ 173 w 422"/>
                  <a:gd name="T31" fmla="*/ 169 h 397"/>
                  <a:gd name="T32" fmla="*/ 199 w 422"/>
                  <a:gd name="T33" fmla="*/ 170 h 397"/>
                  <a:gd name="T34" fmla="*/ 242 w 422"/>
                  <a:gd name="T35" fmla="*/ 200 h 397"/>
                  <a:gd name="T36" fmla="*/ 260 w 422"/>
                  <a:gd name="T37" fmla="*/ 199 h 397"/>
                  <a:gd name="T38" fmla="*/ 300 w 422"/>
                  <a:gd name="T39" fmla="*/ 231 h 397"/>
                  <a:gd name="T40" fmla="*/ 331 w 422"/>
                  <a:gd name="T41" fmla="*/ 201 h 397"/>
                  <a:gd name="T42" fmla="*/ 331 w 422"/>
                  <a:gd name="T43" fmla="*/ 185 h 397"/>
                  <a:gd name="T44" fmla="*/ 352 w 422"/>
                  <a:gd name="T45" fmla="*/ 185 h 397"/>
                  <a:gd name="T46" fmla="*/ 371 w 422"/>
                  <a:gd name="T47" fmla="*/ 144 h 397"/>
                  <a:gd name="T48" fmla="*/ 371 w 422"/>
                  <a:gd name="T49" fmla="*/ 142 h 397"/>
                  <a:gd name="T50" fmla="*/ 394 w 422"/>
                  <a:gd name="T51" fmla="*/ 109 h 397"/>
                  <a:gd name="T52" fmla="*/ 376 w 422"/>
                  <a:gd name="T53" fmla="*/ 78 h 397"/>
                  <a:gd name="T54" fmla="*/ 347 w 422"/>
                  <a:gd name="T55" fmla="*/ 80 h 397"/>
                  <a:gd name="T56" fmla="*/ 345 w 422"/>
                  <a:gd name="T57" fmla="*/ 78 h 397"/>
                  <a:gd name="T58" fmla="*/ 343 w 422"/>
                  <a:gd name="T59" fmla="*/ 79 h 397"/>
                  <a:gd name="T60" fmla="*/ 338 w 422"/>
                  <a:gd name="T61" fmla="*/ 66 h 397"/>
                  <a:gd name="T62" fmla="*/ 306 w 422"/>
                  <a:gd name="T63" fmla="*/ 47 h 397"/>
                  <a:gd name="T64" fmla="*/ 288 w 422"/>
                  <a:gd name="T65" fmla="*/ 47 h 397"/>
                  <a:gd name="T66" fmla="*/ 286 w 422"/>
                  <a:gd name="T67" fmla="*/ 48 h 397"/>
                  <a:gd name="T68" fmla="*/ 251 w 422"/>
                  <a:gd name="T69" fmla="*/ 29 h 397"/>
                  <a:gd name="T70" fmla="*/ 251 w 422"/>
                  <a:gd name="T71" fmla="*/ 27 h 397"/>
                  <a:gd name="T72" fmla="*/ 237 w 422"/>
                  <a:gd name="T73" fmla="*/ 28 h 397"/>
                  <a:gd name="T74" fmla="*/ 218 w 422"/>
                  <a:gd name="T75" fmla="*/ 46 h 397"/>
                  <a:gd name="T76" fmla="*/ 216 w 422"/>
                  <a:gd name="T77" fmla="*/ 71 h 397"/>
                  <a:gd name="T78" fmla="*/ 208 w 422"/>
                  <a:gd name="T79" fmla="*/ 73 h 397"/>
                  <a:gd name="T80" fmla="*/ 184 w 422"/>
                  <a:gd name="T81" fmla="*/ 99 h 397"/>
                  <a:gd name="T82" fmla="*/ 183 w 422"/>
                  <a:gd name="T83" fmla="*/ 106 h 397"/>
                  <a:gd name="T84" fmla="*/ 174 w 422"/>
                  <a:gd name="T85" fmla="*/ 111 h 397"/>
                  <a:gd name="T86" fmla="*/ 124 w 422"/>
                  <a:gd name="T87" fmla="*/ 198 h 397"/>
                  <a:gd name="T88" fmla="*/ 96 w 422"/>
                  <a:gd name="T89" fmla="*/ 206 h 397"/>
                  <a:gd name="T90" fmla="*/ 61 w 422"/>
                  <a:gd name="T91" fmla="*/ 239 h 397"/>
                  <a:gd name="T92" fmla="*/ 57 w 422"/>
                  <a:gd name="T93" fmla="*/ 259 h 397"/>
                  <a:gd name="T94" fmla="*/ 56 w 422"/>
                  <a:gd name="T95" fmla="*/ 259 h 397"/>
                  <a:gd name="T96" fmla="*/ 50 w 422"/>
                  <a:gd name="T97" fmla="*/ 272 h 397"/>
                  <a:gd name="T98" fmla="*/ 49 w 422"/>
                  <a:gd name="T99" fmla="*/ 311 h 397"/>
                  <a:gd name="T100" fmla="*/ 113 w 422"/>
                  <a:gd name="T101" fmla="*/ 360 h 397"/>
                  <a:gd name="T102" fmla="*/ 177 w 422"/>
                  <a:gd name="T103" fmla="*/ 344 h 397"/>
                  <a:gd name="T104" fmla="*/ 200 w 422"/>
                  <a:gd name="T105" fmla="*/ 280 h 397"/>
                  <a:gd name="T106" fmla="*/ 197 w 422"/>
                  <a:gd name="T107" fmla="*/ 235 h 397"/>
                  <a:gd name="T108" fmla="*/ 157 w 422"/>
                  <a:gd name="T109" fmla="*/ 202 h 397"/>
                  <a:gd name="T110" fmla="*/ 124 w 422"/>
                  <a:gd name="T111" fmla="*/ 196 h 397"/>
                  <a:gd name="T112" fmla="*/ 124 w 422"/>
                  <a:gd name="T113" fmla="*/ 198 h 3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422" h="397">
                    <a:moveTo>
                      <a:pt x="217" y="9"/>
                    </a:moveTo>
                    <a:cubicBezTo>
                      <a:pt x="247" y="0"/>
                      <a:pt x="276" y="3"/>
                      <a:pt x="307" y="17"/>
                    </a:cubicBezTo>
                    <a:cubicBezTo>
                      <a:pt x="309" y="13"/>
                      <a:pt x="309" y="13"/>
                      <a:pt x="309" y="13"/>
                    </a:cubicBezTo>
                    <a:cubicBezTo>
                      <a:pt x="331" y="25"/>
                      <a:pt x="353" y="36"/>
                      <a:pt x="374" y="51"/>
                    </a:cubicBezTo>
                    <a:cubicBezTo>
                      <a:pt x="391" y="64"/>
                      <a:pt x="405" y="77"/>
                      <a:pt x="411" y="94"/>
                    </a:cubicBezTo>
                    <a:cubicBezTo>
                      <a:pt x="422" y="124"/>
                      <a:pt x="416" y="160"/>
                      <a:pt x="406" y="187"/>
                    </a:cubicBezTo>
                    <a:cubicBezTo>
                      <a:pt x="394" y="227"/>
                      <a:pt x="359" y="256"/>
                      <a:pt x="327" y="281"/>
                    </a:cubicBezTo>
                    <a:cubicBezTo>
                      <a:pt x="279" y="317"/>
                      <a:pt x="228" y="349"/>
                      <a:pt x="176" y="374"/>
                    </a:cubicBezTo>
                    <a:cubicBezTo>
                      <a:pt x="147" y="387"/>
                      <a:pt x="114" y="397"/>
                      <a:pt x="81" y="392"/>
                    </a:cubicBezTo>
                    <a:cubicBezTo>
                      <a:pt x="42" y="384"/>
                      <a:pt x="13" y="358"/>
                      <a:pt x="7" y="318"/>
                    </a:cubicBezTo>
                    <a:cubicBezTo>
                      <a:pt x="0" y="278"/>
                      <a:pt x="17" y="237"/>
                      <a:pt x="37" y="203"/>
                    </a:cubicBezTo>
                    <a:cubicBezTo>
                      <a:pt x="55" y="169"/>
                      <a:pt x="71" y="133"/>
                      <a:pt x="92" y="103"/>
                    </a:cubicBezTo>
                    <a:cubicBezTo>
                      <a:pt x="124" y="61"/>
                      <a:pt x="167" y="24"/>
                      <a:pt x="217" y="9"/>
                    </a:cubicBezTo>
                    <a:close/>
                    <a:moveTo>
                      <a:pt x="174" y="111"/>
                    </a:moveTo>
                    <a:cubicBezTo>
                      <a:pt x="167" y="117"/>
                      <a:pt x="158" y="121"/>
                      <a:pt x="153" y="129"/>
                    </a:cubicBezTo>
                    <a:cubicBezTo>
                      <a:pt x="147" y="142"/>
                      <a:pt x="161" y="164"/>
                      <a:pt x="173" y="169"/>
                    </a:cubicBezTo>
                    <a:cubicBezTo>
                      <a:pt x="181" y="173"/>
                      <a:pt x="191" y="173"/>
                      <a:pt x="199" y="170"/>
                    </a:cubicBezTo>
                    <a:cubicBezTo>
                      <a:pt x="204" y="187"/>
                      <a:pt x="227" y="199"/>
                      <a:pt x="242" y="200"/>
                    </a:cubicBezTo>
                    <a:cubicBezTo>
                      <a:pt x="260" y="199"/>
                      <a:pt x="260" y="199"/>
                      <a:pt x="260" y="199"/>
                    </a:cubicBezTo>
                    <a:cubicBezTo>
                      <a:pt x="260" y="221"/>
                      <a:pt x="279" y="234"/>
                      <a:pt x="300" y="231"/>
                    </a:cubicBezTo>
                    <a:cubicBezTo>
                      <a:pt x="313" y="228"/>
                      <a:pt x="326" y="214"/>
                      <a:pt x="331" y="201"/>
                    </a:cubicBezTo>
                    <a:cubicBezTo>
                      <a:pt x="333" y="195"/>
                      <a:pt x="333" y="190"/>
                      <a:pt x="331" y="185"/>
                    </a:cubicBezTo>
                    <a:cubicBezTo>
                      <a:pt x="352" y="185"/>
                      <a:pt x="352" y="185"/>
                      <a:pt x="352" y="185"/>
                    </a:cubicBezTo>
                    <a:cubicBezTo>
                      <a:pt x="362" y="174"/>
                      <a:pt x="375" y="160"/>
                      <a:pt x="371" y="144"/>
                    </a:cubicBezTo>
                    <a:cubicBezTo>
                      <a:pt x="371" y="142"/>
                      <a:pt x="371" y="142"/>
                      <a:pt x="371" y="142"/>
                    </a:cubicBezTo>
                    <a:cubicBezTo>
                      <a:pt x="386" y="138"/>
                      <a:pt x="396" y="128"/>
                      <a:pt x="394" y="109"/>
                    </a:cubicBezTo>
                    <a:cubicBezTo>
                      <a:pt x="393" y="95"/>
                      <a:pt x="386" y="85"/>
                      <a:pt x="376" y="78"/>
                    </a:cubicBezTo>
                    <a:cubicBezTo>
                      <a:pt x="365" y="75"/>
                      <a:pt x="356" y="76"/>
                      <a:pt x="347" y="80"/>
                    </a:cubicBezTo>
                    <a:cubicBezTo>
                      <a:pt x="345" y="78"/>
                      <a:pt x="345" y="78"/>
                      <a:pt x="345" y="78"/>
                    </a:cubicBezTo>
                    <a:cubicBezTo>
                      <a:pt x="345" y="78"/>
                      <a:pt x="344" y="79"/>
                      <a:pt x="343" y="79"/>
                    </a:cubicBezTo>
                    <a:cubicBezTo>
                      <a:pt x="338" y="66"/>
                      <a:pt x="338" y="66"/>
                      <a:pt x="338" y="66"/>
                    </a:cubicBezTo>
                    <a:cubicBezTo>
                      <a:pt x="329" y="56"/>
                      <a:pt x="318" y="49"/>
                      <a:pt x="306" y="47"/>
                    </a:cubicBezTo>
                    <a:cubicBezTo>
                      <a:pt x="299" y="46"/>
                      <a:pt x="293" y="48"/>
                      <a:pt x="288" y="47"/>
                    </a:cubicBezTo>
                    <a:cubicBezTo>
                      <a:pt x="286" y="48"/>
                      <a:pt x="286" y="48"/>
                      <a:pt x="286" y="48"/>
                    </a:cubicBezTo>
                    <a:cubicBezTo>
                      <a:pt x="278" y="36"/>
                      <a:pt x="265" y="27"/>
                      <a:pt x="251" y="29"/>
                    </a:cubicBezTo>
                    <a:cubicBezTo>
                      <a:pt x="251" y="27"/>
                      <a:pt x="251" y="27"/>
                      <a:pt x="251" y="27"/>
                    </a:cubicBezTo>
                    <a:cubicBezTo>
                      <a:pt x="247" y="28"/>
                      <a:pt x="242" y="27"/>
                      <a:pt x="237" y="28"/>
                    </a:cubicBezTo>
                    <a:cubicBezTo>
                      <a:pt x="228" y="29"/>
                      <a:pt x="223" y="38"/>
                      <a:pt x="218" y="46"/>
                    </a:cubicBezTo>
                    <a:cubicBezTo>
                      <a:pt x="214" y="53"/>
                      <a:pt x="214" y="62"/>
                      <a:pt x="216" y="71"/>
                    </a:cubicBezTo>
                    <a:cubicBezTo>
                      <a:pt x="208" y="73"/>
                      <a:pt x="208" y="73"/>
                      <a:pt x="208" y="73"/>
                    </a:cubicBezTo>
                    <a:cubicBezTo>
                      <a:pt x="196" y="80"/>
                      <a:pt x="190" y="89"/>
                      <a:pt x="184" y="99"/>
                    </a:cubicBezTo>
                    <a:cubicBezTo>
                      <a:pt x="184" y="102"/>
                      <a:pt x="182" y="104"/>
                      <a:pt x="183" y="106"/>
                    </a:cubicBezTo>
                    <a:lnTo>
                      <a:pt x="174" y="111"/>
                    </a:lnTo>
                    <a:close/>
                    <a:moveTo>
                      <a:pt x="124" y="198"/>
                    </a:moveTo>
                    <a:cubicBezTo>
                      <a:pt x="116" y="202"/>
                      <a:pt x="104" y="202"/>
                      <a:pt x="96" y="206"/>
                    </a:cubicBezTo>
                    <a:cubicBezTo>
                      <a:pt x="81" y="212"/>
                      <a:pt x="67" y="224"/>
                      <a:pt x="61" y="239"/>
                    </a:cubicBezTo>
                    <a:cubicBezTo>
                      <a:pt x="59" y="245"/>
                      <a:pt x="58" y="252"/>
                      <a:pt x="57" y="259"/>
                    </a:cubicBezTo>
                    <a:cubicBezTo>
                      <a:pt x="56" y="259"/>
                      <a:pt x="56" y="259"/>
                      <a:pt x="56" y="259"/>
                    </a:cubicBezTo>
                    <a:cubicBezTo>
                      <a:pt x="55" y="264"/>
                      <a:pt x="51" y="267"/>
                      <a:pt x="50" y="272"/>
                    </a:cubicBezTo>
                    <a:cubicBezTo>
                      <a:pt x="46" y="284"/>
                      <a:pt x="46" y="298"/>
                      <a:pt x="49" y="311"/>
                    </a:cubicBezTo>
                    <a:cubicBezTo>
                      <a:pt x="55" y="340"/>
                      <a:pt x="85" y="359"/>
                      <a:pt x="113" y="360"/>
                    </a:cubicBezTo>
                    <a:cubicBezTo>
                      <a:pt x="136" y="359"/>
                      <a:pt x="159" y="357"/>
                      <a:pt x="177" y="344"/>
                    </a:cubicBezTo>
                    <a:cubicBezTo>
                      <a:pt x="193" y="329"/>
                      <a:pt x="207" y="302"/>
                      <a:pt x="200" y="280"/>
                    </a:cubicBezTo>
                    <a:cubicBezTo>
                      <a:pt x="204" y="265"/>
                      <a:pt x="203" y="249"/>
                      <a:pt x="197" y="235"/>
                    </a:cubicBezTo>
                    <a:cubicBezTo>
                      <a:pt x="191" y="220"/>
                      <a:pt x="172" y="208"/>
                      <a:pt x="157" y="202"/>
                    </a:cubicBezTo>
                    <a:cubicBezTo>
                      <a:pt x="146" y="197"/>
                      <a:pt x="135" y="195"/>
                      <a:pt x="124" y="196"/>
                    </a:cubicBezTo>
                    <a:lnTo>
                      <a:pt x="124" y="198"/>
                    </a:lnTo>
                    <a:close/>
                  </a:path>
                </a:pathLst>
              </a:custGeom>
              <a:solidFill>
                <a:srgbClr val="F6B84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95" name="Freeform 141">
                <a:extLst>
                  <a:ext uri="{FF2B5EF4-FFF2-40B4-BE49-F238E27FC236}">
                    <a16:creationId xmlns:a16="http://schemas.microsoft.com/office/drawing/2014/main" id="{268FF2F3-BF4E-4607-98A1-4CD09D77A5C1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092" y="1463"/>
                <a:ext cx="186" cy="320"/>
              </a:xfrm>
              <a:custGeom>
                <a:avLst/>
                <a:gdLst>
                  <a:gd name="T0" fmla="*/ 30 w 176"/>
                  <a:gd name="T1" fmla="*/ 53 h 302"/>
                  <a:gd name="T2" fmla="*/ 1 w 176"/>
                  <a:gd name="T3" fmla="*/ 16 h 302"/>
                  <a:gd name="T4" fmla="*/ 0 w 176"/>
                  <a:gd name="T5" fmla="*/ 13 h 302"/>
                  <a:gd name="T6" fmla="*/ 22 w 176"/>
                  <a:gd name="T7" fmla="*/ 0 h 302"/>
                  <a:gd name="T8" fmla="*/ 146 w 176"/>
                  <a:gd name="T9" fmla="*/ 234 h 302"/>
                  <a:gd name="T10" fmla="*/ 176 w 176"/>
                  <a:gd name="T11" fmla="*/ 301 h 302"/>
                  <a:gd name="T12" fmla="*/ 172 w 176"/>
                  <a:gd name="T13" fmla="*/ 302 h 302"/>
                  <a:gd name="T14" fmla="*/ 145 w 176"/>
                  <a:gd name="T15" fmla="*/ 250 h 302"/>
                  <a:gd name="T16" fmla="*/ 125 w 176"/>
                  <a:gd name="T17" fmla="*/ 211 h 302"/>
                  <a:gd name="T18" fmla="*/ 85 w 176"/>
                  <a:gd name="T19" fmla="*/ 148 h 302"/>
                  <a:gd name="T20" fmla="*/ 38 w 176"/>
                  <a:gd name="T21" fmla="*/ 70 h 302"/>
                  <a:gd name="T22" fmla="*/ 30 w 176"/>
                  <a:gd name="T23" fmla="*/ 53 h 3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76" h="302">
                    <a:moveTo>
                      <a:pt x="30" y="53"/>
                    </a:moveTo>
                    <a:cubicBezTo>
                      <a:pt x="23" y="40"/>
                      <a:pt x="13" y="26"/>
                      <a:pt x="1" y="16"/>
                    </a:cubicBezTo>
                    <a:cubicBezTo>
                      <a:pt x="0" y="13"/>
                      <a:pt x="0" y="13"/>
                      <a:pt x="0" y="13"/>
                    </a:cubicBezTo>
                    <a:cubicBezTo>
                      <a:pt x="7" y="9"/>
                      <a:pt x="15" y="4"/>
                      <a:pt x="22" y="0"/>
                    </a:cubicBezTo>
                    <a:cubicBezTo>
                      <a:pt x="63" y="80"/>
                      <a:pt x="110" y="153"/>
                      <a:pt x="146" y="234"/>
                    </a:cubicBezTo>
                    <a:cubicBezTo>
                      <a:pt x="156" y="256"/>
                      <a:pt x="165" y="279"/>
                      <a:pt x="176" y="301"/>
                    </a:cubicBezTo>
                    <a:cubicBezTo>
                      <a:pt x="172" y="302"/>
                      <a:pt x="172" y="302"/>
                      <a:pt x="172" y="302"/>
                    </a:cubicBezTo>
                    <a:cubicBezTo>
                      <a:pt x="160" y="286"/>
                      <a:pt x="153" y="267"/>
                      <a:pt x="145" y="250"/>
                    </a:cubicBezTo>
                    <a:cubicBezTo>
                      <a:pt x="137" y="238"/>
                      <a:pt x="132" y="223"/>
                      <a:pt x="125" y="211"/>
                    </a:cubicBezTo>
                    <a:cubicBezTo>
                      <a:pt x="113" y="188"/>
                      <a:pt x="99" y="168"/>
                      <a:pt x="85" y="148"/>
                    </a:cubicBezTo>
                    <a:cubicBezTo>
                      <a:pt x="70" y="121"/>
                      <a:pt x="56" y="96"/>
                      <a:pt x="38" y="70"/>
                    </a:cubicBezTo>
                    <a:cubicBezTo>
                      <a:pt x="36" y="65"/>
                      <a:pt x="33" y="59"/>
                      <a:pt x="30" y="53"/>
                    </a:cubicBezTo>
                    <a:close/>
                  </a:path>
                </a:pathLst>
              </a:custGeom>
              <a:solidFill>
                <a:srgbClr val="21AAD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96" name="Freeform 142">
                <a:extLst>
                  <a:ext uri="{FF2B5EF4-FFF2-40B4-BE49-F238E27FC236}">
                    <a16:creationId xmlns:a16="http://schemas.microsoft.com/office/drawing/2014/main" id="{DAF666BD-55B0-475C-9B8C-C2C389D5FDA8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472" y="1443"/>
                <a:ext cx="643" cy="183"/>
              </a:xfrm>
              <a:custGeom>
                <a:avLst/>
                <a:gdLst>
                  <a:gd name="T0" fmla="*/ 12 w 607"/>
                  <a:gd name="T1" fmla="*/ 162 h 173"/>
                  <a:gd name="T2" fmla="*/ 0 w 607"/>
                  <a:gd name="T3" fmla="*/ 158 h 173"/>
                  <a:gd name="T4" fmla="*/ 5 w 607"/>
                  <a:gd name="T5" fmla="*/ 137 h 173"/>
                  <a:gd name="T6" fmla="*/ 46 w 607"/>
                  <a:gd name="T7" fmla="*/ 143 h 173"/>
                  <a:gd name="T8" fmla="*/ 161 w 607"/>
                  <a:gd name="T9" fmla="*/ 141 h 173"/>
                  <a:gd name="T10" fmla="*/ 324 w 607"/>
                  <a:gd name="T11" fmla="*/ 106 h 173"/>
                  <a:gd name="T12" fmla="*/ 482 w 607"/>
                  <a:gd name="T13" fmla="*/ 57 h 173"/>
                  <a:gd name="T14" fmla="*/ 596 w 607"/>
                  <a:gd name="T15" fmla="*/ 0 h 173"/>
                  <a:gd name="T16" fmla="*/ 605 w 607"/>
                  <a:gd name="T17" fmla="*/ 14 h 173"/>
                  <a:gd name="T18" fmla="*/ 607 w 607"/>
                  <a:gd name="T19" fmla="*/ 19 h 173"/>
                  <a:gd name="T20" fmla="*/ 585 w 607"/>
                  <a:gd name="T21" fmla="*/ 32 h 173"/>
                  <a:gd name="T22" fmla="*/ 542 w 607"/>
                  <a:gd name="T23" fmla="*/ 54 h 173"/>
                  <a:gd name="T24" fmla="*/ 439 w 607"/>
                  <a:gd name="T25" fmla="*/ 101 h 173"/>
                  <a:gd name="T26" fmla="*/ 355 w 607"/>
                  <a:gd name="T27" fmla="*/ 131 h 173"/>
                  <a:gd name="T28" fmla="*/ 251 w 607"/>
                  <a:gd name="T29" fmla="*/ 154 h 173"/>
                  <a:gd name="T30" fmla="*/ 173 w 607"/>
                  <a:gd name="T31" fmla="*/ 164 h 173"/>
                  <a:gd name="T32" fmla="*/ 117 w 607"/>
                  <a:gd name="T33" fmla="*/ 171 h 173"/>
                  <a:gd name="T34" fmla="*/ 66 w 607"/>
                  <a:gd name="T35" fmla="*/ 173 h 173"/>
                  <a:gd name="T36" fmla="*/ 12 w 607"/>
                  <a:gd name="T37" fmla="*/ 162 h 1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607" h="173">
                    <a:moveTo>
                      <a:pt x="12" y="162"/>
                    </a:moveTo>
                    <a:cubicBezTo>
                      <a:pt x="8" y="160"/>
                      <a:pt x="4" y="159"/>
                      <a:pt x="0" y="158"/>
                    </a:cubicBezTo>
                    <a:cubicBezTo>
                      <a:pt x="5" y="137"/>
                      <a:pt x="5" y="137"/>
                      <a:pt x="5" y="137"/>
                    </a:cubicBezTo>
                    <a:cubicBezTo>
                      <a:pt x="19" y="140"/>
                      <a:pt x="33" y="142"/>
                      <a:pt x="46" y="143"/>
                    </a:cubicBezTo>
                    <a:cubicBezTo>
                      <a:pt x="86" y="146"/>
                      <a:pt x="123" y="147"/>
                      <a:pt x="161" y="141"/>
                    </a:cubicBezTo>
                    <a:cubicBezTo>
                      <a:pt x="217" y="133"/>
                      <a:pt x="269" y="120"/>
                      <a:pt x="324" y="106"/>
                    </a:cubicBezTo>
                    <a:cubicBezTo>
                      <a:pt x="377" y="92"/>
                      <a:pt x="431" y="78"/>
                      <a:pt x="482" y="57"/>
                    </a:cubicBezTo>
                    <a:cubicBezTo>
                      <a:pt x="521" y="41"/>
                      <a:pt x="560" y="22"/>
                      <a:pt x="596" y="0"/>
                    </a:cubicBezTo>
                    <a:cubicBezTo>
                      <a:pt x="605" y="14"/>
                      <a:pt x="605" y="14"/>
                      <a:pt x="605" y="14"/>
                    </a:cubicBezTo>
                    <a:cubicBezTo>
                      <a:pt x="606" y="16"/>
                      <a:pt x="606" y="17"/>
                      <a:pt x="607" y="19"/>
                    </a:cubicBezTo>
                    <a:cubicBezTo>
                      <a:pt x="600" y="23"/>
                      <a:pt x="592" y="28"/>
                      <a:pt x="585" y="32"/>
                    </a:cubicBezTo>
                    <a:cubicBezTo>
                      <a:pt x="571" y="39"/>
                      <a:pt x="556" y="46"/>
                      <a:pt x="542" y="54"/>
                    </a:cubicBezTo>
                    <a:cubicBezTo>
                      <a:pt x="508" y="70"/>
                      <a:pt x="475" y="87"/>
                      <a:pt x="439" y="101"/>
                    </a:cubicBezTo>
                    <a:cubicBezTo>
                      <a:pt x="411" y="110"/>
                      <a:pt x="383" y="121"/>
                      <a:pt x="355" y="131"/>
                    </a:cubicBezTo>
                    <a:cubicBezTo>
                      <a:pt x="321" y="143"/>
                      <a:pt x="285" y="149"/>
                      <a:pt x="251" y="154"/>
                    </a:cubicBezTo>
                    <a:cubicBezTo>
                      <a:pt x="225" y="159"/>
                      <a:pt x="197" y="161"/>
                      <a:pt x="173" y="164"/>
                    </a:cubicBezTo>
                    <a:cubicBezTo>
                      <a:pt x="155" y="166"/>
                      <a:pt x="135" y="170"/>
                      <a:pt x="117" y="171"/>
                    </a:cubicBezTo>
                    <a:cubicBezTo>
                      <a:pt x="101" y="173"/>
                      <a:pt x="82" y="172"/>
                      <a:pt x="66" y="173"/>
                    </a:cubicBezTo>
                    <a:cubicBezTo>
                      <a:pt x="48" y="173"/>
                      <a:pt x="30" y="168"/>
                      <a:pt x="12" y="162"/>
                    </a:cubicBezTo>
                    <a:close/>
                  </a:path>
                </a:pathLst>
              </a:custGeom>
              <a:solidFill>
                <a:srgbClr val="21AAD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97" name="Freeform 143">
                <a:extLst>
                  <a:ext uri="{FF2B5EF4-FFF2-40B4-BE49-F238E27FC236}">
                    <a16:creationId xmlns:a16="http://schemas.microsoft.com/office/drawing/2014/main" id="{87465666-8DAE-43E4-B74C-365D832CE2F1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115" y="1441"/>
                <a:ext cx="223" cy="417"/>
              </a:xfrm>
              <a:custGeom>
                <a:avLst/>
                <a:gdLst>
                  <a:gd name="T0" fmla="*/ 29 w 211"/>
                  <a:gd name="T1" fmla="*/ 0 h 394"/>
                  <a:gd name="T2" fmla="*/ 72 w 211"/>
                  <a:gd name="T3" fmla="*/ 81 h 394"/>
                  <a:gd name="T4" fmla="*/ 120 w 211"/>
                  <a:gd name="T5" fmla="*/ 154 h 394"/>
                  <a:gd name="T6" fmla="*/ 134 w 211"/>
                  <a:gd name="T7" fmla="*/ 186 h 394"/>
                  <a:gd name="T8" fmla="*/ 146 w 211"/>
                  <a:gd name="T9" fmla="*/ 218 h 394"/>
                  <a:gd name="T10" fmla="*/ 158 w 211"/>
                  <a:gd name="T11" fmla="*/ 264 h 394"/>
                  <a:gd name="T12" fmla="*/ 168 w 211"/>
                  <a:gd name="T13" fmla="*/ 308 h 394"/>
                  <a:gd name="T14" fmla="*/ 175 w 211"/>
                  <a:gd name="T15" fmla="*/ 329 h 394"/>
                  <a:gd name="T16" fmla="*/ 184 w 211"/>
                  <a:gd name="T17" fmla="*/ 353 h 394"/>
                  <a:gd name="T18" fmla="*/ 211 w 211"/>
                  <a:gd name="T19" fmla="*/ 392 h 394"/>
                  <a:gd name="T20" fmla="*/ 205 w 211"/>
                  <a:gd name="T21" fmla="*/ 394 h 394"/>
                  <a:gd name="T22" fmla="*/ 183 w 211"/>
                  <a:gd name="T23" fmla="*/ 369 h 394"/>
                  <a:gd name="T24" fmla="*/ 154 w 211"/>
                  <a:gd name="T25" fmla="*/ 322 h 394"/>
                  <a:gd name="T26" fmla="*/ 124 w 211"/>
                  <a:gd name="T27" fmla="*/ 255 h 394"/>
                  <a:gd name="T28" fmla="*/ 0 w 211"/>
                  <a:gd name="T29" fmla="*/ 21 h 394"/>
                  <a:gd name="T30" fmla="*/ 7 w 211"/>
                  <a:gd name="T31" fmla="*/ 17 h 394"/>
                  <a:gd name="T32" fmla="*/ 29 w 211"/>
                  <a:gd name="T33" fmla="*/ 0 h 3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11" h="394">
                    <a:moveTo>
                      <a:pt x="29" y="0"/>
                    </a:moveTo>
                    <a:cubicBezTo>
                      <a:pt x="36" y="31"/>
                      <a:pt x="57" y="54"/>
                      <a:pt x="72" y="81"/>
                    </a:cubicBezTo>
                    <a:cubicBezTo>
                      <a:pt x="85" y="106"/>
                      <a:pt x="106" y="129"/>
                      <a:pt x="120" y="154"/>
                    </a:cubicBezTo>
                    <a:cubicBezTo>
                      <a:pt x="125" y="165"/>
                      <a:pt x="130" y="175"/>
                      <a:pt x="134" y="186"/>
                    </a:cubicBezTo>
                    <a:cubicBezTo>
                      <a:pt x="139" y="196"/>
                      <a:pt x="143" y="207"/>
                      <a:pt x="146" y="218"/>
                    </a:cubicBezTo>
                    <a:cubicBezTo>
                      <a:pt x="149" y="233"/>
                      <a:pt x="155" y="248"/>
                      <a:pt x="158" y="264"/>
                    </a:cubicBezTo>
                    <a:cubicBezTo>
                      <a:pt x="161" y="279"/>
                      <a:pt x="165" y="295"/>
                      <a:pt x="168" y="308"/>
                    </a:cubicBezTo>
                    <a:cubicBezTo>
                      <a:pt x="169" y="314"/>
                      <a:pt x="173" y="321"/>
                      <a:pt x="175" y="329"/>
                    </a:cubicBezTo>
                    <a:cubicBezTo>
                      <a:pt x="176" y="336"/>
                      <a:pt x="180" y="344"/>
                      <a:pt x="184" y="353"/>
                    </a:cubicBezTo>
                    <a:cubicBezTo>
                      <a:pt x="191" y="366"/>
                      <a:pt x="200" y="381"/>
                      <a:pt x="211" y="392"/>
                    </a:cubicBezTo>
                    <a:cubicBezTo>
                      <a:pt x="205" y="394"/>
                      <a:pt x="205" y="394"/>
                      <a:pt x="205" y="394"/>
                    </a:cubicBezTo>
                    <a:cubicBezTo>
                      <a:pt x="197" y="386"/>
                      <a:pt x="189" y="378"/>
                      <a:pt x="183" y="369"/>
                    </a:cubicBezTo>
                    <a:cubicBezTo>
                      <a:pt x="172" y="354"/>
                      <a:pt x="163" y="338"/>
                      <a:pt x="154" y="322"/>
                    </a:cubicBezTo>
                    <a:cubicBezTo>
                      <a:pt x="143" y="300"/>
                      <a:pt x="134" y="277"/>
                      <a:pt x="124" y="255"/>
                    </a:cubicBezTo>
                    <a:cubicBezTo>
                      <a:pt x="88" y="174"/>
                      <a:pt x="41" y="101"/>
                      <a:pt x="0" y="21"/>
                    </a:cubicBezTo>
                    <a:cubicBezTo>
                      <a:pt x="3" y="20"/>
                      <a:pt x="5" y="18"/>
                      <a:pt x="7" y="17"/>
                    </a:cubicBezTo>
                    <a:cubicBezTo>
                      <a:pt x="15" y="11"/>
                      <a:pt x="22" y="6"/>
                      <a:pt x="29" y="0"/>
                    </a:cubicBezTo>
                    <a:close/>
                  </a:path>
                </a:pathLst>
              </a:custGeom>
              <a:solidFill>
                <a:srgbClr val="21AAD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98" name="Freeform 144">
                <a:extLst>
                  <a:ext uri="{FF2B5EF4-FFF2-40B4-BE49-F238E27FC236}">
                    <a16:creationId xmlns:a16="http://schemas.microsoft.com/office/drawing/2014/main" id="{E1E5919E-FF65-4BCA-9682-A4C634FEA237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405" y="1598"/>
                <a:ext cx="79" cy="481"/>
              </a:xfrm>
              <a:custGeom>
                <a:avLst/>
                <a:gdLst>
                  <a:gd name="T0" fmla="*/ 63 w 75"/>
                  <a:gd name="T1" fmla="*/ 373 h 454"/>
                  <a:gd name="T2" fmla="*/ 34 w 75"/>
                  <a:gd name="T3" fmla="*/ 438 h 454"/>
                  <a:gd name="T4" fmla="*/ 17 w 75"/>
                  <a:gd name="T5" fmla="*/ 449 h 454"/>
                  <a:gd name="T6" fmla="*/ 0 w 75"/>
                  <a:gd name="T7" fmla="*/ 454 h 454"/>
                  <a:gd name="T8" fmla="*/ 30 w 75"/>
                  <a:gd name="T9" fmla="*/ 381 h 454"/>
                  <a:gd name="T10" fmla="*/ 32 w 75"/>
                  <a:gd name="T11" fmla="*/ 295 h 454"/>
                  <a:gd name="T12" fmla="*/ 24 w 75"/>
                  <a:gd name="T13" fmla="*/ 183 h 454"/>
                  <a:gd name="T14" fmla="*/ 26 w 75"/>
                  <a:gd name="T15" fmla="*/ 72 h 454"/>
                  <a:gd name="T16" fmla="*/ 29 w 75"/>
                  <a:gd name="T17" fmla="*/ 11 h 454"/>
                  <a:gd name="T18" fmla="*/ 25 w 75"/>
                  <a:gd name="T19" fmla="*/ 0 h 454"/>
                  <a:gd name="T20" fmla="*/ 58 w 75"/>
                  <a:gd name="T21" fmla="*/ 9 h 454"/>
                  <a:gd name="T22" fmla="*/ 63 w 75"/>
                  <a:gd name="T23" fmla="*/ 11 h 454"/>
                  <a:gd name="T24" fmla="*/ 75 w 75"/>
                  <a:gd name="T25" fmla="*/ 15 h 454"/>
                  <a:gd name="T26" fmla="*/ 65 w 75"/>
                  <a:gd name="T27" fmla="*/ 70 h 454"/>
                  <a:gd name="T28" fmla="*/ 71 w 75"/>
                  <a:gd name="T29" fmla="*/ 268 h 454"/>
                  <a:gd name="T30" fmla="*/ 68 w 75"/>
                  <a:gd name="T31" fmla="*/ 339 h 454"/>
                  <a:gd name="T32" fmla="*/ 63 w 75"/>
                  <a:gd name="T33" fmla="*/ 373 h 4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75" h="454">
                    <a:moveTo>
                      <a:pt x="63" y="373"/>
                    </a:moveTo>
                    <a:cubicBezTo>
                      <a:pt x="59" y="395"/>
                      <a:pt x="51" y="422"/>
                      <a:pt x="34" y="438"/>
                    </a:cubicBezTo>
                    <a:cubicBezTo>
                      <a:pt x="28" y="443"/>
                      <a:pt x="23" y="447"/>
                      <a:pt x="17" y="449"/>
                    </a:cubicBezTo>
                    <a:cubicBezTo>
                      <a:pt x="12" y="452"/>
                      <a:pt x="6" y="453"/>
                      <a:pt x="0" y="454"/>
                    </a:cubicBezTo>
                    <a:cubicBezTo>
                      <a:pt x="21" y="439"/>
                      <a:pt x="29" y="404"/>
                      <a:pt x="30" y="381"/>
                    </a:cubicBezTo>
                    <a:cubicBezTo>
                      <a:pt x="33" y="350"/>
                      <a:pt x="34" y="324"/>
                      <a:pt x="32" y="295"/>
                    </a:cubicBezTo>
                    <a:cubicBezTo>
                      <a:pt x="31" y="258"/>
                      <a:pt x="28" y="219"/>
                      <a:pt x="24" y="183"/>
                    </a:cubicBezTo>
                    <a:cubicBezTo>
                      <a:pt x="23" y="146"/>
                      <a:pt x="22" y="110"/>
                      <a:pt x="26" y="72"/>
                    </a:cubicBezTo>
                    <a:cubicBezTo>
                      <a:pt x="28" y="50"/>
                      <a:pt x="33" y="31"/>
                      <a:pt x="29" y="11"/>
                    </a:cubicBezTo>
                    <a:cubicBezTo>
                      <a:pt x="28" y="7"/>
                      <a:pt x="27" y="3"/>
                      <a:pt x="25" y="0"/>
                    </a:cubicBezTo>
                    <a:cubicBezTo>
                      <a:pt x="35" y="5"/>
                      <a:pt x="47" y="7"/>
                      <a:pt x="58" y="9"/>
                    </a:cubicBezTo>
                    <a:cubicBezTo>
                      <a:pt x="60" y="10"/>
                      <a:pt x="61" y="10"/>
                      <a:pt x="63" y="11"/>
                    </a:cubicBezTo>
                    <a:cubicBezTo>
                      <a:pt x="67" y="12"/>
                      <a:pt x="71" y="13"/>
                      <a:pt x="75" y="15"/>
                    </a:cubicBezTo>
                    <a:cubicBezTo>
                      <a:pt x="70" y="34"/>
                      <a:pt x="65" y="52"/>
                      <a:pt x="65" y="70"/>
                    </a:cubicBezTo>
                    <a:cubicBezTo>
                      <a:pt x="58" y="136"/>
                      <a:pt x="68" y="204"/>
                      <a:pt x="71" y="268"/>
                    </a:cubicBezTo>
                    <a:cubicBezTo>
                      <a:pt x="71" y="291"/>
                      <a:pt x="70" y="315"/>
                      <a:pt x="68" y="339"/>
                    </a:cubicBezTo>
                    <a:cubicBezTo>
                      <a:pt x="67" y="351"/>
                      <a:pt x="65" y="362"/>
                      <a:pt x="63" y="373"/>
                    </a:cubicBezTo>
                    <a:close/>
                  </a:path>
                </a:pathLst>
              </a:custGeom>
              <a:solidFill>
                <a:srgbClr val="21AAD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99" name="Freeform 145">
                <a:extLst>
                  <a:ext uri="{FF2B5EF4-FFF2-40B4-BE49-F238E27FC236}">
                    <a16:creationId xmlns:a16="http://schemas.microsoft.com/office/drawing/2014/main" id="{E10795F7-5A03-4CF9-9D66-8F32DFDBADBB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466" y="1477"/>
                <a:ext cx="657" cy="481"/>
              </a:xfrm>
              <a:custGeom>
                <a:avLst/>
                <a:gdLst>
                  <a:gd name="T0" fmla="*/ 13 w 620"/>
                  <a:gd name="T1" fmla="*/ 383 h 455"/>
                  <a:gd name="T2" fmla="*/ 7 w 620"/>
                  <a:gd name="T3" fmla="*/ 185 h 455"/>
                  <a:gd name="T4" fmla="*/ 17 w 620"/>
                  <a:gd name="T5" fmla="*/ 130 h 455"/>
                  <a:gd name="T6" fmla="*/ 71 w 620"/>
                  <a:gd name="T7" fmla="*/ 141 h 455"/>
                  <a:gd name="T8" fmla="*/ 122 w 620"/>
                  <a:gd name="T9" fmla="*/ 139 h 455"/>
                  <a:gd name="T10" fmla="*/ 178 w 620"/>
                  <a:gd name="T11" fmla="*/ 132 h 455"/>
                  <a:gd name="T12" fmla="*/ 256 w 620"/>
                  <a:gd name="T13" fmla="*/ 122 h 455"/>
                  <a:gd name="T14" fmla="*/ 360 w 620"/>
                  <a:gd name="T15" fmla="*/ 99 h 455"/>
                  <a:gd name="T16" fmla="*/ 444 w 620"/>
                  <a:gd name="T17" fmla="*/ 69 h 455"/>
                  <a:gd name="T18" fmla="*/ 547 w 620"/>
                  <a:gd name="T19" fmla="*/ 22 h 455"/>
                  <a:gd name="T20" fmla="*/ 590 w 620"/>
                  <a:gd name="T21" fmla="*/ 0 h 455"/>
                  <a:gd name="T22" fmla="*/ 591 w 620"/>
                  <a:gd name="T23" fmla="*/ 3 h 455"/>
                  <a:gd name="T24" fmla="*/ 620 w 620"/>
                  <a:gd name="T25" fmla="*/ 40 h 455"/>
                  <a:gd name="T26" fmla="*/ 611 w 620"/>
                  <a:gd name="T27" fmla="*/ 49 h 455"/>
                  <a:gd name="T28" fmla="*/ 581 w 620"/>
                  <a:gd name="T29" fmla="*/ 72 h 455"/>
                  <a:gd name="T30" fmla="*/ 525 w 620"/>
                  <a:gd name="T31" fmla="*/ 103 h 455"/>
                  <a:gd name="T32" fmla="*/ 466 w 620"/>
                  <a:gd name="T33" fmla="*/ 120 h 455"/>
                  <a:gd name="T34" fmla="*/ 442 w 620"/>
                  <a:gd name="T35" fmla="*/ 116 h 455"/>
                  <a:gd name="T36" fmla="*/ 433 w 620"/>
                  <a:gd name="T37" fmla="*/ 111 h 455"/>
                  <a:gd name="T38" fmla="*/ 411 w 620"/>
                  <a:gd name="T39" fmla="*/ 118 h 455"/>
                  <a:gd name="T40" fmla="*/ 336 w 620"/>
                  <a:gd name="T41" fmla="*/ 137 h 455"/>
                  <a:gd name="T42" fmla="*/ 261 w 620"/>
                  <a:gd name="T43" fmla="*/ 153 h 455"/>
                  <a:gd name="T44" fmla="*/ 236 w 620"/>
                  <a:gd name="T45" fmla="*/ 156 h 455"/>
                  <a:gd name="T46" fmla="*/ 237 w 620"/>
                  <a:gd name="T47" fmla="*/ 158 h 455"/>
                  <a:gd name="T48" fmla="*/ 200 w 620"/>
                  <a:gd name="T49" fmla="*/ 180 h 455"/>
                  <a:gd name="T50" fmla="*/ 177 w 620"/>
                  <a:gd name="T51" fmla="*/ 183 h 455"/>
                  <a:gd name="T52" fmla="*/ 149 w 620"/>
                  <a:gd name="T53" fmla="*/ 182 h 455"/>
                  <a:gd name="T54" fmla="*/ 112 w 620"/>
                  <a:gd name="T55" fmla="*/ 179 h 455"/>
                  <a:gd name="T56" fmla="*/ 83 w 620"/>
                  <a:gd name="T57" fmla="*/ 173 h 455"/>
                  <a:gd name="T58" fmla="*/ 30 w 620"/>
                  <a:gd name="T59" fmla="*/ 163 h 455"/>
                  <a:gd name="T60" fmla="*/ 26 w 620"/>
                  <a:gd name="T61" fmla="*/ 181 h 455"/>
                  <a:gd name="T62" fmla="*/ 23 w 620"/>
                  <a:gd name="T63" fmla="*/ 216 h 455"/>
                  <a:gd name="T64" fmla="*/ 20 w 620"/>
                  <a:gd name="T65" fmla="*/ 291 h 455"/>
                  <a:gd name="T66" fmla="*/ 22 w 620"/>
                  <a:gd name="T67" fmla="*/ 362 h 455"/>
                  <a:gd name="T68" fmla="*/ 22 w 620"/>
                  <a:gd name="T69" fmla="*/ 406 h 455"/>
                  <a:gd name="T70" fmla="*/ 19 w 620"/>
                  <a:gd name="T71" fmla="*/ 455 h 455"/>
                  <a:gd name="T72" fmla="*/ 10 w 620"/>
                  <a:gd name="T73" fmla="*/ 454 h 455"/>
                  <a:gd name="T74" fmla="*/ 13 w 620"/>
                  <a:gd name="T75" fmla="*/ 383 h 4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620" h="455">
                    <a:moveTo>
                      <a:pt x="13" y="383"/>
                    </a:moveTo>
                    <a:cubicBezTo>
                      <a:pt x="10" y="319"/>
                      <a:pt x="0" y="251"/>
                      <a:pt x="7" y="185"/>
                    </a:cubicBezTo>
                    <a:cubicBezTo>
                      <a:pt x="7" y="167"/>
                      <a:pt x="12" y="149"/>
                      <a:pt x="17" y="130"/>
                    </a:cubicBezTo>
                    <a:cubicBezTo>
                      <a:pt x="35" y="136"/>
                      <a:pt x="53" y="141"/>
                      <a:pt x="71" y="141"/>
                    </a:cubicBezTo>
                    <a:cubicBezTo>
                      <a:pt x="87" y="140"/>
                      <a:pt x="106" y="141"/>
                      <a:pt x="122" y="139"/>
                    </a:cubicBezTo>
                    <a:cubicBezTo>
                      <a:pt x="140" y="138"/>
                      <a:pt x="160" y="134"/>
                      <a:pt x="178" y="132"/>
                    </a:cubicBezTo>
                    <a:cubicBezTo>
                      <a:pt x="202" y="129"/>
                      <a:pt x="230" y="127"/>
                      <a:pt x="256" y="122"/>
                    </a:cubicBezTo>
                    <a:cubicBezTo>
                      <a:pt x="290" y="117"/>
                      <a:pt x="326" y="111"/>
                      <a:pt x="360" y="99"/>
                    </a:cubicBezTo>
                    <a:cubicBezTo>
                      <a:pt x="388" y="89"/>
                      <a:pt x="416" y="78"/>
                      <a:pt x="444" y="69"/>
                    </a:cubicBezTo>
                    <a:cubicBezTo>
                      <a:pt x="480" y="55"/>
                      <a:pt x="513" y="38"/>
                      <a:pt x="547" y="22"/>
                    </a:cubicBezTo>
                    <a:cubicBezTo>
                      <a:pt x="561" y="14"/>
                      <a:pt x="576" y="7"/>
                      <a:pt x="590" y="0"/>
                    </a:cubicBezTo>
                    <a:cubicBezTo>
                      <a:pt x="591" y="3"/>
                      <a:pt x="591" y="3"/>
                      <a:pt x="591" y="3"/>
                    </a:cubicBezTo>
                    <a:cubicBezTo>
                      <a:pt x="603" y="13"/>
                      <a:pt x="613" y="27"/>
                      <a:pt x="620" y="40"/>
                    </a:cubicBezTo>
                    <a:cubicBezTo>
                      <a:pt x="616" y="41"/>
                      <a:pt x="612" y="47"/>
                      <a:pt x="611" y="49"/>
                    </a:cubicBezTo>
                    <a:cubicBezTo>
                      <a:pt x="601" y="56"/>
                      <a:pt x="591" y="65"/>
                      <a:pt x="581" y="72"/>
                    </a:cubicBezTo>
                    <a:cubicBezTo>
                      <a:pt x="565" y="82"/>
                      <a:pt x="544" y="94"/>
                      <a:pt x="525" y="103"/>
                    </a:cubicBezTo>
                    <a:cubicBezTo>
                      <a:pt x="506" y="109"/>
                      <a:pt x="486" y="116"/>
                      <a:pt x="466" y="120"/>
                    </a:cubicBezTo>
                    <a:cubicBezTo>
                      <a:pt x="458" y="122"/>
                      <a:pt x="450" y="121"/>
                      <a:pt x="442" y="116"/>
                    </a:cubicBezTo>
                    <a:cubicBezTo>
                      <a:pt x="439" y="114"/>
                      <a:pt x="436" y="112"/>
                      <a:pt x="433" y="111"/>
                    </a:cubicBezTo>
                    <a:cubicBezTo>
                      <a:pt x="425" y="113"/>
                      <a:pt x="418" y="115"/>
                      <a:pt x="411" y="118"/>
                    </a:cubicBezTo>
                    <a:cubicBezTo>
                      <a:pt x="387" y="126"/>
                      <a:pt x="360" y="131"/>
                      <a:pt x="336" y="137"/>
                    </a:cubicBezTo>
                    <a:cubicBezTo>
                      <a:pt x="312" y="142"/>
                      <a:pt x="285" y="148"/>
                      <a:pt x="261" y="153"/>
                    </a:cubicBezTo>
                    <a:cubicBezTo>
                      <a:pt x="252" y="155"/>
                      <a:pt x="245" y="155"/>
                      <a:pt x="236" y="156"/>
                    </a:cubicBezTo>
                    <a:cubicBezTo>
                      <a:pt x="237" y="158"/>
                      <a:pt x="237" y="158"/>
                      <a:pt x="237" y="158"/>
                    </a:cubicBezTo>
                    <a:cubicBezTo>
                      <a:pt x="233" y="175"/>
                      <a:pt x="216" y="179"/>
                      <a:pt x="200" y="180"/>
                    </a:cubicBezTo>
                    <a:cubicBezTo>
                      <a:pt x="193" y="182"/>
                      <a:pt x="184" y="184"/>
                      <a:pt x="177" y="183"/>
                    </a:cubicBezTo>
                    <a:cubicBezTo>
                      <a:pt x="168" y="183"/>
                      <a:pt x="159" y="182"/>
                      <a:pt x="149" y="182"/>
                    </a:cubicBezTo>
                    <a:cubicBezTo>
                      <a:pt x="135" y="180"/>
                      <a:pt x="123" y="178"/>
                      <a:pt x="112" y="179"/>
                    </a:cubicBezTo>
                    <a:cubicBezTo>
                      <a:pt x="102" y="178"/>
                      <a:pt x="92" y="174"/>
                      <a:pt x="83" y="173"/>
                    </a:cubicBezTo>
                    <a:cubicBezTo>
                      <a:pt x="65" y="171"/>
                      <a:pt x="49" y="168"/>
                      <a:pt x="30" y="163"/>
                    </a:cubicBezTo>
                    <a:cubicBezTo>
                      <a:pt x="29" y="170"/>
                      <a:pt x="29" y="176"/>
                      <a:pt x="26" y="181"/>
                    </a:cubicBezTo>
                    <a:cubicBezTo>
                      <a:pt x="27" y="192"/>
                      <a:pt x="25" y="204"/>
                      <a:pt x="23" y="216"/>
                    </a:cubicBezTo>
                    <a:cubicBezTo>
                      <a:pt x="21" y="240"/>
                      <a:pt x="22" y="265"/>
                      <a:pt x="20" y="291"/>
                    </a:cubicBezTo>
                    <a:cubicBezTo>
                      <a:pt x="21" y="316"/>
                      <a:pt x="19" y="340"/>
                      <a:pt x="22" y="362"/>
                    </a:cubicBezTo>
                    <a:cubicBezTo>
                      <a:pt x="23" y="378"/>
                      <a:pt x="24" y="392"/>
                      <a:pt x="22" y="406"/>
                    </a:cubicBezTo>
                    <a:cubicBezTo>
                      <a:pt x="21" y="423"/>
                      <a:pt x="23" y="441"/>
                      <a:pt x="19" y="455"/>
                    </a:cubicBezTo>
                    <a:cubicBezTo>
                      <a:pt x="10" y="454"/>
                      <a:pt x="10" y="454"/>
                      <a:pt x="10" y="454"/>
                    </a:cubicBezTo>
                    <a:cubicBezTo>
                      <a:pt x="12" y="430"/>
                      <a:pt x="13" y="406"/>
                      <a:pt x="13" y="383"/>
                    </a:cubicBezTo>
                    <a:close/>
                  </a:path>
                </a:pathLst>
              </a:custGeom>
              <a:solidFill>
                <a:srgbClr val="21AAD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00" name="Freeform 146">
                <a:extLst>
                  <a:ext uri="{FF2B5EF4-FFF2-40B4-BE49-F238E27FC236}">
                    <a16:creationId xmlns:a16="http://schemas.microsoft.com/office/drawing/2014/main" id="{AB1DCA69-F3AE-45C9-BD9A-9A0B0050B1A2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5217" y="1015"/>
                <a:ext cx="1251" cy="1065"/>
              </a:xfrm>
              <a:custGeom>
                <a:avLst/>
                <a:gdLst>
                  <a:gd name="T0" fmla="*/ 641 w 1180"/>
                  <a:gd name="T1" fmla="*/ 139 h 1006"/>
                  <a:gd name="T2" fmla="*/ 556 w 1180"/>
                  <a:gd name="T3" fmla="*/ 354 h 1006"/>
                  <a:gd name="T4" fmla="*/ 725 w 1180"/>
                  <a:gd name="T5" fmla="*/ 410 h 1006"/>
                  <a:gd name="T6" fmla="*/ 955 w 1180"/>
                  <a:gd name="T7" fmla="*/ 223 h 1006"/>
                  <a:gd name="T8" fmla="*/ 923 w 1180"/>
                  <a:gd name="T9" fmla="*/ 87 h 1006"/>
                  <a:gd name="T10" fmla="*/ 856 w 1180"/>
                  <a:gd name="T11" fmla="*/ 53 h 1006"/>
                  <a:gd name="T12" fmla="*/ 539 w 1180"/>
                  <a:gd name="T13" fmla="*/ 422 h 1006"/>
                  <a:gd name="T14" fmla="*/ 511 w 1180"/>
                  <a:gd name="T15" fmla="*/ 479 h 1006"/>
                  <a:gd name="T16" fmla="*/ 563 w 1180"/>
                  <a:gd name="T17" fmla="*/ 443 h 1006"/>
                  <a:gd name="T18" fmla="*/ 539 w 1180"/>
                  <a:gd name="T19" fmla="*/ 422 h 1006"/>
                  <a:gd name="T20" fmla="*/ 65 w 1180"/>
                  <a:gd name="T21" fmla="*/ 278 h 1006"/>
                  <a:gd name="T22" fmla="*/ 156 w 1180"/>
                  <a:gd name="T23" fmla="*/ 460 h 1006"/>
                  <a:gd name="T24" fmla="*/ 394 w 1180"/>
                  <a:gd name="T25" fmla="*/ 505 h 1006"/>
                  <a:gd name="T26" fmla="*/ 447 w 1180"/>
                  <a:gd name="T27" fmla="*/ 320 h 1006"/>
                  <a:gd name="T28" fmla="*/ 213 w 1180"/>
                  <a:gd name="T29" fmla="*/ 183 h 1006"/>
                  <a:gd name="T30" fmla="*/ 140 w 1180"/>
                  <a:gd name="T31" fmla="*/ 197 h 1006"/>
                  <a:gd name="T32" fmla="*/ 169 w 1180"/>
                  <a:gd name="T33" fmla="*/ 149 h 1006"/>
                  <a:gd name="T34" fmla="*/ 477 w 1180"/>
                  <a:gd name="T35" fmla="*/ 87 h 1006"/>
                  <a:gd name="T36" fmla="*/ 761 w 1180"/>
                  <a:gd name="T37" fmla="*/ 0 h 1006"/>
                  <a:gd name="T38" fmla="*/ 1026 w 1180"/>
                  <a:gd name="T39" fmla="*/ 166 h 1006"/>
                  <a:gd name="T40" fmla="*/ 1159 w 1180"/>
                  <a:gd name="T41" fmla="*/ 577 h 1006"/>
                  <a:gd name="T42" fmla="*/ 1119 w 1180"/>
                  <a:gd name="T43" fmla="*/ 819 h 1006"/>
                  <a:gd name="T44" fmla="*/ 1058 w 1180"/>
                  <a:gd name="T45" fmla="*/ 794 h 1006"/>
                  <a:gd name="T46" fmla="*/ 1022 w 1180"/>
                  <a:gd name="T47" fmla="*/ 731 h 1006"/>
                  <a:gd name="T48" fmla="*/ 1005 w 1180"/>
                  <a:gd name="T49" fmla="*/ 666 h 1006"/>
                  <a:gd name="T50" fmla="*/ 981 w 1180"/>
                  <a:gd name="T51" fmla="*/ 588 h 1006"/>
                  <a:gd name="T52" fmla="*/ 919 w 1180"/>
                  <a:gd name="T53" fmla="*/ 483 h 1006"/>
                  <a:gd name="T54" fmla="*/ 876 w 1180"/>
                  <a:gd name="T55" fmla="*/ 402 h 1006"/>
                  <a:gd name="T56" fmla="*/ 847 w 1180"/>
                  <a:gd name="T57" fmla="*/ 423 h 1006"/>
                  <a:gd name="T58" fmla="*/ 836 w 1180"/>
                  <a:gd name="T59" fmla="*/ 404 h 1006"/>
                  <a:gd name="T60" fmla="*/ 564 w 1180"/>
                  <a:gd name="T61" fmla="*/ 510 h 1006"/>
                  <a:gd name="T62" fmla="*/ 286 w 1180"/>
                  <a:gd name="T63" fmla="*/ 547 h 1006"/>
                  <a:gd name="T64" fmla="*/ 240 w 1180"/>
                  <a:gd name="T65" fmla="*/ 562 h 1006"/>
                  <a:gd name="T66" fmla="*/ 202 w 1180"/>
                  <a:gd name="T67" fmla="*/ 551 h 1006"/>
                  <a:gd name="T68" fmla="*/ 203 w 1180"/>
                  <a:gd name="T69" fmla="*/ 623 h 1006"/>
                  <a:gd name="T70" fmla="*/ 209 w 1180"/>
                  <a:gd name="T71" fmla="*/ 846 h 1006"/>
                  <a:gd name="T72" fmla="*/ 177 w 1180"/>
                  <a:gd name="T73" fmla="*/ 1005 h 1006"/>
                  <a:gd name="T74" fmla="*/ 64 w 1180"/>
                  <a:gd name="T75" fmla="*/ 891 h 1006"/>
                  <a:gd name="T76" fmla="*/ 2 w 1180"/>
                  <a:gd name="T77" fmla="*/ 521 h 10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1180" h="1006">
                    <a:moveTo>
                      <a:pt x="766" y="45"/>
                    </a:moveTo>
                    <a:cubicBezTo>
                      <a:pt x="716" y="60"/>
                      <a:pt x="673" y="97"/>
                      <a:pt x="641" y="139"/>
                    </a:cubicBezTo>
                    <a:cubicBezTo>
                      <a:pt x="620" y="169"/>
                      <a:pt x="604" y="205"/>
                      <a:pt x="586" y="239"/>
                    </a:cubicBezTo>
                    <a:cubicBezTo>
                      <a:pt x="566" y="273"/>
                      <a:pt x="549" y="314"/>
                      <a:pt x="556" y="354"/>
                    </a:cubicBezTo>
                    <a:cubicBezTo>
                      <a:pt x="562" y="394"/>
                      <a:pt x="591" y="420"/>
                      <a:pt x="630" y="428"/>
                    </a:cubicBezTo>
                    <a:cubicBezTo>
                      <a:pt x="663" y="433"/>
                      <a:pt x="696" y="423"/>
                      <a:pt x="725" y="410"/>
                    </a:cubicBezTo>
                    <a:cubicBezTo>
                      <a:pt x="777" y="385"/>
                      <a:pt x="828" y="353"/>
                      <a:pt x="876" y="317"/>
                    </a:cubicBezTo>
                    <a:cubicBezTo>
                      <a:pt x="908" y="292"/>
                      <a:pt x="943" y="263"/>
                      <a:pt x="955" y="223"/>
                    </a:cubicBezTo>
                    <a:cubicBezTo>
                      <a:pt x="965" y="196"/>
                      <a:pt x="971" y="160"/>
                      <a:pt x="960" y="130"/>
                    </a:cubicBezTo>
                    <a:cubicBezTo>
                      <a:pt x="954" y="113"/>
                      <a:pt x="940" y="100"/>
                      <a:pt x="923" y="87"/>
                    </a:cubicBezTo>
                    <a:cubicBezTo>
                      <a:pt x="902" y="72"/>
                      <a:pt x="880" y="61"/>
                      <a:pt x="858" y="49"/>
                    </a:cubicBezTo>
                    <a:cubicBezTo>
                      <a:pt x="856" y="53"/>
                      <a:pt x="856" y="53"/>
                      <a:pt x="856" y="53"/>
                    </a:cubicBezTo>
                    <a:cubicBezTo>
                      <a:pt x="825" y="39"/>
                      <a:pt x="796" y="36"/>
                      <a:pt x="766" y="45"/>
                    </a:cubicBezTo>
                    <a:close/>
                    <a:moveTo>
                      <a:pt x="539" y="422"/>
                    </a:moveTo>
                    <a:cubicBezTo>
                      <a:pt x="530" y="422"/>
                      <a:pt x="520" y="425"/>
                      <a:pt x="514" y="428"/>
                    </a:cubicBezTo>
                    <a:cubicBezTo>
                      <a:pt x="500" y="438"/>
                      <a:pt x="495" y="469"/>
                      <a:pt x="511" y="479"/>
                    </a:cubicBezTo>
                    <a:cubicBezTo>
                      <a:pt x="525" y="488"/>
                      <a:pt x="550" y="485"/>
                      <a:pt x="560" y="471"/>
                    </a:cubicBezTo>
                    <a:cubicBezTo>
                      <a:pt x="568" y="462"/>
                      <a:pt x="565" y="451"/>
                      <a:pt x="563" y="443"/>
                    </a:cubicBezTo>
                    <a:cubicBezTo>
                      <a:pt x="559" y="432"/>
                      <a:pt x="551" y="427"/>
                      <a:pt x="539" y="425"/>
                    </a:cubicBezTo>
                    <a:lnTo>
                      <a:pt x="539" y="422"/>
                    </a:lnTo>
                    <a:close/>
                    <a:moveTo>
                      <a:pt x="140" y="197"/>
                    </a:moveTo>
                    <a:cubicBezTo>
                      <a:pt x="108" y="218"/>
                      <a:pt x="81" y="245"/>
                      <a:pt x="65" y="278"/>
                    </a:cubicBezTo>
                    <a:cubicBezTo>
                      <a:pt x="49" y="309"/>
                      <a:pt x="48" y="347"/>
                      <a:pt x="62" y="380"/>
                    </a:cubicBezTo>
                    <a:cubicBezTo>
                      <a:pt x="82" y="418"/>
                      <a:pt x="118" y="445"/>
                      <a:pt x="156" y="460"/>
                    </a:cubicBezTo>
                    <a:cubicBezTo>
                      <a:pt x="196" y="476"/>
                      <a:pt x="238" y="486"/>
                      <a:pt x="278" y="493"/>
                    </a:cubicBezTo>
                    <a:cubicBezTo>
                      <a:pt x="318" y="503"/>
                      <a:pt x="356" y="511"/>
                      <a:pt x="394" y="505"/>
                    </a:cubicBezTo>
                    <a:cubicBezTo>
                      <a:pt x="435" y="498"/>
                      <a:pt x="471" y="474"/>
                      <a:pt x="481" y="435"/>
                    </a:cubicBezTo>
                    <a:cubicBezTo>
                      <a:pt x="490" y="394"/>
                      <a:pt x="472" y="352"/>
                      <a:pt x="447" y="320"/>
                    </a:cubicBezTo>
                    <a:cubicBezTo>
                      <a:pt x="417" y="280"/>
                      <a:pt x="375" y="248"/>
                      <a:pt x="333" y="222"/>
                    </a:cubicBezTo>
                    <a:cubicBezTo>
                      <a:pt x="296" y="200"/>
                      <a:pt x="256" y="188"/>
                      <a:pt x="213" y="183"/>
                    </a:cubicBezTo>
                    <a:cubicBezTo>
                      <a:pt x="213" y="176"/>
                      <a:pt x="213" y="176"/>
                      <a:pt x="213" y="176"/>
                    </a:cubicBezTo>
                    <a:cubicBezTo>
                      <a:pt x="187" y="178"/>
                      <a:pt x="162" y="186"/>
                      <a:pt x="140" y="197"/>
                    </a:cubicBezTo>
                    <a:close/>
                    <a:moveTo>
                      <a:pt x="40" y="309"/>
                    </a:moveTo>
                    <a:cubicBezTo>
                      <a:pt x="65" y="246"/>
                      <a:pt x="110" y="187"/>
                      <a:pt x="169" y="149"/>
                    </a:cubicBezTo>
                    <a:cubicBezTo>
                      <a:pt x="230" y="113"/>
                      <a:pt x="300" y="104"/>
                      <a:pt x="371" y="101"/>
                    </a:cubicBezTo>
                    <a:cubicBezTo>
                      <a:pt x="405" y="98"/>
                      <a:pt x="442" y="95"/>
                      <a:pt x="477" y="87"/>
                    </a:cubicBezTo>
                    <a:cubicBezTo>
                      <a:pt x="513" y="81"/>
                      <a:pt x="545" y="70"/>
                      <a:pt x="579" y="55"/>
                    </a:cubicBezTo>
                    <a:cubicBezTo>
                      <a:pt x="636" y="31"/>
                      <a:pt x="696" y="0"/>
                      <a:pt x="761" y="0"/>
                    </a:cubicBezTo>
                    <a:cubicBezTo>
                      <a:pt x="819" y="1"/>
                      <a:pt x="871" y="29"/>
                      <a:pt x="917" y="60"/>
                    </a:cubicBezTo>
                    <a:cubicBezTo>
                      <a:pt x="959" y="91"/>
                      <a:pt x="996" y="124"/>
                      <a:pt x="1026" y="166"/>
                    </a:cubicBezTo>
                    <a:cubicBezTo>
                      <a:pt x="1065" y="220"/>
                      <a:pt x="1089" y="287"/>
                      <a:pt x="1108" y="352"/>
                    </a:cubicBezTo>
                    <a:cubicBezTo>
                      <a:pt x="1129" y="426"/>
                      <a:pt x="1145" y="501"/>
                      <a:pt x="1159" y="577"/>
                    </a:cubicBezTo>
                    <a:cubicBezTo>
                      <a:pt x="1168" y="630"/>
                      <a:pt x="1180" y="685"/>
                      <a:pt x="1176" y="740"/>
                    </a:cubicBezTo>
                    <a:cubicBezTo>
                      <a:pt x="1172" y="773"/>
                      <a:pt x="1157" y="813"/>
                      <a:pt x="1119" y="819"/>
                    </a:cubicBezTo>
                    <a:cubicBezTo>
                      <a:pt x="1095" y="824"/>
                      <a:pt x="1071" y="813"/>
                      <a:pt x="1052" y="796"/>
                    </a:cubicBezTo>
                    <a:cubicBezTo>
                      <a:pt x="1058" y="794"/>
                      <a:pt x="1058" y="794"/>
                      <a:pt x="1058" y="794"/>
                    </a:cubicBezTo>
                    <a:cubicBezTo>
                      <a:pt x="1047" y="783"/>
                      <a:pt x="1038" y="768"/>
                      <a:pt x="1031" y="755"/>
                    </a:cubicBezTo>
                    <a:cubicBezTo>
                      <a:pt x="1027" y="746"/>
                      <a:pt x="1023" y="738"/>
                      <a:pt x="1022" y="731"/>
                    </a:cubicBezTo>
                    <a:cubicBezTo>
                      <a:pt x="1020" y="723"/>
                      <a:pt x="1016" y="716"/>
                      <a:pt x="1015" y="710"/>
                    </a:cubicBezTo>
                    <a:cubicBezTo>
                      <a:pt x="1012" y="697"/>
                      <a:pt x="1008" y="681"/>
                      <a:pt x="1005" y="666"/>
                    </a:cubicBezTo>
                    <a:cubicBezTo>
                      <a:pt x="1002" y="650"/>
                      <a:pt x="996" y="635"/>
                      <a:pt x="993" y="620"/>
                    </a:cubicBezTo>
                    <a:cubicBezTo>
                      <a:pt x="990" y="609"/>
                      <a:pt x="986" y="598"/>
                      <a:pt x="981" y="588"/>
                    </a:cubicBezTo>
                    <a:cubicBezTo>
                      <a:pt x="977" y="577"/>
                      <a:pt x="972" y="567"/>
                      <a:pt x="967" y="556"/>
                    </a:cubicBezTo>
                    <a:cubicBezTo>
                      <a:pt x="953" y="531"/>
                      <a:pt x="932" y="508"/>
                      <a:pt x="919" y="483"/>
                    </a:cubicBezTo>
                    <a:cubicBezTo>
                      <a:pt x="904" y="456"/>
                      <a:pt x="883" y="433"/>
                      <a:pt x="876" y="402"/>
                    </a:cubicBezTo>
                    <a:cubicBezTo>
                      <a:pt x="876" y="402"/>
                      <a:pt x="876" y="402"/>
                      <a:pt x="876" y="402"/>
                    </a:cubicBezTo>
                    <a:cubicBezTo>
                      <a:pt x="869" y="408"/>
                      <a:pt x="862" y="413"/>
                      <a:pt x="854" y="419"/>
                    </a:cubicBezTo>
                    <a:cubicBezTo>
                      <a:pt x="852" y="420"/>
                      <a:pt x="850" y="422"/>
                      <a:pt x="847" y="423"/>
                    </a:cubicBezTo>
                    <a:cubicBezTo>
                      <a:pt x="846" y="421"/>
                      <a:pt x="846" y="420"/>
                      <a:pt x="845" y="418"/>
                    </a:cubicBezTo>
                    <a:cubicBezTo>
                      <a:pt x="836" y="404"/>
                      <a:pt x="836" y="404"/>
                      <a:pt x="836" y="404"/>
                    </a:cubicBezTo>
                    <a:cubicBezTo>
                      <a:pt x="800" y="426"/>
                      <a:pt x="761" y="445"/>
                      <a:pt x="722" y="461"/>
                    </a:cubicBezTo>
                    <a:cubicBezTo>
                      <a:pt x="671" y="482"/>
                      <a:pt x="617" y="496"/>
                      <a:pt x="564" y="510"/>
                    </a:cubicBezTo>
                    <a:cubicBezTo>
                      <a:pt x="509" y="524"/>
                      <a:pt x="457" y="537"/>
                      <a:pt x="401" y="545"/>
                    </a:cubicBezTo>
                    <a:cubicBezTo>
                      <a:pt x="363" y="551"/>
                      <a:pt x="326" y="550"/>
                      <a:pt x="286" y="547"/>
                    </a:cubicBezTo>
                    <a:cubicBezTo>
                      <a:pt x="273" y="546"/>
                      <a:pt x="259" y="544"/>
                      <a:pt x="245" y="541"/>
                    </a:cubicBezTo>
                    <a:cubicBezTo>
                      <a:pt x="240" y="562"/>
                      <a:pt x="240" y="562"/>
                      <a:pt x="240" y="562"/>
                    </a:cubicBezTo>
                    <a:cubicBezTo>
                      <a:pt x="238" y="561"/>
                      <a:pt x="237" y="561"/>
                      <a:pt x="235" y="560"/>
                    </a:cubicBezTo>
                    <a:cubicBezTo>
                      <a:pt x="224" y="558"/>
                      <a:pt x="212" y="556"/>
                      <a:pt x="202" y="551"/>
                    </a:cubicBezTo>
                    <a:cubicBezTo>
                      <a:pt x="204" y="554"/>
                      <a:pt x="205" y="558"/>
                      <a:pt x="206" y="562"/>
                    </a:cubicBezTo>
                    <a:cubicBezTo>
                      <a:pt x="210" y="582"/>
                      <a:pt x="205" y="601"/>
                      <a:pt x="203" y="623"/>
                    </a:cubicBezTo>
                    <a:cubicBezTo>
                      <a:pt x="199" y="661"/>
                      <a:pt x="200" y="697"/>
                      <a:pt x="201" y="734"/>
                    </a:cubicBezTo>
                    <a:cubicBezTo>
                      <a:pt x="205" y="770"/>
                      <a:pt x="208" y="809"/>
                      <a:pt x="209" y="846"/>
                    </a:cubicBezTo>
                    <a:cubicBezTo>
                      <a:pt x="211" y="875"/>
                      <a:pt x="210" y="901"/>
                      <a:pt x="207" y="932"/>
                    </a:cubicBezTo>
                    <a:cubicBezTo>
                      <a:pt x="206" y="955"/>
                      <a:pt x="198" y="990"/>
                      <a:pt x="177" y="1005"/>
                    </a:cubicBezTo>
                    <a:cubicBezTo>
                      <a:pt x="152" y="1006"/>
                      <a:pt x="125" y="989"/>
                      <a:pt x="107" y="970"/>
                    </a:cubicBezTo>
                    <a:cubicBezTo>
                      <a:pt x="88" y="948"/>
                      <a:pt x="75" y="919"/>
                      <a:pt x="64" y="891"/>
                    </a:cubicBezTo>
                    <a:cubicBezTo>
                      <a:pt x="52" y="854"/>
                      <a:pt x="41" y="817"/>
                      <a:pt x="35" y="777"/>
                    </a:cubicBezTo>
                    <a:cubicBezTo>
                      <a:pt x="17" y="693"/>
                      <a:pt x="5" y="606"/>
                      <a:pt x="2" y="521"/>
                    </a:cubicBezTo>
                    <a:cubicBezTo>
                      <a:pt x="0" y="447"/>
                      <a:pt x="10" y="376"/>
                      <a:pt x="40" y="309"/>
                    </a:cubicBezTo>
                    <a:close/>
                  </a:path>
                </a:pathLst>
              </a:custGeom>
              <a:solidFill>
                <a:srgbClr val="21AAD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01" name="Freeform 147">
                <a:extLst>
                  <a:ext uri="{FF2B5EF4-FFF2-40B4-BE49-F238E27FC236}">
                    <a16:creationId xmlns:a16="http://schemas.microsoft.com/office/drawing/2014/main" id="{751FD05D-8644-4DB3-BA43-60931298763B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207" y="1006"/>
                <a:ext cx="1273" cy="1104"/>
              </a:xfrm>
              <a:custGeom>
                <a:avLst/>
                <a:gdLst>
                  <a:gd name="T0" fmla="*/ 861 w 1202"/>
                  <a:gd name="T1" fmla="*/ 438 h 1043"/>
                  <a:gd name="T2" fmla="*/ 953 w 1202"/>
                  <a:gd name="T3" fmla="*/ 610 h 1043"/>
                  <a:gd name="T4" fmla="*/ 1037 w 1202"/>
                  <a:gd name="T5" fmla="*/ 781 h 1043"/>
                  <a:gd name="T6" fmla="*/ 1155 w 1202"/>
                  <a:gd name="T7" fmla="*/ 838 h 1043"/>
                  <a:gd name="T8" fmla="*/ 1201 w 1202"/>
                  <a:gd name="T9" fmla="*/ 720 h 1043"/>
                  <a:gd name="T10" fmla="*/ 1169 w 1202"/>
                  <a:gd name="T11" fmla="*/ 522 h 1043"/>
                  <a:gd name="T12" fmla="*/ 1121 w 1202"/>
                  <a:gd name="T13" fmla="*/ 332 h 1043"/>
                  <a:gd name="T14" fmla="*/ 1045 w 1202"/>
                  <a:gd name="T15" fmla="*/ 176 h 1043"/>
                  <a:gd name="T16" fmla="*/ 917 w 1202"/>
                  <a:gd name="T17" fmla="*/ 59 h 1043"/>
                  <a:gd name="T18" fmla="*/ 758 w 1202"/>
                  <a:gd name="T19" fmla="*/ 14 h 1043"/>
                  <a:gd name="T20" fmla="*/ 589 w 1202"/>
                  <a:gd name="T21" fmla="*/ 72 h 1043"/>
                  <a:gd name="T22" fmla="*/ 393 w 1202"/>
                  <a:gd name="T23" fmla="*/ 113 h 1043"/>
                  <a:gd name="T24" fmla="*/ 215 w 1202"/>
                  <a:gd name="T25" fmla="*/ 148 h 1043"/>
                  <a:gd name="T26" fmla="*/ 27 w 1202"/>
                  <a:gd name="T27" fmla="*/ 412 h 1043"/>
                  <a:gd name="T28" fmla="*/ 51 w 1202"/>
                  <a:gd name="T29" fmla="*/ 803 h 1043"/>
                  <a:gd name="T30" fmla="*/ 107 w 1202"/>
                  <a:gd name="T31" fmla="*/ 970 h 1043"/>
                  <a:gd name="T32" fmla="*/ 217 w 1202"/>
                  <a:gd name="T33" fmla="*/ 1022 h 1043"/>
                  <a:gd name="T34" fmla="*/ 270 w 1202"/>
                  <a:gd name="T35" fmla="*/ 894 h 1043"/>
                  <a:gd name="T36" fmla="*/ 263 w 1202"/>
                  <a:gd name="T37" fmla="*/ 696 h 1043"/>
                  <a:gd name="T38" fmla="*/ 276 w 1202"/>
                  <a:gd name="T39" fmla="*/ 583 h 1043"/>
                  <a:gd name="T40" fmla="*/ 266 w 1202"/>
                  <a:gd name="T41" fmla="*/ 580 h 1043"/>
                  <a:gd name="T42" fmla="*/ 255 w 1202"/>
                  <a:gd name="T43" fmla="*/ 942 h 1043"/>
                  <a:gd name="T44" fmla="*/ 222 w 1202"/>
                  <a:gd name="T45" fmla="*/ 1007 h 1043"/>
                  <a:gd name="T46" fmla="*/ 142 w 1202"/>
                  <a:gd name="T47" fmla="*/ 996 h 1043"/>
                  <a:gd name="T48" fmla="*/ 69 w 1202"/>
                  <a:gd name="T49" fmla="*/ 845 h 1043"/>
                  <a:gd name="T50" fmla="*/ 36 w 1202"/>
                  <a:gd name="T51" fmla="*/ 659 h 1043"/>
                  <a:gd name="T52" fmla="*/ 27 w 1202"/>
                  <a:gd name="T53" fmla="*/ 481 h 1043"/>
                  <a:gd name="T54" fmla="*/ 170 w 1202"/>
                  <a:gd name="T55" fmla="*/ 186 h 1043"/>
                  <a:gd name="T56" fmla="*/ 504 w 1202"/>
                  <a:gd name="T57" fmla="*/ 109 h 1043"/>
                  <a:gd name="T58" fmla="*/ 826 w 1202"/>
                  <a:gd name="T59" fmla="*/ 30 h 1043"/>
                  <a:gd name="T60" fmla="*/ 1069 w 1202"/>
                  <a:gd name="T61" fmla="*/ 232 h 1043"/>
                  <a:gd name="T62" fmla="*/ 1169 w 1202"/>
                  <a:gd name="T63" fmla="*/ 573 h 1043"/>
                  <a:gd name="T64" fmla="*/ 1186 w 1202"/>
                  <a:gd name="T65" fmla="*/ 669 h 1043"/>
                  <a:gd name="T66" fmla="*/ 1188 w 1202"/>
                  <a:gd name="T67" fmla="*/ 770 h 1043"/>
                  <a:gd name="T68" fmla="*/ 1142 w 1202"/>
                  <a:gd name="T69" fmla="*/ 830 h 1043"/>
                  <a:gd name="T70" fmla="*/ 1050 w 1202"/>
                  <a:gd name="T71" fmla="*/ 781 h 1043"/>
                  <a:gd name="T72" fmla="*/ 968 w 1202"/>
                  <a:gd name="T73" fmla="*/ 619 h 1043"/>
                  <a:gd name="T74" fmla="*/ 867 w 1202"/>
                  <a:gd name="T75" fmla="*/ 435 h 1043"/>
                  <a:gd name="T76" fmla="*/ 861 w 1202"/>
                  <a:gd name="T77" fmla="*/ 438 h 10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1202" h="1043">
                    <a:moveTo>
                      <a:pt x="861" y="438"/>
                    </a:moveTo>
                    <a:cubicBezTo>
                      <a:pt x="890" y="497"/>
                      <a:pt x="924" y="553"/>
                      <a:pt x="953" y="610"/>
                    </a:cubicBezTo>
                    <a:cubicBezTo>
                      <a:pt x="982" y="666"/>
                      <a:pt x="1001" y="729"/>
                      <a:pt x="1037" y="781"/>
                    </a:cubicBezTo>
                    <a:cubicBezTo>
                      <a:pt x="1062" y="819"/>
                      <a:pt x="1107" y="860"/>
                      <a:pt x="1155" y="838"/>
                    </a:cubicBezTo>
                    <a:cubicBezTo>
                      <a:pt x="1198" y="818"/>
                      <a:pt x="1202" y="760"/>
                      <a:pt x="1201" y="720"/>
                    </a:cubicBezTo>
                    <a:cubicBezTo>
                      <a:pt x="1198" y="654"/>
                      <a:pt x="1183" y="587"/>
                      <a:pt x="1169" y="522"/>
                    </a:cubicBezTo>
                    <a:cubicBezTo>
                      <a:pt x="1156" y="458"/>
                      <a:pt x="1141" y="394"/>
                      <a:pt x="1121" y="332"/>
                    </a:cubicBezTo>
                    <a:cubicBezTo>
                      <a:pt x="1103" y="277"/>
                      <a:pt x="1080" y="223"/>
                      <a:pt x="1045" y="176"/>
                    </a:cubicBezTo>
                    <a:cubicBezTo>
                      <a:pt x="1011" y="129"/>
                      <a:pt x="966" y="89"/>
                      <a:pt x="917" y="59"/>
                    </a:cubicBezTo>
                    <a:cubicBezTo>
                      <a:pt x="869" y="30"/>
                      <a:pt x="815" y="7"/>
                      <a:pt x="758" y="14"/>
                    </a:cubicBezTo>
                    <a:cubicBezTo>
                      <a:pt x="698" y="20"/>
                      <a:pt x="644" y="49"/>
                      <a:pt x="589" y="72"/>
                    </a:cubicBezTo>
                    <a:cubicBezTo>
                      <a:pt x="526" y="97"/>
                      <a:pt x="460" y="108"/>
                      <a:pt x="393" y="113"/>
                    </a:cubicBezTo>
                    <a:cubicBezTo>
                      <a:pt x="332" y="118"/>
                      <a:pt x="271" y="123"/>
                      <a:pt x="215" y="148"/>
                    </a:cubicBezTo>
                    <a:cubicBezTo>
                      <a:pt x="112" y="194"/>
                      <a:pt x="49" y="305"/>
                      <a:pt x="27" y="412"/>
                    </a:cubicBezTo>
                    <a:cubicBezTo>
                      <a:pt x="0" y="541"/>
                      <a:pt x="27" y="676"/>
                      <a:pt x="51" y="803"/>
                    </a:cubicBezTo>
                    <a:cubicBezTo>
                      <a:pt x="61" y="860"/>
                      <a:pt x="76" y="921"/>
                      <a:pt x="107" y="970"/>
                    </a:cubicBezTo>
                    <a:cubicBezTo>
                      <a:pt x="128" y="1004"/>
                      <a:pt x="175" y="1043"/>
                      <a:pt x="217" y="1022"/>
                    </a:cubicBezTo>
                    <a:cubicBezTo>
                      <a:pt x="261" y="1000"/>
                      <a:pt x="267" y="937"/>
                      <a:pt x="270" y="894"/>
                    </a:cubicBezTo>
                    <a:cubicBezTo>
                      <a:pt x="274" y="828"/>
                      <a:pt x="264" y="762"/>
                      <a:pt x="263" y="696"/>
                    </a:cubicBezTo>
                    <a:cubicBezTo>
                      <a:pt x="263" y="658"/>
                      <a:pt x="266" y="621"/>
                      <a:pt x="276" y="583"/>
                    </a:cubicBezTo>
                    <a:cubicBezTo>
                      <a:pt x="278" y="577"/>
                      <a:pt x="268" y="573"/>
                      <a:pt x="266" y="580"/>
                    </a:cubicBezTo>
                    <a:cubicBezTo>
                      <a:pt x="238" y="700"/>
                      <a:pt x="278" y="821"/>
                      <a:pt x="255" y="942"/>
                    </a:cubicBezTo>
                    <a:cubicBezTo>
                      <a:pt x="250" y="965"/>
                      <a:pt x="242" y="992"/>
                      <a:pt x="222" y="1007"/>
                    </a:cubicBezTo>
                    <a:cubicBezTo>
                      <a:pt x="196" y="1028"/>
                      <a:pt x="164" y="1015"/>
                      <a:pt x="142" y="996"/>
                    </a:cubicBezTo>
                    <a:cubicBezTo>
                      <a:pt x="99" y="961"/>
                      <a:pt x="82" y="896"/>
                      <a:pt x="69" y="845"/>
                    </a:cubicBezTo>
                    <a:cubicBezTo>
                      <a:pt x="54" y="784"/>
                      <a:pt x="43" y="721"/>
                      <a:pt x="36" y="659"/>
                    </a:cubicBezTo>
                    <a:cubicBezTo>
                      <a:pt x="28" y="601"/>
                      <a:pt x="23" y="540"/>
                      <a:pt x="27" y="481"/>
                    </a:cubicBezTo>
                    <a:cubicBezTo>
                      <a:pt x="35" y="370"/>
                      <a:pt x="80" y="256"/>
                      <a:pt x="170" y="186"/>
                    </a:cubicBezTo>
                    <a:cubicBezTo>
                      <a:pt x="265" y="113"/>
                      <a:pt x="393" y="130"/>
                      <a:pt x="504" y="109"/>
                    </a:cubicBezTo>
                    <a:cubicBezTo>
                      <a:pt x="612" y="88"/>
                      <a:pt x="712" y="0"/>
                      <a:pt x="826" y="30"/>
                    </a:cubicBezTo>
                    <a:cubicBezTo>
                      <a:pt x="927" y="56"/>
                      <a:pt x="1020" y="141"/>
                      <a:pt x="1069" y="232"/>
                    </a:cubicBezTo>
                    <a:cubicBezTo>
                      <a:pt x="1124" y="336"/>
                      <a:pt x="1147" y="458"/>
                      <a:pt x="1169" y="573"/>
                    </a:cubicBezTo>
                    <a:cubicBezTo>
                      <a:pt x="1175" y="605"/>
                      <a:pt x="1181" y="637"/>
                      <a:pt x="1186" y="669"/>
                    </a:cubicBezTo>
                    <a:cubicBezTo>
                      <a:pt x="1190" y="702"/>
                      <a:pt x="1195" y="738"/>
                      <a:pt x="1188" y="770"/>
                    </a:cubicBezTo>
                    <a:cubicBezTo>
                      <a:pt x="1182" y="796"/>
                      <a:pt x="1169" y="823"/>
                      <a:pt x="1142" y="830"/>
                    </a:cubicBezTo>
                    <a:cubicBezTo>
                      <a:pt x="1103" y="841"/>
                      <a:pt x="1071" y="810"/>
                      <a:pt x="1050" y="781"/>
                    </a:cubicBezTo>
                    <a:cubicBezTo>
                      <a:pt x="1015" y="732"/>
                      <a:pt x="996" y="673"/>
                      <a:pt x="968" y="619"/>
                    </a:cubicBezTo>
                    <a:cubicBezTo>
                      <a:pt x="936" y="557"/>
                      <a:pt x="899" y="497"/>
                      <a:pt x="867" y="435"/>
                    </a:cubicBezTo>
                    <a:cubicBezTo>
                      <a:pt x="865" y="431"/>
                      <a:pt x="859" y="434"/>
                      <a:pt x="861" y="438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02" name="Freeform 148">
                <a:extLst>
                  <a:ext uri="{FF2B5EF4-FFF2-40B4-BE49-F238E27FC236}">
                    <a16:creationId xmlns:a16="http://schemas.microsoft.com/office/drawing/2014/main" id="{6A8D45E2-A323-4EB0-AEC0-ABCC093215C4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380" y="1417"/>
                <a:ext cx="810" cy="224"/>
              </a:xfrm>
              <a:custGeom>
                <a:avLst/>
                <a:gdLst>
                  <a:gd name="T0" fmla="*/ 2 w 765"/>
                  <a:gd name="T1" fmla="*/ 145 h 211"/>
                  <a:gd name="T2" fmla="*/ 78 w 765"/>
                  <a:gd name="T3" fmla="*/ 190 h 211"/>
                  <a:gd name="T4" fmla="*/ 140 w 765"/>
                  <a:gd name="T5" fmla="*/ 208 h 211"/>
                  <a:gd name="T6" fmla="*/ 183 w 765"/>
                  <a:gd name="T7" fmla="*/ 210 h 211"/>
                  <a:gd name="T8" fmla="*/ 289 w 765"/>
                  <a:gd name="T9" fmla="*/ 199 h 211"/>
                  <a:gd name="T10" fmla="*/ 386 w 765"/>
                  <a:gd name="T11" fmla="*/ 185 h 211"/>
                  <a:gd name="T12" fmla="*/ 487 w 765"/>
                  <a:gd name="T13" fmla="*/ 155 h 211"/>
                  <a:gd name="T14" fmla="*/ 586 w 765"/>
                  <a:gd name="T15" fmla="*/ 117 h 211"/>
                  <a:gd name="T16" fmla="*/ 764 w 765"/>
                  <a:gd name="T17" fmla="*/ 6 h 211"/>
                  <a:gd name="T18" fmla="*/ 760 w 765"/>
                  <a:gd name="T19" fmla="*/ 2 h 211"/>
                  <a:gd name="T20" fmla="*/ 714 w 765"/>
                  <a:gd name="T21" fmla="*/ 39 h 211"/>
                  <a:gd name="T22" fmla="*/ 669 w 765"/>
                  <a:gd name="T23" fmla="*/ 66 h 211"/>
                  <a:gd name="T24" fmla="*/ 582 w 765"/>
                  <a:gd name="T25" fmla="*/ 109 h 211"/>
                  <a:gd name="T26" fmla="*/ 485 w 765"/>
                  <a:gd name="T27" fmla="*/ 147 h 211"/>
                  <a:gd name="T28" fmla="*/ 391 w 765"/>
                  <a:gd name="T29" fmla="*/ 175 h 211"/>
                  <a:gd name="T30" fmla="*/ 290 w 765"/>
                  <a:gd name="T31" fmla="*/ 190 h 211"/>
                  <a:gd name="T32" fmla="*/ 198 w 765"/>
                  <a:gd name="T33" fmla="*/ 201 h 211"/>
                  <a:gd name="T34" fmla="*/ 148 w 765"/>
                  <a:gd name="T35" fmla="*/ 201 h 211"/>
                  <a:gd name="T36" fmla="*/ 100 w 765"/>
                  <a:gd name="T37" fmla="*/ 188 h 211"/>
                  <a:gd name="T38" fmla="*/ 56 w 765"/>
                  <a:gd name="T39" fmla="*/ 175 h 211"/>
                  <a:gd name="T40" fmla="*/ 4 w 765"/>
                  <a:gd name="T41" fmla="*/ 142 h 211"/>
                  <a:gd name="T42" fmla="*/ 2 w 765"/>
                  <a:gd name="T43" fmla="*/ 145 h 2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765" h="211">
                    <a:moveTo>
                      <a:pt x="2" y="145"/>
                    </a:moveTo>
                    <a:cubicBezTo>
                      <a:pt x="24" y="165"/>
                      <a:pt x="49" y="183"/>
                      <a:pt x="78" y="190"/>
                    </a:cubicBezTo>
                    <a:cubicBezTo>
                      <a:pt x="99" y="196"/>
                      <a:pt x="119" y="204"/>
                      <a:pt x="140" y="208"/>
                    </a:cubicBezTo>
                    <a:cubicBezTo>
                      <a:pt x="155" y="211"/>
                      <a:pt x="169" y="210"/>
                      <a:pt x="183" y="210"/>
                    </a:cubicBezTo>
                    <a:cubicBezTo>
                      <a:pt x="219" y="209"/>
                      <a:pt x="254" y="203"/>
                      <a:pt x="289" y="199"/>
                    </a:cubicBezTo>
                    <a:cubicBezTo>
                      <a:pt x="322" y="196"/>
                      <a:pt x="354" y="191"/>
                      <a:pt x="386" y="185"/>
                    </a:cubicBezTo>
                    <a:cubicBezTo>
                      <a:pt x="421" y="179"/>
                      <a:pt x="454" y="168"/>
                      <a:pt x="487" y="155"/>
                    </a:cubicBezTo>
                    <a:cubicBezTo>
                      <a:pt x="521" y="143"/>
                      <a:pt x="554" y="132"/>
                      <a:pt x="586" y="117"/>
                    </a:cubicBezTo>
                    <a:cubicBezTo>
                      <a:pt x="647" y="88"/>
                      <a:pt x="721" y="61"/>
                      <a:pt x="764" y="6"/>
                    </a:cubicBezTo>
                    <a:cubicBezTo>
                      <a:pt x="765" y="4"/>
                      <a:pt x="762" y="0"/>
                      <a:pt x="760" y="2"/>
                    </a:cubicBezTo>
                    <a:cubicBezTo>
                      <a:pt x="743" y="13"/>
                      <a:pt x="730" y="28"/>
                      <a:pt x="714" y="39"/>
                    </a:cubicBezTo>
                    <a:cubicBezTo>
                      <a:pt x="700" y="50"/>
                      <a:pt x="685" y="58"/>
                      <a:pt x="669" y="66"/>
                    </a:cubicBezTo>
                    <a:cubicBezTo>
                      <a:pt x="640" y="81"/>
                      <a:pt x="611" y="95"/>
                      <a:pt x="582" y="109"/>
                    </a:cubicBezTo>
                    <a:cubicBezTo>
                      <a:pt x="550" y="124"/>
                      <a:pt x="518" y="135"/>
                      <a:pt x="485" y="147"/>
                    </a:cubicBezTo>
                    <a:cubicBezTo>
                      <a:pt x="454" y="158"/>
                      <a:pt x="424" y="169"/>
                      <a:pt x="391" y="175"/>
                    </a:cubicBezTo>
                    <a:cubicBezTo>
                      <a:pt x="357" y="182"/>
                      <a:pt x="324" y="187"/>
                      <a:pt x="290" y="190"/>
                    </a:cubicBezTo>
                    <a:cubicBezTo>
                      <a:pt x="259" y="194"/>
                      <a:pt x="229" y="200"/>
                      <a:pt x="198" y="201"/>
                    </a:cubicBezTo>
                    <a:cubicBezTo>
                      <a:pt x="182" y="202"/>
                      <a:pt x="165" y="203"/>
                      <a:pt x="148" y="201"/>
                    </a:cubicBezTo>
                    <a:cubicBezTo>
                      <a:pt x="132" y="199"/>
                      <a:pt x="116" y="193"/>
                      <a:pt x="100" y="188"/>
                    </a:cubicBezTo>
                    <a:cubicBezTo>
                      <a:pt x="86" y="183"/>
                      <a:pt x="70" y="182"/>
                      <a:pt x="56" y="175"/>
                    </a:cubicBezTo>
                    <a:cubicBezTo>
                      <a:pt x="38" y="166"/>
                      <a:pt x="21" y="153"/>
                      <a:pt x="4" y="142"/>
                    </a:cubicBezTo>
                    <a:cubicBezTo>
                      <a:pt x="2" y="141"/>
                      <a:pt x="0" y="144"/>
                      <a:pt x="2" y="145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03" name="Freeform 149">
                <a:extLst>
                  <a:ext uri="{FF2B5EF4-FFF2-40B4-BE49-F238E27FC236}">
                    <a16:creationId xmlns:a16="http://schemas.microsoft.com/office/drawing/2014/main" id="{55A51E89-C6A2-4B53-87D4-798BC3BF1800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153" y="1448"/>
                <a:ext cx="210" cy="430"/>
              </a:xfrm>
              <a:custGeom>
                <a:avLst/>
                <a:gdLst>
                  <a:gd name="T0" fmla="*/ 1 w 198"/>
                  <a:gd name="T1" fmla="*/ 3 h 406"/>
                  <a:gd name="T2" fmla="*/ 48 w 198"/>
                  <a:gd name="T3" fmla="*/ 93 h 406"/>
                  <a:gd name="T4" fmla="*/ 81 w 198"/>
                  <a:gd name="T5" fmla="*/ 140 h 406"/>
                  <a:gd name="T6" fmla="*/ 112 w 198"/>
                  <a:gd name="T7" fmla="*/ 208 h 406"/>
                  <a:gd name="T8" fmla="*/ 140 w 198"/>
                  <a:gd name="T9" fmla="*/ 322 h 406"/>
                  <a:gd name="T10" fmla="*/ 191 w 198"/>
                  <a:gd name="T11" fmla="*/ 404 h 406"/>
                  <a:gd name="T12" fmla="*/ 195 w 198"/>
                  <a:gd name="T13" fmla="*/ 397 h 406"/>
                  <a:gd name="T14" fmla="*/ 113 w 198"/>
                  <a:gd name="T15" fmla="*/ 193 h 406"/>
                  <a:gd name="T16" fmla="*/ 92 w 198"/>
                  <a:gd name="T17" fmla="*/ 149 h 406"/>
                  <a:gd name="T18" fmla="*/ 60 w 198"/>
                  <a:gd name="T19" fmla="*/ 105 h 406"/>
                  <a:gd name="T20" fmla="*/ 32 w 198"/>
                  <a:gd name="T21" fmla="*/ 59 h 406"/>
                  <a:gd name="T22" fmla="*/ 4 w 198"/>
                  <a:gd name="T23" fmla="*/ 2 h 406"/>
                  <a:gd name="T24" fmla="*/ 1 w 198"/>
                  <a:gd name="T25" fmla="*/ 3 h 4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98" h="406">
                    <a:moveTo>
                      <a:pt x="1" y="3"/>
                    </a:moveTo>
                    <a:cubicBezTo>
                      <a:pt x="9" y="36"/>
                      <a:pt x="31" y="63"/>
                      <a:pt x="48" y="93"/>
                    </a:cubicBezTo>
                    <a:cubicBezTo>
                      <a:pt x="58" y="109"/>
                      <a:pt x="70" y="124"/>
                      <a:pt x="81" y="140"/>
                    </a:cubicBezTo>
                    <a:cubicBezTo>
                      <a:pt x="94" y="160"/>
                      <a:pt x="104" y="185"/>
                      <a:pt x="112" y="208"/>
                    </a:cubicBezTo>
                    <a:cubicBezTo>
                      <a:pt x="125" y="245"/>
                      <a:pt x="128" y="284"/>
                      <a:pt x="140" y="322"/>
                    </a:cubicBezTo>
                    <a:cubicBezTo>
                      <a:pt x="150" y="351"/>
                      <a:pt x="163" y="388"/>
                      <a:pt x="191" y="404"/>
                    </a:cubicBezTo>
                    <a:cubicBezTo>
                      <a:pt x="195" y="406"/>
                      <a:pt x="198" y="400"/>
                      <a:pt x="195" y="397"/>
                    </a:cubicBezTo>
                    <a:cubicBezTo>
                      <a:pt x="137" y="345"/>
                      <a:pt x="142" y="260"/>
                      <a:pt x="113" y="193"/>
                    </a:cubicBezTo>
                    <a:cubicBezTo>
                      <a:pt x="106" y="178"/>
                      <a:pt x="100" y="163"/>
                      <a:pt x="92" y="149"/>
                    </a:cubicBezTo>
                    <a:cubicBezTo>
                      <a:pt x="82" y="134"/>
                      <a:pt x="70" y="120"/>
                      <a:pt x="60" y="105"/>
                    </a:cubicBezTo>
                    <a:cubicBezTo>
                      <a:pt x="50" y="90"/>
                      <a:pt x="42" y="74"/>
                      <a:pt x="32" y="59"/>
                    </a:cubicBezTo>
                    <a:cubicBezTo>
                      <a:pt x="21" y="41"/>
                      <a:pt x="9" y="23"/>
                      <a:pt x="4" y="2"/>
                    </a:cubicBezTo>
                    <a:cubicBezTo>
                      <a:pt x="3" y="0"/>
                      <a:pt x="0" y="1"/>
                      <a:pt x="1" y="3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04" name="Freeform 150">
                <a:extLst>
                  <a:ext uri="{FF2B5EF4-FFF2-40B4-BE49-F238E27FC236}">
                    <a16:creationId xmlns:a16="http://schemas.microsoft.com/office/drawing/2014/main" id="{0CFCB16F-9007-453D-8C7F-72015AE20BFF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406" y="1602"/>
                <a:ext cx="49" cy="492"/>
              </a:xfrm>
              <a:custGeom>
                <a:avLst/>
                <a:gdLst>
                  <a:gd name="T0" fmla="*/ 28 w 46"/>
                  <a:gd name="T1" fmla="*/ 4 h 465"/>
                  <a:gd name="T2" fmla="*/ 33 w 46"/>
                  <a:gd name="T3" fmla="*/ 70 h 465"/>
                  <a:gd name="T4" fmla="*/ 29 w 46"/>
                  <a:gd name="T5" fmla="*/ 130 h 465"/>
                  <a:gd name="T6" fmla="*/ 35 w 46"/>
                  <a:gd name="T7" fmla="*/ 249 h 465"/>
                  <a:gd name="T8" fmla="*/ 37 w 46"/>
                  <a:gd name="T9" fmla="*/ 364 h 465"/>
                  <a:gd name="T10" fmla="*/ 3 w 46"/>
                  <a:gd name="T11" fmla="*/ 459 h 465"/>
                  <a:gd name="T12" fmla="*/ 8 w 46"/>
                  <a:gd name="T13" fmla="*/ 464 h 465"/>
                  <a:gd name="T14" fmla="*/ 41 w 46"/>
                  <a:gd name="T15" fmla="*/ 393 h 465"/>
                  <a:gd name="T16" fmla="*/ 41 w 46"/>
                  <a:gd name="T17" fmla="*/ 256 h 465"/>
                  <a:gd name="T18" fmla="*/ 34 w 46"/>
                  <a:gd name="T19" fmla="*/ 108 h 465"/>
                  <a:gd name="T20" fmla="*/ 41 w 46"/>
                  <a:gd name="T21" fmla="*/ 30 h 465"/>
                  <a:gd name="T22" fmla="*/ 30 w 46"/>
                  <a:gd name="T23" fmla="*/ 1 h 465"/>
                  <a:gd name="T24" fmla="*/ 28 w 46"/>
                  <a:gd name="T25" fmla="*/ 4 h 4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46" h="465">
                    <a:moveTo>
                      <a:pt x="28" y="4"/>
                    </a:moveTo>
                    <a:cubicBezTo>
                      <a:pt x="43" y="19"/>
                      <a:pt x="35" y="51"/>
                      <a:pt x="33" y="70"/>
                    </a:cubicBezTo>
                    <a:cubicBezTo>
                      <a:pt x="30" y="90"/>
                      <a:pt x="30" y="110"/>
                      <a:pt x="29" y="130"/>
                    </a:cubicBezTo>
                    <a:cubicBezTo>
                      <a:pt x="29" y="170"/>
                      <a:pt x="32" y="209"/>
                      <a:pt x="35" y="249"/>
                    </a:cubicBezTo>
                    <a:cubicBezTo>
                      <a:pt x="38" y="287"/>
                      <a:pt x="40" y="326"/>
                      <a:pt x="37" y="364"/>
                    </a:cubicBezTo>
                    <a:cubicBezTo>
                      <a:pt x="35" y="401"/>
                      <a:pt x="31" y="433"/>
                      <a:pt x="3" y="459"/>
                    </a:cubicBezTo>
                    <a:cubicBezTo>
                      <a:pt x="0" y="461"/>
                      <a:pt x="5" y="465"/>
                      <a:pt x="8" y="464"/>
                    </a:cubicBezTo>
                    <a:cubicBezTo>
                      <a:pt x="31" y="451"/>
                      <a:pt x="38" y="417"/>
                      <a:pt x="41" y="393"/>
                    </a:cubicBezTo>
                    <a:cubicBezTo>
                      <a:pt x="46" y="347"/>
                      <a:pt x="44" y="301"/>
                      <a:pt x="41" y="256"/>
                    </a:cubicBezTo>
                    <a:cubicBezTo>
                      <a:pt x="37" y="206"/>
                      <a:pt x="32" y="157"/>
                      <a:pt x="34" y="108"/>
                    </a:cubicBezTo>
                    <a:cubicBezTo>
                      <a:pt x="35" y="82"/>
                      <a:pt x="42" y="56"/>
                      <a:pt x="41" y="30"/>
                    </a:cubicBezTo>
                    <a:cubicBezTo>
                      <a:pt x="41" y="19"/>
                      <a:pt x="39" y="8"/>
                      <a:pt x="30" y="1"/>
                    </a:cubicBezTo>
                    <a:cubicBezTo>
                      <a:pt x="28" y="0"/>
                      <a:pt x="26" y="2"/>
                      <a:pt x="28" y="4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05" name="Freeform 151">
                <a:extLst>
                  <a:ext uri="{FF2B5EF4-FFF2-40B4-BE49-F238E27FC236}">
                    <a16:creationId xmlns:a16="http://schemas.microsoft.com/office/drawing/2014/main" id="{F30A0CB2-84B0-4805-8FC7-A38ACB14E0DC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177" y="1523"/>
                <a:ext cx="43" cy="78"/>
              </a:xfrm>
              <a:custGeom>
                <a:avLst/>
                <a:gdLst>
                  <a:gd name="T0" fmla="*/ 40 w 40"/>
                  <a:gd name="T1" fmla="*/ 73 h 73"/>
                  <a:gd name="T2" fmla="*/ 27 w 40"/>
                  <a:gd name="T3" fmla="*/ 40 h 73"/>
                  <a:gd name="T4" fmla="*/ 2 w 40"/>
                  <a:gd name="T5" fmla="*/ 0 h 73"/>
                  <a:gd name="T6" fmla="*/ 1 w 40"/>
                  <a:gd name="T7" fmla="*/ 1 h 73"/>
                  <a:gd name="T8" fmla="*/ 21 w 40"/>
                  <a:gd name="T9" fmla="*/ 38 h 73"/>
                  <a:gd name="T10" fmla="*/ 40 w 40"/>
                  <a:gd name="T11" fmla="*/ 73 h 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0" h="73">
                    <a:moveTo>
                      <a:pt x="40" y="73"/>
                    </a:moveTo>
                    <a:cubicBezTo>
                      <a:pt x="38" y="60"/>
                      <a:pt x="34" y="51"/>
                      <a:pt x="27" y="40"/>
                    </a:cubicBezTo>
                    <a:cubicBezTo>
                      <a:pt x="19" y="26"/>
                      <a:pt x="13" y="12"/>
                      <a:pt x="2" y="0"/>
                    </a:cubicBezTo>
                    <a:cubicBezTo>
                      <a:pt x="1" y="0"/>
                      <a:pt x="0" y="0"/>
                      <a:pt x="1" y="1"/>
                    </a:cubicBezTo>
                    <a:cubicBezTo>
                      <a:pt x="10" y="13"/>
                      <a:pt x="15" y="25"/>
                      <a:pt x="21" y="38"/>
                    </a:cubicBezTo>
                    <a:cubicBezTo>
                      <a:pt x="27" y="50"/>
                      <a:pt x="35" y="60"/>
                      <a:pt x="40" y="73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06" name="Freeform 152">
                <a:extLst>
                  <a:ext uri="{FF2B5EF4-FFF2-40B4-BE49-F238E27FC236}">
                    <a16:creationId xmlns:a16="http://schemas.microsoft.com/office/drawing/2014/main" id="{573F5E0D-B322-4EE5-9618-5752B6DC5F63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158" y="1497"/>
                <a:ext cx="8" cy="12"/>
              </a:xfrm>
              <a:custGeom>
                <a:avLst/>
                <a:gdLst>
                  <a:gd name="T0" fmla="*/ 7 w 7"/>
                  <a:gd name="T1" fmla="*/ 12 h 12"/>
                  <a:gd name="T2" fmla="*/ 0 w 7"/>
                  <a:gd name="T3" fmla="*/ 0 h 12"/>
                  <a:gd name="T4" fmla="*/ 0 w 7"/>
                  <a:gd name="T5" fmla="*/ 0 h 12"/>
                  <a:gd name="T6" fmla="*/ 7 w 7"/>
                  <a:gd name="T7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7" h="12">
                    <a:moveTo>
                      <a:pt x="7" y="12"/>
                    </a:moveTo>
                    <a:cubicBezTo>
                      <a:pt x="6" y="7"/>
                      <a:pt x="3" y="3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2" y="4"/>
                      <a:pt x="6" y="7"/>
                      <a:pt x="7" y="12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07" name="Freeform 153">
                <a:extLst>
                  <a:ext uri="{FF2B5EF4-FFF2-40B4-BE49-F238E27FC236}">
                    <a16:creationId xmlns:a16="http://schemas.microsoft.com/office/drawing/2014/main" id="{501F5AF0-09CB-459D-8B84-C5E7FEFBBBC4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139" y="1469"/>
                <a:ext cx="12" cy="17"/>
              </a:xfrm>
              <a:custGeom>
                <a:avLst/>
                <a:gdLst>
                  <a:gd name="T0" fmla="*/ 11 w 11"/>
                  <a:gd name="T1" fmla="*/ 16 h 16"/>
                  <a:gd name="T2" fmla="*/ 2 w 11"/>
                  <a:gd name="T3" fmla="*/ 1 h 16"/>
                  <a:gd name="T4" fmla="*/ 0 w 11"/>
                  <a:gd name="T5" fmla="*/ 2 h 16"/>
                  <a:gd name="T6" fmla="*/ 11 w 11"/>
                  <a:gd name="T7" fmla="*/ 16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1" h="16">
                    <a:moveTo>
                      <a:pt x="11" y="16"/>
                    </a:moveTo>
                    <a:cubicBezTo>
                      <a:pt x="8" y="11"/>
                      <a:pt x="5" y="6"/>
                      <a:pt x="2" y="1"/>
                    </a:cubicBezTo>
                    <a:cubicBezTo>
                      <a:pt x="1" y="0"/>
                      <a:pt x="0" y="1"/>
                      <a:pt x="0" y="2"/>
                    </a:cubicBezTo>
                    <a:cubicBezTo>
                      <a:pt x="4" y="7"/>
                      <a:pt x="8" y="11"/>
                      <a:pt x="11" y="16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08" name="Freeform 154">
                <a:extLst>
                  <a:ext uri="{FF2B5EF4-FFF2-40B4-BE49-F238E27FC236}">
                    <a16:creationId xmlns:a16="http://schemas.microsoft.com/office/drawing/2014/main" id="{1660A782-290F-4907-A1AA-84E01F630B59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224" y="1616"/>
                <a:ext cx="11" cy="13"/>
              </a:xfrm>
              <a:custGeom>
                <a:avLst/>
                <a:gdLst>
                  <a:gd name="T0" fmla="*/ 1 w 10"/>
                  <a:gd name="T1" fmla="*/ 3 h 12"/>
                  <a:gd name="T2" fmla="*/ 5 w 10"/>
                  <a:gd name="T3" fmla="*/ 6 h 12"/>
                  <a:gd name="T4" fmla="*/ 7 w 10"/>
                  <a:gd name="T5" fmla="*/ 11 h 12"/>
                  <a:gd name="T6" fmla="*/ 10 w 10"/>
                  <a:gd name="T7" fmla="*/ 10 h 12"/>
                  <a:gd name="T8" fmla="*/ 3 w 10"/>
                  <a:gd name="T9" fmla="*/ 1 h 12"/>
                  <a:gd name="T10" fmla="*/ 1 w 10"/>
                  <a:gd name="T11" fmla="*/ 3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0" h="12">
                    <a:moveTo>
                      <a:pt x="1" y="3"/>
                    </a:moveTo>
                    <a:cubicBezTo>
                      <a:pt x="3" y="4"/>
                      <a:pt x="4" y="5"/>
                      <a:pt x="5" y="6"/>
                    </a:cubicBezTo>
                    <a:cubicBezTo>
                      <a:pt x="6" y="7"/>
                      <a:pt x="7" y="9"/>
                      <a:pt x="7" y="11"/>
                    </a:cubicBezTo>
                    <a:cubicBezTo>
                      <a:pt x="8" y="12"/>
                      <a:pt x="10" y="11"/>
                      <a:pt x="10" y="10"/>
                    </a:cubicBezTo>
                    <a:cubicBezTo>
                      <a:pt x="9" y="6"/>
                      <a:pt x="6" y="3"/>
                      <a:pt x="3" y="1"/>
                    </a:cubicBezTo>
                    <a:cubicBezTo>
                      <a:pt x="1" y="0"/>
                      <a:pt x="0" y="2"/>
                      <a:pt x="1" y="3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09" name="Freeform 155">
                <a:extLst>
                  <a:ext uri="{FF2B5EF4-FFF2-40B4-BE49-F238E27FC236}">
                    <a16:creationId xmlns:a16="http://schemas.microsoft.com/office/drawing/2014/main" id="{02504D16-7553-4C56-9BA2-9FA7B4F0DDE3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457" y="1627"/>
                <a:ext cx="15" cy="257"/>
              </a:xfrm>
              <a:custGeom>
                <a:avLst/>
                <a:gdLst>
                  <a:gd name="T0" fmla="*/ 13 w 14"/>
                  <a:gd name="T1" fmla="*/ 242 h 243"/>
                  <a:gd name="T2" fmla="*/ 2 w 14"/>
                  <a:gd name="T3" fmla="*/ 115 h 243"/>
                  <a:gd name="T4" fmla="*/ 7 w 14"/>
                  <a:gd name="T5" fmla="*/ 55 h 243"/>
                  <a:gd name="T6" fmla="*/ 13 w 14"/>
                  <a:gd name="T7" fmla="*/ 2 h 243"/>
                  <a:gd name="T8" fmla="*/ 10 w 14"/>
                  <a:gd name="T9" fmla="*/ 2 h 243"/>
                  <a:gd name="T10" fmla="*/ 1 w 14"/>
                  <a:gd name="T11" fmla="*/ 126 h 243"/>
                  <a:gd name="T12" fmla="*/ 12 w 14"/>
                  <a:gd name="T13" fmla="*/ 242 h 243"/>
                  <a:gd name="T14" fmla="*/ 13 w 14"/>
                  <a:gd name="T15" fmla="*/ 242 h 2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4" h="243">
                    <a:moveTo>
                      <a:pt x="13" y="242"/>
                    </a:moveTo>
                    <a:cubicBezTo>
                      <a:pt x="11" y="200"/>
                      <a:pt x="2" y="157"/>
                      <a:pt x="2" y="115"/>
                    </a:cubicBezTo>
                    <a:cubicBezTo>
                      <a:pt x="2" y="95"/>
                      <a:pt x="5" y="75"/>
                      <a:pt x="7" y="55"/>
                    </a:cubicBezTo>
                    <a:cubicBezTo>
                      <a:pt x="8" y="37"/>
                      <a:pt x="13" y="20"/>
                      <a:pt x="13" y="2"/>
                    </a:cubicBezTo>
                    <a:cubicBezTo>
                      <a:pt x="13" y="0"/>
                      <a:pt x="10" y="0"/>
                      <a:pt x="10" y="2"/>
                    </a:cubicBezTo>
                    <a:cubicBezTo>
                      <a:pt x="8" y="43"/>
                      <a:pt x="0" y="84"/>
                      <a:pt x="1" y="126"/>
                    </a:cubicBezTo>
                    <a:cubicBezTo>
                      <a:pt x="3" y="165"/>
                      <a:pt x="8" y="203"/>
                      <a:pt x="12" y="242"/>
                    </a:cubicBezTo>
                    <a:cubicBezTo>
                      <a:pt x="12" y="243"/>
                      <a:pt x="14" y="243"/>
                      <a:pt x="13" y="242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10" name="Freeform 156">
                <a:extLst>
                  <a:ext uri="{FF2B5EF4-FFF2-40B4-BE49-F238E27FC236}">
                    <a16:creationId xmlns:a16="http://schemas.microsoft.com/office/drawing/2014/main" id="{624D1728-CC36-451A-9897-9DD66874AE67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425" y="1926"/>
                <a:ext cx="51" cy="167"/>
              </a:xfrm>
              <a:custGeom>
                <a:avLst/>
                <a:gdLst>
                  <a:gd name="T0" fmla="*/ 44 w 48"/>
                  <a:gd name="T1" fmla="*/ 1 h 158"/>
                  <a:gd name="T2" fmla="*/ 39 w 48"/>
                  <a:gd name="T3" fmla="*/ 45 h 158"/>
                  <a:gd name="T4" fmla="*/ 36 w 48"/>
                  <a:gd name="T5" fmla="*/ 81 h 158"/>
                  <a:gd name="T6" fmla="*/ 1 w 48"/>
                  <a:gd name="T7" fmla="*/ 152 h 158"/>
                  <a:gd name="T8" fmla="*/ 6 w 48"/>
                  <a:gd name="T9" fmla="*/ 156 h 158"/>
                  <a:gd name="T10" fmla="*/ 39 w 48"/>
                  <a:gd name="T11" fmla="*/ 88 h 158"/>
                  <a:gd name="T12" fmla="*/ 44 w 48"/>
                  <a:gd name="T13" fmla="*/ 43 h 158"/>
                  <a:gd name="T14" fmla="*/ 46 w 48"/>
                  <a:gd name="T15" fmla="*/ 1 h 158"/>
                  <a:gd name="T16" fmla="*/ 44 w 48"/>
                  <a:gd name="T17" fmla="*/ 1 h 1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8" h="158">
                    <a:moveTo>
                      <a:pt x="44" y="1"/>
                    </a:moveTo>
                    <a:cubicBezTo>
                      <a:pt x="45" y="16"/>
                      <a:pt x="41" y="31"/>
                      <a:pt x="39" y="45"/>
                    </a:cubicBezTo>
                    <a:cubicBezTo>
                      <a:pt x="38" y="57"/>
                      <a:pt x="38" y="69"/>
                      <a:pt x="36" y="81"/>
                    </a:cubicBezTo>
                    <a:cubicBezTo>
                      <a:pt x="31" y="108"/>
                      <a:pt x="18" y="131"/>
                      <a:pt x="1" y="152"/>
                    </a:cubicBezTo>
                    <a:cubicBezTo>
                      <a:pt x="0" y="155"/>
                      <a:pt x="4" y="158"/>
                      <a:pt x="6" y="156"/>
                    </a:cubicBezTo>
                    <a:cubicBezTo>
                      <a:pt x="22" y="137"/>
                      <a:pt x="34" y="112"/>
                      <a:pt x="39" y="88"/>
                    </a:cubicBezTo>
                    <a:cubicBezTo>
                      <a:pt x="43" y="73"/>
                      <a:pt x="43" y="59"/>
                      <a:pt x="44" y="43"/>
                    </a:cubicBezTo>
                    <a:cubicBezTo>
                      <a:pt x="45" y="29"/>
                      <a:pt x="48" y="15"/>
                      <a:pt x="46" y="1"/>
                    </a:cubicBezTo>
                    <a:cubicBezTo>
                      <a:pt x="46" y="0"/>
                      <a:pt x="44" y="0"/>
                      <a:pt x="44" y="1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11" name="Freeform 157">
                <a:extLst>
                  <a:ext uri="{FF2B5EF4-FFF2-40B4-BE49-F238E27FC236}">
                    <a16:creationId xmlns:a16="http://schemas.microsoft.com/office/drawing/2014/main" id="{C68895D6-757D-4DFF-A57D-E0437ED9A6ED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493" y="1634"/>
                <a:ext cx="22" cy="338"/>
              </a:xfrm>
              <a:custGeom>
                <a:avLst/>
                <a:gdLst>
                  <a:gd name="T0" fmla="*/ 17 w 21"/>
                  <a:gd name="T1" fmla="*/ 2 h 319"/>
                  <a:gd name="T2" fmla="*/ 5 w 21"/>
                  <a:gd name="T3" fmla="*/ 69 h 319"/>
                  <a:gd name="T4" fmla="*/ 2 w 21"/>
                  <a:gd name="T5" fmla="*/ 155 h 319"/>
                  <a:gd name="T6" fmla="*/ 1 w 21"/>
                  <a:gd name="T7" fmla="*/ 315 h 319"/>
                  <a:gd name="T8" fmla="*/ 6 w 21"/>
                  <a:gd name="T9" fmla="*/ 316 h 319"/>
                  <a:gd name="T10" fmla="*/ 10 w 21"/>
                  <a:gd name="T11" fmla="*/ 248 h 319"/>
                  <a:gd name="T12" fmla="*/ 7 w 21"/>
                  <a:gd name="T13" fmla="*/ 162 h 319"/>
                  <a:gd name="T14" fmla="*/ 9 w 21"/>
                  <a:gd name="T15" fmla="*/ 77 h 319"/>
                  <a:gd name="T16" fmla="*/ 20 w 21"/>
                  <a:gd name="T17" fmla="*/ 3 h 319"/>
                  <a:gd name="T18" fmla="*/ 17 w 21"/>
                  <a:gd name="T19" fmla="*/ 2 h 3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1" h="319">
                    <a:moveTo>
                      <a:pt x="17" y="2"/>
                    </a:moveTo>
                    <a:cubicBezTo>
                      <a:pt x="8" y="22"/>
                      <a:pt x="8" y="48"/>
                      <a:pt x="5" y="69"/>
                    </a:cubicBezTo>
                    <a:cubicBezTo>
                      <a:pt x="2" y="97"/>
                      <a:pt x="2" y="127"/>
                      <a:pt x="2" y="155"/>
                    </a:cubicBezTo>
                    <a:cubicBezTo>
                      <a:pt x="2" y="208"/>
                      <a:pt x="8" y="262"/>
                      <a:pt x="1" y="315"/>
                    </a:cubicBezTo>
                    <a:cubicBezTo>
                      <a:pt x="0" y="318"/>
                      <a:pt x="5" y="319"/>
                      <a:pt x="6" y="316"/>
                    </a:cubicBezTo>
                    <a:cubicBezTo>
                      <a:pt x="11" y="295"/>
                      <a:pt x="10" y="270"/>
                      <a:pt x="10" y="248"/>
                    </a:cubicBezTo>
                    <a:cubicBezTo>
                      <a:pt x="10" y="219"/>
                      <a:pt x="7" y="191"/>
                      <a:pt x="7" y="162"/>
                    </a:cubicBezTo>
                    <a:cubicBezTo>
                      <a:pt x="7" y="134"/>
                      <a:pt x="6" y="105"/>
                      <a:pt x="9" y="77"/>
                    </a:cubicBezTo>
                    <a:cubicBezTo>
                      <a:pt x="12" y="53"/>
                      <a:pt x="13" y="25"/>
                      <a:pt x="20" y="3"/>
                    </a:cubicBezTo>
                    <a:cubicBezTo>
                      <a:pt x="21" y="1"/>
                      <a:pt x="17" y="0"/>
                      <a:pt x="17" y="2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12" name="Freeform 158">
                <a:extLst>
                  <a:ext uri="{FF2B5EF4-FFF2-40B4-BE49-F238E27FC236}">
                    <a16:creationId xmlns:a16="http://schemas.microsoft.com/office/drawing/2014/main" id="{6E392A33-E19E-4D6A-B19A-AA0999F5D2BF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100" y="1487"/>
                <a:ext cx="189" cy="310"/>
              </a:xfrm>
              <a:custGeom>
                <a:avLst/>
                <a:gdLst>
                  <a:gd name="T0" fmla="*/ 1 w 178"/>
                  <a:gd name="T1" fmla="*/ 3 h 293"/>
                  <a:gd name="T2" fmla="*/ 89 w 178"/>
                  <a:gd name="T3" fmla="*/ 141 h 293"/>
                  <a:gd name="T4" fmla="*/ 132 w 178"/>
                  <a:gd name="T5" fmla="*/ 215 h 293"/>
                  <a:gd name="T6" fmla="*/ 171 w 178"/>
                  <a:gd name="T7" fmla="*/ 290 h 293"/>
                  <a:gd name="T8" fmla="*/ 176 w 178"/>
                  <a:gd name="T9" fmla="*/ 287 h 293"/>
                  <a:gd name="T10" fmla="*/ 137 w 178"/>
                  <a:gd name="T11" fmla="*/ 212 h 293"/>
                  <a:gd name="T12" fmla="*/ 95 w 178"/>
                  <a:gd name="T13" fmla="*/ 141 h 293"/>
                  <a:gd name="T14" fmla="*/ 42 w 178"/>
                  <a:gd name="T15" fmla="*/ 56 h 293"/>
                  <a:gd name="T16" fmla="*/ 3 w 178"/>
                  <a:gd name="T17" fmla="*/ 1 h 293"/>
                  <a:gd name="T18" fmla="*/ 1 w 178"/>
                  <a:gd name="T19" fmla="*/ 3 h 2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78" h="293">
                    <a:moveTo>
                      <a:pt x="1" y="3"/>
                    </a:moveTo>
                    <a:cubicBezTo>
                      <a:pt x="39" y="43"/>
                      <a:pt x="58" y="96"/>
                      <a:pt x="89" y="141"/>
                    </a:cubicBezTo>
                    <a:cubicBezTo>
                      <a:pt x="104" y="165"/>
                      <a:pt x="119" y="189"/>
                      <a:pt x="132" y="215"/>
                    </a:cubicBezTo>
                    <a:cubicBezTo>
                      <a:pt x="143" y="240"/>
                      <a:pt x="153" y="269"/>
                      <a:pt x="171" y="290"/>
                    </a:cubicBezTo>
                    <a:cubicBezTo>
                      <a:pt x="173" y="293"/>
                      <a:pt x="178" y="290"/>
                      <a:pt x="176" y="287"/>
                    </a:cubicBezTo>
                    <a:cubicBezTo>
                      <a:pt x="161" y="263"/>
                      <a:pt x="149" y="237"/>
                      <a:pt x="137" y="212"/>
                    </a:cubicBezTo>
                    <a:cubicBezTo>
                      <a:pt x="125" y="187"/>
                      <a:pt x="110" y="164"/>
                      <a:pt x="95" y="141"/>
                    </a:cubicBezTo>
                    <a:cubicBezTo>
                      <a:pt x="76" y="114"/>
                      <a:pt x="59" y="85"/>
                      <a:pt x="42" y="56"/>
                    </a:cubicBezTo>
                    <a:cubicBezTo>
                      <a:pt x="30" y="37"/>
                      <a:pt x="21" y="15"/>
                      <a:pt x="3" y="1"/>
                    </a:cubicBezTo>
                    <a:cubicBezTo>
                      <a:pt x="2" y="0"/>
                      <a:pt x="0" y="1"/>
                      <a:pt x="1" y="3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13" name="Freeform 159">
                <a:extLst>
                  <a:ext uri="{FF2B5EF4-FFF2-40B4-BE49-F238E27FC236}">
                    <a16:creationId xmlns:a16="http://schemas.microsoft.com/office/drawing/2014/main" id="{8C6571D5-0CEE-42F3-8368-54D3AB7E8763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500" y="1647"/>
                <a:ext cx="232" cy="40"/>
              </a:xfrm>
              <a:custGeom>
                <a:avLst/>
                <a:gdLst>
                  <a:gd name="T0" fmla="*/ 3 w 219"/>
                  <a:gd name="T1" fmla="*/ 13 h 38"/>
                  <a:gd name="T2" fmla="*/ 140 w 219"/>
                  <a:gd name="T3" fmla="*/ 34 h 38"/>
                  <a:gd name="T4" fmla="*/ 217 w 219"/>
                  <a:gd name="T5" fmla="*/ 8 h 38"/>
                  <a:gd name="T6" fmla="*/ 210 w 219"/>
                  <a:gd name="T7" fmla="*/ 5 h 38"/>
                  <a:gd name="T8" fmla="*/ 110 w 219"/>
                  <a:gd name="T9" fmla="*/ 25 h 38"/>
                  <a:gd name="T10" fmla="*/ 5 w 219"/>
                  <a:gd name="T11" fmla="*/ 8 h 38"/>
                  <a:gd name="T12" fmla="*/ 3 w 219"/>
                  <a:gd name="T13" fmla="*/ 13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19" h="38">
                    <a:moveTo>
                      <a:pt x="3" y="13"/>
                    </a:moveTo>
                    <a:cubicBezTo>
                      <a:pt x="47" y="25"/>
                      <a:pt x="94" y="32"/>
                      <a:pt x="140" y="34"/>
                    </a:cubicBezTo>
                    <a:cubicBezTo>
                      <a:pt x="164" y="35"/>
                      <a:pt x="208" y="38"/>
                      <a:pt x="217" y="8"/>
                    </a:cubicBezTo>
                    <a:cubicBezTo>
                      <a:pt x="219" y="3"/>
                      <a:pt x="211" y="0"/>
                      <a:pt x="210" y="5"/>
                    </a:cubicBezTo>
                    <a:cubicBezTo>
                      <a:pt x="201" y="36"/>
                      <a:pt x="133" y="27"/>
                      <a:pt x="110" y="25"/>
                    </a:cubicBezTo>
                    <a:cubicBezTo>
                      <a:pt x="75" y="21"/>
                      <a:pt x="40" y="16"/>
                      <a:pt x="5" y="8"/>
                    </a:cubicBezTo>
                    <a:cubicBezTo>
                      <a:pt x="2" y="7"/>
                      <a:pt x="0" y="12"/>
                      <a:pt x="3" y="13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14" name="Freeform 160">
                <a:extLst>
                  <a:ext uri="{FF2B5EF4-FFF2-40B4-BE49-F238E27FC236}">
                    <a16:creationId xmlns:a16="http://schemas.microsoft.com/office/drawing/2014/main" id="{94F67ACA-28EC-49D9-A9AE-8EB731F385BF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703" y="1583"/>
                <a:ext cx="283" cy="79"/>
              </a:xfrm>
              <a:custGeom>
                <a:avLst/>
                <a:gdLst>
                  <a:gd name="T0" fmla="*/ 3 w 267"/>
                  <a:gd name="T1" fmla="*/ 69 h 75"/>
                  <a:gd name="T2" fmla="*/ 61 w 267"/>
                  <a:gd name="T3" fmla="*/ 63 h 75"/>
                  <a:gd name="T4" fmla="*/ 136 w 267"/>
                  <a:gd name="T5" fmla="*/ 47 h 75"/>
                  <a:gd name="T6" fmla="*/ 204 w 267"/>
                  <a:gd name="T7" fmla="*/ 29 h 75"/>
                  <a:gd name="T8" fmla="*/ 264 w 267"/>
                  <a:gd name="T9" fmla="*/ 6 h 75"/>
                  <a:gd name="T10" fmla="*/ 263 w 267"/>
                  <a:gd name="T11" fmla="*/ 1 h 75"/>
                  <a:gd name="T12" fmla="*/ 131 w 267"/>
                  <a:gd name="T13" fmla="*/ 40 h 75"/>
                  <a:gd name="T14" fmla="*/ 67 w 267"/>
                  <a:gd name="T15" fmla="*/ 54 h 75"/>
                  <a:gd name="T16" fmla="*/ 4 w 267"/>
                  <a:gd name="T17" fmla="*/ 64 h 75"/>
                  <a:gd name="T18" fmla="*/ 3 w 267"/>
                  <a:gd name="T19" fmla="*/ 69 h 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67" h="75">
                    <a:moveTo>
                      <a:pt x="3" y="69"/>
                    </a:moveTo>
                    <a:cubicBezTo>
                      <a:pt x="19" y="75"/>
                      <a:pt x="45" y="67"/>
                      <a:pt x="61" y="63"/>
                    </a:cubicBezTo>
                    <a:cubicBezTo>
                      <a:pt x="86" y="58"/>
                      <a:pt x="111" y="52"/>
                      <a:pt x="136" y="47"/>
                    </a:cubicBezTo>
                    <a:cubicBezTo>
                      <a:pt x="159" y="42"/>
                      <a:pt x="181" y="36"/>
                      <a:pt x="204" y="29"/>
                    </a:cubicBezTo>
                    <a:cubicBezTo>
                      <a:pt x="224" y="22"/>
                      <a:pt x="246" y="18"/>
                      <a:pt x="264" y="6"/>
                    </a:cubicBezTo>
                    <a:cubicBezTo>
                      <a:pt x="267" y="5"/>
                      <a:pt x="266" y="0"/>
                      <a:pt x="263" y="1"/>
                    </a:cubicBezTo>
                    <a:cubicBezTo>
                      <a:pt x="219" y="16"/>
                      <a:pt x="176" y="30"/>
                      <a:pt x="131" y="40"/>
                    </a:cubicBezTo>
                    <a:cubicBezTo>
                      <a:pt x="110" y="45"/>
                      <a:pt x="88" y="49"/>
                      <a:pt x="67" y="54"/>
                    </a:cubicBezTo>
                    <a:cubicBezTo>
                      <a:pt x="48" y="58"/>
                      <a:pt x="23" y="66"/>
                      <a:pt x="4" y="64"/>
                    </a:cubicBezTo>
                    <a:cubicBezTo>
                      <a:pt x="1" y="64"/>
                      <a:pt x="0" y="68"/>
                      <a:pt x="3" y="69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15" name="Freeform 161">
                <a:extLst>
                  <a:ext uri="{FF2B5EF4-FFF2-40B4-BE49-F238E27FC236}">
                    <a16:creationId xmlns:a16="http://schemas.microsoft.com/office/drawing/2014/main" id="{5E8D24FC-1ED8-4D65-B06D-C8876426D850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927" y="1523"/>
                <a:ext cx="212" cy="107"/>
              </a:xfrm>
              <a:custGeom>
                <a:avLst/>
                <a:gdLst>
                  <a:gd name="T0" fmla="*/ 2 w 200"/>
                  <a:gd name="T1" fmla="*/ 74 h 101"/>
                  <a:gd name="T2" fmla="*/ 97 w 200"/>
                  <a:gd name="T3" fmla="*/ 72 h 101"/>
                  <a:gd name="T4" fmla="*/ 151 w 200"/>
                  <a:gd name="T5" fmla="*/ 44 h 101"/>
                  <a:gd name="T6" fmla="*/ 172 w 200"/>
                  <a:gd name="T7" fmla="*/ 29 h 101"/>
                  <a:gd name="T8" fmla="*/ 196 w 200"/>
                  <a:gd name="T9" fmla="*/ 9 h 101"/>
                  <a:gd name="T10" fmla="*/ 193 w 200"/>
                  <a:gd name="T11" fmla="*/ 2 h 101"/>
                  <a:gd name="T12" fmla="*/ 167 w 200"/>
                  <a:gd name="T13" fmla="*/ 23 h 101"/>
                  <a:gd name="T14" fmla="*/ 120 w 200"/>
                  <a:gd name="T15" fmla="*/ 53 h 101"/>
                  <a:gd name="T16" fmla="*/ 72 w 200"/>
                  <a:gd name="T17" fmla="*/ 73 h 101"/>
                  <a:gd name="T18" fmla="*/ 47 w 200"/>
                  <a:gd name="T19" fmla="*/ 80 h 101"/>
                  <a:gd name="T20" fmla="*/ 4 w 200"/>
                  <a:gd name="T21" fmla="*/ 71 h 101"/>
                  <a:gd name="T22" fmla="*/ 2 w 200"/>
                  <a:gd name="T23" fmla="*/ 74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200" h="101">
                    <a:moveTo>
                      <a:pt x="2" y="74"/>
                    </a:moveTo>
                    <a:cubicBezTo>
                      <a:pt x="28" y="101"/>
                      <a:pt x="66" y="84"/>
                      <a:pt x="97" y="72"/>
                    </a:cubicBezTo>
                    <a:cubicBezTo>
                      <a:pt x="116" y="65"/>
                      <a:pt x="134" y="55"/>
                      <a:pt x="151" y="44"/>
                    </a:cubicBezTo>
                    <a:cubicBezTo>
                      <a:pt x="159" y="39"/>
                      <a:pt x="165" y="34"/>
                      <a:pt x="172" y="29"/>
                    </a:cubicBezTo>
                    <a:cubicBezTo>
                      <a:pt x="180" y="23"/>
                      <a:pt x="188" y="14"/>
                      <a:pt x="196" y="9"/>
                    </a:cubicBezTo>
                    <a:cubicBezTo>
                      <a:pt x="200" y="6"/>
                      <a:pt x="197" y="0"/>
                      <a:pt x="193" y="2"/>
                    </a:cubicBezTo>
                    <a:cubicBezTo>
                      <a:pt x="183" y="6"/>
                      <a:pt x="176" y="16"/>
                      <a:pt x="167" y="23"/>
                    </a:cubicBezTo>
                    <a:cubicBezTo>
                      <a:pt x="152" y="34"/>
                      <a:pt x="137" y="44"/>
                      <a:pt x="120" y="53"/>
                    </a:cubicBezTo>
                    <a:cubicBezTo>
                      <a:pt x="105" y="61"/>
                      <a:pt x="89" y="67"/>
                      <a:pt x="72" y="73"/>
                    </a:cubicBezTo>
                    <a:cubicBezTo>
                      <a:pt x="64" y="75"/>
                      <a:pt x="55" y="78"/>
                      <a:pt x="47" y="80"/>
                    </a:cubicBezTo>
                    <a:cubicBezTo>
                      <a:pt x="31" y="84"/>
                      <a:pt x="17" y="80"/>
                      <a:pt x="4" y="71"/>
                    </a:cubicBezTo>
                    <a:cubicBezTo>
                      <a:pt x="2" y="69"/>
                      <a:pt x="0" y="72"/>
                      <a:pt x="2" y="74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16" name="Freeform 162">
                <a:extLst>
                  <a:ext uri="{FF2B5EF4-FFF2-40B4-BE49-F238E27FC236}">
                    <a16:creationId xmlns:a16="http://schemas.microsoft.com/office/drawing/2014/main" id="{F5EF89BD-3299-4E1B-88CD-26E9F3B65112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753" y="1465"/>
                <a:ext cx="83" cy="79"/>
              </a:xfrm>
              <a:custGeom>
                <a:avLst/>
                <a:gdLst>
                  <a:gd name="T0" fmla="*/ 52 w 79"/>
                  <a:gd name="T1" fmla="*/ 6 h 75"/>
                  <a:gd name="T2" fmla="*/ 5 w 79"/>
                  <a:gd name="T3" fmla="*/ 27 h 75"/>
                  <a:gd name="T4" fmla="*/ 20 w 79"/>
                  <a:gd name="T5" fmla="*/ 69 h 75"/>
                  <a:gd name="T6" fmla="*/ 71 w 79"/>
                  <a:gd name="T7" fmla="*/ 50 h 75"/>
                  <a:gd name="T8" fmla="*/ 43 w 79"/>
                  <a:gd name="T9" fmla="*/ 6 h 75"/>
                  <a:gd name="T10" fmla="*/ 42 w 79"/>
                  <a:gd name="T11" fmla="*/ 12 h 75"/>
                  <a:gd name="T12" fmla="*/ 61 w 79"/>
                  <a:gd name="T13" fmla="*/ 22 h 75"/>
                  <a:gd name="T14" fmla="*/ 60 w 79"/>
                  <a:gd name="T15" fmla="*/ 55 h 75"/>
                  <a:gd name="T16" fmla="*/ 19 w 79"/>
                  <a:gd name="T17" fmla="*/ 62 h 75"/>
                  <a:gd name="T18" fmla="*/ 11 w 79"/>
                  <a:gd name="T19" fmla="*/ 26 h 75"/>
                  <a:gd name="T20" fmla="*/ 51 w 79"/>
                  <a:gd name="T21" fmla="*/ 8 h 75"/>
                  <a:gd name="T22" fmla="*/ 52 w 79"/>
                  <a:gd name="T23" fmla="*/ 6 h 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79" h="75">
                    <a:moveTo>
                      <a:pt x="52" y="6"/>
                    </a:moveTo>
                    <a:cubicBezTo>
                      <a:pt x="33" y="0"/>
                      <a:pt x="12" y="7"/>
                      <a:pt x="5" y="27"/>
                    </a:cubicBezTo>
                    <a:cubicBezTo>
                      <a:pt x="0" y="42"/>
                      <a:pt x="3" y="63"/>
                      <a:pt x="20" y="69"/>
                    </a:cubicBezTo>
                    <a:cubicBezTo>
                      <a:pt x="38" y="75"/>
                      <a:pt x="64" y="69"/>
                      <a:pt x="71" y="50"/>
                    </a:cubicBezTo>
                    <a:cubicBezTo>
                      <a:pt x="79" y="29"/>
                      <a:pt x="64" y="7"/>
                      <a:pt x="43" y="6"/>
                    </a:cubicBezTo>
                    <a:cubicBezTo>
                      <a:pt x="39" y="6"/>
                      <a:pt x="39" y="11"/>
                      <a:pt x="42" y="12"/>
                    </a:cubicBezTo>
                    <a:cubicBezTo>
                      <a:pt x="49" y="14"/>
                      <a:pt x="56" y="16"/>
                      <a:pt x="61" y="22"/>
                    </a:cubicBezTo>
                    <a:cubicBezTo>
                      <a:pt x="68" y="31"/>
                      <a:pt x="68" y="47"/>
                      <a:pt x="60" y="55"/>
                    </a:cubicBezTo>
                    <a:cubicBezTo>
                      <a:pt x="51" y="65"/>
                      <a:pt x="32" y="69"/>
                      <a:pt x="19" y="62"/>
                    </a:cubicBezTo>
                    <a:cubicBezTo>
                      <a:pt x="6" y="55"/>
                      <a:pt x="6" y="38"/>
                      <a:pt x="11" y="26"/>
                    </a:cubicBezTo>
                    <a:cubicBezTo>
                      <a:pt x="17" y="11"/>
                      <a:pt x="36" y="7"/>
                      <a:pt x="51" y="8"/>
                    </a:cubicBezTo>
                    <a:cubicBezTo>
                      <a:pt x="53" y="8"/>
                      <a:pt x="53" y="6"/>
                      <a:pt x="52" y="6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17" name="Freeform 163">
                <a:extLst>
                  <a:ext uri="{FF2B5EF4-FFF2-40B4-BE49-F238E27FC236}">
                    <a16:creationId xmlns:a16="http://schemas.microsoft.com/office/drawing/2014/main" id="{E93333AF-8300-4D98-9B3B-5D9114B1F3EA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422" y="1389"/>
                <a:ext cx="779" cy="244"/>
              </a:xfrm>
              <a:custGeom>
                <a:avLst/>
                <a:gdLst>
                  <a:gd name="T0" fmla="*/ 1 w 735"/>
                  <a:gd name="T1" fmla="*/ 177 h 231"/>
                  <a:gd name="T2" fmla="*/ 189 w 735"/>
                  <a:gd name="T3" fmla="*/ 207 h 231"/>
                  <a:gd name="T4" fmla="*/ 388 w 735"/>
                  <a:gd name="T5" fmla="*/ 167 h 231"/>
                  <a:gd name="T6" fmla="*/ 733 w 735"/>
                  <a:gd name="T7" fmla="*/ 6 h 231"/>
                  <a:gd name="T8" fmla="*/ 729 w 735"/>
                  <a:gd name="T9" fmla="*/ 2 h 231"/>
                  <a:gd name="T10" fmla="*/ 563 w 735"/>
                  <a:gd name="T11" fmla="*/ 103 h 231"/>
                  <a:gd name="T12" fmla="*/ 379 w 735"/>
                  <a:gd name="T13" fmla="*/ 163 h 231"/>
                  <a:gd name="T14" fmla="*/ 1 w 735"/>
                  <a:gd name="T15" fmla="*/ 176 h 231"/>
                  <a:gd name="T16" fmla="*/ 1 w 735"/>
                  <a:gd name="T17" fmla="*/ 177 h 2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735" h="231">
                    <a:moveTo>
                      <a:pt x="1" y="177"/>
                    </a:moveTo>
                    <a:cubicBezTo>
                      <a:pt x="57" y="207"/>
                      <a:pt x="126" y="211"/>
                      <a:pt x="189" y="207"/>
                    </a:cubicBezTo>
                    <a:cubicBezTo>
                      <a:pt x="256" y="202"/>
                      <a:pt x="323" y="184"/>
                      <a:pt x="388" y="167"/>
                    </a:cubicBezTo>
                    <a:cubicBezTo>
                      <a:pt x="510" y="135"/>
                      <a:pt x="639" y="94"/>
                      <a:pt x="733" y="6"/>
                    </a:cubicBezTo>
                    <a:cubicBezTo>
                      <a:pt x="735" y="3"/>
                      <a:pt x="732" y="0"/>
                      <a:pt x="729" y="2"/>
                    </a:cubicBezTo>
                    <a:cubicBezTo>
                      <a:pt x="678" y="43"/>
                      <a:pt x="623" y="76"/>
                      <a:pt x="563" y="103"/>
                    </a:cubicBezTo>
                    <a:cubicBezTo>
                      <a:pt x="504" y="130"/>
                      <a:pt x="442" y="146"/>
                      <a:pt x="379" y="163"/>
                    </a:cubicBezTo>
                    <a:cubicBezTo>
                      <a:pt x="259" y="194"/>
                      <a:pt x="121" y="231"/>
                      <a:pt x="1" y="176"/>
                    </a:cubicBezTo>
                    <a:cubicBezTo>
                      <a:pt x="1" y="176"/>
                      <a:pt x="0" y="176"/>
                      <a:pt x="1" y="177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18" name="Freeform 164">
                <a:extLst>
                  <a:ext uri="{FF2B5EF4-FFF2-40B4-BE49-F238E27FC236}">
                    <a16:creationId xmlns:a16="http://schemas.microsoft.com/office/drawing/2014/main" id="{838689D2-C28A-4F28-A5A4-46681E7C79EB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803" y="1059"/>
                <a:ext cx="460" cy="455"/>
              </a:xfrm>
              <a:custGeom>
                <a:avLst/>
                <a:gdLst>
                  <a:gd name="T0" fmla="*/ 312 w 434"/>
                  <a:gd name="T1" fmla="*/ 20 h 430"/>
                  <a:gd name="T2" fmla="*/ 195 w 434"/>
                  <a:gd name="T3" fmla="*/ 22 h 430"/>
                  <a:gd name="T4" fmla="*/ 95 w 434"/>
                  <a:gd name="T5" fmla="*/ 105 h 430"/>
                  <a:gd name="T6" fmla="*/ 30 w 434"/>
                  <a:gd name="T7" fmla="*/ 223 h 430"/>
                  <a:gd name="T8" fmla="*/ 11 w 434"/>
                  <a:gd name="T9" fmla="*/ 335 h 430"/>
                  <a:gd name="T10" fmla="*/ 76 w 434"/>
                  <a:gd name="T11" fmla="*/ 398 h 430"/>
                  <a:gd name="T12" fmla="*/ 196 w 434"/>
                  <a:gd name="T13" fmla="*/ 375 h 430"/>
                  <a:gd name="T14" fmla="*/ 317 w 434"/>
                  <a:gd name="T15" fmla="*/ 301 h 430"/>
                  <a:gd name="T16" fmla="*/ 405 w 434"/>
                  <a:gd name="T17" fmla="*/ 216 h 430"/>
                  <a:gd name="T18" fmla="*/ 420 w 434"/>
                  <a:gd name="T19" fmla="*/ 96 h 430"/>
                  <a:gd name="T20" fmla="*/ 312 w 434"/>
                  <a:gd name="T21" fmla="*/ 12 h 430"/>
                  <a:gd name="T22" fmla="*/ 309 w 434"/>
                  <a:gd name="T23" fmla="*/ 17 h 430"/>
                  <a:gd name="T24" fmla="*/ 405 w 434"/>
                  <a:gd name="T25" fmla="*/ 84 h 430"/>
                  <a:gd name="T26" fmla="*/ 403 w 434"/>
                  <a:gd name="T27" fmla="*/ 202 h 430"/>
                  <a:gd name="T28" fmla="*/ 330 w 434"/>
                  <a:gd name="T29" fmla="*/ 282 h 430"/>
                  <a:gd name="T30" fmla="*/ 228 w 434"/>
                  <a:gd name="T31" fmla="*/ 349 h 430"/>
                  <a:gd name="T32" fmla="*/ 23 w 434"/>
                  <a:gd name="T33" fmla="*/ 347 h 430"/>
                  <a:gd name="T34" fmla="*/ 33 w 434"/>
                  <a:gd name="T35" fmla="*/ 232 h 430"/>
                  <a:gd name="T36" fmla="*/ 85 w 434"/>
                  <a:gd name="T37" fmla="*/ 132 h 430"/>
                  <a:gd name="T38" fmla="*/ 167 w 434"/>
                  <a:gd name="T39" fmla="*/ 42 h 430"/>
                  <a:gd name="T40" fmla="*/ 311 w 434"/>
                  <a:gd name="T41" fmla="*/ 23 h 430"/>
                  <a:gd name="T42" fmla="*/ 312 w 434"/>
                  <a:gd name="T43" fmla="*/ 20 h 4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434" h="430">
                    <a:moveTo>
                      <a:pt x="312" y="20"/>
                    </a:moveTo>
                    <a:cubicBezTo>
                      <a:pt x="273" y="0"/>
                      <a:pt x="234" y="3"/>
                      <a:pt x="195" y="22"/>
                    </a:cubicBezTo>
                    <a:cubicBezTo>
                      <a:pt x="156" y="40"/>
                      <a:pt x="120" y="71"/>
                      <a:pt x="95" y="105"/>
                    </a:cubicBezTo>
                    <a:cubicBezTo>
                      <a:pt x="68" y="140"/>
                      <a:pt x="50" y="184"/>
                      <a:pt x="30" y="223"/>
                    </a:cubicBezTo>
                    <a:cubicBezTo>
                      <a:pt x="12" y="257"/>
                      <a:pt x="0" y="297"/>
                      <a:pt x="11" y="335"/>
                    </a:cubicBezTo>
                    <a:cubicBezTo>
                      <a:pt x="20" y="366"/>
                      <a:pt x="45" y="389"/>
                      <a:pt x="76" y="398"/>
                    </a:cubicBezTo>
                    <a:cubicBezTo>
                      <a:pt x="116" y="409"/>
                      <a:pt x="160" y="393"/>
                      <a:pt x="196" y="375"/>
                    </a:cubicBezTo>
                    <a:cubicBezTo>
                      <a:pt x="238" y="354"/>
                      <a:pt x="278" y="329"/>
                      <a:pt x="317" y="301"/>
                    </a:cubicBezTo>
                    <a:cubicBezTo>
                      <a:pt x="349" y="278"/>
                      <a:pt x="384" y="251"/>
                      <a:pt x="405" y="216"/>
                    </a:cubicBezTo>
                    <a:cubicBezTo>
                      <a:pt x="424" y="182"/>
                      <a:pt x="434" y="133"/>
                      <a:pt x="420" y="96"/>
                    </a:cubicBezTo>
                    <a:cubicBezTo>
                      <a:pt x="403" y="54"/>
                      <a:pt x="350" y="30"/>
                      <a:pt x="312" y="12"/>
                    </a:cubicBezTo>
                    <a:cubicBezTo>
                      <a:pt x="308" y="10"/>
                      <a:pt x="305" y="15"/>
                      <a:pt x="309" y="17"/>
                    </a:cubicBezTo>
                    <a:cubicBezTo>
                      <a:pt x="341" y="38"/>
                      <a:pt x="382" y="52"/>
                      <a:pt x="405" y="84"/>
                    </a:cubicBezTo>
                    <a:cubicBezTo>
                      <a:pt x="428" y="117"/>
                      <a:pt x="418" y="167"/>
                      <a:pt x="403" y="202"/>
                    </a:cubicBezTo>
                    <a:cubicBezTo>
                      <a:pt x="388" y="235"/>
                      <a:pt x="358" y="260"/>
                      <a:pt x="330" y="282"/>
                    </a:cubicBezTo>
                    <a:cubicBezTo>
                      <a:pt x="298" y="307"/>
                      <a:pt x="263" y="329"/>
                      <a:pt x="228" y="349"/>
                    </a:cubicBezTo>
                    <a:cubicBezTo>
                      <a:pt x="170" y="382"/>
                      <a:pt x="65" y="430"/>
                      <a:pt x="23" y="347"/>
                    </a:cubicBezTo>
                    <a:cubicBezTo>
                      <a:pt x="5" y="311"/>
                      <a:pt x="16" y="267"/>
                      <a:pt x="33" y="232"/>
                    </a:cubicBezTo>
                    <a:cubicBezTo>
                      <a:pt x="49" y="199"/>
                      <a:pt x="66" y="164"/>
                      <a:pt x="85" y="132"/>
                    </a:cubicBezTo>
                    <a:cubicBezTo>
                      <a:pt x="105" y="97"/>
                      <a:pt x="134" y="66"/>
                      <a:pt x="167" y="42"/>
                    </a:cubicBezTo>
                    <a:cubicBezTo>
                      <a:pt x="211" y="11"/>
                      <a:pt x="260" y="3"/>
                      <a:pt x="311" y="23"/>
                    </a:cubicBezTo>
                    <a:cubicBezTo>
                      <a:pt x="313" y="23"/>
                      <a:pt x="314" y="21"/>
                      <a:pt x="312" y="20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19" name="Freeform 165">
                <a:extLst>
                  <a:ext uri="{FF2B5EF4-FFF2-40B4-BE49-F238E27FC236}">
                    <a16:creationId xmlns:a16="http://schemas.microsoft.com/office/drawing/2014/main" id="{F2E7393A-0B21-4186-9EC4-A8B4BDD390C9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265" y="1210"/>
                <a:ext cx="510" cy="359"/>
              </a:xfrm>
              <a:custGeom>
                <a:avLst/>
                <a:gdLst>
                  <a:gd name="T0" fmla="*/ 180 w 481"/>
                  <a:gd name="T1" fmla="*/ 0 h 339"/>
                  <a:gd name="T2" fmla="*/ 14 w 481"/>
                  <a:gd name="T3" fmla="*/ 137 h 339"/>
                  <a:gd name="T4" fmla="*/ 147 w 481"/>
                  <a:gd name="T5" fmla="*/ 299 h 339"/>
                  <a:gd name="T6" fmla="*/ 289 w 481"/>
                  <a:gd name="T7" fmla="*/ 332 h 339"/>
                  <a:gd name="T8" fmla="*/ 397 w 481"/>
                  <a:gd name="T9" fmla="*/ 322 h 339"/>
                  <a:gd name="T10" fmla="*/ 420 w 481"/>
                  <a:gd name="T11" fmla="*/ 150 h 339"/>
                  <a:gd name="T12" fmla="*/ 178 w 481"/>
                  <a:gd name="T13" fmla="*/ 5 h 339"/>
                  <a:gd name="T14" fmla="*/ 177 w 481"/>
                  <a:gd name="T15" fmla="*/ 12 h 339"/>
                  <a:gd name="T16" fmla="*/ 374 w 481"/>
                  <a:gd name="T17" fmla="*/ 110 h 339"/>
                  <a:gd name="T18" fmla="*/ 414 w 481"/>
                  <a:gd name="T19" fmla="*/ 301 h 339"/>
                  <a:gd name="T20" fmla="*/ 312 w 481"/>
                  <a:gd name="T21" fmla="*/ 327 h 339"/>
                  <a:gd name="T22" fmla="*/ 193 w 481"/>
                  <a:gd name="T23" fmla="*/ 304 h 339"/>
                  <a:gd name="T24" fmla="*/ 22 w 481"/>
                  <a:gd name="T25" fmla="*/ 179 h 339"/>
                  <a:gd name="T26" fmla="*/ 65 w 481"/>
                  <a:gd name="T27" fmla="*/ 58 h 339"/>
                  <a:gd name="T28" fmla="*/ 181 w 481"/>
                  <a:gd name="T29" fmla="*/ 1 h 339"/>
                  <a:gd name="T30" fmla="*/ 180 w 481"/>
                  <a:gd name="T31" fmla="*/ 0 h 3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481" h="339">
                    <a:moveTo>
                      <a:pt x="180" y="0"/>
                    </a:moveTo>
                    <a:cubicBezTo>
                      <a:pt x="105" y="2"/>
                      <a:pt x="28" y="60"/>
                      <a:pt x="14" y="137"/>
                    </a:cubicBezTo>
                    <a:cubicBezTo>
                      <a:pt x="0" y="223"/>
                      <a:pt x="75" y="275"/>
                      <a:pt x="147" y="299"/>
                    </a:cubicBezTo>
                    <a:cubicBezTo>
                      <a:pt x="193" y="314"/>
                      <a:pt x="242" y="325"/>
                      <a:pt x="289" y="332"/>
                    </a:cubicBezTo>
                    <a:cubicBezTo>
                      <a:pt x="325" y="338"/>
                      <a:pt x="363" y="339"/>
                      <a:pt x="397" y="322"/>
                    </a:cubicBezTo>
                    <a:cubicBezTo>
                      <a:pt x="467" y="287"/>
                      <a:pt x="460" y="206"/>
                      <a:pt x="420" y="150"/>
                    </a:cubicBezTo>
                    <a:cubicBezTo>
                      <a:pt x="363" y="72"/>
                      <a:pt x="274" y="16"/>
                      <a:pt x="178" y="5"/>
                    </a:cubicBezTo>
                    <a:cubicBezTo>
                      <a:pt x="173" y="4"/>
                      <a:pt x="172" y="12"/>
                      <a:pt x="177" y="12"/>
                    </a:cubicBezTo>
                    <a:cubicBezTo>
                      <a:pt x="252" y="21"/>
                      <a:pt x="319" y="57"/>
                      <a:pt x="374" y="110"/>
                    </a:cubicBezTo>
                    <a:cubicBezTo>
                      <a:pt x="421" y="155"/>
                      <a:pt x="481" y="245"/>
                      <a:pt x="414" y="301"/>
                    </a:cubicBezTo>
                    <a:cubicBezTo>
                      <a:pt x="386" y="325"/>
                      <a:pt x="348" y="330"/>
                      <a:pt x="312" y="327"/>
                    </a:cubicBezTo>
                    <a:cubicBezTo>
                      <a:pt x="272" y="324"/>
                      <a:pt x="232" y="313"/>
                      <a:pt x="193" y="304"/>
                    </a:cubicBezTo>
                    <a:cubicBezTo>
                      <a:pt x="126" y="288"/>
                      <a:pt x="37" y="257"/>
                      <a:pt x="22" y="179"/>
                    </a:cubicBezTo>
                    <a:cubicBezTo>
                      <a:pt x="13" y="134"/>
                      <a:pt x="34" y="90"/>
                      <a:pt x="65" y="58"/>
                    </a:cubicBezTo>
                    <a:cubicBezTo>
                      <a:pt x="96" y="25"/>
                      <a:pt x="136" y="6"/>
                      <a:pt x="181" y="1"/>
                    </a:cubicBezTo>
                    <a:cubicBezTo>
                      <a:pt x="181" y="1"/>
                      <a:pt x="181" y="0"/>
                      <a:pt x="180" y="0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20" name="Freeform 166">
                <a:extLst>
                  <a:ext uri="{FF2B5EF4-FFF2-40B4-BE49-F238E27FC236}">
                    <a16:creationId xmlns:a16="http://schemas.microsoft.com/office/drawing/2014/main" id="{3B3AF5C2-0EA5-402F-A4BA-0BDB722EE58D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524" y="1341"/>
                <a:ext cx="154" cy="158"/>
              </a:xfrm>
              <a:custGeom>
                <a:avLst/>
                <a:gdLst>
                  <a:gd name="T0" fmla="*/ 65 w 146"/>
                  <a:gd name="T1" fmla="*/ 2 h 149"/>
                  <a:gd name="T2" fmla="*/ 18 w 146"/>
                  <a:gd name="T3" fmla="*/ 31 h 149"/>
                  <a:gd name="T4" fmla="*/ 1 w 146"/>
                  <a:gd name="T5" fmla="*/ 83 h 149"/>
                  <a:gd name="T6" fmla="*/ 76 w 146"/>
                  <a:gd name="T7" fmla="*/ 146 h 149"/>
                  <a:gd name="T8" fmla="*/ 144 w 146"/>
                  <a:gd name="T9" fmla="*/ 79 h 149"/>
                  <a:gd name="T10" fmla="*/ 76 w 146"/>
                  <a:gd name="T11" fmla="*/ 1 h 149"/>
                  <a:gd name="T12" fmla="*/ 74 w 146"/>
                  <a:gd name="T13" fmla="*/ 7 h 149"/>
                  <a:gd name="T14" fmla="*/ 111 w 146"/>
                  <a:gd name="T15" fmla="*/ 20 h 149"/>
                  <a:gd name="T16" fmla="*/ 134 w 146"/>
                  <a:gd name="T17" fmla="*/ 63 h 149"/>
                  <a:gd name="T18" fmla="*/ 81 w 146"/>
                  <a:gd name="T19" fmla="*/ 139 h 149"/>
                  <a:gd name="T20" fmla="*/ 28 w 146"/>
                  <a:gd name="T21" fmla="*/ 123 h 149"/>
                  <a:gd name="T22" fmla="*/ 9 w 146"/>
                  <a:gd name="T23" fmla="*/ 71 h 149"/>
                  <a:gd name="T24" fmla="*/ 24 w 146"/>
                  <a:gd name="T25" fmla="*/ 34 h 149"/>
                  <a:gd name="T26" fmla="*/ 66 w 146"/>
                  <a:gd name="T27" fmla="*/ 5 h 149"/>
                  <a:gd name="T28" fmla="*/ 65 w 146"/>
                  <a:gd name="T29" fmla="*/ 2 h 1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146" h="149">
                    <a:moveTo>
                      <a:pt x="65" y="2"/>
                    </a:moveTo>
                    <a:cubicBezTo>
                      <a:pt x="47" y="8"/>
                      <a:pt x="30" y="14"/>
                      <a:pt x="18" y="31"/>
                    </a:cubicBezTo>
                    <a:cubicBezTo>
                      <a:pt x="8" y="45"/>
                      <a:pt x="2" y="65"/>
                      <a:pt x="1" y="83"/>
                    </a:cubicBezTo>
                    <a:cubicBezTo>
                      <a:pt x="0" y="119"/>
                      <a:pt x="41" y="149"/>
                      <a:pt x="76" y="146"/>
                    </a:cubicBezTo>
                    <a:cubicBezTo>
                      <a:pt x="107" y="144"/>
                      <a:pt x="142" y="110"/>
                      <a:pt x="144" y="79"/>
                    </a:cubicBezTo>
                    <a:cubicBezTo>
                      <a:pt x="146" y="33"/>
                      <a:pt x="119" y="5"/>
                      <a:pt x="76" y="1"/>
                    </a:cubicBezTo>
                    <a:cubicBezTo>
                      <a:pt x="71" y="0"/>
                      <a:pt x="70" y="6"/>
                      <a:pt x="74" y="7"/>
                    </a:cubicBezTo>
                    <a:cubicBezTo>
                      <a:pt x="87" y="11"/>
                      <a:pt x="100" y="13"/>
                      <a:pt x="111" y="20"/>
                    </a:cubicBezTo>
                    <a:cubicBezTo>
                      <a:pt x="126" y="29"/>
                      <a:pt x="132" y="46"/>
                      <a:pt x="134" y="63"/>
                    </a:cubicBezTo>
                    <a:cubicBezTo>
                      <a:pt x="140" y="95"/>
                      <a:pt x="113" y="132"/>
                      <a:pt x="81" y="139"/>
                    </a:cubicBezTo>
                    <a:cubicBezTo>
                      <a:pt x="62" y="144"/>
                      <a:pt x="42" y="135"/>
                      <a:pt x="28" y="123"/>
                    </a:cubicBezTo>
                    <a:cubicBezTo>
                      <a:pt x="12" y="109"/>
                      <a:pt x="5" y="92"/>
                      <a:pt x="9" y="71"/>
                    </a:cubicBezTo>
                    <a:cubicBezTo>
                      <a:pt x="12" y="58"/>
                      <a:pt x="16" y="45"/>
                      <a:pt x="24" y="34"/>
                    </a:cubicBezTo>
                    <a:cubicBezTo>
                      <a:pt x="34" y="19"/>
                      <a:pt x="50" y="13"/>
                      <a:pt x="66" y="5"/>
                    </a:cubicBezTo>
                    <a:cubicBezTo>
                      <a:pt x="68" y="4"/>
                      <a:pt x="67" y="2"/>
                      <a:pt x="65" y="2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21" name="Freeform 167">
                <a:extLst>
                  <a:ext uri="{FF2B5EF4-FFF2-40B4-BE49-F238E27FC236}">
                    <a16:creationId xmlns:a16="http://schemas.microsoft.com/office/drawing/2014/main" id="{EF72F52E-79B5-4A51-A3B5-6CC58C98DC3C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538" y="1374"/>
                <a:ext cx="168" cy="169"/>
              </a:xfrm>
              <a:custGeom>
                <a:avLst/>
                <a:gdLst>
                  <a:gd name="T0" fmla="*/ 1 w 158"/>
                  <a:gd name="T1" fmla="*/ 88 h 160"/>
                  <a:gd name="T2" fmla="*/ 129 w 158"/>
                  <a:gd name="T3" fmla="*/ 112 h 160"/>
                  <a:gd name="T4" fmla="*/ 150 w 158"/>
                  <a:gd name="T5" fmla="*/ 40 h 160"/>
                  <a:gd name="T6" fmla="*/ 116 w 158"/>
                  <a:gd name="T7" fmla="*/ 1 h 160"/>
                  <a:gd name="T8" fmla="*/ 116 w 158"/>
                  <a:gd name="T9" fmla="*/ 5 h 160"/>
                  <a:gd name="T10" fmla="*/ 146 w 158"/>
                  <a:gd name="T11" fmla="*/ 63 h 160"/>
                  <a:gd name="T12" fmla="*/ 110 w 158"/>
                  <a:gd name="T13" fmla="*/ 121 h 160"/>
                  <a:gd name="T14" fmla="*/ 45 w 158"/>
                  <a:gd name="T15" fmla="*/ 134 h 160"/>
                  <a:gd name="T16" fmla="*/ 5 w 158"/>
                  <a:gd name="T17" fmla="*/ 87 h 160"/>
                  <a:gd name="T18" fmla="*/ 1 w 158"/>
                  <a:gd name="T19" fmla="*/ 88 h 1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58" h="160">
                    <a:moveTo>
                      <a:pt x="1" y="88"/>
                    </a:moveTo>
                    <a:cubicBezTo>
                      <a:pt x="15" y="150"/>
                      <a:pt x="91" y="160"/>
                      <a:pt x="129" y="112"/>
                    </a:cubicBezTo>
                    <a:cubicBezTo>
                      <a:pt x="147" y="91"/>
                      <a:pt x="158" y="67"/>
                      <a:pt x="150" y="40"/>
                    </a:cubicBezTo>
                    <a:cubicBezTo>
                      <a:pt x="145" y="24"/>
                      <a:pt x="136" y="0"/>
                      <a:pt x="116" y="1"/>
                    </a:cubicBezTo>
                    <a:cubicBezTo>
                      <a:pt x="113" y="1"/>
                      <a:pt x="114" y="5"/>
                      <a:pt x="116" y="5"/>
                    </a:cubicBezTo>
                    <a:cubicBezTo>
                      <a:pt x="141" y="6"/>
                      <a:pt x="148" y="43"/>
                      <a:pt x="146" y="63"/>
                    </a:cubicBezTo>
                    <a:cubicBezTo>
                      <a:pt x="144" y="84"/>
                      <a:pt x="127" y="109"/>
                      <a:pt x="110" y="121"/>
                    </a:cubicBezTo>
                    <a:cubicBezTo>
                      <a:pt x="91" y="134"/>
                      <a:pt x="67" y="142"/>
                      <a:pt x="45" y="134"/>
                    </a:cubicBezTo>
                    <a:cubicBezTo>
                      <a:pt x="25" y="127"/>
                      <a:pt x="11" y="106"/>
                      <a:pt x="5" y="87"/>
                    </a:cubicBezTo>
                    <a:cubicBezTo>
                      <a:pt x="4" y="85"/>
                      <a:pt x="0" y="85"/>
                      <a:pt x="1" y="88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22" name="Freeform 168">
                <a:extLst>
                  <a:ext uri="{FF2B5EF4-FFF2-40B4-BE49-F238E27FC236}">
                    <a16:creationId xmlns:a16="http://schemas.microsoft.com/office/drawing/2014/main" id="{3D9F2557-484F-429D-B050-53BADC8B22E4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430" y="1251"/>
                <a:ext cx="44" cy="55"/>
              </a:xfrm>
              <a:custGeom>
                <a:avLst/>
                <a:gdLst>
                  <a:gd name="T0" fmla="*/ 7 w 41"/>
                  <a:gd name="T1" fmla="*/ 48 h 52"/>
                  <a:gd name="T2" fmla="*/ 9 w 41"/>
                  <a:gd name="T3" fmla="*/ 30 h 52"/>
                  <a:gd name="T4" fmla="*/ 9 w 41"/>
                  <a:gd name="T5" fmla="*/ 9 h 52"/>
                  <a:gd name="T6" fmla="*/ 12 w 41"/>
                  <a:gd name="T7" fmla="*/ 5 h 52"/>
                  <a:gd name="T8" fmla="*/ 17 w 41"/>
                  <a:gd name="T9" fmla="*/ 5 h 52"/>
                  <a:gd name="T10" fmla="*/ 27 w 41"/>
                  <a:gd name="T11" fmla="*/ 10 h 52"/>
                  <a:gd name="T12" fmla="*/ 37 w 41"/>
                  <a:gd name="T13" fmla="*/ 15 h 52"/>
                  <a:gd name="T14" fmla="*/ 39 w 41"/>
                  <a:gd name="T15" fmla="*/ 10 h 52"/>
                  <a:gd name="T16" fmla="*/ 8 w 41"/>
                  <a:gd name="T17" fmla="*/ 1 h 52"/>
                  <a:gd name="T18" fmla="*/ 6 w 41"/>
                  <a:gd name="T19" fmla="*/ 2 h 52"/>
                  <a:gd name="T20" fmla="*/ 0 w 41"/>
                  <a:gd name="T21" fmla="*/ 47 h 52"/>
                  <a:gd name="T22" fmla="*/ 7 w 41"/>
                  <a:gd name="T23" fmla="*/ 48 h 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1" h="52">
                    <a:moveTo>
                      <a:pt x="7" y="48"/>
                    </a:moveTo>
                    <a:cubicBezTo>
                      <a:pt x="9" y="42"/>
                      <a:pt x="9" y="36"/>
                      <a:pt x="9" y="30"/>
                    </a:cubicBezTo>
                    <a:cubicBezTo>
                      <a:pt x="9" y="24"/>
                      <a:pt x="7" y="14"/>
                      <a:pt x="9" y="9"/>
                    </a:cubicBezTo>
                    <a:cubicBezTo>
                      <a:pt x="8" y="6"/>
                      <a:pt x="9" y="5"/>
                      <a:pt x="12" y="5"/>
                    </a:cubicBezTo>
                    <a:cubicBezTo>
                      <a:pt x="13" y="4"/>
                      <a:pt x="15" y="4"/>
                      <a:pt x="17" y="5"/>
                    </a:cubicBezTo>
                    <a:cubicBezTo>
                      <a:pt x="21" y="6"/>
                      <a:pt x="24" y="8"/>
                      <a:pt x="27" y="10"/>
                    </a:cubicBezTo>
                    <a:cubicBezTo>
                      <a:pt x="30" y="12"/>
                      <a:pt x="33" y="14"/>
                      <a:pt x="37" y="15"/>
                    </a:cubicBezTo>
                    <a:cubicBezTo>
                      <a:pt x="40" y="15"/>
                      <a:pt x="41" y="11"/>
                      <a:pt x="39" y="10"/>
                    </a:cubicBezTo>
                    <a:cubicBezTo>
                      <a:pt x="29" y="5"/>
                      <a:pt x="19" y="0"/>
                      <a:pt x="8" y="1"/>
                    </a:cubicBezTo>
                    <a:cubicBezTo>
                      <a:pt x="7" y="1"/>
                      <a:pt x="7" y="1"/>
                      <a:pt x="6" y="2"/>
                    </a:cubicBezTo>
                    <a:cubicBezTo>
                      <a:pt x="2" y="17"/>
                      <a:pt x="3" y="32"/>
                      <a:pt x="0" y="47"/>
                    </a:cubicBezTo>
                    <a:cubicBezTo>
                      <a:pt x="0" y="51"/>
                      <a:pt x="6" y="52"/>
                      <a:pt x="7" y="48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23" name="Freeform 169">
                <a:extLst>
                  <a:ext uri="{FF2B5EF4-FFF2-40B4-BE49-F238E27FC236}">
                    <a16:creationId xmlns:a16="http://schemas.microsoft.com/office/drawing/2014/main" id="{6D1F6BD7-C25C-4479-A722-44E151467E74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357" y="1244"/>
                <a:ext cx="92" cy="71"/>
              </a:xfrm>
              <a:custGeom>
                <a:avLst/>
                <a:gdLst>
                  <a:gd name="T0" fmla="*/ 84 w 87"/>
                  <a:gd name="T1" fmla="*/ 6 h 67"/>
                  <a:gd name="T2" fmla="*/ 53 w 87"/>
                  <a:gd name="T3" fmla="*/ 4 h 67"/>
                  <a:gd name="T4" fmla="*/ 2 w 87"/>
                  <a:gd name="T5" fmla="*/ 23 h 67"/>
                  <a:gd name="T6" fmla="*/ 1 w 87"/>
                  <a:gd name="T7" fmla="*/ 26 h 67"/>
                  <a:gd name="T8" fmla="*/ 16 w 87"/>
                  <a:gd name="T9" fmla="*/ 53 h 67"/>
                  <a:gd name="T10" fmla="*/ 28 w 87"/>
                  <a:gd name="T11" fmla="*/ 66 h 67"/>
                  <a:gd name="T12" fmla="*/ 30 w 87"/>
                  <a:gd name="T13" fmla="*/ 62 h 67"/>
                  <a:gd name="T14" fmla="*/ 18 w 87"/>
                  <a:gd name="T15" fmla="*/ 43 h 67"/>
                  <a:gd name="T16" fmla="*/ 14 w 87"/>
                  <a:gd name="T17" fmla="*/ 34 h 67"/>
                  <a:gd name="T18" fmla="*/ 20 w 87"/>
                  <a:gd name="T19" fmla="*/ 21 h 67"/>
                  <a:gd name="T20" fmla="*/ 83 w 87"/>
                  <a:gd name="T21" fmla="*/ 10 h 67"/>
                  <a:gd name="T22" fmla="*/ 84 w 87"/>
                  <a:gd name="T23" fmla="*/ 6 h 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87" h="67">
                    <a:moveTo>
                      <a:pt x="84" y="6"/>
                    </a:moveTo>
                    <a:cubicBezTo>
                      <a:pt x="74" y="0"/>
                      <a:pt x="65" y="2"/>
                      <a:pt x="53" y="4"/>
                    </a:cubicBezTo>
                    <a:cubicBezTo>
                      <a:pt x="35" y="8"/>
                      <a:pt x="18" y="14"/>
                      <a:pt x="2" y="23"/>
                    </a:cubicBezTo>
                    <a:cubicBezTo>
                      <a:pt x="1" y="23"/>
                      <a:pt x="0" y="25"/>
                      <a:pt x="1" y="26"/>
                    </a:cubicBezTo>
                    <a:cubicBezTo>
                      <a:pt x="5" y="36"/>
                      <a:pt x="12" y="43"/>
                      <a:pt x="16" y="53"/>
                    </a:cubicBezTo>
                    <a:cubicBezTo>
                      <a:pt x="19" y="58"/>
                      <a:pt x="21" y="64"/>
                      <a:pt x="28" y="66"/>
                    </a:cubicBezTo>
                    <a:cubicBezTo>
                      <a:pt x="30" y="67"/>
                      <a:pt x="32" y="64"/>
                      <a:pt x="30" y="62"/>
                    </a:cubicBezTo>
                    <a:cubicBezTo>
                      <a:pt x="24" y="57"/>
                      <a:pt x="21" y="50"/>
                      <a:pt x="18" y="43"/>
                    </a:cubicBezTo>
                    <a:cubicBezTo>
                      <a:pt x="17" y="40"/>
                      <a:pt x="15" y="37"/>
                      <a:pt x="14" y="34"/>
                    </a:cubicBezTo>
                    <a:cubicBezTo>
                      <a:pt x="10" y="25"/>
                      <a:pt x="9" y="25"/>
                      <a:pt x="20" y="21"/>
                    </a:cubicBezTo>
                    <a:cubicBezTo>
                      <a:pt x="40" y="13"/>
                      <a:pt x="62" y="7"/>
                      <a:pt x="83" y="10"/>
                    </a:cubicBezTo>
                    <a:cubicBezTo>
                      <a:pt x="86" y="11"/>
                      <a:pt x="87" y="7"/>
                      <a:pt x="84" y="6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24" name="Freeform 170">
                <a:extLst>
                  <a:ext uri="{FF2B5EF4-FFF2-40B4-BE49-F238E27FC236}">
                    <a16:creationId xmlns:a16="http://schemas.microsoft.com/office/drawing/2014/main" id="{CE06D4BC-32C7-4696-8FD5-E7CD9FFCD35A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319" y="1305"/>
                <a:ext cx="68" cy="67"/>
              </a:xfrm>
              <a:custGeom>
                <a:avLst/>
                <a:gdLst>
                  <a:gd name="T0" fmla="*/ 61 w 64"/>
                  <a:gd name="T1" fmla="*/ 3 h 63"/>
                  <a:gd name="T2" fmla="*/ 41 w 64"/>
                  <a:gd name="T3" fmla="*/ 1 h 63"/>
                  <a:gd name="T4" fmla="*/ 28 w 64"/>
                  <a:gd name="T5" fmla="*/ 2 h 63"/>
                  <a:gd name="T6" fmla="*/ 4 w 64"/>
                  <a:gd name="T7" fmla="*/ 8 h 63"/>
                  <a:gd name="T8" fmla="*/ 2 w 64"/>
                  <a:gd name="T9" fmla="*/ 24 h 63"/>
                  <a:gd name="T10" fmla="*/ 3 w 64"/>
                  <a:gd name="T11" fmla="*/ 46 h 63"/>
                  <a:gd name="T12" fmla="*/ 7 w 64"/>
                  <a:gd name="T13" fmla="*/ 61 h 63"/>
                  <a:gd name="T14" fmla="*/ 12 w 64"/>
                  <a:gd name="T15" fmla="*/ 59 h 63"/>
                  <a:gd name="T16" fmla="*/ 10 w 64"/>
                  <a:gd name="T17" fmla="*/ 56 h 63"/>
                  <a:gd name="T18" fmla="*/ 7 w 64"/>
                  <a:gd name="T19" fmla="*/ 57 h 63"/>
                  <a:gd name="T20" fmla="*/ 7 w 64"/>
                  <a:gd name="T21" fmla="*/ 60 h 63"/>
                  <a:gd name="T22" fmla="*/ 12 w 64"/>
                  <a:gd name="T23" fmla="*/ 58 h 63"/>
                  <a:gd name="T24" fmla="*/ 7 w 64"/>
                  <a:gd name="T25" fmla="*/ 27 h 63"/>
                  <a:gd name="T26" fmla="*/ 6 w 64"/>
                  <a:gd name="T27" fmla="*/ 17 h 63"/>
                  <a:gd name="T28" fmla="*/ 12 w 64"/>
                  <a:gd name="T29" fmla="*/ 10 h 63"/>
                  <a:gd name="T30" fmla="*/ 31 w 64"/>
                  <a:gd name="T31" fmla="*/ 8 h 63"/>
                  <a:gd name="T32" fmla="*/ 49 w 64"/>
                  <a:gd name="T33" fmla="*/ 8 h 63"/>
                  <a:gd name="T34" fmla="*/ 57 w 64"/>
                  <a:gd name="T35" fmla="*/ 10 h 63"/>
                  <a:gd name="T36" fmla="*/ 63 w 64"/>
                  <a:gd name="T37" fmla="*/ 5 h 63"/>
                  <a:gd name="T38" fmla="*/ 61 w 64"/>
                  <a:gd name="T39" fmla="*/ 3 h 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64" h="63">
                    <a:moveTo>
                      <a:pt x="61" y="3"/>
                    </a:moveTo>
                    <a:cubicBezTo>
                      <a:pt x="58" y="6"/>
                      <a:pt x="45" y="1"/>
                      <a:pt x="41" y="1"/>
                    </a:cubicBezTo>
                    <a:cubicBezTo>
                      <a:pt x="37" y="0"/>
                      <a:pt x="32" y="1"/>
                      <a:pt x="28" y="2"/>
                    </a:cubicBezTo>
                    <a:cubicBezTo>
                      <a:pt x="22" y="3"/>
                      <a:pt x="8" y="4"/>
                      <a:pt x="4" y="8"/>
                    </a:cubicBezTo>
                    <a:cubicBezTo>
                      <a:pt x="0" y="11"/>
                      <a:pt x="1" y="20"/>
                      <a:pt x="2" y="24"/>
                    </a:cubicBezTo>
                    <a:cubicBezTo>
                      <a:pt x="2" y="32"/>
                      <a:pt x="3" y="38"/>
                      <a:pt x="3" y="46"/>
                    </a:cubicBezTo>
                    <a:cubicBezTo>
                      <a:pt x="4" y="51"/>
                      <a:pt x="4" y="56"/>
                      <a:pt x="7" y="61"/>
                    </a:cubicBezTo>
                    <a:cubicBezTo>
                      <a:pt x="8" y="63"/>
                      <a:pt x="13" y="62"/>
                      <a:pt x="12" y="59"/>
                    </a:cubicBezTo>
                    <a:cubicBezTo>
                      <a:pt x="12" y="58"/>
                      <a:pt x="11" y="57"/>
                      <a:pt x="10" y="56"/>
                    </a:cubicBezTo>
                    <a:cubicBezTo>
                      <a:pt x="10" y="55"/>
                      <a:pt x="7" y="55"/>
                      <a:pt x="7" y="57"/>
                    </a:cubicBezTo>
                    <a:cubicBezTo>
                      <a:pt x="7" y="58"/>
                      <a:pt x="6" y="59"/>
                      <a:pt x="7" y="60"/>
                    </a:cubicBezTo>
                    <a:cubicBezTo>
                      <a:pt x="8" y="59"/>
                      <a:pt x="10" y="59"/>
                      <a:pt x="12" y="58"/>
                    </a:cubicBezTo>
                    <a:cubicBezTo>
                      <a:pt x="7" y="49"/>
                      <a:pt x="8" y="37"/>
                      <a:pt x="7" y="27"/>
                    </a:cubicBezTo>
                    <a:cubicBezTo>
                      <a:pt x="6" y="24"/>
                      <a:pt x="5" y="20"/>
                      <a:pt x="6" y="17"/>
                    </a:cubicBezTo>
                    <a:cubicBezTo>
                      <a:pt x="6" y="12"/>
                      <a:pt x="8" y="11"/>
                      <a:pt x="12" y="10"/>
                    </a:cubicBezTo>
                    <a:cubicBezTo>
                      <a:pt x="18" y="9"/>
                      <a:pt x="25" y="8"/>
                      <a:pt x="31" y="8"/>
                    </a:cubicBezTo>
                    <a:cubicBezTo>
                      <a:pt x="37" y="7"/>
                      <a:pt x="43" y="7"/>
                      <a:pt x="49" y="8"/>
                    </a:cubicBezTo>
                    <a:cubicBezTo>
                      <a:pt x="51" y="9"/>
                      <a:pt x="54" y="10"/>
                      <a:pt x="57" y="10"/>
                    </a:cubicBezTo>
                    <a:cubicBezTo>
                      <a:pt x="60" y="9"/>
                      <a:pt x="62" y="8"/>
                      <a:pt x="63" y="5"/>
                    </a:cubicBezTo>
                    <a:cubicBezTo>
                      <a:pt x="64" y="3"/>
                      <a:pt x="62" y="2"/>
                      <a:pt x="61" y="3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25" name="Freeform 171">
                <a:extLst>
                  <a:ext uri="{FF2B5EF4-FFF2-40B4-BE49-F238E27FC236}">
                    <a16:creationId xmlns:a16="http://schemas.microsoft.com/office/drawing/2014/main" id="{DC23B966-1619-4623-A7AD-DADA6FE160E9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324" y="1344"/>
                <a:ext cx="67" cy="27"/>
              </a:xfrm>
              <a:custGeom>
                <a:avLst/>
                <a:gdLst>
                  <a:gd name="T0" fmla="*/ 2 w 63"/>
                  <a:gd name="T1" fmla="*/ 25 h 25"/>
                  <a:gd name="T2" fmla="*/ 33 w 63"/>
                  <a:gd name="T3" fmla="*/ 16 h 25"/>
                  <a:gd name="T4" fmla="*/ 60 w 63"/>
                  <a:gd name="T5" fmla="*/ 7 h 25"/>
                  <a:gd name="T6" fmla="*/ 58 w 63"/>
                  <a:gd name="T7" fmla="*/ 1 h 25"/>
                  <a:gd name="T8" fmla="*/ 32 w 63"/>
                  <a:gd name="T9" fmla="*/ 9 h 25"/>
                  <a:gd name="T10" fmla="*/ 2 w 63"/>
                  <a:gd name="T11" fmla="*/ 21 h 25"/>
                  <a:gd name="T12" fmla="*/ 2 w 63"/>
                  <a:gd name="T13" fmla="*/ 25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3" h="25">
                    <a:moveTo>
                      <a:pt x="2" y="25"/>
                    </a:moveTo>
                    <a:cubicBezTo>
                      <a:pt x="13" y="24"/>
                      <a:pt x="23" y="20"/>
                      <a:pt x="33" y="16"/>
                    </a:cubicBezTo>
                    <a:cubicBezTo>
                      <a:pt x="42" y="13"/>
                      <a:pt x="52" y="11"/>
                      <a:pt x="60" y="7"/>
                    </a:cubicBezTo>
                    <a:cubicBezTo>
                      <a:pt x="63" y="5"/>
                      <a:pt x="61" y="1"/>
                      <a:pt x="58" y="1"/>
                    </a:cubicBezTo>
                    <a:cubicBezTo>
                      <a:pt x="49" y="0"/>
                      <a:pt x="40" y="5"/>
                      <a:pt x="32" y="9"/>
                    </a:cubicBezTo>
                    <a:cubicBezTo>
                      <a:pt x="22" y="13"/>
                      <a:pt x="12" y="17"/>
                      <a:pt x="2" y="21"/>
                    </a:cubicBezTo>
                    <a:cubicBezTo>
                      <a:pt x="0" y="22"/>
                      <a:pt x="0" y="25"/>
                      <a:pt x="2" y="25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26" name="Freeform 172">
                <a:extLst>
                  <a:ext uri="{FF2B5EF4-FFF2-40B4-BE49-F238E27FC236}">
                    <a16:creationId xmlns:a16="http://schemas.microsoft.com/office/drawing/2014/main" id="{665AD3FA-BDC6-43C9-AF6D-BD042CA4E9D7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328" y="1363"/>
                <a:ext cx="24" cy="18"/>
              </a:xfrm>
              <a:custGeom>
                <a:avLst/>
                <a:gdLst>
                  <a:gd name="T0" fmla="*/ 4 w 23"/>
                  <a:gd name="T1" fmla="*/ 1 h 17"/>
                  <a:gd name="T2" fmla="*/ 19 w 23"/>
                  <a:gd name="T3" fmla="*/ 17 h 17"/>
                  <a:gd name="T4" fmla="*/ 21 w 23"/>
                  <a:gd name="T5" fmla="*/ 13 h 17"/>
                  <a:gd name="T6" fmla="*/ 13 w 23"/>
                  <a:gd name="T7" fmla="*/ 8 h 17"/>
                  <a:gd name="T8" fmla="*/ 6 w 23"/>
                  <a:gd name="T9" fmla="*/ 2 h 17"/>
                  <a:gd name="T10" fmla="*/ 4 w 23"/>
                  <a:gd name="T11" fmla="*/ 1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3" h="17">
                    <a:moveTo>
                      <a:pt x="4" y="1"/>
                    </a:moveTo>
                    <a:cubicBezTo>
                      <a:pt x="0" y="10"/>
                      <a:pt x="12" y="16"/>
                      <a:pt x="19" y="17"/>
                    </a:cubicBezTo>
                    <a:cubicBezTo>
                      <a:pt x="21" y="17"/>
                      <a:pt x="23" y="15"/>
                      <a:pt x="21" y="13"/>
                    </a:cubicBezTo>
                    <a:cubicBezTo>
                      <a:pt x="19" y="10"/>
                      <a:pt x="16" y="9"/>
                      <a:pt x="13" y="8"/>
                    </a:cubicBezTo>
                    <a:cubicBezTo>
                      <a:pt x="9" y="7"/>
                      <a:pt x="5" y="6"/>
                      <a:pt x="6" y="2"/>
                    </a:cubicBezTo>
                    <a:cubicBezTo>
                      <a:pt x="7" y="0"/>
                      <a:pt x="4" y="0"/>
                      <a:pt x="4" y="1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27" name="Freeform 173">
                <a:extLst>
                  <a:ext uri="{FF2B5EF4-FFF2-40B4-BE49-F238E27FC236}">
                    <a16:creationId xmlns:a16="http://schemas.microsoft.com/office/drawing/2014/main" id="{1FCD1C60-755C-4F84-87E3-CAE9FF145F33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338" y="1349"/>
                <a:ext cx="100" cy="69"/>
              </a:xfrm>
              <a:custGeom>
                <a:avLst/>
                <a:gdLst>
                  <a:gd name="T0" fmla="*/ 42 w 94"/>
                  <a:gd name="T1" fmla="*/ 1 h 66"/>
                  <a:gd name="T2" fmla="*/ 4 w 94"/>
                  <a:gd name="T3" fmla="*/ 35 h 66"/>
                  <a:gd name="T4" fmla="*/ 22 w 94"/>
                  <a:gd name="T5" fmla="*/ 57 h 66"/>
                  <a:gd name="T6" fmla="*/ 58 w 94"/>
                  <a:gd name="T7" fmla="*/ 62 h 66"/>
                  <a:gd name="T8" fmla="*/ 93 w 94"/>
                  <a:gd name="T9" fmla="*/ 47 h 66"/>
                  <a:gd name="T10" fmla="*/ 89 w 94"/>
                  <a:gd name="T11" fmla="*/ 43 h 66"/>
                  <a:gd name="T12" fmla="*/ 60 w 94"/>
                  <a:gd name="T13" fmla="*/ 52 h 66"/>
                  <a:gd name="T14" fmla="*/ 32 w 94"/>
                  <a:gd name="T15" fmla="*/ 53 h 66"/>
                  <a:gd name="T16" fmla="*/ 20 w 94"/>
                  <a:gd name="T17" fmla="*/ 44 h 66"/>
                  <a:gd name="T18" fmla="*/ 12 w 94"/>
                  <a:gd name="T19" fmla="*/ 35 h 66"/>
                  <a:gd name="T20" fmla="*/ 27 w 94"/>
                  <a:gd name="T21" fmla="*/ 22 h 66"/>
                  <a:gd name="T22" fmla="*/ 45 w 94"/>
                  <a:gd name="T23" fmla="*/ 4 h 66"/>
                  <a:gd name="T24" fmla="*/ 42 w 94"/>
                  <a:gd name="T25" fmla="*/ 1 h 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94" h="66">
                    <a:moveTo>
                      <a:pt x="42" y="1"/>
                    </a:moveTo>
                    <a:cubicBezTo>
                      <a:pt x="32" y="9"/>
                      <a:pt x="8" y="22"/>
                      <a:pt x="4" y="35"/>
                    </a:cubicBezTo>
                    <a:cubicBezTo>
                      <a:pt x="0" y="47"/>
                      <a:pt x="15" y="51"/>
                      <a:pt x="22" y="57"/>
                    </a:cubicBezTo>
                    <a:cubicBezTo>
                      <a:pt x="33" y="66"/>
                      <a:pt x="45" y="64"/>
                      <a:pt x="58" y="62"/>
                    </a:cubicBezTo>
                    <a:cubicBezTo>
                      <a:pt x="71" y="60"/>
                      <a:pt x="86" y="60"/>
                      <a:pt x="93" y="47"/>
                    </a:cubicBezTo>
                    <a:cubicBezTo>
                      <a:pt x="94" y="45"/>
                      <a:pt x="91" y="41"/>
                      <a:pt x="89" y="43"/>
                    </a:cubicBezTo>
                    <a:cubicBezTo>
                      <a:pt x="79" y="47"/>
                      <a:pt x="70" y="50"/>
                      <a:pt x="60" y="52"/>
                    </a:cubicBezTo>
                    <a:cubicBezTo>
                      <a:pt x="50" y="54"/>
                      <a:pt x="42" y="57"/>
                      <a:pt x="32" y="53"/>
                    </a:cubicBezTo>
                    <a:cubicBezTo>
                      <a:pt x="27" y="50"/>
                      <a:pt x="25" y="47"/>
                      <a:pt x="20" y="44"/>
                    </a:cubicBezTo>
                    <a:cubicBezTo>
                      <a:pt x="17" y="42"/>
                      <a:pt x="10" y="42"/>
                      <a:pt x="12" y="35"/>
                    </a:cubicBezTo>
                    <a:cubicBezTo>
                      <a:pt x="14" y="31"/>
                      <a:pt x="23" y="25"/>
                      <a:pt x="27" y="22"/>
                    </a:cubicBezTo>
                    <a:cubicBezTo>
                      <a:pt x="33" y="16"/>
                      <a:pt x="40" y="11"/>
                      <a:pt x="45" y="4"/>
                    </a:cubicBezTo>
                    <a:cubicBezTo>
                      <a:pt x="46" y="2"/>
                      <a:pt x="44" y="0"/>
                      <a:pt x="42" y="1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28" name="Freeform 174">
                <a:extLst>
                  <a:ext uri="{FF2B5EF4-FFF2-40B4-BE49-F238E27FC236}">
                    <a16:creationId xmlns:a16="http://schemas.microsoft.com/office/drawing/2014/main" id="{A509A18D-B6FA-4707-8BE3-28856D18A561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421" y="1339"/>
                <a:ext cx="17" cy="59"/>
              </a:xfrm>
              <a:custGeom>
                <a:avLst/>
                <a:gdLst>
                  <a:gd name="T0" fmla="*/ 10 w 16"/>
                  <a:gd name="T1" fmla="*/ 55 h 56"/>
                  <a:gd name="T2" fmla="*/ 13 w 16"/>
                  <a:gd name="T3" fmla="*/ 34 h 56"/>
                  <a:gd name="T4" fmla="*/ 5 w 16"/>
                  <a:gd name="T5" fmla="*/ 2 h 56"/>
                  <a:gd name="T6" fmla="*/ 0 w 16"/>
                  <a:gd name="T7" fmla="*/ 3 h 56"/>
                  <a:gd name="T8" fmla="*/ 4 w 16"/>
                  <a:gd name="T9" fmla="*/ 27 h 56"/>
                  <a:gd name="T10" fmla="*/ 7 w 16"/>
                  <a:gd name="T11" fmla="*/ 52 h 56"/>
                  <a:gd name="T12" fmla="*/ 10 w 16"/>
                  <a:gd name="T13" fmla="*/ 55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6" h="56">
                    <a:moveTo>
                      <a:pt x="10" y="55"/>
                    </a:moveTo>
                    <a:cubicBezTo>
                      <a:pt x="16" y="50"/>
                      <a:pt x="14" y="40"/>
                      <a:pt x="13" y="34"/>
                    </a:cubicBezTo>
                    <a:cubicBezTo>
                      <a:pt x="11" y="24"/>
                      <a:pt x="10" y="11"/>
                      <a:pt x="5" y="2"/>
                    </a:cubicBezTo>
                    <a:cubicBezTo>
                      <a:pt x="4" y="0"/>
                      <a:pt x="0" y="0"/>
                      <a:pt x="0" y="3"/>
                    </a:cubicBezTo>
                    <a:cubicBezTo>
                      <a:pt x="0" y="11"/>
                      <a:pt x="3" y="19"/>
                      <a:pt x="4" y="27"/>
                    </a:cubicBezTo>
                    <a:cubicBezTo>
                      <a:pt x="6" y="34"/>
                      <a:pt x="11" y="46"/>
                      <a:pt x="7" y="52"/>
                    </a:cubicBezTo>
                    <a:cubicBezTo>
                      <a:pt x="6" y="54"/>
                      <a:pt x="9" y="56"/>
                      <a:pt x="10" y="55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29" name="Freeform 175">
                <a:extLst>
                  <a:ext uri="{FF2B5EF4-FFF2-40B4-BE49-F238E27FC236}">
                    <a16:creationId xmlns:a16="http://schemas.microsoft.com/office/drawing/2014/main" id="{06B3DCC5-D8E5-408C-8E82-ADE262C7F632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419" y="1340"/>
                <a:ext cx="42" cy="49"/>
              </a:xfrm>
              <a:custGeom>
                <a:avLst/>
                <a:gdLst>
                  <a:gd name="T0" fmla="*/ 2 w 40"/>
                  <a:gd name="T1" fmla="*/ 5 h 46"/>
                  <a:gd name="T2" fmla="*/ 19 w 40"/>
                  <a:gd name="T3" fmla="*/ 28 h 46"/>
                  <a:gd name="T4" fmla="*/ 26 w 40"/>
                  <a:gd name="T5" fmla="*/ 36 h 46"/>
                  <a:gd name="T6" fmla="*/ 35 w 40"/>
                  <a:gd name="T7" fmla="*/ 44 h 46"/>
                  <a:gd name="T8" fmla="*/ 39 w 40"/>
                  <a:gd name="T9" fmla="*/ 41 h 46"/>
                  <a:gd name="T10" fmla="*/ 33 w 40"/>
                  <a:gd name="T11" fmla="*/ 32 h 46"/>
                  <a:gd name="T12" fmla="*/ 23 w 40"/>
                  <a:gd name="T13" fmla="*/ 22 h 46"/>
                  <a:gd name="T14" fmla="*/ 3 w 40"/>
                  <a:gd name="T15" fmla="*/ 1 h 46"/>
                  <a:gd name="T16" fmla="*/ 2 w 40"/>
                  <a:gd name="T17" fmla="*/ 5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0" h="46">
                    <a:moveTo>
                      <a:pt x="2" y="5"/>
                    </a:moveTo>
                    <a:cubicBezTo>
                      <a:pt x="10" y="10"/>
                      <a:pt x="14" y="19"/>
                      <a:pt x="19" y="28"/>
                    </a:cubicBezTo>
                    <a:cubicBezTo>
                      <a:pt x="21" y="31"/>
                      <a:pt x="23" y="33"/>
                      <a:pt x="26" y="36"/>
                    </a:cubicBezTo>
                    <a:cubicBezTo>
                      <a:pt x="29" y="38"/>
                      <a:pt x="32" y="42"/>
                      <a:pt x="35" y="44"/>
                    </a:cubicBezTo>
                    <a:cubicBezTo>
                      <a:pt x="37" y="46"/>
                      <a:pt x="40" y="44"/>
                      <a:pt x="39" y="41"/>
                    </a:cubicBezTo>
                    <a:cubicBezTo>
                      <a:pt x="39" y="37"/>
                      <a:pt x="36" y="35"/>
                      <a:pt x="33" y="32"/>
                    </a:cubicBezTo>
                    <a:cubicBezTo>
                      <a:pt x="29" y="29"/>
                      <a:pt x="26" y="27"/>
                      <a:pt x="23" y="22"/>
                    </a:cubicBezTo>
                    <a:cubicBezTo>
                      <a:pt x="17" y="14"/>
                      <a:pt x="12" y="5"/>
                      <a:pt x="3" y="1"/>
                    </a:cubicBezTo>
                    <a:cubicBezTo>
                      <a:pt x="1" y="0"/>
                      <a:pt x="0" y="3"/>
                      <a:pt x="2" y="5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30" name="Freeform 176">
                <a:extLst>
                  <a:ext uri="{FF2B5EF4-FFF2-40B4-BE49-F238E27FC236}">
                    <a16:creationId xmlns:a16="http://schemas.microsoft.com/office/drawing/2014/main" id="{7E907372-FFE7-44F9-AD4A-AE6B73CBD03D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434" y="1387"/>
                <a:ext cx="23" cy="9"/>
              </a:xfrm>
              <a:custGeom>
                <a:avLst/>
                <a:gdLst>
                  <a:gd name="T0" fmla="*/ 4 w 22"/>
                  <a:gd name="T1" fmla="*/ 6 h 9"/>
                  <a:gd name="T2" fmla="*/ 18 w 22"/>
                  <a:gd name="T3" fmla="*/ 7 h 9"/>
                  <a:gd name="T4" fmla="*/ 17 w 22"/>
                  <a:gd name="T5" fmla="*/ 0 h 9"/>
                  <a:gd name="T6" fmla="*/ 11 w 22"/>
                  <a:gd name="T7" fmla="*/ 1 h 9"/>
                  <a:gd name="T8" fmla="*/ 7 w 22"/>
                  <a:gd name="T9" fmla="*/ 1 h 9"/>
                  <a:gd name="T10" fmla="*/ 4 w 22"/>
                  <a:gd name="T11" fmla="*/ 6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2" h="9">
                    <a:moveTo>
                      <a:pt x="4" y="6"/>
                    </a:moveTo>
                    <a:cubicBezTo>
                      <a:pt x="8" y="9"/>
                      <a:pt x="13" y="8"/>
                      <a:pt x="18" y="7"/>
                    </a:cubicBezTo>
                    <a:cubicBezTo>
                      <a:pt x="22" y="6"/>
                      <a:pt x="20" y="0"/>
                      <a:pt x="17" y="0"/>
                    </a:cubicBezTo>
                    <a:cubicBezTo>
                      <a:pt x="15" y="1"/>
                      <a:pt x="13" y="1"/>
                      <a:pt x="11" y="1"/>
                    </a:cubicBezTo>
                    <a:cubicBezTo>
                      <a:pt x="10" y="1"/>
                      <a:pt x="8" y="2"/>
                      <a:pt x="7" y="1"/>
                    </a:cubicBezTo>
                    <a:cubicBezTo>
                      <a:pt x="3" y="0"/>
                      <a:pt x="0" y="4"/>
                      <a:pt x="4" y="6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31" name="Freeform 177">
                <a:extLst>
                  <a:ext uri="{FF2B5EF4-FFF2-40B4-BE49-F238E27FC236}">
                    <a16:creationId xmlns:a16="http://schemas.microsoft.com/office/drawing/2014/main" id="{74BA7263-C304-4272-98D7-B4A9AC5F3CC3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419" y="1331"/>
                <a:ext cx="73" cy="21"/>
              </a:xfrm>
              <a:custGeom>
                <a:avLst/>
                <a:gdLst>
                  <a:gd name="T0" fmla="*/ 2 w 69"/>
                  <a:gd name="T1" fmla="*/ 4 h 20"/>
                  <a:gd name="T2" fmla="*/ 27 w 69"/>
                  <a:gd name="T3" fmla="*/ 15 h 20"/>
                  <a:gd name="T4" fmla="*/ 66 w 69"/>
                  <a:gd name="T5" fmla="*/ 15 h 20"/>
                  <a:gd name="T6" fmla="*/ 66 w 69"/>
                  <a:gd name="T7" fmla="*/ 9 h 20"/>
                  <a:gd name="T8" fmla="*/ 4 w 69"/>
                  <a:gd name="T9" fmla="*/ 1 h 20"/>
                  <a:gd name="T10" fmla="*/ 2 w 69"/>
                  <a:gd name="T11" fmla="*/ 4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69" h="20">
                    <a:moveTo>
                      <a:pt x="2" y="4"/>
                    </a:moveTo>
                    <a:cubicBezTo>
                      <a:pt x="8" y="12"/>
                      <a:pt x="17" y="13"/>
                      <a:pt x="27" y="15"/>
                    </a:cubicBezTo>
                    <a:cubicBezTo>
                      <a:pt x="39" y="17"/>
                      <a:pt x="55" y="20"/>
                      <a:pt x="66" y="15"/>
                    </a:cubicBezTo>
                    <a:cubicBezTo>
                      <a:pt x="69" y="14"/>
                      <a:pt x="68" y="10"/>
                      <a:pt x="66" y="9"/>
                    </a:cubicBezTo>
                    <a:cubicBezTo>
                      <a:pt x="48" y="2"/>
                      <a:pt x="21" y="14"/>
                      <a:pt x="4" y="1"/>
                    </a:cubicBezTo>
                    <a:cubicBezTo>
                      <a:pt x="2" y="0"/>
                      <a:pt x="0" y="2"/>
                      <a:pt x="2" y="4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32" name="Freeform 178">
                <a:extLst>
                  <a:ext uri="{FF2B5EF4-FFF2-40B4-BE49-F238E27FC236}">
                    <a16:creationId xmlns:a16="http://schemas.microsoft.com/office/drawing/2014/main" id="{6CF6748E-B521-41F0-A5B9-9C9C0C557592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470" y="1262"/>
                <a:ext cx="25" cy="76"/>
              </a:xfrm>
              <a:custGeom>
                <a:avLst/>
                <a:gdLst>
                  <a:gd name="T0" fmla="*/ 19 w 24"/>
                  <a:gd name="T1" fmla="*/ 71 h 72"/>
                  <a:gd name="T2" fmla="*/ 21 w 24"/>
                  <a:gd name="T3" fmla="*/ 36 h 72"/>
                  <a:gd name="T4" fmla="*/ 9 w 24"/>
                  <a:gd name="T5" fmla="*/ 4 h 72"/>
                  <a:gd name="T6" fmla="*/ 3 w 24"/>
                  <a:gd name="T7" fmla="*/ 8 h 72"/>
                  <a:gd name="T8" fmla="*/ 14 w 24"/>
                  <a:gd name="T9" fmla="*/ 34 h 72"/>
                  <a:gd name="T10" fmla="*/ 17 w 24"/>
                  <a:gd name="T11" fmla="*/ 70 h 72"/>
                  <a:gd name="T12" fmla="*/ 19 w 24"/>
                  <a:gd name="T13" fmla="*/ 71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4" h="72">
                    <a:moveTo>
                      <a:pt x="19" y="71"/>
                    </a:moveTo>
                    <a:cubicBezTo>
                      <a:pt x="24" y="59"/>
                      <a:pt x="23" y="49"/>
                      <a:pt x="21" y="36"/>
                    </a:cubicBezTo>
                    <a:cubicBezTo>
                      <a:pt x="18" y="25"/>
                      <a:pt x="17" y="13"/>
                      <a:pt x="9" y="4"/>
                    </a:cubicBezTo>
                    <a:cubicBezTo>
                      <a:pt x="6" y="0"/>
                      <a:pt x="0" y="4"/>
                      <a:pt x="3" y="8"/>
                    </a:cubicBezTo>
                    <a:cubicBezTo>
                      <a:pt x="10" y="15"/>
                      <a:pt x="11" y="25"/>
                      <a:pt x="14" y="34"/>
                    </a:cubicBezTo>
                    <a:cubicBezTo>
                      <a:pt x="17" y="46"/>
                      <a:pt x="21" y="58"/>
                      <a:pt x="17" y="70"/>
                    </a:cubicBezTo>
                    <a:cubicBezTo>
                      <a:pt x="16" y="71"/>
                      <a:pt x="18" y="72"/>
                      <a:pt x="19" y="71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33" name="Freeform 179">
                <a:extLst>
                  <a:ext uri="{FF2B5EF4-FFF2-40B4-BE49-F238E27FC236}">
                    <a16:creationId xmlns:a16="http://schemas.microsoft.com/office/drawing/2014/main" id="{D529F600-BF99-41CE-AFEC-9B7353238408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433" y="1260"/>
                <a:ext cx="49" cy="41"/>
              </a:xfrm>
              <a:custGeom>
                <a:avLst/>
                <a:gdLst>
                  <a:gd name="T0" fmla="*/ 1 w 47"/>
                  <a:gd name="T1" fmla="*/ 38 h 39"/>
                  <a:gd name="T2" fmla="*/ 24 w 47"/>
                  <a:gd name="T3" fmla="*/ 23 h 39"/>
                  <a:gd name="T4" fmla="*/ 33 w 47"/>
                  <a:gd name="T5" fmla="*/ 15 h 39"/>
                  <a:gd name="T6" fmla="*/ 46 w 47"/>
                  <a:gd name="T7" fmla="*/ 4 h 39"/>
                  <a:gd name="T8" fmla="*/ 44 w 47"/>
                  <a:gd name="T9" fmla="*/ 0 h 39"/>
                  <a:gd name="T10" fmla="*/ 27 w 47"/>
                  <a:gd name="T11" fmla="*/ 11 h 39"/>
                  <a:gd name="T12" fmla="*/ 1 w 47"/>
                  <a:gd name="T13" fmla="*/ 36 h 39"/>
                  <a:gd name="T14" fmla="*/ 1 w 47"/>
                  <a:gd name="T15" fmla="*/ 38 h 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47" h="39">
                    <a:moveTo>
                      <a:pt x="1" y="38"/>
                    </a:moveTo>
                    <a:cubicBezTo>
                      <a:pt x="11" y="36"/>
                      <a:pt x="18" y="30"/>
                      <a:pt x="24" y="23"/>
                    </a:cubicBezTo>
                    <a:cubicBezTo>
                      <a:pt x="27" y="21"/>
                      <a:pt x="30" y="18"/>
                      <a:pt x="33" y="15"/>
                    </a:cubicBezTo>
                    <a:cubicBezTo>
                      <a:pt x="37" y="11"/>
                      <a:pt x="43" y="8"/>
                      <a:pt x="46" y="4"/>
                    </a:cubicBezTo>
                    <a:cubicBezTo>
                      <a:pt x="47" y="2"/>
                      <a:pt x="46" y="0"/>
                      <a:pt x="44" y="0"/>
                    </a:cubicBezTo>
                    <a:cubicBezTo>
                      <a:pt x="37" y="0"/>
                      <a:pt x="32" y="6"/>
                      <a:pt x="27" y="11"/>
                    </a:cubicBezTo>
                    <a:cubicBezTo>
                      <a:pt x="19" y="19"/>
                      <a:pt x="12" y="32"/>
                      <a:pt x="1" y="36"/>
                    </a:cubicBezTo>
                    <a:cubicBezTo>
                      <a:pt x="0" y="36"/>
                      <a:pt x="0" y="39"/>
                      <a:pt x="1" y="38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34" name="Freeform 180">
                <a:extLst>
                  <a:ext uri="{FF2B5EF4-FFF2-40B4-BE49-F238E27FC236}">
                    <a16:creationId xmlns:a16="http://schemas.microsoft.com/office/drawing/2014/main" id="{2F9A0446-6322-438F-9618-00A0FEB70BEA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480" y="1262"/>
                <a:ext cx="36" cy="88"/>
              </a:xfrm>
              <a:custGeom>
                <a:avLst/>
                <a:gdLst>
                  <a:gd name="T0" fmla="*/ 2 w 34"/>
                  <a:gd name="T1" fmla="*/ 3 h 83"/>
                  <a:gd name="T2" fmla="*/ 25 w 34"/>
                  <a:gd name="T3" fmla="*/ 45 h 83"/>
                  <a:gd name="T4" fmla="*/ 11 w 34"/>
                  <a:gd name="T5" fmla="*/ 77 h 83"/>
                  <a:gd name="T6" fmla="*/ 17 w 34"/>
                  <a:gd name="T7" fmla="*/ 80 h 83"/>
                  <a:gd name="T8" fmla="*/ 25 w 34"/>
                  <a:gd name="T9" fmla="*/ 63 h 83"/>
                  <a:gd name="T10" fmla="*/ 31 w 34"/>
                  <a:gd name="T11" fmla="*/ 48 h 83"/>
                  <a:gd name="T12" fmla="*/ 33 w 34"/>
                  <a:gd name="T13" fmla="*/ 44 h 83"/>
                  <a:gd name="T14" fmla="*/ 3 w 34"/>
                  <a:gd name="T15" fmla="*/ 1 h 83"/>
                  <a:gd name="T16" fmla="*/ 2 w 34"/>
                  <a:gd name="T17" fmla="*/ 3 h 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4" h="83">
                    <a:moveTo>
                      <a:pt x="2" y="3"/>
                    </a:moveTo>
                    <a:cubicBezTo>
                      <a:pt x="11" y="11"/>
                      <a:pt x="27" y="33"/>
                      <a:pt x="25" y="45"/>
                    </a:cubicBezTo>
                    <a:cubicBezTo>
                      <a:pt x="24" y="57"/>
                      <a:pt x="14" y="67"/>
                      <a:pt x="11" y="77"/>
                    </a:cubicBezTo>
                    <a:cubicBezTo>
                      <a:pt x="10" y="81"/>
                      <a:pt x="16" y="83"/>
                      <a:pt x="17" y="80"/>
                    </a:cubicBezTo>
                    <a:cubicBezTo>
                      <a:pt x="19" y="74"/>
                      <a:pt x="23" y="69"/>
                      <a:pt x="25" y="63"/>
                    </a:cubicBezTo>
                    <a:cubicBezTo>
                      <a:pt x="26" y="59"/>
                      <a:pt x="26" y="49"/>
                      <a:pt x="31" y="48"/>
                    </a:cubicBezTo>
                    <a:cubicBezTo>
                      <a:pt x="32" y="47"/>
                      <a:pt x="34" y="45"/>
                      <a:pt x="33" y="44"/>
                    </a:cubicBezTo>
                    <a:cubicBezTo>
                      <a:pt x="28" y="27"/>
                      <a:pt x="18" y="10"/>
                      <a:pt x="3" y="1"/>
                    </a:cubicBezTo>
                    <a:cubicBezTo>
                      <a:pt x="2" y="0"/>
                      <a:pt x="0" y="2"/>
                      <a:pt x="2" y="3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35" name="Freeform 181">
                <a:extLst>
                  <a:ext uri="{FF2B5EF4-FFF2-40B4-BE49-F238E27FC236}">
                    <a16:creationId xmlns:a16="http://schemas.microsoft.com/office/drawing/2014/main" id="{FEEFB3B4-86DB-4298-82A6-75D1C2863D77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341" y="1273"/>
                <a:ext cx="27" cy="37"/>
              </a:xfrm>
              <a:custGeom>
                <a:avLst/>
                <a:gdLst>
                  <a:gd name="T0" fmla="*/ 5 w 25"/>
                  <a:gd name="T1" fmla="*/ 33 h 35"/>
                  <a:gd name="T2" fmla="*/ 7 w 25"/>
                  <a:gd name="T3" fmla="*/ 27 h 35"/>
                  <a:gd name="T4" fmla="*/ 11 w 25"/>
                  <a:gd name="T5" fmla="*/ 20 h 35"/>
                  <a:gd name="T6" fmla="*/ 23 w 25"/>
                  <a:gd name="T7" fmla="*/ 5 h 35"/>
                  <a:gd name="T8" fmla="*/ 19 w 25"/>
                  <a:gd name="T9" fmla="*/ 2 h 35"/>
                  <a:gd name="T10" fmla="*/ 5 w 25"/>
                  <a:gd name="T11" fmla="*/ 18 h 35"/>
                  <a:gd name="T12" fmla="*/ 0 w 25"/>
                  <a:gd name="T13" fmla="*/ 28 h 35"/>
                  <a:gd name="T14" fmla="*/ 2 w 25"/>
                  <a:gd name="T15" fmla="*/ 34 h 35"/>
                  <a:gd name="T16" fmla="*/ 5 w 25"/>
                  <a:gd name="T17" fmla="*/ 33 h 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5" h="35">
                    <a:moveTo>
                      <a:pt x="5" y="33"/>
                    </a:moveTo>
                    <a:cubicBezTo>
                      <a:pt x="6" y="31"/>
                      <a:pt x="6" y="29"/>
                      <a:pt x="7" y="27"/>
                    </a:cubicBezTo>
                    <a:cubicBezTo>
                      <a:pt x="8" y="25"/>
                      <a:pt x="10" y="22"/>
                      <a:pt x="11" y="20"/>
                    </a:cubicBezTo>
                    <a:cubicBezTo>
                      <a:pt x="15" y="15"/>
                      <a:pt x="19" y="10"/>
                      <a:pt x="23" y="5"/>
                    </a:cubicBezTo>
                    <a:cubicBezTo>
                      <a:pt x="25" y="3"/>
                      <a:pt x="21" y="0"/>
                      <a:pt x="19" y="2"/>
                    </a:cubicBezTo>
                    <a:cubicBezTo>
                      <a:pt x="13" y="7"/>
                      <a:pt x="9" y="12"/>
                      <a:pt x="5" y="18"/>
                    </a:cubicBezTo>
                    <a:cubicBezTo>
                      <a:pt x="3" y="21"/>
                      <a:pt x="0" y="25"/>
                      <a:pt x="0" y="28"/>
                    </a:cubicBezTo>
                    <a:cubicBezTo>
                      <a:pt x="0" y="30"/>
                      <a:pt x="1" y="32"/>
                      <a:pt x="2" y="34"/>
                    </a:cubicBezTo>
                    <a:cubicBezTo>
                      <a:pt x="3" y="35"/>
                      <a:pt x="5" y="35"/>
                      <a:pt x="5" y="33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36" name="Freeform 182">
                <a:extLst>
                  <a:ext uri="{FF2B5EF4-FFF2-40B4-BE49-F238E27FC236}">
                    <a16:creationId xmlns:a16="http://schemas.microsoft.com/office/drawing/2014/main" id="{85D47267-4135-4258-B12E-27B2A4A9CEC9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329" y="1315"/>
                <a:ext cx="182" cy="129"/>
              </a:xfrm>
              <a:custGeom>
                <a:avLst/>
                <a:gdLst>
                  <a:gd name="T0" fmla="*/ 1 w 172"/>
                  <a:gd name="T1" fmla="*/ 46 h 122"/>
                  <a:gd name="T2" fmla="*/ 10 w 172"/>
                  <a:gd name="T3" fmla="*/ 88 h 122"/>
                  <a:gd name="T4" fmla="*/ 34 w 172"/>
                  <a:gd name="T5" fmla="*/ 108 h 122"/>
                  <a:gd name="T6" fmla="*/ 99 w 172"/>
                  <a:gd name="T7" fmla="*/ 117 h 122"/>
                  <a:gd name="T8" fmla="*/ 172 w 172"/>
                  <a:gd name="T9" fmla="*/ 2 h 122"/>
                  <a:gd name="T10" fmla="*/ 168 w 172"/>
                  <a:gd name="T11" fmla="*/ 2 h 122"/>
                  <a:gd name="T12" fmla="*/ 102 w 172"/>
                  <a:gd name="T13" fmla="*/ 106 h 122"/>
                  <a:gd name="T14" fmla="*/ 40 w 172"/>
                  <a:gd name="T15" fmla="*/ 104 h 122"/>
                  <a:gd name="T16" fmla="*/ 2 w 172"/>
                  <a:gd name="T17" fmla="*/ 45 h 122"/>
                  <a:gd name="T18" fmla="*/ 1 w 172"/>
                  <a:gd name="T19" fmla="*/ 46 h 1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72" h="122">
                    <a:moveTo>
                      <a:pt x="1" y="46"/>
                    </a:moveTo>
                    <a:cubicBezTo>
                      <a:pt x="1" y="62"/>
                      <a:pt x="0" y="74"/>
                      <a:pt x="10" y="88"/>
                    </a:cubicBezTo>
                    <a:cubicBezTo>
                      <a:pt x="16" y="97"/>
                      <a:pt x="24" y="103"/>
                      <a:pt x="34" y="108"/>
                    </a:cubicBezTo>
                    <a:cubicBezTo>
                      <a:pt x="53" y="118"/>
                      <a:pt x="78" y="122"/>
                      <a:pt x="99" y="117"/>
                    </a:cubicBezTo>
                    <a:cubicBezTo>
                      <a:pt x="151" y="104"/>
                      <a:pt x="172" y="51"/>
                      <a:pt x="172" y="2"/>
                    </a:cubicBezTo>
                    <a:cubicBezTo>
                      <a:pt x="172" y="0"/>
                      <a:pt x="168" y="0"/>
                      <a:pt x="168" y="2"/>
                    </a:cubicBezTo>
                    <a:cubicBezTo>
                      <a:pt x="170" y="47"/>
                      <a:pt x="147" y="90"/>
                      <a:pt x="102" y="106"/>
                    </a:cubicBezTo>
                    <a:cubicBezTo>
                      <a:pt x="82" y="113"/>
                      <a:pt x="59" y="112"/>
                      <a:pt x="40" y="104"/>
                    </a:cubicBezTo>
                    <a:cubicBezTo>
                      <a:pt x="13" y="92"/>
                      <a:pt x="8" y="72"/>
                      <a:pt x="2" y="45"/>
                    </a:cubicBezTo>
                    <a:cubicBezTo>
                      <a:pt x="2" y="45"/>
                      <a:pt x="1" y="45"/>
                      <a:pt x="1" y="46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37" name="Freeform 183">
                <a:extLst>
                  <a:ext uri="{FF2B5EF4-FFF2-40B4-BE49-F238E27FC236}">
                    <a16:creationId xmlns:a16="http://schemas.microsoft.com/office/drawing/2014/main" id="{88ED871E-5975-4B1B-BF19-3C69A37B24C2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423" y="1330"/>
                <a:ext cx="52" cy="68"/>
              </a:xfrm>
              <a:custGeom>
                <a:avLst/>
                <a:gdLst>
                  <a:gd name="T0" fmla="*/ 2 w 49"/>
                  <a:gd name="T1" fmla="*/ 4 h 65"/>
                  <a:gd name="T2" fmla="*/ 15 w 49"/>
                  <a:gd name="T3" fmla="*/ 18 h 65"/>
                  <a:gd name="T4" fmla="*/ 29 w 49"/>
                  <a:gd name="T5" fmla="*/ 37 h 65"/>
                  <a:gd name="T6" fmla="*/ 33 w 49"/>
                  <a:gd name="T7" fmla="*/ 44 h 65"/>
                  <a:gd name="T8" fmla="*/ 28 w 49"/>
                  <a:gd name="T9" fmla="*/ 54 h 65"/>
                  <a:gd name="T10" fmla="*/ 8 w 49"/>
                  <a:gd name="T11" fmla="*/ 58 h 65"/>
                  <a:gd name="T12" fmla="*/ 9 w 49"/>
                  <a:gd name="T13" fmla="*/ 65 h 65"/>
                  <a:gd name="T14" fmla="*/ 42 w 49"/>
                  <a:gd name="T15" fmla="*/ 45 h 65"/>
                  <a:gd name="T16" fmla="*/ 25 w 49"/>
                  <a:gd name="T17" fmla="*/ 21 h 65"/>
                  <a:gd name="T18" fmla="*/ 4 w 49"/>
                  <a:gd name="T19" fmla="*/ 1 h 65"/>
                  <a:gd name="T20" fmla="*/ 2 w 49"/>
                  <a:gd name="T21" fmla="*/ 4 h 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49" h="65">
                    <a:moveTo>
                      <a:pt x="2" y="4"/>
                    </a:moveTo>
                    <a:cubicBezTo>
                      <a:pt x="8" y="7"/>
                      <a:pt x="11" y="13"/>
                      <a:pt x="15" y="18"/>
                    </a:cubicBezTo>
                    <a:cubicBezTo>
                      <a:pt x="19" y="24"/>
                      <a:pt x="25" y="30"/>
                      <a:pt x="29" y="37"/>
                    </a:cubicBezTo>
                    <a:cubicBezTo>
                      <a:pt x="30" y="39"/>
                      <a:pt x="31" y="42"/>
                      <a:pt x="33" y="44"/>
                    </a:cubicBezTo>
                    <a:cubicBezTo>
                      <a:pt x="36" y="51"/>
                      <a:pt x="38" y="52"/>
                      <a:pt x="28" y="54"/>
                    </a:cubicBezTo>
                    <a:cubicBezTo>
                      <a:pt x="21" y="56"/>
                      <a:pt x="15" y="56"/>
                      <a:pt x="8" y="58"/>
                    </a:cubicBezTo>
                    <a:cubicBezTo>
                      <a:pt x="5" y="59"/>
                      <a:pt x="5" y="65"/>
                      <a:pt x="9" y="65"/>
                    </a:cubicBezTo>
                    <a:cubicBezTo>
                      <a:pt x="19" y="64"/>
                      <a:pt x="49" y="61"/>
                      <a:pt x="42" y="45"/>
                    </a:cubicBezTo>
                    <a:cubicBezTo>
                      <a:pt x="38" y="37"/>
                      <a:pt x="31" y="28"/>
                      <a:pt x="25" y="21"/>
                    </a:cubicBezTo>
                    <a:cubicBezTo>
                      <a:pt x="19" y="14"/>
                      <a:pt x="13" y="4"/>
                      <a:pt x="4" y="1"/>
                    </a:cubicBezTo>
                    <a:cubicBezTo>
                      <a:pt x="2" y="0"/>
                      <a:pt x="0" y="3"/>
                      <a:pt x="2" y="4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38" name="Freeform 184">
                <a:extLst>
                  <a:ext uri="{FF2B5EF4-FFF2-40B4-BE49-F238E27FC236}">
                    <a16:creationId xmlns:a16="http://schemas.microsoft.com/office/drawing/2014/main" id="{AED8B21F-B581-4D27-893E-D20E881DB2FE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032" y="1083"/>
                <a:ext cx="93" cy="93"/>
              </a:xfrm>
              <a:custGeom>
                <a:avLst/>
                <a:gdLst>
                  <a:gd name="T0" fmla="*/ 40 w 88"/>
                  <a:gd name="T1" fmla="*/ 7 h 88"/>
                  <a:gd name="T2" fmla="*/ 9 w 88"/>
                  <a:gd name="T3" fmla="*/ 18 h 88"/>
                  <a:gd name="T4" fmla="*/ 1 w 88"/>
                  <a:gd name="T5" fmla="*/ 47 h 88"/>
                  <a:gd name="T6" fmla="*/ 47 w 88"/>
                  <a:gd name="T7" fmla="*/ 84 h 88"/>
                  <a:gd name="T8" fmla="*/ 85 w 88"/>
                  <a:gd name="T9" fmla="*/ 44 h 88"/>
                  <a:gd name="T10" fmla="*/ 38 w 88"/>
                  <a:gd name="T11" fmla="*/ 8 h 88"/>
                  <a:gd name="T12" fmla="*/ 38 w 88"/>
                  <a:gd name="T13" fmla="*/ 13 h 88"/>
                  <a:gd name="T14" fmla="*/ 78 w 88"/>
                  <a:gd name="T15" fmla="*/ 47 h 88"/>
                  <a:gd name="T16" fmla="*/ 43 w 88"/>
                  <a:gd name="T17" fmla="*/ 77 h 88"/>
                  <a:gd name="T18" fmla="*/ 9 w 88"/>
                  <a:gd name="T19" fmla="*/ 53 h 88"/>
                  <a:gd name="T20" fmla="*/ 12 w 88"/>
                  <a:gd name="T21" fmla="*/ 25 h 88"/>
                  <a:gd name="T22" fmla="*/ 40 w 88"/>
                  <a:gd name="T23" fmla="*/ 9 h 88"/>
                  <a:gd name="T24" fmla="*/ 40 w 88"/>
                  <a:gd name="T25" fmla="*/ 7 h 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88" h="88">
                    <a:moveTo>
                      <a:pt x="40" y="7"/>
                    </a:moveTo>
                    <a:cubicBezTo>
                      <a:pt x="26" y="7"/>
                      <a:pt x="18" y="7"/>
                      <a:pt x="9" y="18"/>
                    </a:cubicBezTo>
                    <a:cubicBezTo>
                      <a:pt x="3" y="27"/>
                      <a:pt x="0" y="36"/>
                      <a:pt x="1" y="47"/>
                    </a:cubicBezTo>
                    <a:cubicBezTo>
                      <a:pt x="4" y="71"/>
                      <a:pt x="23" y="88"/>
                      <a:pt x="47" y="84"/>
                    </a:cubicBezTo>
                    <a:cubicBezTo>
                      <a:pt x="66" y="81"/>
                      <a:pt x="88" y="65"/>
                      <a:pt x="85" y="44"/>
                    </a:cubicBezTo>
                    <a:cubicBezTo>
                      <a:pt x="82" y="23"/>
                      <a:pt x="60" y="0"/>
                      <a:pt x="38" y="8"/>
                    </a:cubicBezTo>
                    <a:cubicBezTo>
                      <a:pt x="35" y="9"/>
                      <a:pt x="35" y="13"/>
                      <a:pt x="38" y="13"/>
                    </a:cubicBezTo>
                    <a:cubicBezTo>
                      <a:pt x="56" y="14"/>
                      <a:pt x="76" y="26"/>
                      <a:pt x="78" y="47"/>
                    </a:cubicBezTo>
                    <a:cubicBezTo>
                      <a:pt x="78" y="64"/>
                      <a:pt x="58" y="76"/>
                      <a:pt x="43" y="77"/>
                    </a:cubicBezTo>
                    <a:cubicBezTo>
                      <a:pt x="26" y="79"/>
                      <a:pt x="14" y="68"/>
                      <a:pt x="9" y="53"/>
                    </a:cubicBezTo>
                    <a:cubicBezTo>
                      <a:pt x="6" y="43"/>
                      <a:pt x="6" y="33"/>
                      <a:pt x="12" y="25"/>
                    </a:cubicBezTo>
                    <a:cubicBezTo>
                      <a:pt x="18" y="14"/>
                      <a:pt x="28" y="11"/>
                      <a:pt x="40" y="9"/>
                    </a:cubicBezTo>
                    <a:cubicBezTo>
                      <a:pt x="41" y="9"/>
                      <a:pt x="41" y="7"/>
                      <a:pt x="40" y="7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39" name="Freeform 185">
                <a:extLst>
                  <a:ext uri="{FF2B5EF4-FFF2-40B4-BE49-F238E27FC236}">
                    <a16:creationId xmlns:a16="http://schemas.microsoft.com/office/drawing/2014/main" id="{247A7714-5E8F-4516-8BDF-4753EE4FCE71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958" y="1174"/>
                <a:ext cx="94" cy="78"/>
              </a:xfrm>
              <a:custGeom>
                <a:avLst/>
                <a:gdLst>
                  <a:gd name="T0" fmla="*/ 33 w 89"/>
                  <a:gd name="T1" fmla="*/ 5 h 74"/>
                  <a:gd name="T2" fmla="*/ 11 w 89"/>
                  <a:gd name="T3" fmla="*/ 47 h 74"/>
                  <a:gd name="T4" fmla="*/ 55 w 89"/>
                  <a:gd name="T5" fmla="*/ 70 h 74"/>
                  <a:gd name="T6" fmla="*/ 88 w 89"/>
                  <a:gd name="T7" fmla="*/ 29 h 74"/>
                  <a:gd name="T8" fmla="*/ 44 w 89"/>
                  <a:gd name="T9" fmla="*/ 2 h 74"/>
                  <a:gd name="T10" fmla="*/ 44 w 89"/>
                  <a:gd name="T11" fmla="*/ 9 h 74"/>
                  <a:gd name="T12" fmla="*/ 79 w 89"/>
                  <a:gd name="T13" fmla="*/ 38 h 74"/>
                  <a:gd name="T14" fmla="*/ 46 w 89"/>
                  <a:gd name="T15" fmla="*/ 64 h 74"/>
                  <a:gd name="T16" fmla="*/ 16 w 89"/>
                  <a:gd name="T17" fmla="*/ 41 h 74"/>
                  <a:gd name="T18" fmla="*/ 34 w 89"/>
                  <a:gd name="T19" fmla="*/ 6 h 74"/>
                  <a:gd name="T20" fmla="*/ 33 w 89"/>
                  <a:gd name="T21" fmla="*/ 5 h 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89" h="74">
                    <a:moveTo>
                      <a:pt x="33" y="5"/>
                    </a:moveTo>
                    <a:cubicBezTo>
                      <a:pt x="16" y="16"/>
                      <a:pt x="0" y="25"/>
                      <a:pt x="11" y="47"/>
                    </a:cubicBezTo>
                    <a:cubicBezTo>
                      <a:pt x="19" y="63"/>
                      <a:pt x="37" y="74"/>
                      <a:pt x="55" y="70"/>
                    </a:cubicBezTo>
                    <a:cubicBezTo>
                      <a:pt x="73" y="66"/>
                      <a:pt x="89" y="48"/>
                      <a:pt x="88" y="29"/>
                    </a:cubicBezTo>
                    <a:cubicBezTo>
                      <a:pt x="87" y="6"/>
                      <a:pt x="63" y="0"/>
                      <a:pt x="44" y="2"/>
                    </a:cubicBezTo>
                    <a:cubicBezTo>
                      <a:pt x="40" y="2"/>
                      <a:pt x="40" y="9"/>
                      <a:pt x="44" y="9"/>
                    </a:cubicBezTo>
                    <a:cubicBezTo>
                      <a:pt x="62" y="10"/>
                      <a:pt x="87" y="13"/>
                      <a:pt x="79" y="38"/>
                    </a:cubicBezTo>
                    <a:cubicBezTo>
                      <a:pt x="75" y="52"/>
                      <a:pt x="61" y="64"/>
                      <a:pt x="46" y="64"/>
                    </a:cubicBezTo>
                    <a:cubicBezTo>
                      <a:pt x="32" y="64"/>
                      <a:pt x="21" y="53"/>
                      <a:pt x="16" y="41"/>
                    </a:cubicBezTo>
                    <a:cubicBezTo>
                      <a:pt x="9" y="24"/>
                      <a:pt x="23" y="16"/>
                      <a:pt x="34" y="6"/>
                    </a:cubicBezTo>
                    <a:cubicBezTo>
                      <a:pt x="35" y="6"/>
                      <a:pt x="34" y="4"/>
                      <a:pt x="33" y="5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40" name="Freeform 186">
                <a:extLst>
                  <a:ext uri="{FF2B5EF4-FFF2-40B4-BE49-F238E27FC236}">
                    <a16:creationId xmlns:a16="http://schemas.microsoft.com/office/drawing/2014/main" id="{8AFB71BB-90DB-448A-8141-517CDD9E0CEA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136" y="1132"/>
                <a:ext cx="99" cy="92"/>
              </a:xfrm>
              <a:custGeom>
                <a:avLst/>
                <a:gdLst>
                  <a:gd name="T0" fmla="*/ 36 w 93"/>
                  <a:gd name="T1" fmla="*/ 12 h 87"/>
                  <a:gd name="T2" fmla="*/ 15 w 93"/>
                  <a:gd name="T3" fmla="*/ 68 h 87"/>
                  <a:gd name="T4" fmla="*/ 69 w 93"/>
                  <a:gd name="T5" fmla="*/ 79 h 87"/>
                  <a:gd name="T6" fmla="*/ 86 w 93"/>
                  <a:gd name="T7" fmla="*/ 31 h 87"/>
                  <a:gd name="T8" fmla="*/ 31 w 93"/>
                  <a:gd name="T9" fmla="*/ 16 h 87"/>
                  <a:gd name="T10" fmla="*/ 34 w 93"/>
                  <a:gd name="T11" fmla="*/ 22 h 87"/>
                  <a:gd name="T12" fmla="*/ 79 w 93"/>
                  <a:gd name="T13" fmla="*/ 37 h 87"/>
                  <a:gd name="T14" fmla="*/ 62 w 93"/>
                  <a:gd name="T15" fmla="*/ 73 h 87"/>
                  <a:gd name="T16" fmla="*/ 26 w 93"/>
                  <a:gd name="T17" fmla="*/ 69 h 87"/>
                  <a:gd name="T18" fmla="*/ 37 w 93"/>
                  <a:gd name="T19" fmla="*/ 14 h 87"/>
                  <a:gd name="T20" fmla="*/ 36 w 93"/>
                  <a:gd name="T21" fmla="*/ 12 h 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93" h="87">
                    <a:moveTo>
                      <a:pt x="36" y="12"/>
                    </a:moveTo>
                    <a:cubicBezTo>
                      <a:pt x="13" y="21"/>
                      <a:pt x="0" y="46"/>
                      <a:pt x="15" y="68"/>
                    </a:cubicBezTo>
                    <a:cubicBezTo>
                      <a:pt x="27" y="85"/>
                      <a:pt x="52" y="87"/>
                      <a:pt x="69" y="79"/>
                    </a:cubicBezTo>
                    <a:cubicBezTo>
                      <a:pt x="89" y="71"/>
                      <a:pt x="93" y="49"/>
                      <a:pt x="86" y="31"/>
                    </a:cubicBezTo>
                    <a:cubicBezTo>
                      <a:pt x="77" y="7"/>
                      <a:pt x="51" y="0"/>
                      <a:pt x="31" y="16"/>
                    </a:cubicBezTo>
                    <a:cubicBezTo>
                      <a:pt x="28" y="18"/>
                      <a:pt x="30" y="23"/>
                      <a:pt x="34" y="22"/>
                    </a:cubicBezTo>
                    <a:cubicBezTo>
                      <a:pt x="53" y="13"/>
                      <a:pt x="74" y="15"/>
                      <a:pt x="79" y="37"/>
                    </a:cubicBezTo>
                    <a:cubicBezTo>
                      <a:pt x="83" y="53"/>
                      <a:pt x="78" y="68"/>
                      <a:pt x="62" y="73"/>
                    </a:cubicBezTo>
                    <a:cubicBezTo>
                      <a:pt x="50" y="77"/>
                      <a:pt x="36" y="76"/>
                      <a:pt x="26" y="69"/>
                    </a:cubicBezTo>
                    <a:cubicBezTo>
                      <a:pt x="5" y="52"/>
                      <a:pt x="18" y="25"/>
                      <a:pt x="37" y="14"/>
                    </a:cubicBezTo>
                    <a:cubicBezTo>
                      <a:pt x="39" y="13"/>
                      <a:pt x="38" y="11"/>
                      <a:pt x="36" y="12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41" name="Freeform 187">
                <a:extLst>
                  <a:ext uri="{FF2B5EF4-FFF2-40B4-BE49-F238E27FC236}">
                    <a16:creationId xmlns:a16="http://schemas.microsoft.com/office/drawing/2014/main" id="{48817E51-A48A-4292-8A61-EFA37477DDEB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081" y="1234"/>
                <a:ext cx="87" cy="78"/>
              </a:xfrm>
              <a:custGeom>
                <a:avLst/>
                <a:gdLst>
                  <a:gd name="T0" fmla="*/ 33 w 82"/>
                  <a:gd name="T1" fmla="*/ 3 h 73"/>
                  <a:gd name="T2" fmla="*/ 7 w 82"/>
                  <a:gd name="T3" fmla="*/ 11 h 73"/>
                  <a:gd name="T4" fmla="*/ 0 w 82"/>
                  <a:gd name="T5" fmla="*/ 38 h 73"/>
                  <a:gd name="T6" fmla="*/ 38 w 82"/>
                  <a:gd name="T7" fmla="*/ 73 h 73"/>
                  <a:gd name="T8" fmla="*/ 79 w 82"/>
                  <a:gd name="T9" fmla="*/ 29 h 73"/>
                  <a:gd name="T10" fmla="*/ 38 w 82"/>
                  <a:gd name="T11" fmla="*/ 1 h 73"/>
                  <a:gd name="T12" fmla="*/ 37 w 82"/>
                  <a:gd name="T13" fmla="*/ 6 h 73"/>
                  <a:gd name="T14" fmla="*/ 69 w 82"/>
                  <a:gd name="T15" fmla="*/ 21 h 73"/>
                  <a:gd name="T16" fmla="*/ 36 w 82"/>
                  <a:gd name="T17" fmla="*/ 66 h 73"/>
                  <a:gd name="T18" fmla="*/ 6 w 82"/>
                  <a:gd name="T19" fmla="*/ 34 h 73"/>
                  <a:gd name="T20" fmla="*/ 11 w 82"/>
                  <a:gd name="T21" fmla="*/ 17 h 73"/>
                  <a:gd name="T22" fmla="*/ 34 w 82"/>
                  <a:gd name="T23" fmla="*/ 6 h 73"/>
                  <a:gd name="T24" fmla="*/ 33 w 82"/>
                  <a:gd name="T25" fmla="*/ 3 h 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82" h="73">
                    <a:moveTo>
                      <a:pt x="33" y="3"/>
                    </a:moveTo>
                    <a:cubicBezTo>
                      <a:pt x="24" y="5"/>
                      <a:pt x="14" y="2"/>
                      <a:pt x="7" y="11"/>
                    </a:cubicBezTo>
                    <a:cubicBezTo>
                      <a:pt x="2" y="18"/>
                      <a:pt x="0" y="29"/>
                      <a:pt x="0" y="38"/>
                    </a:cubicBezTo>
                    <a:cubicBezTo>
                      <a:pt x="0" y="59"/>
                      <a:pt x="18" y="73"/>
                      <a:pt x="38" y="73"/>
                    </a:cubicBezTo>
                    <a:cubicBezTo>
                      <a:pt x="58" y="73"/>
                      <a:pt x="80" y="50"/>
                      <a:pt x="79" y="29"/>
                    </a:cubicBezTo>
                    <a:cubicBezTo>
                      <a:pt x="78" y="11"/>
                      <a:pt x="54" y="0"/>
                      <a:pt x="38" y="1"/>
                    </a:cubicBezTo>
                    <a:cubicBezTo>
                      <a:pt x="35" y="1"/>
                      <a:pt x="34" y="5"/>
                      <a:pt x="37" y="6"/>
                    </a:cubicBezTo>
                    <a:cubicBezTo>
                      <a:pt x="48" y="10"/>
                      <a:pt x="61" y="11"/>
                      <a:pt x="69" y="21"/>
                    </a:cubicBezTo>
                    <a:cubicBezTo>
                      <a:pt x="82" y="40"/>
                      <a:pt x="54" y="66"/>
                      <a:pt x="36" y="66"/>
                    </a:cubicBezTo>
                    <a:cubicBezTo>
                      <a:pt x="18" y="66"/>
                      <a:pt x="5" y="52"/>
                      <a:pt x="6" y="34"/>
                    </a:cubicBezTo>
                    <a:cubicBezTo>
                      <a:pt x="6" y="29"/>
                      <a:pt x="8" y="21"/>
                      <a:pt x="11" y="17"/>
                    </a:cubicBezTo>
                    <a:cubicBezTo>
                      <a:pt x="16" y="8"/>
                      <a:pt x="26" y="9"/>
                      <a:pt x="34" y="6"/>
                    </a:cubicBezTo>
                    <a:cubicBezTo>
                      <a:pt x="36" y="5"/>
                      <a:pt x="35" y="2"/>
                      <a:pt x="33" y="3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42" name="Freeform 188">
                <a:extLst>
                  <a:ext uri="{FF2B5EF4-FFF2-40B4-BE49-F238E27FC236}">
                    <a16:creationId xmlns:a16="http://schemas.microsoft.com/office/drawing/2014/main" id="{4FB9554C-8B7B-4518-B70F-84D1A3F23290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999" y="1136"/>
                <a:ext cx="34" cy="41"/>
              </a:xfrm>
              <a:custGeom>
                <a:avLst/>
                <a:gdLst>
                  <a:gd name="T0" fmla="*/ 5 w 32"/>
                  <a:gd name="T1" fmla="*/ 36 h 39"/>
                  <a:gd name="T2" fmla="*/ 5 w 32"/>
                  <a:gd name="T3" fmla="*/ 35 h 39"/>
                  <a:gd name="T4" fmla="*/ 6 w 32"/>
                  <a:gd name="T5" fmla="*/ 32 h 39"/>
                  <a:gd name="T6" fmla="*/ 12 w 32"/>
                  <a:gd name="T7" fmla="*/ 23 h 39"/>
                  <a:gd name="T8" fmla="*/ 29 w 32"/>
                  <a:gd name="T9" fmla="*/ 7 h 39"/>
                  <a:gd name="T10" fmla="*/ 27 w 32"/>
                  <a:gd name="T11" fmla="*/ 2 h 39"/>
                  <a:gd name="T12" fmla="*/ 9 w 32"/>
                  <a:gd name="T13" fmla="*/ 17 h 39"/>
                  <a:gd name="T14" fmla="*/ 1 w 32"/>
                  <a:gd name="T15" fmla="*/ 38 h 39"/>
                  <a:gd name="T16" fmla="*/ 4 w 32"/>
                  <a:gd name="T17" fmla="*/ 39 h 39"/>
                  <a:gd name="T18" fmla="*/ 5 w 32"/>
                  <a:gd name="T19" fmla="*/ 38 h 39"/>
                  <a:gd name="T20" fmla="*/ 5 w 32"/>
                  <a:gd name="T21" fmla="*/ 36 h 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32" h="39">
                    <a:moveTo>
                      <a:pt x="5" y="36"/>
                    </a:moveTo>
                    <a:cubicBezTo>
                      <a:pt x="4" y="36"/>
                      <a:pt x="5" y="37"/>
                      <a:pt x="5" y="35"/>
                    </a:cubicBezTo>
                    <a:cubicBezTo>
                      <a:pt x="5" y="34"/>
                      <a:pt x="6" y="33"/>
                      <a:pt x="6" y="32"/>
                    </a:cubicBezTo>
                    <a:cubicBezTo>
                      <a:pt x="7" y="29"/>
                      <a:pt x="10" y="26"/>
                      <a:pt x="12" y="23"/>
                    </a:cubicBezTo>
                    <a:cubicBezTo>
                      <a:pt x="17" y="17"/>
                      <a:pt x="22" y="11"/>
                      <a:pt x="29" y="7"/>
                    </a:cubicBezTo>
                    <a:cubicBezTo>
                      <a:pt x="32" y="5"/>
                      <a:pt x="30" y="0"/>
                      <a:pt x="27" y="2"/>
                    </a:cubicBezTo>
                    <a:cubicBezTo>
                      <a:pt x="20" y="6"/>
                      <a:pt x="14" y="11"/>
                      <a:pt x="9" y="17"/>
                    </a:cubicBezTo>
                    <a:cubicBezTo>
                      <a:pt x="4" y="24"/>
                      <a:pt x="0" y="29"/>
                      <a:pt x="1" y="38"/>
                    </a:cubicBezTo>
                    <a:cubicBezTo>
                      <a:pt x="1" y="39"/>
                      <a:pt x="3" y="39"/>
                      <a:pt x="4" y="39"/>
                    </a:cubicBezTo>
                    <a:cubicBezTo>
                      <a:pt x="4" y="38"/>
                      <a:pt x="5" y="38"/>
                      <a:pt x="5" y="38"/>
                    </a:cubicBezTo>
                    <a:cubicBezTo>
                      <a:pt x="6" y="37"/>
                      <a:pt x="6" y="36"/>
                      <a:pt x="5" y="36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43" name="Freeform 189">
                <a:extLst>
                  <a:ext uri="{FF2B5EF4-FFF2-40B4-BE49-F238E27FC236}">
                    <a16:creationId xmlns:a16="http://schemas.microsoft.com/office/drawing/2014/main" id="{3FC46105-C1BE-4AAB-ADE8-0B6B819BD8AC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112" y="1109"/>
                <a:ext cx="59" cy="27"/>
              </a:xfrm>
              <a:custGeom>
                <a:avLst/>
                <a:gdLst>
                  <a:gd name="T0" fmla="*/ 2 w 56"/>
                  <a:gd name="T1" fmla="*/ 4 h 25"/>
                  <a:gd name="T2" fmla="*/ 30 w 56"/>
                  <a:gd name="T3" fmla="*/ 9 h 25"/>
                  <a:gd name="T4" fmla="*/ 51 w 56"/>
                  <a:gd name="T5" fmla="*/ 23 h 25"/>
                  <a:gd name="T6" fmla="*/ 54 w 56"/>
                  <a:gd name="T7" fmla="*/ 20 h 25"/>
                  <a:gd name="T8" fmla="*/ 33 w 56"/>
                  <a:gd name="T9" fmla="*/ 4 h 25"/>
                  <a:gd name="T10" fmla="*/ 2 w 56"/>
                  <a:gd name="T11" fmla="*/ 1 h 25"/>
                  <a:gd name="T12" fmla="*/ 2 w 56"/>
                  <a:gd name="T13" fmla="*/ 4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56" h="25">
                    <a:moveTo>
                      <a:pt x="2" y="4"/>
                    </a:moveTo>
                    <a:cubicBezTo>
                      <a:pt x="11" y="6"/>
                      <a:pt x="20" y="5"/>
                      <a:pt x="30" y="9"/>
                    </a:cubicBezTo>
                    <a:cubicBezTo>
                      <a:pt x="37" y="12"/>
                      <a:pt x="44" y="18"/>
                      <a:pt x="51" y="23"/>
                    </a:cubicBezTo>
                    <a:cubicBezTo>
                      <a:pt x="52" y="25"/>
                      <a:pt x="56" y="22"/>
                      <a:pt x="54" y="20"/>
                    </a:cubicBezTo>
                    <a:cubicBezTo>
                      <a:pt x="48" y="14"/>
                      <a:pt x="41" y="8"/>
                      <a:pt x="33" y="4"/>
                    </a:cubicBezTo>
                    <a:cubicBezTo>
                      <a:pt x="22" y="0"/>
                      <a:pt x="13" y="3"/>
                      <a:pt x="2" y="1"/>
                    </a:cubicBezTo>
                    <a:cubicBezTo>
                      <a:pt x="0" y="1"/>
                      <a:pt x="0" y="4"/>
                      <a:pt x="2" y="4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44" name="Freeform 190">
                <a:extLst>
                  <a:ext uri="{FF2B5EF4-FFF2-40B4-BE49-F238E27FC236}">
                    <a16:creationId xmlns:a16="http://schemas.microsoft.com/office/drawing/2014/main" id="{CF16A152-412A-43F9-944B-1AB606E6E701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178" y="1212"/>
                <a:ext cx="30" cy="51"/>
              </a:xfrm>
              <a:custGeom>
                <a:avLst/>
                <a:gdLst>
                  <a:gd name="T0" fmla="*/ 20 w 28"/>
                  <a:gd name="T1" fmla="*/ 3 h 48"/>
                  <a:gd name="T2" fmla="*/ 1 w 28"/>
                  <a:gd name="T3" fmla="*/ 43 h 48"/>
                  <a:gd name="T4" fmla="*/ 5 w 28"/>
                  <a:gd name="T5" fmla="*/ 46 h 48"/>
                  <a:gd name="T6" fmla="*/ 24 w 28"/>
                  <a:gd name="T7" fmla="*/ 2 h 48"/>
                  <a:gd name="T8" fmla="*/ 20 w 28"/>
                  <a:gd name="T9" fmla="*/ 3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8" h="48">
                    <a:moveTo>
                      <a:pt x="20" y="3"/>
                    </a:moveTo>
                    <a:cubicBezTo>
                      <a:pt x="22" y="19"/>
                      <a:pt x="9" y="31"/>
                      <a:pt x="1" y="43"/>
                    </a:cubicBezTo>
                    <a:cubicBezTo>
                      <a:pt x="0" y="45"/>
                      <a:pt x="3" y="48"/>
                      <a:pt x="5" y="46"/>
                    </a:cubicBezTo>
                    <a:cubicBezTo>
                      <a:pt x="17" y="35"/>
                      <a:pt x="28" y="20"/>
                      <a:pt x="24" y="2"/>
                    </a:cubicBezTo>
                    <a:cubicBezTo>
                      <a:pt x="24" y="0"/>
                      <a:pt x="20" y="1"/>
                      <a:pt x="20" y="3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45" name="Freeform 191">
                <a:extLst>
                  <a:ext uri="{FF2B5EF4-FFF2-40B4-BE49-F238E27FC236}">
                    <a16:creationId xmlns:a16="http://schemas.microsoft.com/office/drawing/2014/main" id="{D5788CB7-829D-4714-9CE6-93FC82F6A7AD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017" y="1238"/>
                <a:ext cx="51" cy="39"/>
              </a:xfrm>
              <a:custGeom>
                <a:avLst/>
                <a:gdLst>
                  <a:gd name="T0" fmla="*/ 0 w 48"/>
                  <a:gd name="T1" fmla="*/ 2 h 36"/>
                  <a:gd name="T2" fmla="*/ 46 w 48"/>
                  <a:gd name="T3" fmla="*/ 36 h 36"/>
                  <a:gd name="T4" fmla="*/ 46 w 48"/>
                  <a:gd name="T5" fmla="*/ 32 h 36"/>
                  <a:gd name="T6" fmla="*/ 2 w 48"/>
                  <a:gd name="T7" fmla="*/ 1 h 36"/>
                  <a:gd name="T8" fmla="*/ 0 w 48"/>
                  <a:gd name="T9" fmla="*/ 2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8" h="36">
                    <a:moveTo>
                      <a:pt x="0" y="2"/>
                    </a:moveTo>
                    <a:cubicBezTo>
                      <a:pt x="4" y="22"/>
                      <a:pt x="26" y="36"/>
                      <a:pt x="46" y="36"/>
                    </a:cubicBezTo>
                    <a:cubicBezTo>
                      <a:pt x="48" y="36"/>
                      <a:pt x="48" y="32"/>
                      <a:pt x="46" y="32"/>
                    </a:cubicBezTo>
                    <a:cubicBezTo>
                      <a:pt x="29" y="29"/>
                      <a:pt x="8" y="19"/>
                      <a:pt x="2" y="1"/>
                    </a:cubicBezTo>
                    <a:cubicBezTo>
                      <a:pt x="2" y="0"/>
                      <a:pt x="0" y="1"/>
                      <a:pt x="0" y="2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46" name="Freeform 192">
                <a:extLst>
                  <a:ext uri="{FF2B5EF4-FFF2-40B4-BE49-F238E27FC236}">
                    <a16:creationId xmlns:a16="http://schemas.microsoft.com/office/drawing/2014/main" id="{E10F3161-0D32-473A-8C6C-20A7E07FB333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862" y="1253"/>
                <a:ext cx="174" cy="168"/>
              </a:xfrm>
              <a:custGeom>
                <a:avLst/>
                <a:gdLst>
                  <a:gd name="T0" fmla="*/ 74 w 165"/>
                  <a:gd name="T1" fmla="*/ 17 h 158"/>
                  <a:gd name="T2" fmla="*/ 16 w 165"/>
                  <a:gd name="T3" fmla="*/ 47 h 158"/>
                  <a:gd name="T4" fmla="*/ 5 w 165"/>
                  <a:gd name="T5" fmla="*/ 105 h 158"/>
                  <a:gd name="T6" fmla="*/ 48 w 165"/>
                  <a:gd name="T7" fmla="*/ 147 h 158"/>
                  <a:gd name="T8" fmla="*/ 110 w 165"/>
                  <a:gd name="T9" fmla="*/ 151 h 158"/>
                  <a:gd name="T10" fmla="*/ 154 w 165"/>
                  <a:gd name="T11" fmla="*/ 61 h 158"/>
                  <a:gd name="T12" fmla="*/ 55 w 165"/>
                  <a:gd name="T13" fmla="*/ 17 h 158"/>
                  <a:gd name="T14" fmla="*/ 56 w 165"/>
                  <a:gd name="T15" fmla="*/ 22 h 158"/>
                  <a:gd name="T16" fmla="*/ 144 w 165"/>
                  <a:gd name="T17" fmla="*/ 61 h 158"/>
                  <a:gd name="T18" fmla="*/ 112 w 165"/>
                  <a:gd name="T19" fmla="*/ 139 h 158"/>
                  <a:gd name="T20" fmla="*/ 9 w 165"/>
                  <a:gd name="T21" fmla="*/ 91 h 158"/>
                  <a:gd name="T22" fmla="*/ 26 w 165"/>
                  <a:gd name="T23" fmla="*/ 40 h 158"/>
                  <a:gd name="T24" fmla="*/ 74 w 165"/>
                  <a:gd name="T25" fmla="*/ 18 h 158"/>
                  <a:gd name="T26" fmla="*/ 74 w 165"/>
                  <a:gd name="T27" fmla="*/ 17 h 1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65" h="158">
                    <a:moveTo>
                      <a:pt x="74" y="17"/>
                    </a:moveTo>
                    <a:cubicBezTo>
                      <a:pt x="52" y="25"/>
                      <a:pt x="31" y="26"/>
                      <a:pt x="16" y="47"/>
                    </a:cubicBezTo>
                    <a:cubicBezTo>
                      <a:pt x="5" y="62"/>
                      <a:pt x="0" y="86"/>
                      <a:pt x="5" y="105"/>
                    </a:cubicBezTo>
                    <a:cubicBezTo>
                      <a:pt x="10" y="124"/>
                      <a:pt x="30" y="139"/>
                      <a:pt x="48" y="147"/>
                    </a:cubicBezTo>
                    <a:cubicBezTo>
                      <a:pt x="67" y="157"/>
                      <a:pt x="89" y="158"/>
                      <a:pt x="110" y="151"/>
                    </a:cubicBezTo>
                    <a:cubicBezTo>
                      <a:pt x="147" y="139"/>
                      <a:pt x="165" y="98"/>
                      <a:pt x="154" y="61"/>
                    </a:cubicBezTo>
                    <a:cubicBezTo>
                      <a:pt x="143" y="25"/>
                      <a:pt x="89" y="0"/>
                      <a:pt x="55" y="17"/>
                    </a:cubicBezTo>
                    <a:cubicBezTo>
                      <a:pt x="52" y="18"/>
                      <a:pt x="53" y="23"/>
                      <a:pt x="56" y="22"/>
                    </a:cubicBezTo>
                    <a:cubicBezTo>
                      <a:pt x="88" y="18"/>
                      <a:pt x="133" y="25"/>
                      <a:pt x="144" y="61"/>
                    </a:cubicBezTo>
                    <a:cubicBezTo>
                      <a:pt x="154" y="91"/>
                      <a:pt x="141" y="127"/>
                      <a:pt x="112" y="139"/>
                    </a:cubicBezTo>
                    <a:cubicBezTo>
                      <a:pt x="74" y="156"/>
                      <a:pt x="11" y="138"/>
                      <a:pt x="9" y="91"/>
                    </a:cubicBezTo>
                    <a:cubicBezTo>
                      <a:pt x="8" y="73"/>
                      <a:pt x="13" y="53"/>
                      <a:pt x="26" y="40"/>
                    </a:cubicBezTo>
                    <a:cubicBezTo>
                      <a:pt x="40" y="27"/>
                      <a:pt x="58" y="26"/>
                      <a:pt x="74" y="18"/>
                    </a:cubicBezTo>
                    <a:cubicBezTo>
                      <a:pt x="75" y="18"/>
                      <a:pt x="74" y="17"/>
                      <a:pt x="74" y="17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47" name="Freeform 193">
                <a:extLst>
                  <a:ext uri="{FF2B5EF4-FFF2-40B4-BE49-F238E27FC236}">
                    <a16:creationId xmlns:a16="http://schemas.microsoft.com/office/drawing/2014/main" id="{9EF65903-2FCE-465E-A4EC-9F93A99D25A7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851" y="1335"/>
                <a:ext cx="182" cy="116"/>
              </a:xfrm>
              <a:custGeom>
                <a:avLst/>
                <a:gdLst>
                  <a:gd name="T0" fmla="*/ 15 w 172"/>
                  <a:gd name="T1" fmla="*/ 1 h 110"/>
                  <a:gd name="T2" fmla="*/ 10 w 172"/>
                  <a:gd name="T3" fmla="*/ 66 h 110"/>
                  <a:gd name="T4" fmla="*/ 62 w 172"/>
                  <a:gd name="T5" fmla="*/ 104 h 110"/>
                  <a:gd name="T6" fmla="*/ 139 w 172"/>
                  <a:gd name="T7" fmla="*/ 90 h 110"/>
                  <a:gd name="T8" fmla="*/ 162 w 172"/>
                  <a:gd name="T9" fmla="*/ 19 h 110"/>
                  <a:gd name="T10" fmla="*/ 156 w 172"/>
                  <a:gd name="T11" fmla="*/ 20 h 110"/>
                  <a:gd name="T12" fmla="*/ 58 w 172"/>
                  <a:gd name="T13" fmla="*/ 98 h 110"/>
                  <a:gd name="T14" fmla="*/ 15 w 172"/>
                  <a:gd name="T15" fmla="*/ 64 h 110"/>
                  <a:gd name="T16" fmla="*/ 17 w 172"/>
                  <a:gd name="T17" fmla="*/ 2 h 110"/>
                  <a:gd name="T18" fmla="*/ 15 w 172"/>
                  <a:gd name="T19" fmla="*/ 1 h 1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72" h="110">
                    <a:moveTo>
                      <a:pt x="15" y="1"/>
                    </a:moveTo>
                    <a:cubicBezTo>
                      <a:pt x="4" y="22"/>
                      <a:pt x="0" y="43"/>
                      <a:pt x="10" y="66"/>
                    </a:cubicBezTo>
                    <a:cubicBezTo>
                      <a:pt x="19" y="86"/>
                      <a:pt x="40" y="100"/>
                      <a:pt x="62" y="104"/>
                    </a:cubicBezTo>
                    <a:cubicBezTo>
                      <a:pt x="85" y="109"/>
                      <a:pt x="120" y="105"/>
                      <a:pt x="139" y="90"/>
                    </a:cubicBezTo>
                    <a:cubicBezTo>
                      <a:pt x="159" y="74"/>
                      <a:pt x="172" y="43"/>
                      <a:pt x="162" y="19"/>
                    </a:cubicBezTo>
                    <a:cubicBezTo>
                      <a:pt x="160" y="15"/>
                      <a:pt x="155" y="16"/>
                      <a:pt x="156" y="20"/>
                    </a:cubicBezTo>
                    <a:cubicBezTo>
                      <a:pt x="171" y="76"/>
                      <a:pt x="106" y="110"/>
                      <a:pt x="58" y="98"/>
                    </a:cubicBezTo>
                    <a:cubicBezTo>
                      <a:pt x="40" y="93"/>
                      <a:pt x="23" y="81"/>
                      <a:pt x="15" y="64"/>
                    </a:cubicBezTo>
                    <a:cubicBezTo>
                      <a:pt x="5" y="42"/>
                      <a:pt x="10" y="23"/>
                      <a:pt x="17" y="2"/>
                    </a:cubicBezTo>
                    <a:cubicBezTo>
                      <a:pt x="18" y="1"/>
                      <a:pt x="16" y="0"/>
                      <a:pt x="15" y="1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48" name="Freeform 194">
                <a:extLst>
                  <a:ext uri="{FF2B5EF4-FFF2-40B4-BE49-F238E27FC236}">
                    <a16:creationId xmlns:a16="http://schemas.microsoft.com/office/drawing/2014/main" id="{B89AC90A-F23A-4ABE-8CBF-70E52153913C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504" y="1172"/>
                <a:ext cx="198" cy="20"/>
              </a:xfrm>
              <a:custGeom>
                <a:avLst/>
                <a:gdLst>
                  <a:gd name="T0" fmla="*/ 2 w 187"/>
                  <a:gd name="T1" fmla="*/ 19 h 19"/>
                  <a:gd name="T2" fmla="*/ 91 w 187"/>
                  <a:gd name="T3" fmla="*/ 7 h 19"/>
                  <a:gd name="T4" fmla="*/ 185 w 187"/>
                  <a:gd name="T5" fmla="*/ 8 h 19"/>
                  <a:gd name="T6" fmla="*/ 185 w 187"/>
                  <a:gd name="T7" fmla="*/ 4 h 19"/>
                  <a:gd name="T8" fmla="*/ 88 w 187"/>
                  <a:gd name="T9" fmla="*/ 1 h 19"/>
                  <a:gd name="T10" fmla="*/ 2 w 187"/>
                  <a:gd name="T11" fmla="*/ 16 h 19"/>
                  <a:gd name="T12" fmla="*/ 2 w 187"/>
                  <a:gd name="T13" fmla="*/ 19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87" h="19">
                    <a:moveTo>
                      <a:pt x="2" y="19"/>
                    </a:moveTo>
                    <a:cubicBezTo>
                      <a:pt x="33" y="12"/>
                      <a:pt x="60" y="5"/>
                      <a:pt x="91" y="7"/>
                    </a:cubicBezTo>
                    <a:cubicBezTo>
                      <a:pt x="122" y="8"/>
                      <a:pt x="154" y="7"/>
                      <a:pt x="185" y="8"/>
                    </a:cubicBezTo>
                    <a:cubicBezTo>
                      <a:pt x="187" y="8"/>
                      <a:pt x="187" y="4"/>
                      <a:pt x="185" y="4"/>
                    </a:cubicBezTo>
                    <a:cubicBezTo>
                      <a:pt x="153" y="0"/>
                      <a:pt x="120" y="2"/>
                      <a:pt x="88" y="1"/>
                    </a:cubicBezTo>
                    <a:cubicBezTo>
                      <a:pt x="57" y="0"/>
                      <a:pt x="31" y="7"/>
                      <a:pt x="2" y="16"/>
                    </a:cubicBezTo>
                    <a:cubicBezTo>
                      <a:pt x="0" y="17"/>
                      <a:pt x="1" y="19"/>
                      <a:pt x="2" y="19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49" name="Freeform 195">
                <a:extLst>
                  <a:ext uri="{FF2B5EF4-FFF2-40B4-BE49-F238E27FC236}">
                    <a16:creationId xmlns:a16="http://schemas.microsoft.com/office/drawing/2014/main" id="{6CBA2C91-C12C-4810-B958-8CB5CFAD1CD7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784" y="1082"/>
                <a:ext cx="213" cy="73"/>
              </a:xfrm>
              <a:custGeom>
                <a:avLst/>
                <a:gdLst>
                  <a:gd name="T0" fmla="*/ 0 w 201"/>
                  <a:gd name="T1" fmla="*/ 69 h 69"/>
                  <a:gd name="T2" fmla="*/ 96 w 201"/>
                  <a:gd name="T3" fmla="*/ 43 h 69"/>
                  <a:gd name="T4" fmla="*/ 199 w 201"/>
                  <a:gd name="T5" fmla="*/ 6 h 69"/>
                  <a:gd name="T6" fmla="*/ 199 w 201"/>
                  <a:gd name="T7" fmla="*/ 3 h 69"/>
                  <a:gd name="T8" fmla="*/ 113 w 201"/>
                  <a:gd name="T9" fmla="*/ 27 h 69"/>
                  <a:gd name="T10" fmla="*/ 0 w 201"/>
                  <a:gd name="T11" fmla="*/ 68 h 69"/>
                  <a:gd name="T12" fmla="*/ 0 w 201"/>
                  <a:gd name="T13" fmla="*/ 69 h 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01" h="69">
                    <a:moveTo>
                      <a:pt x="0" y="69"/>
                    </a:moveTo>
                    <a:cubicBezTo>
                      <a:pt x="34" y="67"/>
                      <a:pt x="66" y="57"/>
                      <a:pt x="96" y="43"/>
                    </a:cubicBezTo>
                    <a:cubicBezTo>
                      <a:pt x="129" y="27"/>
                      <a:pt x="161" y="6"/>
                      <a:pt x="199" y="6"/>
                    </a:cubicBezTo>
                    <a:cubicBezTo>
                      <a:pt x="201" y="6"/>
                      <a:pt x="201" y="3"/>
                      <a:pt x="199" y="3"/>
                    </a:cubicBezTo>
                    <a:cubicBezTo>
                      <a:pt x="167" y="0"/>
                      <a:pt x="141" y="13"/>
                      <a:pt x="113" y="27"/>
                    </a:cubicBezTo>
                    <a:cubicBezTo>
                      <a:pt x="77" y="46"/>
                      <a:pt x="41" y="63"/>
                      <a:pt x="0" y="68"/>
                    </a:cubicBezTo>
                    <a:lnTo>
                      <a:pt x="0" y="69"/>
                    </a:ln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50" name="Freeform 196">
                <a:extLst>
                  <a:ext uri="{FF2B5EF4-FFF2-40B4-BE49-F238E27FC236}">
                    <a16:creationId xmlns:a16="http://schemas.microsoft.com/office/drawing/2014/main" id="{83EB4BDE-7DBB-481B-9C05-9F03ED9B87EA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933" y="3141"/>
                <a:ext cx="32" cy="15"/>
              </a:xfrm>
              <a:custGeom>
                <a:avLst/>
                <a:gdLst>
                  <a:gd name="T0" fmla="*/ 2 w 30"/>
                  <a:gd name="T1" fmla="*/ 11 h 14"/>
                  <a:gd name="T2" fmla="*/ 5 w 30"/>
                  <a:gd name="T3" fmla="*/ 8 h 14"/>
                  <a:gd name="T4" fmla="*/ 6 w 30"/>
                  <a:gd name="T5" fmla="*/ 7 h 14"/>
                  <a:gd name="T6" fmla="*/ 3 w 30"/>
                  <a:gd name="T7" fmla="*/ 3 h 14"/>
                  <a:gd name="T8" fmla="*/ 1 w 30"/>
                  <a:gd name="T9" fmla="*/ 9 h 14"/>
                  <a:gd name="T10" fmla="*/ 5 w 30"/>
                  <a:gd name="T11" fmla="*/ 13 h 14"/>
                  <a:gd name="T12" fmla="*/ 9 w 30"/>
                  <a:gd name="T13" fmla="*/ 12 h 14"/>
                  <a:gd name="T14" fmla="*/ 12 w 30"/>
                  <a:gd name="T15" fmla="*/ 9 h 14"/>
                  <a:gd name="T16" fmla="*/ 8 w 30"/>
                  <a:gd name="T17" fmla="*/ 4 h 14"/>
                  <a:gd name="T18" fmla="*/ 8 w 30"/>
                  <a:gd name="T19" fmla="*/ 6 h 14"/>
                  <a:gd name="T20" fmla="*/ 10 w 30"/>
                  <a:gd name="T21" fmla="*/ 10 h 14"/>
                  <a:gd name="T22" fmla="*/ 16 w 30"/>
                  <a:gd name="T23" fmla="*/ 9 h 14"/>
                  <a:gd name="T24" fmla="*/ 13 w 30"/>
                  <a:gd name="T25" fmla="*/ 9 h 14"/>
                  <a:gd name="T26" fmla="*/ 13 w 30"/>
                  <a:gd name="T27" fmla="*/ 9 h 14"/>
                  <a:gd name="T28" fmla="*/ 11 w 30"/>
                  <a:gd name="T29" fmla="*/ 7 h 14"/>
                  <a:gd name="T30" fmla="*/ 22 w 30"/>
                  <a:gd name="T31" fmla="*/ 12 h 14"/>
                  <a:gd name="T32" fmla="*/ 18 w 30"/>
                  <a:gd name="T33" fmla="*/ 11 h 14"/>
                  <a:gd name="T34" fmla="*/ 23 w 30"/>
                  <a:gd name="T35" fmla="*/ 12 h 14"/>
                  <a:gd name="T36" fmla="*/ 21 w 30"/>
                  <a:gd name="T37" fmla="*/ 2 h 14"/>
                  <a:gd name="T38" fmla="*/ 19 w 30"/>
                  <a:gd name="T39" fmla="*/ 3 h 14"/>
                  <a:gd name="T40" fmla="*/ 25 w 30"/>
                  <a:gd name="T41" fmla="*/ 3 h 14"/>
                  <a:gd name="T42" fmla="*/ 20 w 30"/>
                  <a:gd name="T43" fmla="*/ 2 h 14"/>
                  <a:gd name="T44" fmla="*/ 16 w 30"/>
                  <a:gd name="T45" fmla="*/ 3 h 14"/>
                  <a:gd name="T46" fmla="*/ 20 w 30"/>
                  <a:gd name="T47" fmla="*/ 5 h 14"/>
                  <a:gd name="T48" fmla="*/ 16 w 30"/>
                  <a:gd name="T49" fmla="*/ 1 h 14"/>
                  <a:gd name="T50" fmla="*/ 10 w 30"/>
                  <a:gd name="T51" fmla="*/ 3 h 14"/>
                  <a:gd name="T52" fmla="*/ 14 w 30"/>
                  <a:gd name="T53" fmla="*/ 3 h 14"/>
                  <a:gd name="T54" fmla="*/ 13 w 30"/>
                  <a:gd name="T55" fmla="*/ 2 h 14"/>
                  <a:gd name="T56" fmla="*/ 16 w 30"/>
                  <a:gd name="T57" fmla="*/ 7 h 14"/>
                  <a:gd name="T58" fmla="*/ 16 w 30"/>
                  <a:gd name="T59" fmla="*/ 4 h 14"/>
                  <a:gd name="T60" fmla="*/ 12 w 30"/>
                  <a:gd name="T61" fmla="*/ 1 h 14"/>
                  <a:gd name="T62" fmla="*/ 3 w 30"/>
                  <a:gd name="T63" fmla="*/ 6 h 14"/>
                  <a:gd name="T64" fmla="*/ 7 w 30"/>
                  <a:gd name="T65" fmla="*/ 8 h 14"/>
                  <a:gd name="T66" fmla="*/ 8 w 30"/>
                  <a:gd name="T67" fmla="*/ 5 h 14"/>
                  <a:gd name="T68" fmla="*/ 4 w 30"/>
                  <a:gd name="T69" fmla="*/ 3 h 14"/>
                  <a:gd name="T70" fmla="*/ 1 w 30"/>
                  <a:gd name="T71" fmla="*/ 10 h 14"/>
                  <a:gd name="T72" fmla="*/ 2 w 30"/>
                  <a:gd name="T73" fmla="*/ 11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30" h="14">
                    <a:moveTo>
                      <a:pt x="2" y="11"/>
                    </a:moveTo>
                    <a:cubicBezTo>
                      <a:pt x="3" y="10"/>
                      <a:pt x="4" y="9"/>
                      <a:pt x="5" y="8"/>
                    </a:cubicBezTo>
                    <a:cubicBezTo>
                      <a:pt x="6" y="8"/>
                      <a:pt x="7" y="7"/>
                      <a:pt x="6" y="7"/>
                    </a:cubicBezTo>
                    <a:cubicBezTo>
                      <a:pt x="5" y="6"/>
                      <a:pt x="4" y="4"/>
                      <a:pt x="3" y="3"/>
                    </a:cubicBezTo>
                    <a:cubicBezTo>
                      <a:pt x="2" y="5"/>
                      <a:pt x="1" y="7"/>
                      <a:pt x="1" y="9"/>
                    </a:cubicBezTo>
                    <a:cubicBezTo>
                      <a:pt x="0" y="12"/>
                      <a:pt x="2" y="14"/>
                      <a:pt x="5" y="13"/>
                    </a:cubicBezTo>
                    <a:cubicBezTo>
                      <a:pt x="6" y="13"/>
                      <a:pt x="7" y="13"/>
                      <a:pt x="9" y="12"/>
                    </a:cubicBezTo>
                    <a:cubicBezTo>
                      <a:pt x="9" y="11"/>
                      <a:pt x="12" y="9"/>
                      <a:pt x="12" y="9"/>
                    </a:cubicBezTo>
                    <a:cubicBezTo>
                      <a:pt x="11" y="7"/>
                      <a:pt x="9" y="6"/>
                      <a:pt x="8" y="4"/>
                    </a:cubicBezTo>
                    <a:cubicBezTo>
                      <a:pt x="8" y="5"/>
                      <a:pt x="8" y="6"/>
                      <a:pt x="8" y="6"/>
                    </a:cubicBezTo>
                    <a:cubicBezTo>
                      <a:pt x="8" y="7"/>
                      <a:pt x="9" y="9"/>
                      <a:pt x="10" y="10"/>
                    </a:cubicBezTo>
                    <a:cubicBezTo>
                      <a:pt x="12" y="11"/>
                      <a:pt x="14" y="10"/>
                      <a:pt x="16" y="9"/>
                    </a:cubicBezTo>
                    <a:cubicBezTo>
                      <a:pt x="15" y="9"/>
                      <a:pt x="14" y="9"/>
                      <a:pt x="13" y="9"/>
                    </a:cubicBezTo>
                    <a:cubicBezTo>
                      <a:pt x="13" y="9"/>
                      <a:pt x="13" y="9"/>
                      <a:pt x="13" y="9"/>
                    </a:cubicBezTo>
                    <a:cubicBezTo>
                      <a:pt x="12" y="8"/>
                      <a:pt x="12" y="8"/>
                      <a:pt x="11" y="7"/>
                    </a:cubicBezTo>
                    <a:cubicBezTo>
                      <a:pt x="12" y="13"/>
                      <a:pt x="16" y="12"/>
                      <a:pt x="22" y="12"/>
                    </a:cubicBezTo>
                    <a:cubicBezTo>
                      <a:pt x="20" y="11"/>
                      <a:pt x="19" y="11"/>
                      <a:pt x="18" y="11"/>
                    </a:cubicBezTo>
                    <a:cubicBezTo>
                      <a:pt x="19" y="12"/>
                      <a:pt x="21" y="13"/>
                      <a:pt x="23" y="12"/>
                    </a:cubicBezTo>
                    <a:cubicBezTo>
                      <a:pt x="30" y="11"/>
                      <a:pt x="27" y="0"/>
                      <a:pt x="21" y="2"/>
                    </a:cubicBezTo>
                    <a:cubicBezTo>
                      <a:pt x="20" y="2"/>
                      <a:pt x="20" y="2"/>
                      <a:pt x="19" y="3"/>
                    </a:cubicBezTo>
                    <a:cubicBezTo>
                      <a:pt x="21" y="3"/>
                      <a:pt x="23" y="3"/>
                      <a:pt x="25" y="3"/>
                    </a:cubicBezTo>
                    <a:cubicBezTo>
                      <a:pt x="23" y="2"/>
                      <a:pt x="22" y="1"/>
                      <a:pt x="20" y="2"/>
                    </a:cubicBezTo>
                    <a:cubicBezTo>
                      <a:pt x="19" y="2"/>
                      <a:pt x="17" y="3"/>
                      <a:pt x="16" y="3"/>
                    </a:cubicBezTo>
                    <a:cubicBezTo>
                      <a:pt x="17" y="4"/>
                      <a:pt x="18" y="4"/>
                      <a:pt x="20" y="5"/>
                    </a:cubicBezTo>
                    <a:cubicBezTo>
                      <a:pt x="19" y="4"/>
                      <a:pt x="18" y="2"/>
                      <a:pt x="16" y="1"/>
                    </a:cubicBezTo>
                    <a:cubicBezTo>
                      <a:pt x="14" y="0"/>
                      <a:pt x="12" y="2"/>
                      <a:pt x="10" y="3"/>
                    </a:cubicBezTo>
                    <a:cubicBezTo>
                      <a:pt x="12" y="3"/>
                      <a:pt x="13" y="3"/>
                      <a:pt x="14" y="3"/>
                    </a:cubicBezTo>
                    <a:cubicBezTo>
                      <a:pt x="13" y="2"/>
                      <a:pt x="13" y="2"/>
                      <a:pt x="13" y="2"/>
                    </a:cubicBezTo>
                    <a:cubicBezTo>
                      <a:pt x="14" y="4"/>
                      <a:pt x="15" y="5"/>
                      <a:pt x="16" y="7"/>
                    </a:cubicBezTo>
                    <a:cubicBezTo>
                      <a:pt x="16" y="6"/>
                      <a:pt x="16" y="5"/>
                      <a:pt x="16" y="4"/>
                    </a:cubicBezTo>
                    <a:cubicBezTo>
                      <a:pt x="16" y="2"/>
                      <a:pt x="14" y="1"/>
                      <a:pt x="12" y="1"/>
                    </a:cubicBezTo>
                    <a:cubicBezTo>
                      <a:pt x="8" y="1"/>
                      <a:pt x="6" y="5"/>
                      <a:pt x="3" y="6"/>
                    </a:cubicBezTo>
                    <a:cubicBezTo>
                      <a:pt x="4" y="7"/>
                      <a:pt x="6" y="7"/>
                      <a:pt x="7" y="8"/>
                    </a:cubicBezTo>
                    <a:cubicBezTo>
                      <a:pt x="8" y="7"/>
                      <a:pt x="8" y="6"/>
                      <a:pt x="8" y="5"/>
                    </a:cubicBezTo>
                    <a:cubicBezTo>
                      <a:pt x="8" y="3"/>
                      <a:pt x="6" y="1"/>
                      <a:pt x="4" y="3"/>
                    </a:cubicBezTo>
                    <a:cubicBezTo>
                      <a:pt x="1" y="4"/>
                      <a:pt x="1" y="8"/>
                      <a:pt x="1" y="10"/>
                    </a:cubicBezTo>
                    <a:cubicBezTo>
                      <a:pt x="1" y="11"/>
                      <a:pt x="2" y="11"/>
                      <a:pt x="2" y="11"/>
                    </a:cubicBezTo>
                    <a:close/>
                  </a:path>
                </a:pathLst>
              </a:custGeom>
              <a:solidFill>
                <a:srgbClr val="3C3C3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51" name="Freeform 197">
                <a:extLst>
                  <a:ext uri="{FF2B5EF4-FFF2-40B4-BE49-F238E27FC236}">
                    <a16:creationId xmlns:a16="http://schemas.microsoft.com/office/drawing/2014/main" id="{9562B46D-755E-4E07-B302-C673DF1B462B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944" y="3140"/>
                <a:ext cx="22" cy="17"/>
              </a:xfrm>
              <a:custGeom>
                <a:avLst/>
                <a:gdLst>
                  <a:gd name="T0" fmla="*/ 11 w 21"/>
                  <a:gd name="T1" fmla="*/ 16 h 16"/>
                  <a:gd name="T2" fmla="*/ 11 w 21"/>
                  <a:gd name="T3" fmla="*/ 0 h 16"/>
                  <a:gd name="T4" fmla="*/ 11 w 21"/>
                  <a:gd name="T5" fmla="*/ 16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1" h="16">
                    <a:moveTo>
                      <a:pt x="11" y="16"/>
                    </a:moveTo>
                    <a:cubicBezTo>
                      <a:pt x="21" y="16"/>
                      <a:pt x="21" y="0"/>
                      <a:pt x="11" y="0"/>
                    </a:cubicBezTo>
                    <a:cubicBezTo>
                      <a:pt x="1" y="0"/>
                      <a:pt x="0" y="16"/>
                      <a:pt x="11" y="16"/>
                    </a:cubicBezTo>
                    <a:close/>
                  </a:path>
                </a:pathLst>
              </a:custGeom>
              <a:solidFill>
                <a:srgbClr val="3C3C3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52" name="Freeform 198">
                <a:extLst>
                  <a:ext uri="{FF2B5EF4-FFF2-40B4-BE49-F238E27FC236}">
                    <a16:creationId xmlns:a16="http://schemas.microsoft.com/office/drawing/2014/main" id="{B1F54E0E-60CB-4A71-BBBE-CC5C8CB33CE7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770" y="3601"/>
                <a:ext cx="210" cy="73"/>
              </a:xfrm>
              <a:custGeom>
                <a:avLst/>
                <a:gdLst>
                  <a:gd name="T0" fmla="*/ 102 w 198"/>
                  <a:gd name="T1" fmla="*/ 16 h 69"/>
                  <a:gd name="T2" fmla="*/ 177 w 198"/>
                  <a:gd name="T3" fmla="*/ 15 h 69"/>
                  <a:gd name="T4" fmla="*/ 196 w 198"/>
                  <a:gd name="T5" fmla="*/ 14 h 69"/>
                  <a:gd name="T6" fmla="*/ 196 w 198"/>
                  <a:gd name="T7" fmla="*/ 18 h 69"/>
                  <a:gd name="T8" fmla="*/ 157 w 198"/>
                  <a:gd name="T9" fmla="*/ 49 h 69"/>
                  <a:gd name="T10" fmla="*/ 84 w 198"/>
                  <a:gd name="T11" fmla="*/ 67 h 69"/>
                  <a:gd name="T12" fmla="*/ 39 w 198"/>
                  <a:gd name="T13" fmla="*/ 68 h 69"/>
                  <a:gd name="T14" fmla="*/ 11 w 198"/>
                  <a:gd name="T15" fmla="*/ 53 h 69"/>
                  <a:gd name="T16" fmla="*/ 13 w 198"/>
                  <a:gd name="T17" fmla="*/ 18 h 69"/>
                  <a:gd name="T18" fmla="*/ 37 w 198"/>
                  <a:gd name="T19" fmla="*/ 0 h 69"/>
                  <a:gd name="T20" fmla="*/ 102 w 198"/>
                  <a:gd name="T21" fmla="*/ 16 h 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98" h="69">
                    <a:moveTo>
                      <a:pt x="102" y="16"/>
                    </a:moveTo>
                    <a:cubicBezTo>
                      <a:pt x="128" y="18"/>
                      <a:pt x="152" y="16"/>
                      <a:pt x="177" y="15"/>
                    </a:cubicBezTo>
                    <a:cubicBezTo>
                      <a:pt x="183" y="15"/>
                      <a:pt x="189" y="14"/>
                      <a:pt x="196" y="14"/>
                    </a:cubicBezTo>
                    <a:cubicBezTo>
                      <a:pt x="196" y="18"/>
                      <a:pt x="196" y="18"/>
                      <a:pt x="196" y="18"/>
                    </a:cubicBezTo>
                    <a:cubicBezTo>
                      <a:pt x="198" y="37"/>
                      <a:pt x="172" y="44"/>
                      <a:pt x="157" y="49"/>
                    </a:cubicBezTo>
                    <a:cubicBezTo>
                      <a:pt x="133" y="57"/>
                      <a:pt x="110" y="65"/>
                      <a:pt x="84" y="67"/>
                    </a:cubicBezTo>
                    <a:cubicBezTo>
                      <a:pt x="69" y="68"/>
                      <a:pt x="54" y="69"/>
                      <a:pt x="39" y="68"/>
                    </a:cubicBezTo>
                    <a:cubicBezTo>
                      <a:pt x="28" y="66"/>
                      <a:pt x="19" y="60"/>
                      <a:pt x="11" y="53"/>
                    </a:cubicBezTo>
                    <a:cubicBezTo>
                      <a:pt x="0" y="42"/>
                      <a:pt x="3" y="28"/>
                      <a:pt x="13" y="18"/>
                    </a:cubicBezTo>
                    <a:cubicBezTo>
                      <a:pt x="20" y="10"/>
                      <a:pt x="27" y="2"/>
                      <a:pt x="37" y="0"/>
                    </a:cubicBezTo>
                    <a:cubicBezTo>
                      <a:pt x="54" y="16"/>
                      <a:pt x="79" y="16"/>
                      <a:pt x="102" y="16"/>
                    </a:cubicBezTo>
                    <a:close/>
                  </a:path>
                </a:pathLst>
              </a:custGeom>
              <a:solidFill>
                <a:srgbClr val="F6B84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53" name="Freeform 199">
                <a:extLst>
                  <a:ext uri="{FF2B5EF4-FFF2-40B4-BE49-F238E27FC236}">
                    <a16:creationId xmlns:a16="http://schemas.microsoft.com/office/drawing/2014/main" id="{74129E04-578B-4305-8AD5-F4FCAD992D19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7200" y="3548"/>
                <a:ext cx="234" cy="109"/>
              </a:xfrm>
              <a:custGeom>
                <a:avLst/>
                <a:gdLst>
                  <a:gd name="T0" fmla="*/ 208 w 221"/>
                  <a:gd name="T1" fmla="*/ 5 h 103"/>
                  <a:gd name="T2" fmla="*/ 220 w 221"/>
                  <a:gd name="T3" fmla="*/ 30 h 103"/>
                  <a:gd name="T4" fmla="*/ 179 w 221"/>
                  <a:gd name="T5" fmla="*/ 76 h 103"/>
                  <a:gd name="T6" fmla="*/ 112 w 221"/>
                  <a:gd name="T7" fmla="*/ 99 h 103"/>
                  <a:gd name="T8" fmla="*/ 43 w 221"/>
                  <a:gd name="T9" fmla="*/ 97 h 103"/>
                  <a:gd name="T10" fmla="*/ 3 w 221"/>
                  <a:gd name="T11" fmla="*/ 61 h 103"/>
                  <a:gd name="T12" fmla="*/ 2 w 221"/>
                  <a:gd name="T13" fmla="*/ 57 h 103"/>
                  <a:gd name="T14" fmla="*/ 12 w 221"/>
                  <a:gd name="T15" fmla="*/ 54 h 103"/>
                  <a:gd name="T16" fmla="*/ 22 w 221"/>
                  <a:gd name="T17" fmla="*/ 44 h 103"/>
                  <a:gd name="T18" fmla="*/ 20 w 221"/>
                  <a:gd name="T19" fmla="*/ 37 h 103"/>
                  <a:gd name="T20" fmla="*/ 19 w 221"/>
                  <a:gd name="T21" fmla="*/ 35 h 103"/>
                  <a:gd name="T22" fmla="*/ 24 w 221"/>
                  <a:gd name="T23" fmla="*/ 35 h 103"/>
                  <a:gd name="T24" fmla="*/ 36 w 221"/>
                  <a:gd name="T25" fmla="*/ 32 h 103"/>
                  <a:gd name="T26" fmla="*/ 52 w 221"/>
                  <a:gd name="T27" fmla="*/ 30 h 103"/>
                  <a:gd name="T28" fmla="*/ 103 w 221"/>
                  <a:gd name="T29" fmla="*/ 20 h 103"/>
                  <a:gd name="T30" fmla="*/ 144 w 221"/>
                  <a:gd name="T31" fmla="*/ 19 h 103"/>
                  <a:gd name="T32" fmla="*/ 173 w 221"/>
                  <a:gd name="T33" fmla="*/ 14 h 103"/>
                  <a:gd name="T34" fmla="*/ 172 w 221"/>
                  <a:gd name="T35" fmla="*/ 13 h 103"/>
                  <a:gd name="T36" fmla="*/ 177 w 221"/>
                  <a:gd name="T37" fmla="*/ 11 h 103"/>
                  <a:gd name="T38" fmla="*/ 190 w 221"/>
                  <a:gd name="T39" fmla="*/ 5 h 103"/>
                  <a:gd name="T40" fmla="*/ 198 w 221"/>
                  <a:gd name="T41" fmla="*/ 0 h 103"/>
                  <a:gd name="T42" fmla="*/ 208 w 221"/>
                  <a:gd name="T43" fmla="*/ 5 h 1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221" h="103">
                    <a:moveTo>
                      <a:pt x="208" y="5"/>
                    </a:moveTo>
                    <a:cubicBezTo>
                      <a:pt x="215" y="11"/>
                      <a:pt x="221" y="20"/>
                      <a:pt x="220" y="30"/>
                    </a:cubicBezTo>
                    <a:cubicBezTo>
                      <a:pt x="217" y="51"/>
                      <a:pt x="197" y="67"/>
                      <a:pt x="179" y="76"/>
                    </a:cubicBezTo>
                    <a:cubicBezTo>
                      <a:pt x="158" y="87"/>
                      <a:pt x="135" y="95"/>
                      <a:pt x="112" y="99"/>
                    </a:cubicBezTo>
                    <a:cubicBezTo>
                      <a:pt x="89" y="103"/>
                      <a:pt x="65" y="100"/>
                      <a:pt x="43" y="97"/>
                    </a:cubicBezTo>
                    <a:cubicBezTo>
                      <a:pt x="25" y="96"/>
                      <a:pt x="0" y="82"/>
                      <a:pt x="3" y="61"/>
                    </a:cubicBezTo>
                    <a:cubicBezTo>
                      <a:pt x="2" y="57"/>
                      <a:pt x="2" y="57"/>
                      <a:pt x="2" y="57"/>
                    </a:cubicBezTo>
                    <a:cubicBezTo>
                      <a:pt x="5" y="56"/>
                      <a:pt x="9" y="55"/>
                      <a:pt x="12" y="54"/>
                    </a:cubicBezTo>
                    <a:cubicBezTo>
                      <a:pt x="16" y="51"/>
                      <a:pt x="21" y="49"/>
                      <a:pt x="22" y="44"/>
                    </a:cubicBezTo>
                    <a:cubicBezTo>
                      <a:pt x="22" y="42"/>
                      <a:pt x="21" y="39"/>
                      <a:pt x="20" y="37"/>
                    </a:cubicBezTo>
                    <a:cubicBezTo>
                      <a:pt x="19" y="36"/>
                      <a:pt x="19" y="36"/>
                      <a:pt x="19" y="35"/>
                    </a:cubicBezTo>
                    <a:cubicBezTo>
                      <a:pt x="20" y="35"/>
                      <a:pt x="23" y="36"/>
                      <a:pt x="24" y="35"/>
                    </a:cubicBezTo>
                    <a:cubicBezTo>
                      <a:pt x="29" y="34"/>
                      <a:pt x="31" y="34"/>
                      <a:pt x="36" y="32"/>
                    </a:cubicBezTo>
                    <a:cubicBezTo>
                      <a:pt x="42" y="31"/>
                      <a:pt x="46" y="31"/>
                      <a:pt x="52" y="30"/>
                    </a:cubicBezTo>
                    <a:cubicBezTo>
                      <a:pt x="69" y="27"/>
                      <a:pt x="85" y="23"/>
                      <a:pt x="103" y="20"/>
                    </a:cubicBezTo>
                    <a:cubicBezTo>
                      <a:pt x="116" y="19"/>
                      <a:pt x="130" y="18"/>
                      <a:pt x="144" y="19"/>
                    </a:cubicBezTo>
                    <a:cubicBezTo>
                      <a:pt x="152" y="19"/>
                      <a:pt x="166" y="20"/>
                      <a:pt x="173" y="14"/>
                    </a:cubicBezTo>
                    <a:cubicBezTo>
                      <a:pt x="172" y="13"/>
                      <a:pt x="172" y="13"/>
                      <a:pt x="172" y="13"/>
                    </a:cubicBezTo>
                    <a:cubicBezTo>
                      <a:pt x="174" y="12"/>
                      <a:pt x="175" y="12"/>
                      <a:pt x="177" y="11"/>
                    </a:cubicBezTo>
                    <a:cubicBezTo>
                      <a:pt x="182" y="10"/>
                      <a:pt x="187" y="9"/>
                      <a:pt x="190" y="5"/>
                    </a:cubicBezTo>
                    <a:cubicBezTo>
                      <a:pt x="193" y="3"/>
                      <a:pt x="195" y="2"/>
                      <a:pt x="198" y="0"/>
                    </a:cubicBezTo>
                    <a:cubicBezTo>
                      <a:pt x="200" y="2"/>
                      <a:pt x="204" y="3"/>
                      <a:pt x="208" y="5"/>
                    </a:cubicBezTo>
                    <a:close/>
                  </a:path>
                </a:pathLst>
              </a:custGeom>
              <a:solidFill>
                <a:srgbClr val="F6B84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54" name="Freeform 200">
                <a:extLst>
                  <a:ext uri="{FF2B5EF4-FFF2-40B4-BE49-F238E27FC236}">
                    <a16:creationId xmlns:a16="http://schemas.microsoft.com/office/drawing/2014/main" id="{6EDAAA03-8DB7-4DC5-B829-EAE40CF6FFE6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7570" y="3245"/>
                <a:ext cx="94" cy="94"/>
              </a:xfrm>
              <a:custGeom>
                <a:avLst/>
                <a:gdLst>
                  <a:gd name="T0" fmla="*/ 0 w 89"/>
                  <a:gd name="T1" fmla="*/ 87 h 89"/>
                  <a:gd name="T2" fmla="*/ 19 w 89"/>
                  <a:gd name="T3" fmla="*/ 64 h 89"/>
                  <a:gd name="T4" fmla="*/ 65 w 89"/>
                  <a:gd name="T5" fmla="*/ 0 h 89"/>
                  <a:gd name="T6" fmla="*/ 71 w 89"/>
                  <a:gd name="T7" fmla="*/ 6 h 89"/>
                  <a:gd name="T8" fmla="*/ 85 w 89"/>
                  <a:gd name="T9" fmla="*/ 18 h 89"/>
                  <a:gd name="T10" fmla="*/ 73 w 89"/>
                  <a:gd name="T11" fmla="*/ 51 h 89"/>
                  <a:gd name="T12" fmla="*/ 32 w 89"/>
                  <a:gd name="T13" fmla="*/ 79 h 89"/>
                  <a:gd name="T14" fmla="*/ 2 w 89"/>
                  <a:gd name="T15" fmla="*/ 89 h 89"/>
                  <a:gd name="T16" fmla="*/ 0 w 89"/>
                  <a:gd name="T17" fmla="*/ 87 h 8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89" h="89">
                    <a:moveTo>
                      <a:pt x="0" y="87"/>
                    </a:moveTo>
                    <a:cubicBezTo>
                      <a:pt x="6" y="79"/>
                      <a:pt x="13" y="72"/>
                      <a:pt x="19" y="64"/>
                    </a:cubicBezTo>
                    <a:cubicBezTo>
                      <a:pt x="35" y="44"/>
                      <a:pt x="50" y="22"/>
                      <a:pt x="65" y="0"/>
                    </a:cubicBezTo>
                    <a:cubicBezTo>
                      <a:pt x="66" y="3"/>
                      <a:pt x="69" y="4"/>
                      <a:pt x="71" y="6"/>
                    </a:cubicBezTo>
                    <a:cubicBezTo>
                      <a:pt x="76" y="8"/>
                      <a:pt x="82" y="11"/>
                      <a:pt x="85" y="18"/>
                    </a:cubicBezTo>
                    <a:cubicBezTo>
                      <a:pt x="89" y="29"/>
                      <a:pt x="81" y="44"/>
                      <a:pt x="73" y="51"/>
                    </a:cubicBezTo>
                    <a:cubicBezTo>
                      <a:pt x="61" y="63"/>
                      <a:pt x="47" y="72"/>
                      <a:pt x="32" y="79"/>
                    </a:cubicBezTo>
                    <a:cubicBezTo>
                      <a:pt x="22" y="82"/>
                      <a:pt x="11" y="89"/>
                      <a:pt x="2" y="89"/>
                    </a:cubicBezTo>
                    <a:lnTo>
                      <a:pt x="0" y="87"/>
                    </a:lnTo>
                    <a:close/>
                  </a:path>
                </a:pathLst>
              </a:custGeom>
              <a:solidFill>
                <a:srgbClr val="F6B84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55" name="Freeform 201">
                <a:extLst>
                  <a:ext uri="{FF2B5EF4-FFF2-40B4-BE49-F238E27FC236}">
                    <a16:creationId xmlns:a16="http://schemas.microsoft.com/office/drawing/2014/main" id="{806B1B8C-A484-4F9A-9D20-F5EA0AAFA67A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7240" y="2984"/>
                <a:ext cx="134" cy="66"/>
              </a:xfrm>
              <a:custGeom>
                <a:avLst/>
                <a:gdLst>
                  <a:gd name="T0" fmla="*/ 10 w 126"/>
                  <a:gd name="T1" fmla="*/ 22 h 62"/>
                  <a:gd name="T2" fmla="*/ 2 w 126"/>
                  <a:gd name="T3" fmla="*/ 16 h 62"/>
                  <a:gd name="T4" fmla="*/ 0 w 126"/>
                  <a:gd name="T5" fmla="*/ 16 h 62"/>
                  <a:gd name="T6" fmla="*/ 0 w 126"/>
                  <a:gd name="T7" fmla="*/ 16 h 62"/>
                  <a:gd name="T8" fmla="*/ 17 w 126"/>
                  <a:gd name="T9" fmla="*/ 14 h 62"/>
                  <a:gd name="T10" fmla="*/ 74 w 126"/>
                  <a:gd name="T11" fmla="*/ 6 h 62"/>
                  <a:gd name="T12" fmla="*/ 125 w 126"/>
                  <a:gd name="T13" fmla="*/ 0 h 62"/>
                  <a:gd name="T14" fmla="*/ 126 w 126"/>
                  <a:gd name="T15" fmla="*/ 15 h 62"/>
                  <a:gd name="T16" fmla="*/ 116 w 126"/>
                  <a:gd name="T17" fmla="*/ 24 h 62"/>
                  <a:gd name="T18" fmla="*/ 97 w 126"/>
                  <a:gd name="T19" fmla="*/ 31 h 62"/>
                  <a:gd name="T20" fmla="*/ 84 w 126"/>
                  <a:gd name="T21" fmla="*/ 41 h 62"/>
                  <a:gd name="T22" fmla="*/ 75 w 126"/>
                  <a:gd name="T23" fmla="*/ 43 h 62"/>
                  <a:gd name="T24" fmla="*/ 76 w 126"/>
                  <a:gd name="T25" fmla="*/ 44 h 62"/>
                  <a:gd name="T26" fmla="*/ 87 w 126"/>
                  <a:gd name="T27" fmla="*/ 46 h 62"/>
                  <a:gd name="T28" fmla="*/ 107 w 126"/>
                  <a:gd name="T29" fmla="*/ 54 h 62"/>
                  <a:gd name="T30" fmla="*/ 103 w 126"/>
                  <a:gd name="T31" fmla="*/ 55 h 62"/>
                  <a:gd name="T32" fmla="*/ 87 w 126"/>
                  <a:gd name="T33" fmla="*/ 57 h 62"/>
                  <a:gd name="T34" fmla="*/ 52 w 126"/>
                  <a:gd name="T35" fmla="*/ 60 h 62"/>
                  <a:gd name="T36" fmla="*/ 37 w 126"/>
                  <a:gd name="T37" fmla="*/ 62 h 62"/>
                  <a:gd name="T38" fmla="*/ 27 w 126"/>
                  <a:gd name="T39" fmla="*/ 61 h 62"/>
                  <a:gd name="T40" fmla="*/ 25 w 126"/>
                  <a:gd name="T41" fmla="*/ 61 h 62"/>
                  <a:gd name="T42" fmla="*/ 24 w 126"/>
                  <a:gd name="T43" fmla="*/ 48 h 62"/>
                  <a:gd name="T44" fmla="*/ 19 w 126"/>
                  <a:gd name="T45" fmla="*/ 35 h 62"/>
                  <a:gd name="T46" fmla="*/ 16 w 126"/>
                  <a:gd name="T47" fmla="*/ 34 h 62"/>
                  <a:gd name="T48" fmla="*/ 17 w 126"/>
                  <a:gd name="T49" fmla="*/ 33 h 62"/>
                  <a:gd name="T50" fmla="*/ 16 w 126"/>
                  <a:gd name="T51" fmla="*/ 26 h 62"/>
                  <a:gd name="T52" fmla="*/ 10 w 126"/>
                  <a:gd name="T53" fmla="*/ 22 h 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126" h="62">
                    <a:moveTo>
                      <a:pt x="10" y="22"/>
                    </a:moveTo>
                    <a:cubicBezTo>
                      <a:pt x="9" y="19"/>
                      <a:pt x="5" y="16"/>
                      <a:pt x="2" y="16"/>
                    </a:cubicBezTo>
                    <a:cubicBezTo>
                      <a:pt x="0" y="16"/>
                      <a:pt x="0" y="16"/>
                      <a:pt x="0" y="16"/>
                    </a:cubicBezTo>
                    <a:cubicBezTo>
                      <a:pt x="0" y="16"/>
                      <a:pt x="0" y="16"/>
                      <a:pt x="0" y="16"/>
                    </a:cubicBezTo>
                    <a:cubicBezTo>
                      <a:pt x="17" y="14"/>
                      <a:pt x="17" y="14"/>
                      <a:pt x="17" y="14"/>
                    </a:cubicBezTo>
                    <a:cubicBezTo>
                      <a:pt x="36" y="9"/>
                      <a:pt x="56" y="9"/>
                      <a:pt x="74" y="6"/>
                    </a:cubicBezTo>
                    <a:cubicBezTo>
                      <a:pt x="91" y="4"/>
                      <a:pt x="108" y="2"/>
                      <a:pt x="125" y="0"/>
                    </a:cubicBezTo>
                    <a:cubicBezTo>
                      <a:pt x="126" y="15"/>
                      <a:pt x="126" y="15"/>
                      <a:pt x="126" y="15"/>
                    </a:cubicBezTo>
                    <a:cubicBezTo>
                      <a:pt x="123" y="19"/>
                      <a:pt x="119" y="21"/>
                      <a:pt x="116" y="24"/>
                    </a:cubicBezTo>
                    <a:cubicBezTo>
                      <a:pt x="110" y="25"/>
                      <a:pt x="104" y="28"/>
                      <a:pt x="97" y="31"/>
                    </a:cubicBezTo>
                    <a:cubicBezTo>
                      <a:pt x="93" y="34"/>
                      <a:pt x="88" y="38"/>
                      <a:pt x="84" y="41"/>
                    </a:cubicBezTo>
                    <a:cubicBezTo>
                      <a:pt x="81" y="42"/>
                      <a:pt x="78" y="42"/>
                      <a:pt x="75" y="43"/>
                    </a:cubicBezTo>
                    <a:cubicBezTo>
                      <a:pt x="76" y="44"/>
                      <a:pt x="76" y="44"/>
                      <a:pt x="76" y="44"/>
                    </a:cubicBezTo>
                    <a:cubicBezTo>
                      <a:pt x="79" y="45"/>
                      <a:pt x="84" y="46"/>
                      <a:pt x="87" y="46"/>
                    </a:cubicBezTo>
                    <a:cubicBezTo>
                      <a:pt x="94" y="48"/>
                      <a:pt x="100" y="51"/>
                      <a:pt x="107" y="54"/>
                    </a:cubicBezTo>
                    <a:cubicBezTo>
                      <a:pt x="106" y="54"/>
                      <a:pt x="105" y="54"/>
                      <a:pt x="103" y="55"/>
                    </a:cubicBezTo>
                    <a:cubicBezTo>
                      <a:pt x="97" y="56"/>
                      <a:pt x="92" y="56"/>
                      <a:pt x="87" y="57"/>
                    </a:cubicBezTo>
                    <a:cubicBezTo>
                      <a:pt x="75" y="59"/>
                      <a:pt x="64" y="60"/>
                      <a:pt x="52" y="60"/>
                    </a:cubicBezTo>
                    <a:cubicBezTo>
                      <a:pt x="46" y="61"/>
                      <a:pt x="41" y="61"/>
                      <a:pt x="37" y="62"/>
                    </a:cubicBezTo>
                    <a:cubicBezTo>
                      <a:pt x="33" y="61"/>
                      <a:pt x="30" y="62"/>
                      <a:pt x="27" y="61"/>
                    </a:cubicBezTo>
                    <a:cubicBezTo>
                      <a:pt x="25" y="61"/>
                      <a:pt x="25" y="61"/>
                      <a:pt x="25" y="61"/>
                    </a:cubicBezTo>
                    <a:cubicBezTo>
                      <a:pt x="25" y="57"/>
                      <a:pt x="25" y="52"/>
                      <a:pt x="24" y="48"/>
                    </a:cubicBezTo>
                    <a:cubicBezTo>
                      <a:pt x="23" y="44"/>
                      <a:pt x="19" y="40"/>
                      <a:pt x="19" y="35"/>
                    </a:cubicBezTo>
                    <a:cubicBezTo>
                      <a:pt x="16" y="34"/>
                      <a:pt x="16" y="34"/>
                      <a:pt x="16" y="34"/>
                    </a:cubicBezTo>
                    <a:cubicBezTo>
                      <a:pt x="17" y="33"/>
                      <a:pt x="17" y="33"/>
                      <a:pt x="17" y="33"/>
                    </a:cubicBezTo>
                    <a:cubicBezTo>
                      <a:pt x="18" y="29"/>
                      <a:pt x="17" y="27"/>
                      <a:pt x="16" y="26"/>
                    </a:cubicBezTo>
                    <a:cubicBezTo>
                      <a:pt x="15" y="24"/>
                      <a:pt x="13" y="23"/>
                      <a:pt x="10" y="22"/>
                    </a:cubicBezTo>
                    <a:close/>
                  </a:path>
                </a:pathLst>
              </a:custGeom>
              <a:solidFill>
                <a:srgbClr val="F6B84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56" name="Freeform 202">
                <a:extLst>
                  <a:ext uri="{FF2B5EF4-FFF2-40B4-BE49-F238E27FC236}">
                    <a16:creationId xmlns:a16="http://schemas.microsoft.com/office/drawing/2014/main" id="{9EB4B9F4-E398-4FF6-BD1D-77862713892F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7320" y="2981"/>
                <a:ext cx="213" cy="60"/>
              </a:xfrm>
              <a:custGeom>
                <a:avLst/>
                <a:gdLst>
                  <a:gd name="T0" fmla="*/ 9 w 201"/>
                  <a:gd name="T1" fmla="*/ 44 h 57"/>
                  <a:gd name="T2" fmla="*/ 22 w 201"/>
                  <a:gd name="T3" fmla="*/ 34 h 57"/>
                  <a:gd name="T4" fmla="*/ 41 w 201"/>
                  <a:gd name="T5" fmla="*/ 27 h 57"/>
                  <a:gd name="T6" fmla="*/ 51 w 201"/>
                  <a:gd name="T7" fmla="*/ 18 h 57"/>
                  <a:gd name="T8" fmla="*/ 50 w 201"/>
                  <a:gd name="T9" fmla="*/ 3 h 57"/>
                  <a:gd name="T10" fmla="*/ 89 w 201"/>
                  <a:gd name="T11" fmla="*/ 2 h 57"/>
                  <a:gd name="T12" fmla="*/ 155 w 201"/>
                  <a:gd name="T13" fmla="*/ 1 h 57"/>
                  <a:gd name="T14" fmla="*/ 171 w 201"/>
                  <a:gd name="T15" fmla="*/ 0 h 57"/>
                  <a:gd name="T16" fmla="*/ 184 w 201"/>
                  <a:gd name="T17" fmla="*/ 6 h 57"/>
                  <a:gd name="T18" fmla="*/ 197 w 201"/>
                  <a:gd name="T19" fmla="*/ 19 h 57"/>
                  <a:gd name="T20" fmla="*/ 201 w 201"/>
                  <a:gd name="T21" fmla="*/ 22 h 57"/>
                  <a:gd name="T22" fmla="*/ 201 w 201"/>
                  <a:gd name="T23" fmla="*/ 25 h 57"/>
                  <a:gd name="T24" fmla="*/ 149 w 201"/>
                  <a:gd name="T25" fmla="*/ 34 h 57"/>
                  <a:gd name="T26" fmla="*/ 119 w 201"/>
                  <a:gd name="T27" fmla="*/ 38 h 57"/>
                  <a:gd name="T28" fmla="*/ 87 w 201"/>
                  <a:gd name="T29" fmla="*/ 45 h 57"/>
                  <a:gd name="T30" fmla="*/ 47 w 201"/>
                  <a:gd name="T31" fmla="*/ 53 h 57"/>
                  <a:gd name="T32" fmla="*/ 32 w 201"/>
                  <a:gd name="T33" fmla="*/ 57 h 57"/>
                  <a:gd name="T34" fmla="*/ 12 w 201"/>
                  <a:gd name="T35" fmla="*/ 49 h 57"/>
                  <a:gd name="T36" fmla="*/ 1 w 201"/>
                  <a:gd name="T37" fmla="*/ 47 h 57"/>
                  <a:gd name="T38" fmla="*/ 0 w 201"/>
                  <a:gd name="T39" fmla="*/ 46 h 57"/>
                  <a:gd name="T40" fmla="*/ 9 w 201"/>
                  <a:gd name="T41" fmla="*/ 44 h 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01" h="57">
                    <a:moveTo>
                      <a:pt x="9" y="44"/>
                    </a:moveTo>
                    <a:cubicBezTo>
                      <a:pt x="13" y="41"/>
                      <a:pt x="18" y="37"/>
                      <a:pt x="22" y="34"/>
                    </a:cubicBezTo>
                    <a:cubicBezTo>
                      <a:pt x="29" y="31"/>
                      <a:pt x="35" y="28"/>
                      <a:pt x="41" y="27"/>
                    </a:cubicBezTo>
                    <a:cubicBezTo>
                      <a:pt x="44" y="24"/>
                      <a:pt x="48" y="22"/>
                      <a:pt x="51" y="18"/>
                    </a:cubicBezTo>
                    <a:cubicBezTo>
                      <a:pt x="50" y="3"/>
                      <a:pt x="50" y="3"/>
                      <a:pt x="50" y="3"/>
                    </a:cubicBezTo>
                    <a:cubicBezTo>
                      <a:pt x="63" y="2"/>
                      <a:pt x="76" y="2"/>
                      <a:pt x="89" y="2"/>
                    </a:cubicBezTo>
                    <a:cubicBezTo>
                      <a:pt x="111" y="3"/>
                      <a:pt x="133" y="0"/>
                      <a:pt x="155" y="1"/>
                    </a:cubicBezTo>
                    <a:cubicBezTo>
                      <a:pt x="161" y="1"/>
                      <a:pt x="166" y="0"/>
                      <a:pt x="171" y="0"/>
                    </a:cubicBezTo>
                    <a:cubicBezTo>
                      <a:pt x="177" y="0"/>
                      <a:pt x="182" y="4"/>
                      <a:pt x="184" y="6"/>
                    </a:cubicBezTo>
                    <a:cubicBezTo>
                      <a:pt x="190" y="11"/>
                      <a:pt x="193" y="15"/>
                      <a:pt x="197" y="19"/>
                    </a:cubicBezTo>
                    <a:cubicBezTo>
                      <a:pt x="197" y="20"/>
                      <a:pt x="199" y="22"/>
                      <a:pt x="201" y="22"/>
                    </a:cubicBezTo>
                    <a:cubicBezTo>
                      <a:pt x="201" y="25"/>
                      <a:pt x="201" y="25"/>
                      <a:pt x="201" y="25"/>
                    </a:cubicBezTo>
                    <a:cubicBezTo>
                      <a:pt x="183" y="27"/>
                      <a:pt x="166" y="32"/>
                      <a:pt x="149" y="34"/>
                    </a:cubicBezTo>
                    <a:cubicBezTo>
                      <a:pt x="139" y="36"/>
                      <a:pt x="130" y="35"/>
                      <a:pt x="119" y="38"/>
                    </a:cubicBezTo>
                    <a:cubicBezTo>
                      <a:pt x="109" y="39"/>
                      <a:pt x="97" y="42"/>
                      <a:pt x="87" y="45"/>
                    </a:cubicBezTo>
                    <a:cubicBezTo>
                      <a:pt x="74" y="48"/>
                      <a:pt x="60" y="50"/>
                      <a:pt x="47" y="53"/>
                    </a:cubicBezTo>
                    <a:cubicBezTo>
                      <a:pt x="42" y="54"/>
                      <a:pt x="37" y="55"/>
                      <a:pt x="32" y="57"/>
                    </a:cubicBezTo>
                    <a:cubicBezTo>
                      <a:pt x="25" y="54"/>
                      <a:pt x="19" y="51"/>
                      <a:pt x="12" y="49"/>
                    </a:cubicBezTo>
                    <a:cubicBezTo>
                      <a:pt x="9" y="49"/>
                      <a:pt x="4" y="48"/>
                      <a:pt x="1" y="47"/>
                    </a:cubicBezTo>
                    <a:cubicBezTo>
                      <a:pt x="0" y="46"/>
                      <a:pt x="0" y="46"/>
                      <a:pt x="0" y="46"/>
                    </a:cubicBezTo>
                    <a:cubicBezTo>
                      <a:pt x="3" y="45"/>
                      <a:pt x="6" y="45"/>
                      <a:pt x="9" y="44"/>
                    </a:cubicBezTo>
                    <a:close/>
                  </a:path>
                </a:pathLst>
              </a:custGeom>
              <a:solidFill>
                <a:srgbClr val="F6B84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57" name="Freeform 203">
                <a:extLst>
                  <a:ext uri="{FF2B5EF4-FFF2-40B4-BE49-F238E27FC236}">
                    <a16:creationId xmlns:a16="http://schemas.microsoft.com/office/drawing/2014/main" id="{48C5152F-F4FD-462B-98FA-AD45FF1D930E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7140" y="3353"/>
                <a:ext cx="58" cy="193"/>
              </a:xfrm>
              <a:custGeom>
                <a:avLst/>
                <a:gdLst>
                  <a:gd name="T0" fmla="*/ 9 w 55"/>
                  <a:gd name="T1" fmla="*/ 166 h 183"/>
                  <a:gd name="T2" fmla="*/ 2 w 55"/>
                  <a:gd name="T3" fmla="*/ 94 h 183"/>
                  <a:gd name="T4" fmla="*/ 19 w 55"/>
                  <a:gd name="T5" fmla="*/ 23 h 183"/>
                  <a:gd name="T6" fmla="*/ 22 w 55"/>
                  <a:gd name="T7" fmla="*/ 0 h 183"/>
                  <a:gd name="T8" fmla="*/ 29 w 55"/>
                  <a:gd name="T9" fmla="*/ 0 h 183"/>
                  <a:gd name="T10" fmla="*/ 45 w 55"/>
                  <a:gd name="T11" fmla="*/ 1 h 183"/>
                  <a:gd name="T12" fmla="*/ 41 w 55"/>
                  <a:gd name="T13" fmla="*/ 41 h 183"/>
                  <a:gd name="T14" fmla="*/ 33 w 55"/>
                  <a:gd name="T15" fmla="*/ 97 h 183"/>
                  <a:gd name="T16" fmla="*/ 37 w 55"/>
                  <a:gd name="T17" fmla="*/ 137 h 183"/>
                  <a:gd name="T18" fmla="*/ 40 w 55"/>
                  <a:gd name="T19" fmla="*/ 161 h 183"/>
                  <a:gd name="T20" fmla="*/ 41 w 55"/>
                  <a:gd name="T21" fmla="*/ 165 h 183"/>
                  <a:gd name="T22" fmla="*/ 37 w 55"/>
                  <a:gd name="T23" fmla="*/ 166 h 183"/>
                  <a:gd name="T24" fmla="*/ 16 w 55"/>
                  <a:gd name="T25" fmla="*/ 182 h 183"/>
                  <a:gd name="T26" fmla="*/ 13 w 55"/>
                  <a:gd name="T27" fmla="*/ 183 h 183"/>
                  <a:gd name="T28" fmla="*/ 13 w 55"/>
                  <a:gd name="T29" fmla="*/ 182 h 183"/>
                  <a:gd name="T30" fmla="*/ 9 w 55"/>
                  <a:gd name="T31" fmla="*/ 166 h 1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55" h="183">
                    <a:moveTo>
                      <a:pt x="9" y="166"/>
                    </a:moveTo>
                    <a:cubicBezTo>
                      <a:pt x="3" y="142"/>
                      <a:pt x="0" y="118"/>
                      <a:pt x="2" y="94"/>
                    </a:cubicBezTo>
                    <a:cubicBezTo>
                      <a:pt x="3" y="71"/>
                      <a:pt x="8" y="45"/>
                      <a:pt x="19" y="23"/>
                    </a:cubicBezTo>
                    <a:cubicBezTo>
                      <a:pt x="22" y="0"/>
                      <a:pt x="22" y="0"/>
                      <a:pt x="22" y="0"/>
                    </a:cubicBezTo>
                    <a:cubicBezTo>
                      <a:pt x="25" y="0"/>
                      <a:pt x="27" y="0"/>
                      <a:pt x="29" y="0"/>
                    </a:cubicBezTo>
                    <a:cubicBezTo>
                      <a:pt x="45" y="1"/>
                      <a:pt x="45" y="1"/>
                      <a:pt x="45" y="1"/>
                    </a:cubicBezTo>
                    <a:cubicBezTo>
                      <a:pt x="55" y="10"/>
                      <a:pt x="45" y="31"/>
                      <a:pt x="41" y="41"/>
                    </a:cubicBezTo>
                    <a:cubicBezTo>
                      <a:pt x="35" y="60"/>
                      <a:pt x="33" y="77"/>
                      <a:pt x="33" y="97"/>
                    </a:cubicBezTo>
                    <a:cubicBezTo>
                      <a:pt x="32" y="110"/>
                      <a:pt x="34" y="124"/>
                      <a:pt x="37" y="137"/>
                    </a:cubicBezTo>
                    <a:cubicBezTo>
                      <a:pt x="38" y="144"/>
                      <a:pt x="39" y="153"/>
                      <a:pt x="40" y="161"/>
                    </a:cubicBezTo>
                    <a:cubicBezTo>
                      <a:pt x="41" y="163"/>
                      <a:pt x="41" y="164"/>
                      <a:pt x="41" y="165"/>
                    </a:cubicBezTo>
                    <a:cubicBezTo>
                      <a:pt x="37" y="166"/>
                      <a:pt x="37" y="166"/>
                      <a:pt x="37" y="166"/>
                    </a:cubicBezTo>
                    <a:cubicBezTo>
                      <a:pt x="31" y="174"/>
                      <a:pt x="25" y="180"/>
                      <a:pt x="16" y="182"/>
                    </a:cubicBezTo>
                    <a:cubicBezTo>
                      <a:pt x="13" y="183"/>
                      <a:pt x="13" y="183"/>
                      <a:pt x="13" y="183"/>
                    </a:cubicBezTo>
                    <a:cubicBezTo>
                      <a:pt x="13" y="183"/>
                      <a:pt x="13" y="182"/>
                      <a:pt x="13" y="182"/>
                    </a:cubicBezTo>
                    <a:cubicBezTo>
                      <a:pt x="11" y="176"/>
                      <a:pt x="10" y="171"/>
                      <a:pt x="9" y="166"/>
                    </a:cubicBezTo>
                    <a:close/>
                  </a:path>
                </a:pathLst>
              </a:custGeom>
              <a:solidFill>
                <a:srgbClr val="F6B84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58" name="Freeform 204">
                <a:extLst>
                  <a:ext uri="{FF2B5EF4-FFF2-40B4-BE49-F238E27FC236}">
                    <a16:creationId xmlns:a16="http://schemas.microsoft.com/office/drawing/2014/main" id="{E1C1E2D2-804B-4F41-BFD7-604B04BF694B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770" y="3527"/>
                <a:ext cx="453" cy="93"/>
              </a:xfrm>
              <a:custGeom>
                <a:avLst/>
                <a:gdLst>
                  <a:gd name="T0" fmla="*/ 24 w 428"/>
                  <a:gd name="T1" fmla="*/ 59 h 88"/>
                  <a:gd name="T2" fmla="*/ 0 w 428"/>
                  <a:gd name="T3" fmla="*/ 29 h 88"/>
                  <a:gd name="T4" fmla="*/ 13 w 428"/>
                  <a:gd name="T5" fmla="*/ 28 h 88"/>
                  <a:gd name="T6" fmla="*/ 179 w 428"/>
                  <a:gd name="T7" fmla="*/ 25 h 88"/>
                  <a:gd name="T8" fmla="*/ 298 w 428"/>
                  <a:gd name="T9" fmla="*/ 18 h 88"/>
                  <a:gd name="T10" fmla="*/ 330 w 428"/>
                  <a:gd name="T11" fmla="*/ 17 h 88"/>
                  <a:gd name="T12" fmla="*/ 349 w 428"/>
                  <a:gd name="T13" fmla="*/ 17 h 88"/>
                  <a:gd name="T14" fmla="*/ 360 w 428"/>
                  <a:gd name="T15" fmla="*/ 17 h 88"/>
                  <a:gd name="T16" fmla="*/ 362 w 428"/>
                  <a:gd name="T17" fmla="*/ 17 h 88"/>
                  <a:gd name="T18" fmla="*/ 362 w 428"/>
                  <a:gd name="T19" fmla="*/ 18 h 88"/>
                  <a:gd name="T20" fmla="*/ 365 w 428"/>
                  <a:gd name="T21" fmla="*/ 17 h 88"/>
                  <a:gd name="T22" fmla="*/ 386 w 428"/>
                  <a:gd name="T23" fmla="*/ 1 h 88"/>
                  <a:gd name="T24" fmla="*/ 390 w 428"/>
                  <a:gd name="T25" fmla="*/ 0 h 88"/>
                  <a:gd name="T26" fmla="*/ 391 w 428"/>
                  <a:gd name="T27" fmla="*/ 6 h 88"/>
                  <a:gd name="T28" fmla="*/ 423 w 428"/>
                  <a:gd name="T29" fmla="*/ 59 h 88"/>
                  <a:gd name="T30" fmla="*/ 426 w 428"/>
                  <a:gd name="T31" fmla="*/ 57 h 88"/>
                  <a:gd name="T32" fmla="*/ 428 w 428"/>
                  <a:gd name="T33" fmla="*/ 64 h 88"/>
                  <a:gd name="T34" fmla="*/ 418 w 428"/>
                  <a:gd name="T35" fmla="*/ 74 h 88"/>
                  <a:gd name="T36" fmla="*/ 408 w 428"/>
                  <a:gd name="T37" fmla="*/ 77 h 88"/>
                  <a:gd name="T38" fmla="*/ 390 w 428"/>
                  <a:gd name="T39" fmla="*/ 81 h 88"/>
                  <a:gd name="T40" fmla="*/ 309 w 428"/>
                  <a:gd name="T41" fmla="*/ 81 h 88"/>
                  <a:gd name="T42" fmla="*/ 257 w 428"/>
                  <a:gd name="T43" fmla="*/ 83 h 88"/>
                  <a:gd name="T44" fmla="*/ 196 w 428"/>
                  <a:gd name="T45" fmla="*/ 84 h 88"/>
                  <a:gd name="T46" fmla="*/ 177 w 428"/>
                  <a:gd name="T47" fmla="*/ 85 h 88"/>
                  <a:gd name="T48" fmla="*/ 102 w 428"/>
                  <a:gd name="T49" fmla="*/ 86 h 88"/>
                  <a:gd name="T50" fmla="*/ 37 w 428"/>
                  <a:gd name="T51" fmla="*/ 70 h 88"/>
                  <a:gd name="T52" fmla="*/ 33 w 428"/>
                  <a:gd name="T53" fmla="*/ 65 h 88"/>
                  <a:gd name="T54" fmla="*/ 31 w 428"/>
                  <a:gd name="T55" fmla="*/ 62 h 88"/>
                  <a:gd name="T56" fmla="*/ 24 w 428"/>
                  <a:gd name="T57" fmla="*/ 59 h 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428" h="88">
                    <a:moveTo>
                      <a:pt x="24" y="59"/>
                    </a:moveTo>
                    <a:cubicBezTo>
                      <a:pt x="15" y="50"/>
                      <a:pt x="7" y="40"/>
                      <a:pt x="0" y="29"/>
                    </a:cubicBezTo>
                    <a:cubicBezTo>
                      <a:pt x="13" y="28"/>
                      <a:pt x="13" y="28"/>
                      <a:pt x="13" y="28"/>
                    </a:cubicBezTo>
                    <a:cubicBezTo>
                      <a:pt x="70" y="29"/>
                      <a:pt x="124" y="28"/>
                      <a:pt x="179" y="25"/>
                    </a:cubicBezTo>
                    <a:cubicBezTo>
                      <a:pt x="219" y="24"/>
                      <a:pt x="259" y="22"/>
                      <a:pt x="298" y="18"/>
                    </a:cubicBezTo>
                    <a:cubicBezTo>
                      <a:pt x="309" y="19"/>
                      <a:pt x="320" y="18"/>
                      <a:pt x="330" y="17"/>
                    </a:cubicBezTo>
                    <a:cubicBezTo>
                      <a:pt x="337" y="17"/>
                      <a:pt x="343" y="17"/>
                      <a:pt x="349" y="17"/>
                    </a:cubicBezTo>
                    <a:cubicBezTo>
                      <a:pt x="352" y="17"/>
                      <a:pt x="357" y="18"/>
                      <a:pt x="360" y="17"/>
                    </a:cubicBezTo>
                    <a:cubicBezTo>
                      <a:pt x="362" y="17"/>
                      <a:pt x="362" y="17"/>
                      <a:pt x="362" y="17"/>
                    </a:cubicBezTo>
                    <a:cubicBezTo>
                      <a:pt x="362" y="17"/>
                      <a:pt x="362" y="18"/>
                      <a:pt x="362" y="18"/>
                    </a:cubicBezTo>
                    <a:cubicBezTo>
                      <a:pt x="365" y="17"/>
                      <a:pt x="365" y="17"/>
                      <a:pt x="365" y="17"/>
                    </a:cubicBezTo>
                    <a:cubicBezTo>
                      <a:pt x="374" y="15"/>
                      <a:pt x="380" y="9"/>
                      <a:pt x="386" y="1"/>
                    </a:cubicBezTo>
                    <a:cubicBezTo>
                      <a:pt x="390" y="0"/>
                      <a:pt x="390" y="0"/>
                      <a:pt x="390" y="0"/>
                    </a:cubicBezTo>
                    <a:cubicBezTo>
                      <a:pt x="391" y="2"/>
                      <a:pt x="391" y="4"/>
                      <a:pt x="391" y="6"/>
                    </a:cubicBezTo>
                    <a:cubicBezTo>
                      <a:pt x="398" y="25"/>
                      <a:pt x="407" y="44"/>
                      <a:pt x="423" y="59"/>
                    </a:cubicBezTo>
                    <a:cubicBezTo>
                      <a:pt x="426" y="57"/>
                      <a:pt x="426" y="57"/>
                      <a:pt x="426" y="57"/>
                    </a:cubicBezTo>
                    <a:cubicBezTo>
                      <a:pt x="427" y="59"/>
                      <a:pt x="428" y="62"/>
                      <a:pt x="428" y="64"/>
                    </a:cubicBezTo>
                    <a:cubicBezTo>
                      <a:pt x="427" y="69"/>
                      <a:pt x="422" y="71"/>
                      <a:pt x="418" y="74"/>
                    </a:cubicBezTo>
                    <a:cubicBezTo>
                      <a:pt x="415" y="75"/>
                      <a:pt x="411" y="76"/>
                      <a:pt x="408" y="77"/>
                    </a:cubicBezTo>
                    <a:cubicBezTo>
                      <a:pt x="402" y="79"/>
                      <a:pt x="396" y="80"/>
                      <a:pt x="390" y="81"/>
                    </a:cubicBezTo>
                    <a:cubicBezTo>
                      <a:pt x="363" y="83"/>
                      <a:pt x="336" y="82"/>
                      <a:pt x="309" y="81"/>
                    </a:cubicBezTo>
                    <a:cubicBezTo>
                      <a:pt x="292" y="82"/>
                      <a:pt x="274" y="83"/>
                      <a:pt x="257" y="83"/>
                    </a:cubicBezTo>
                    <a:cubicBezTo>
                      <a:pt x="237" y="83"/>
                      <a:pt x="216" y="84"/>
                      <a:pt x="196" y="84"/>
                    </a:cubicBezTo>
                    <a:cubicBezTo>
                      <a:pt x="189" y="84"/>
                      <a:pt x="183" y="85"/>
                      <a:pt x="177" y="85"/>
                    </a:cubicBezTo>
                    <a:cubicBezTo>
                      <a:pt x="152" y="86"/>
                      <a:pt x="128" y="88"/>
                      <a:pt x="102" y="86"/>
                    </a:cubicBezTo>
                    <a:cubicBezTo>
                      <a:pt x="79" y="86"/>
                      <a:pt x="54" y="86"/>
                      <a:pt x="37" y="70"/>
                    </a:cubicBezTo>
                    <a:cubicBezTo>
                      <a:pt x="36" y="68"/>
                      <a:pt x="34" y="66"/>
                      <a:pt x="33" y="65"/>
                    </a:cubicBezTo>
                    <a:cubicBezTo>
                      <a:pt x="32" y="64"/>
                      <a:pt x="32" y="63"/>
                      <a:pt x="31" y="62"/>
                    </a:cubicBezTo>
                    <a:lnTo>
                      <a:pt x="24" y="59"/>
                    </a:lnTo>
                    <a:close/>
                  </a:path>
                </a:pathLst>
              </a:custGeom>
              <a:solidFill>
                <a:srgbClr val="F6B84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</p:grpSp>
        <p:grpSp>
          <p:nvGrpSpPr>
            <p:cNvPr id="537" name="Group 406">
              <a:extLst>
                <a:ext uri="{FF2B5EF4-FFF2-40B4-BE49-F238E27FC236}">
                  <a16:creationId xmlns:a16="http://schemas.microsoft.com/office/drawing/2014/main" id="{001BA777-3DCF-496E-94DE-DD48EC605911}"/>
                </a:ext>
              </a:extLst>
            </p:cNvPr>
            <p:cNvGrpSpPr>
              <a:grpSpLocks/>
            </p:cNvGrpSpPr>
            <p:nvPr userDrawn="1"/>
          </p:nvGrpSpPr>
          <p:grpSpPr bwMode="auto">
            <a:xfrm>
              <a:off x="-3176" y="1004887"/>
              <a:ext cx="12198362" cy="4851401"/>
              <a:chOff x="-2" y="633"/>
              <a:chExt cx="7684" cy="3056"/>
            </a:xfrm>
          </p:grpSpPr>
          <p:sp>
            <p:nvSpPr>
              <p:cNvPr id="659" name="Freeform 206">
                <a:extLst>
                  <a:ext uri="{FF2B5EF4-FFF2-40B4-BE49-F238E27FC236}">
                    <a16:creationId xmlns:a16="http://schemas.microsoft.com/office/drawing/2014/main" id="{691AC552-D721-4D00-9146-D358902F7A9D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743" y="3346"/>
                <a:ext cx="420" cy="212"/>
              </a:xfrm>
              <a:custGeom>
                <a:avLst/>
                <a:gdLst>
                  <a:gd name="T0" fmla="*/ 374 w 396"/>
                  <a:gd name="T1" fmla="*/ 188 h 200"/>
                  <a:gd name="T2" fmla="*/ 355 w 396"/>
                  <a:gd name="T3" fmla="*/ 188 h 200"/>
                  <a:gd name="T4" fmla="*/ 323 w 396"/>
                  <a:gd name="T5" fmla="*/ 189 h 200"/>
                  <a:gd name="T6" fmla="*/ 204 w 396"/>
                  <a:gd name="T7" fmla="*/ 196 h 200"/>
                  <a:gd name="T8" fmla="*/ 38 w 396"/>
                  <a:gd name="T9" fmla="*/ 199 h 200"/>
                  <a:gd name="T10" fmla="*/ 25 w 396"/>
                  <a:gd name="T11" fmla="*/ 200 h 200"/>
                  <a:gd name="T12" fmla="*/ 19 w 396"/>
                  <a:gd name="T13" fmla="*/ 188 h 200"/>
                  <a:gd name="T14" fmla="*/ 18 w 396"/>
                  <a:gd name="T15" fmla="*/ 186 h 200"/>
                  <a:gd name="T16" fmla="*/ 6 w 396"/>
                  <a:gd name="T17" fmla="*/ 151 h 200"/>
                  <a:gd name="T18" fmla="*/ 2 w 396"/>
                  <a:gd name="T19" fmla="*/ 90 h 200"/>
                  <a:gd name="T20" fmla="*/ 10 w 396"/>
                  <a:gd name="T21" fmla="*/ 60 h 200"/>
                  <a:gd name="T22" fmla="*/ 26 w 396"/>
                  <a:gd name="T23" fmla="*/ 37 h 200"/>
                  <a:gd name="T24" fmla="*/ 33 w 396"/>
                  <a:gd name="T25" fmla="*/ 29 h 200"/>
                  <a:gd name="T26" fmla="*/ 65 w 396"/>
                  <a:gd name="T27" fmla="*/ 0 h 200"/>
                  <a:gd name="T28" fmla="*/ 66 w 396"/>
                  <a:gd name="T29" fmla="*/ 1 h 200"/>
                  <a:gd name="T30" fmla="*/ 124 w 396"/>
                  <a:gd name="T31" fmla="*/ 0 h 200"/>
                  <a:gd name="T32" fmla="*/ 177 w 396"/>
                  <a:gd name="T33" fmla="*/ 1 h 200"/>
                  <a:gd name="T34" fmla="*/ 238 w 396"/>
                  <a:gd name="T35" fmla="*/ 3 h 200"/>
                  <a:gd name="T36" fmla="*/ 298 w 396"/>
                  <a:gd name="T37" fmla="*/ 2 h 200"/>
                  <a:gd name="T38" fmla="*/ 350 w 396"/>
                  <a:gd name="T39" fmla="*/ 3 h 200"/>
                  <a:gd name="T40" fmla="*/ 391 w 396"/>
                  <a:gd name="T41" fmla="*/ 5 h 200"/>
                  <a:gd name="T42" fmla="*/ 396 w 396"/>
                  <a:gd name="T43" fmla="*/ 6 h 200"/>
                  <a:gd name="T44" fmla="*/ 393 w 396"/>
                  <a:gd name="T45" fmla="*/ 29 h 200"/>
                  <a:gd name="T46" fmla="*/ 376 w 396"/>
                  <a:gd name="T47" fmla="*/ 100 h 200"/>
                  <a:gd name="T48" fmla="*/ 383 w 396"/>
                  <a:gd name="T49" fmla="*/ 172 h 200"/>
                  <a:gd name="T50" fmla="*/ 387 w 396"/>
                  <a:gd name="T51" fmla="*/ 188 h 200"/>
                  <a:gd name="T52" fmla="*/ 385 w 396"/>
                  <a:gd name="T53" fmla="*/ 188 h 200"/>
                  <a:gd name="T54" fmla="*/ 374 w 396"/>
                  <a:gd name="T55" fmla="*/ 188 h 2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396" h="200">
                    <a:moveTo>
                      <a:pt x="374" y="188"/>
                    </a:moveTo>
                    <a:cubicBezTo>
                      <a:pt x="368" y="188"/>
                      <a:pt x="362" y="188"/>
                      <a:pt x="355" y="188"/>
                    </a:cubicBezTo>
                    <a:cubicBezTo>
                      <a:pt x="345" y="189"/>
                      <a:pt x="334" y="190"/>
                      <a:pt x="323" y="189"/>
                    </a:cubicBezTo>
                    <a:cubicBezTo>
                      <a:pt x="284" y="193"/>
                      <a:pt x="244" y="195"/>
                      <a:pt x="204" y="196"/>
                    </a:cubicBezTo>
                    <a:cubicBezTo>
                      <a:pt x="149" y="199"/>
                      <a:pt x="95" y="200"/>
                      <a:pt x="38" y="199"/>
                    </a:cubicBezTo>
                    <a:cubicBezTo>
                      <a:pt x="25" y="200"/>
                      <a:pt x="25" y="200"/>
                      <a:pt x="25" y="200"/>
                    </a:cubicBezTo>
                    <a:cubicBezTo>
                      <a:pt x="22" y="196"/>
                      <a:pt x="20" y="192"/>
                      <a:pt x="19" y="188"/>
                    </a:cubicBezTo>
                    <a:cubicBezTo>
                      <a:pt x="18" y="187"/>
                      <a:pt x="18" y="187"/>
                      <a:pt x="18" y="186"/>
                    </a:cubicBezTo>
                    <a:cubicBezTo>
                      <a:pt x="12" y="175"/>
                      <a:pt x="9" y="163"/>
                      <a:pt x="6" y="151"/>
                    </a:cubicBezTo>
                    <a:cubicBezTo>
                      <a:pt x="1" y="130"/>
                      <a:pt x="0" y="112"/>
                      <a:pt x="2" y="90"/>
                    </a:cubicBezTo>
                    <a:cubicBezTo>
                      <a:pt x="3" y="80"/>
                      <a:pt x="4" y="69"/>
                      <a:pt x="10" y="60"/>
                    </a:cubicBezTo>
                    <a:cubicBezTo>
                      <a:pt x="13" y="51"/>
                      <a:pt x="19" y="44"/>
                      <a:pt x="26" y="37"/>
                    </a:cubicBezTo>
                    <a:cubicBezTo>
                      <a:pt x="28" y="34"/>
                      <a:pt x="31" y="32"/>
                      <a:pt x="33" y="29"/>
                    </a:cubicBezTo>
                    <a:cubicBezTo>
                      <a:pt x="43" y="19"/>
                      <a:pt x="55" y="10"/>
                      <a:pt x="65" y="0"/>
                    </a:cubicBezTo>
                    <a:cubicBezTo>
                      <a:pt x="66" y="1"/>
                      <a:pt x="66" y="1"/>
                      <a:pt x="66" y="1"/>
                    </a:cubicBezTo>
                    <a:cubicBezTo>
                      <a:pt x="85" y="1"/>
                      <a:pt x="105" y="0"/>
                      <a:pt x="124" y="0"/>
                    </a:cubicBezTo>
                    <a:cubicBezTo>
                      <a:pt x="141" y="1"/>
                      <a:pt x="160" y="1"/>
                      <a:pt x="177" y="1"/>
                    </a:cubicBezTo>
                    <a:cubicBezTo>
                      <a:pt x="197" y="1"/>
                      <a:pt x="217" y="2"/>
                      <a:pt x="238" y="3"/>
                    </a:cubicBezTo>
                    <a:cubicBezTo>
                      <a:pt x="258" y="2"/>
                      <a:pt x="278" y="2"/>
                      <a:pt x="298" y="2"/>
                    </a:cubicBezTo>
                    <a:cubicBezTo>
                      <a:pt x="315" y="2"/>
                      <a:pt x="334" y="1"/>
                      <a:pt x="350" y="3"/>
                    </a:cubicBezTo>
                    <a:cubicBezTo>
                      <a:pt x="364" y="4"/>
                      <a:pt x="376" y="4"/>
                      <a:pt x="391" y="5"/>
                    </a:cubicBezTo>
                    <a:cubicBezTo>
                      <a:pt x="392" y="5"/>
                      <a:pt x="394" y="6"/>
                      <a:pt x="396" y="6"/>
                    </a:cubicBezTo>
                    <a:cubicBezTo>
                      <a:pt x="393" y="29"/>
                      <a:pt x="393" y="29"/>
                      <a:pt x="393" y="29"/>
                    </a:cubicBezTo>
                    <a:cubicBezTo>
                      <a:pt x="382" y="51"/>
                      <a:pt x="377" y="77"/>
                      <a:pt x="376" y="100"/>
                    </a:cubicBezTo>
                    <a:cubicBezTo>
                      <a:pt x="374" y="124"/>
                      <a:pt x="377" y="148"/>
                      <a:pt x="383" y="172"/>
                    </a:cubicBezTo>
                    <a:cubicBezTo>
                      <a:pt x="384" y="177"/>
                      <a:pt x="385" y="182"/>
                      <a:pt x="387" y="188"/>
                    </a:cubicBezTo>
                    <a:cubicBezTo>
                      <a:pt x="385" y="188"/>
                      <a:pt x="385" y="188"/>
                      <a:pt x="385" y="188"/>
                    </a:cubicBezTo>
                    <a:cubicBezTo>
                      <a:pt x="382" y="189"/>
                      <a:pt x="377" y="188"/>
                      <a:pt x="374" y="188"/>
                    </a:cubicBezTo>
                    <a:close/>
                  </a:path>
                </a:pathLst>
              </a:custGeom>
              <a:solidFill>
                <a:srgbClr val="F6B84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660" name="Freeform 207">
                <a:extLst>
                  <a:ext uri="{FF2B5EF4-FFF2-40B4-BE49-F238E27FC236}">
                    <a16:creationId xmlns:a16="http://schemas.microsoft.com/office/drawing/2014/main" id="{39654413-CE52-4341-93FE-D7CC59119CFB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686" y="3543"/>
                <a:ext cx="119" cy="53"/>
              </a:xfrm>
              <a:custGeom>
                <a:avLst/>
                <a:gdLst>
                  <a:gd name="T0" fmla="*/ 0 w 112"/>
                  <a:gd name="T1" fmla="*/ 5 h 50"/>
                  <a:gd name="T2" fmla="*/ 6 w 112"/>
                  <a:gd name="T3" fmla="*/ 3 h 50"/>
                  <a:gd name="T4" fmla="*/ 22 w 112"/>
                  <a:gd name="T5" fmla="*/ 4 h 50"/>
                  <a:gd name="T6" fmla="*/ 37 w 112"/>
                  <a:gd name="T7" fmla="*/ 3 h 50"/>
                  <a:gd name="T8" fmla="*/ 57 w 112"/>
                  <a:gd name="T9" fmla="*/ 3 h 50"/>
                  <a:gd name="T10" fmla="*/ 68 w 112"/>
                  <a:gd name="T11" fmla="*/ 2 h 50"/>
                  <a:gd name="T12" fmla="*/ 72 w 112"/>
                  <a:gd name="T13" fmla="*/ 0 h 50"/>
                  <a:gd name="T14" fmla="*/ 73 w 112"/>
                  <a:gd name="T15" fmla="*/ 2 h 50"/>
                  <a:gd name="T16" fmla="*/ 79 w 112"/>
                  <a:gd name="T17" fmla="*/ 14 h 50"/>
                  <a:gd name="T18" fmla="*/ 103 w 112"/>
                  <a:gd name="T19" fmla="*/ 44 h 50"/>
                  <a:gd name="T20" fmla="*/ 110 w 112"/>
                  <a:gd name="T21" fmla="*/ 47 h 50"/>
                  <a:gd name="T22" fmla="*/ 112 w 112"/>
                  <a:gd name="T23" fmla="*/ 50 h 50"/>
                  <a:gd name="T24" fmla="*/ 101 w 112"/>
                  <a:gd name="T25" fmla="*/ 49 h 50"/>
                  <a:gd name="T26" fmla="*/ 78 w 112"/>
                  <a:gd name="T27" fmla="*/ 49 h 50"/>
                  <a:gd name="T28" fmla="*/ 65 w 112"/>
                  <a:gd name="T29" fmla="*/ 47 h 50"/>
                  <a:gd name="T30" fmla="*/ 50 w 112"/>
                  <a:gd name="T31" fmla="*/ 47 h 50"/>
                  <a:gd name="T32" fmla="*/ 29 w 112"/>
                  <a:gd name="T33" fmla="*/ 45 h 50"/>
                  <a:gd name="T34" fmla="*/ 29 w 112"/>
                  <a:gd name="T35" fmla="*/ 44 h 50"/>
                  <a:gd name="T36" fmla="*/ 4 w 112"/>
                  <a:gd name="T37" fmla="*/ 14 h 50"/>
                  <a:gd name="T38" fmla="*/ 0 w 112"/>
                  <a:gd name="T39" fmla="*/ 5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112" h="50">
                    <a:moveTo>
                      <a:pt x="0" y="5"/>
                    </a:moveTo>
                    <a:cubicBezTo>
                      <a:pt x="6" y="3"/>
                      <a:pt x="6" y="3"/>
                      <a:pt x="6" y="3"/>
                    </a:cubicBezTo>
                    <a:cubicBezTo>
                      <a:pt x="12" y="3"/>
                      <a:pt x="16" y="4"/>
                      <a:pt x="22" y="4"/>
                    </a:cubicBezTo>
                    <a:cubicBezTo>
                      <a:pt x="27" y="4"/>
                      <a:pt x="31" y="3"/>
                      <a:pt x="37" y="3"/>
                    </a:cubicBezTo>
                    <a:cubicBezTo>
                      <a:pt x="43" y="3"/>
                      <a:pt x="51" y="3"/>
                      <a:pt x="57" y="3"/>
                    </a:cubicBezTo>
                    <a:cubicBezTo>
                      <a:pt x="60" y="2"/>
                      <a:pt x="65" y="2"/>
                      <a:pt x="68" y="2"/>
                    </a:cubicBezTo>
                    <a:cubicBezTo>
                      <a:pt x="72" y="0"/>
                      <a:pt x="72" y="0"/>
                      <a:pt x="72" y="0"/>
                    </a:cubicBezTo>
                    <a:cubicBezTo>
                      <a:pt x="72" y="1"/>
                      <a:pt x="72" y="1"/>
                      <a:pt x="73" y="2"/>
                    </a:cubicBezTo>
                    <a:cubicBezTo>
                      <a:pt x="74" y="6"/>
                      <a:pt x="76" y="10"/>
                      <a:pt x="79" y="14"/>
                    </a:cubicBezTo>
                    <a:cubicBezTo>
                      <a:pt x="86" y="25"/>
                      <a:pt x="94" y="35"/>
                      <a:pt x="103" y="44"/>
                    </a:cubicBezTo>
                    <a:cubicBezTo>
                      <a:pt x="110" y="47"/>
                      <a:pt x="110" y="47"/>
                      <a:pt x="110" y="47"/>
                    </a:cubicBezTo>
                    <a:cubicBezTo>
                      <a:pt x="111" y="48"/>
                      <a:pt x="111" y="49"/>
                      <a:pt x="112" y="50"/>
                    </a:cubicBezTo>
                    <a:cubicBezTo>
                      <a:pt x="109" y="50"/>
                      <a:pt x="105" y="50"/>
                      <a:pt x="101" y="49"/>
                    </a:cubicBezTo>
                    <a:cubicBezTo>
                      <a:pt x="94" y="50"/>
                      <a:pt x="86" y="48"/>
                      <a:pt x="78" y="49"/>
                    </a:cubicBezTo>
                    <a:cubicBezTo>
                      <a:pt x="74" y="50"/>
                      <a:pt x="70" y="48"/>
                      <a:pt x="65" y="47"/>
                    </a:cubicBezTo>
                    <a:cubicBezTo>
                      <a:pt x="61" y="47"/>
                      <a:pt x="56" y="47"/>
                      <a:pt x="50" y="47"/>
                    </a:cubicBezTo>
                    <a:cubicBezTo>
                      <a:pt x="43" y="47"/>
                      <a:pt x="36" y="46"/>
                      <a:pt x="29" y="45"/>
                    </a:cubicBezTo>
                    <a:cubicBezTo>
                      <a:pt x="29" y="44"/>
                      <a:pt x="29" y="44"/>
                      <a:pt x="29" y="44"/>
                    </a:cubicBezTo>
                    <a:cubicBezTo>
                      <a:pt x="19" y="36"/>
                      <a:pt x="10" y="25"/>
                      <a:pt x="4" y="14"/>
                    </a:cubicBezTo>
                    <a:cubicBezTo>
                      <a:pt x="3" y="11"/>
                      <a:pt x="1" y="8"/>
                      <a:pt x="0" y="5"/>
                    </a:cubicBezTo>
                    <a:close/>
                  </a:path>
                </a:pathLst>
              </a:custGeom>
              <a:solidFill>
                <a:srgbClr val="3C3C3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661" name="Freeform 208">
                <a:extLst>
                  <a:ext uri="{FF2B5EF4-FFF2-40B4-BE49-F238E27FC236}">
                    <a16:creationId xmlns:a16="http://schemas.microsoft.com/office/drawing/2014/main" id="{E4DF1C2E-5CD8-44F9-8B7D-BA7EBA8462F5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670" y="3371"/>
                <a:ext cx="101" cy="177"/>
              </a:xfrm>
              <a:custGeom>
                <a:avLst/>
                <a:gdLst>
                  <a:gd name="T0" fmla="*/ 95 w 95"/>
                  <a:gd name="T1" fmla="*/ 14 h 168"/>
                  <a:gd name="T2" fmla="*/ 79 w 95"/>
                  <a:gd name="T3" fmla="*/ 37 h 168"/>
                  <a:gd name="T4" fmla="*/ 71 w 95"/>
                  <a:gd name="T5" fmla="*/ 67 h 168"/>
                  <a:gd name="T6" fmla="*/ 75 w 95"/>
                  <a:gd name="T7" fmla="*/ 128 h 168"/>
                  <a:gd name="T8" fmla="*/ 87 w 95"/>
                  <a:gd name="T9" fmla="*/ 163 h 168"/>
                  <a:gd name="T10" fmla="*/ 83 w 95"/>
                  <a:gd name="T11" fmla="*/ 165 h 168"/>
                  <a:gd name="T12" fmla="*/ 72 w 95"/>
                  <a:gd name="T13" fmla="*/ 166 h 168"/>
                  <a:gd name="T14" fmla="*/ 52 w 95"/>
                  <a:gd name="T15" fmla="*/ 166 h 168"/>
                  <a:gd name="T16" fmla="*/ 37 w 95"/>
                  <a:gd name="T17" fmla="*/ 167 h 168"/>
                  <a:gd name="T18" fmla="*/ 21 w 95"/>
                  <a:gd name="T19" fmla="*/ 166 h 168"/>
                  <a:gd name="T20" fmla="*/ 15 w 95"/>
                  <a:gd name="T21" fmla="*/ 168 h 168"/>
                  <a:gd name="T22" fmla="*/ 7 w 95"/>
                  <a:gd name="T23" fmla="*/ 140 h 168"/>
                  <a:gd name="T24" fmla="*/ 10 w 95"/>
                  <a:gd name="T25" fmla="*/ 60 h 168"/>
                  <a:gd name="T26" fmla="*/ 24 w 95"/>
                  <a:gd name="T27" fmla="*/ 27 h 168"/>
                  <a:gd name="T28" fmla="*/ 39 w 95"/>
                  <a:gd name="T29" fmla="*/ 0 h 168"/>
                  <a:gd name="T30" fmla="*/ 47 w 95"/>
                  <a:gd name="T31" fmla="*/ 3 h 168"/>
                  <a:gd name="T32" fmla="*/ 73 w 95"/>
                  <a:gd name="T33" fmla="*/ 2 h 168"/>
                  <a:gd name="T34" fmla="*/ 86 w 95"/>
                  <a:gd name="T35" fmla="*/ 3 h 168"/>
                  <a:gd name="T36" fmla="*/ 95 w 95"/>
                  <a:gd name="T37" fmla="*/ 14 h 1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95" h="168">
                    <a:moveTo>
                      <a:pt x="95" y="14"/>
                    </a:moveTo>
                    <a:cubicBezTo>
                      <a:pt x="88" y="21"/>
                      <a:pt x="82" y="28"/>
                      <a:pt x="79" y="37"/>
                    </a:cubicBezTo>
                    <a:cubicBezTo>
                      <a:pt x="73" y="46"/>
                      <a:pt x="72" y="57"/>
                      <a:pt x="71" y="67"/>
                    </a:cubicBezTo>
                    <a:cubicBezTo>
                      <a:pt x="69" y="89"/>
                      <a:pt x="70" y="107"/>
                      <a:pt x="75" y="128"/>
                    </a:cubicBezTo>
                    <a:cubicBezTo>
                      <a:pt x="78" y="140"/>
                      <a:pt x="81" y="152"/>
                      <a:pt x="87" y="163"/>
                    </a:cubicBezTo>
                    <a:cubicBezTo>
                      <a:pt x="83" y="165"/>
                      <a:pt x="83" y="165"/>
                      <a:pt x="83" y="165"/>
                    </a:cubicBezTo>
                    <a:cubicBezTo>
                      <a:pt x="80" y="165"/>
                      <a:pt x="75" y="165"/>
                      <a:pt x="72" y="166"/>
                    </a:cubicBezTo>
                    <a:cubicBezTo>
                      <a:pt x="66" y="166"/>
                      <a:pt x="58" y="166"/>
                      <a:pt x="52" y="166"/>
                    </a:cubicBezTo>
                    <a:cubicBezTo>
                      <a:pt x="46" y="166"/>
                      <a:pt x="42" y="167"/>
                      <a:pt x="37" y="167"/>
                    </a:cubicBezTo>
                    <a:cubicBezTo>
                      <a:pt x="31" y="167"/>
                      <a:pt x="27" y="166"/>
                      <a:pt x="21" y="166"/>
                    </a:cubicBezTo>
                    <a:cubicBezTo>
                      <a:pt x="15" y="168"/>
                      <a:pt x="15" y="168"/>
                      <a:pt x="15" y="168"/>
                    </a:cubicBezTo>
                    <a:cubicBezTo>
                      <a:pt x="12" y="159"/>
                      <a:pt x="9" y="150"/>
                      <a:pt x="7" y="140"/>
                    </a:cubicBezTo>
                    <a:cubicBezTo>
                      <a:pt x="0" y="112"/>
                      <a:pt x="0" y="86"/>
                      <a:pt x="10" y="60"/>
                    </a:cubicBezTo>
                    <a:cubicBezTo>
                      <a:pt x="15" y="48"/>
                      <a:pt x="20" y="38"/>
                      <a:pt x="24" y="27"/>
                    </a:cubicBezTo>
                    <a:cubicBezTo>
                      <a:pt x="28" y="18"/>
                      <a:pt x="33" y="9"/>
                      <a:pt x="39" y="0"/>
                    </a:cubicBezTo>
                    <a:cubicBezTo>
                      <a:pt x="47" y="3"/>
                      <a:pt x="47" y="3"/>
                      <a:pt x="47" y="3"/>
                    </a:cubicBezTo>
                    <a:cubicBezTo>
                      <a:pt x="56" y="1"/>
                      <a:pt x="64" y="2"/>
                      <a:pt x="73" y="2"/>
                    </a:cubicBezTo>
                    <a:cubicBezTo>
                      <a:pt x="77" y="2"/>
                      <a:pt x="82" y="3"/>
                      <a:pt x="86" y="3"/>
                    </a:cubicBezTo>
                    <a:lnTo>
                      <a:pt x="95" y="14"/>
                    </a:lnTo>
                    <a:close/>
                  </a:path>
                </a:pathLst>
              </a:custGeom>
              <a:solidFill>
                <a:srgbClr val="3C3C3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662" name="Freeform 209">
                <a:extLst>
                  <a:ext uri="{FF2B5EF4-FFF2-40B4-BE49-F238E27FC236}">
                    <a16:creationId xmlns:a16="http://schemas.microsoft.com/office/drawing/2014/main" id="{D678CF64-6840-44A7-99A5-B682A05446FF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842" y="3152"/>
                <a:ext cx="115" cy="128"/>
              </a:xfrm>
              <a:custGeom>
                <a:avLst/>
                <a:gdLst>
                  <a:gd name="T0" fmla="*/ 6 w 109"/>
                  <a:gd name="T1" fmla="*/ 101 h 120"/>
                  <a:gd name="T2" fmla="*/ 19 w 109"/>
                  <a:gd name="T3" fmla="*/ 79 h 120"/>
                  <a:gd name="T4" fmla="*/ 47 w 109"/>
                  <a:gd name="T5" fmla="*/ 41 h 120"/>
                  <a:gd name="T6" fmla="*/ 63 w 109"/>
                  <a:gd name="T7" fmla="*/ 25 h 120"/>
                  <a:gd name="T8" fmla="*/ 71 w 109"/>
                  <a:gd name="T9" fmla="*/ 16 h 120"/>
                  <a:gd name="T10" fmla="*/ 81 w 109"/>
                  <a:gd name="T11" fmla="*/ 9 h 120"/>
                  <a:gd name="T12" fmla="*/ 97 w 109"/>
                  <a:gd name="T13" fmla="*/ 1 h 120"/>
                  <a:gd name="T14" fmla="*/ 108 w 109"/>
                  <a:gd name="T15" fmla="*/ 2 h 120"/>
                  <a:gd name="T16" fmla="*/ 109 w 109"/>
                  <a:gd name="T17" fmla="*/ 3 h 120"/>
                  <a:gd name="T18" fmla="*/ 107 w 109"/>
                  <a:gd name="T19" fmla="*/ 4 h 120"/>
                  <a:gd name="T20" fmla="*/ 88 w 109"/>
                  <a:gd name="T21" fmla="*/ 26 h 120"/>
                  <a:gd name="T22" fmla="*/ 66 w 109"/>
                  <a:gd name="T23" fmla="*/ 55 h 120"/>
                  <a:gd name="T24" fmla="*/ 46 w 109"/>
                  <a:gd name="T25" fmla="*/ 82 h 120"/>
                  <a:gd name="T26" fmla="*/ 27 w 109"/>
                  <a:gd name="T27" fmla="*/ 105 h 120"/>
                  <a:gd name="T28" fmla="*/ 9 w 109"/>
                  <a:gd name="T29" fmla="*/ 119 h 120"/>
                  <a:gd name="T30" fmla="*/ 0 w 109"/>
                  <a:gd name="T31" fmla="*/ 120 h 120"/>
                  <a:gd name="T32" fmla="*/ 6 w 109"/>
                  <a:gd name="T33" fmla="*/ 101 h 1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09" h="120">
                    <a:moveTo>
                      <a:pt x="6" y="101"/>
                    </a:moveTo>
                    <a:cubicBezTo>
                      <a:pt x="10" y="94"/>
                      <a:pt x="14" y="86"/>
                      <a:pt x="19" y="79"/>
                    </a:cubicBezTo>
                    <a:cubicBezTo>
                      <a:pt x="28" y="64"/>
                      <a:pt x="36" y="53"/>
                      <a:pt x="47" y="41"/>
                    </a:cubicBezTo>
                    <a:cubicBezTo>
                      <a:pt x="52" y="37"/>
                      <a:pt x="58" y="31"/>
                      <a:pt x="63" y="25"/>
                    </a:cubicBezTo>
                    <a:cubicBezTo>
                      <a:pt x="65" y="23"/>
                      <a:pt x="69" y="20"/>
                      <a:pt x="71" y="16"/>
                    </a:cubicBezTo>
                    <a:cubicBezTo>
                      <a:pt x="75" y="14"/>
                      <a:pt x="76" y="12"/>
                      <a:pt x="81" y="9"/>
                    </a:cubicBezTo>
                    <a:cubicBezTo>
                      <a:pt x="84" y="5"/>
                      <a:pt x="91" y="1"/>
                      <a:pt x="97" y="1"/>
                    </a:cubicBezTo>
                    <a:cubicBezTo>
                      <a:pt x="100" y="0"/>
                      <a:pt x="105" y="2"/>
                      <a:pt x="108" y="2"/>
                    </a:cubicBezTo>
                    <a:cubicBezTo>
                      <a:pt x="109" y="3"/>
                      <a:pt x="109" y="3"/>
                      <a:pt x="109" y="3"/>
                    </a:cubicBezTo>
                    <a:cubicBezTo>
                      <a:pt x="108" y="3"/>
                      <a:pt x="108" y="4"/>
                      <a:pt x="107" y="4"/>
                    </a:cubicBezTo>
                    <a:cubicBezTo>
                      <a:pt x="101" y="12"/>
                      <a:pt x="94" y="18"/>
                      <a:pt x="88" y="26"/>
                    </a:cubicBezTo>
                    <a:cubicBezTo>
                      <a:pt x="79" y="36"/>
                      <a:pt x="72" y="46"/>
                      <a:pt x="66" y="55"/>
                    </a:cubicBezTo>
                    <a:cubicBezTo>
                      <a:pt x="60" y="64"/>
                      <a:pt x="51" y="73"/>
                      <a:pt x="46" y="82"/>
                    </a:cubicBezTo>
                    <a:cubicBezTo>
                      <a:pt x="40" y="89"/>
                      <a:pt x="34" y="97"/>
                      <a:pt x="27" y="105"/>
                    </a:cubicBezTo>
                    <a:cubicBezTo>
                      <a:pt x="22" y="111"/>
                      <a:pt x="15" y="116"/>
                      <a:pt x="9" y="119"/>
                    </a:cubicBezTo>
                    <a:cubicBezTo>
                      <a:pt x="6" y="120"/>
                      <a:pt x="3" y="120"/>
                      <a:pt x="0" y="120"/>
                    </a:cubicBezTo>
                    <a:cubicBezTo>
                      <a:pt x="1" y="114"/>
                      <a:pt x="3" y="108"/>
                      <a:pt x="6" y="101"/>
                    </a:cubicBezTo>
                    <a:close/>
                  </a:path>
                </a:pathLst>
              </a:custGeom>
              <a:solidFill>
                <a:srgbClr val="E840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663" name="Freeform 210">
                <a:extLst>
                  <a:ext uri="{FF2B5EF4-FFF2-40B4-BE49-F238E27FC236}">
                    <a16:creationId xmlns:a16="http://schemas.microsoft.com/office/drawing/2014/main" id="{A7B76A71-049E-472F-8739-638AABD70F6C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7031" y="3111"/>
                <a:ext cx="190" cy="56"/>
              </a:xfrm>
              <a:custGeom>
                <a:avLst/>
                <a:gdLst>
                  <a:gd name="T0" fmla="*/ 29 w 179"/>
                  <a:gd name="T1" fmla="*/ 32 h 53"/>
                  <a:gd name="T2" fmla="*/ 106 w 179"/>
                  <a:gd name="T3" fmla="*/ 23 h 53"/>
                  <a:gd name="T4" fmla="*/ 160 w 179"/>
                  <a:gd name="T5" fmla="*/ 7 h 53"/>
                  <a:gd name="T6" fmla="*/ 174 w 179"/>
                  <a:gd name="T7" fmla="*/ 0 h 53"/>
                  <a:gd name="T8" fmla="*/ 178 w 179"/>
                  <a:gd name="T9" fmla="*/ 4 h 53"/>
                  <a:gd name="T10" fmla="*/ 162 w 179"/>
                  <a:gd name="T11" fmla="*/ 22 h 53"/>
                  <a:gd name="T12" fmla="*/ 134 w 179"/>
                  <a:gd name="T13" fmla="*/ 34 h 53"/>
                  <a:gd name="T14" fmla="*/ 112 w 179"/>
                  <a:gd name="T15" fmla="*/ 41 h 53"/>
                  <a:gd name="T16" fmla="*/ 79 w 179"/>
                  <a:gd name="T17" fmla="*/ 51 h 53"/>
                  <a:gd name="T18" fmla="*/ 47 w 179"/>
                  <a:gd name="T19" fmla="*/ 52 h 53"/>
                  <a:gd name="T20" fmla="*/ 16 w 179"/>
                  <a:gd name="T21" fmla="*/ 48 h 53"/>
                  <a:gd name="T22" fmla="*/ 1 w 179"/>
                  <a:gd name="T23" fmla="*/ 30 h 53"/>
                  <a:gd name="T24" fmla="*/ 1 w 179"/>
                  <a:gd name="T25" fmla="*/ 29 h 53"/>
                  <a:gd name="T26" fmla="*/ 29 w 179"/>
                  <a:gd name="T27" fmla="*/ 32 h 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79" h="53">
                    <a:moveTo>
                      <a:pt x="29" y="32"/>
                    </a:moveTo>
                    <a:cubicBezTo>
                      <a:pt x="56" y="33"/>
                      <a:pt x="81" y="28"/>
                      <a:pt x="106" y="23"/>
                    </a:cubicBezTo>
                    <a:cubicBezTo>
                      <a:pt x="124" y="21"/>
                      <a:pt x="143" y="13"/>
                      <a:pt x="160" y="7"/>
                    </a:cubicBezTo>
                    <a:cubicBezTo>
                      <a:pt x="165" y="5"/>
                      <a:pt x="170" y="3"/>
                      <a:pt x="174" y="0"/>
                    </a:cubicBezTo>
                    <a:cubicBezTo>
                      <a:pt x="176" y="1"/>
                      <a:pt x="177" y="2"/>
                      <a:pt x="178" y="4"/>
                    </a:cubicBezTo>
                    <a:cubicBezTo>
                      <a:pt x="179" y="15"/>
                      <a:pt x="169" y="19"/>
                      <a:pt x="162" y="22"/>
                    </a:cubicBezTo>
                    <a:cubicBezTo>
                      <a:pt x="154" y="27"/>
                      <a:pt x="144" y="31"/>
                      <a:pt x="134" y="34"/>
                    </a:cubicBezTo>
                    <a:cubicBezTo>
                      <a:pt x="127" y="36"/>
                      <a:pt x="120" y="39"/>
                      <a:pt x="112" y="41"/>
                    </a:cubicBezTo>
                    <a:cubicBezTo>
                      <a:pt x="102" y="43"/>
                      <a:pt x="91" y="49"/>
                      <a:pt x="79" y="51"/>
                    </a:cubicBezTo>
                    <a:cubicBezTo>
                      <a:pt x="68" y="52"/>
                      <a:pt x="58" y="53"/>
                      <a:pt x="47" y="52"/>
                    </a:cubicBezTo>
                    <a:cubicBezTo>
                      <a:pt x="36" y="52"/>
                      <a:pt x="25" y="52"/>
                      <a:pt x="16" y="48"/>
                    </a:cubicBezTo>
                    <a:cubicBezTo>
                      <a:pt x="8" y="45"/>
                      <a:pt x="0" y="38"/>
                      <a:pt x="1" y="30"/>
                    </a:cubicBezTo>
                    <a:cubicBezTo>
                      <a:pt x="1" y="29"/>
                      <a:pt x="1" y="29"/>
                      <a:pt x="1" y="29"/>
                    </a:cubicBezTo>
                    <a:cubicBezTo>
                      <a:pt x="10" y="31"/>
                      <a:pt x="20" y="32"/>
                      <a:pt x="29" y="32"/>
                    </a:cubicBezTo>
                    <a:close/>
                  </a:path>
                </a:pathLst>
              </a:custGeom>
              <a:solidFill>
                <a:srgbClr val="E840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664" name="Freeform 211">
                <a:extLst>
                  <a:ext uri="{FF2B5EF4-FFF2-40B4-BE49-F238E27FC236}">
                    <a16:creationId xmlns:a16="http://schemas.microsoft.com/office/drawing/2014/main" id="{D19FC232-E6DA-47A8-9332-331F2EF42EAA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711" y="3004"/>
                <a:ext cx="971" cy="586"/>
              </a:xfrm>
              <a:custGeom>
                <a:avLst/>
                <a:gdLst>
                  <a:gd name="T0" fmla="*/ 7 w 916"/>
                  <a:gd name="T1" fmla="*/ 338 h 553"/>
                  <a:gd name="T2" fmla="*/ 57 w 916"/>
                  <a:gd name="T3" fmla="*/ 282 h 553"/>
                  <a:gd name="T4" fmla="*/ 112 w 916"/>
                  <a:gd name="T5" fmla="*/ 261 h 553"/>
                  <a:gd name="T6" fmla="*/ 123 w 916"/>
                  <a:gd name="T7" fmla="*/ 260 h 553"/>
                  <a:gd name="T8" fmla="*/ 150 w 916"/>
                  <a:gd name="T9" fmla="*/ 245 h 553"/>
                  <a:gd name="T10" fmla="*/ 189 w 916"/>
                  <a:gd name="T11" fmla="*/ 195 h 553"/>
                  <a:gd name="T12" fmla="*/ 230 w 916"/>
                  <a:gd name="T13" fmla="*/ 144 h 553"/>
                  <a:gd name="T14" fmla="*/ 238 w 916"/>
                  <a:gd name="T15" fmla="*/ 133 h 553"/>
                  <a:gd name="T16" fmla="*/ 218 w 916"/>
                  <a:gd name="T17" fmla="*/ 132 h 553"/>
                  <a:gd name="T18" fmla="*/ 213 w 916"/>
                  <a:gd name="T19" fmla="*/ 130 h 553"/>
                  <a:gd name="T20" fmla="*/ 225 w 916"/>
                  <a:gd name="T21" fmla="*/ 113 h 553"/>
                  <a:gd name="T22" fmla="*/ 242 w 916"/>
                  <a:gd name="T23" fmla="*/ 93 h 553"/>
                  <a:gd name="T24" fmla="*/ 266 w 916"/>
                  <a:gd name="T25" fmla="*/ 114 h 553"/>
                  <a:gd name="T26" fmla="*/ 303 w 916"/>
                  <a:gd name="T27" fmla="*/ 130 h 553"/>
                  <a:gd name="T28" fmla="*/ 318 w 916"/>
                  <a:gd name="T29" fmla="*/ 149 h 553"/>
                  <a:gd name="T30" fmla="*/ 381 w 916"/>
                  <a:gd name="T31" fmla="*/ 152 h 553"/>
                  <a:gd name="T32" fmla="*/ 436 w 916"/>
                  <a:gd name="T33" fmla="*/ 135 h 553"/>
                  <a:gd name="T34" fmla="*/ 480 w 916"/>
                  <a:gd name="T35" fmla="*/ 105 h 553"/>
                  <a:gd name="T36" fmla="*/ 494 w 916"/>
                  <a:gd name="T37" fmla="*/ 86 h 553"/>
                  <a:gd name="T38" fmla="*/ 524 w 916"/>
                  <a:gd name="T39" fmla="*/ 42 h 553"/>
                  <a:gd name="T40" fmla="*/ 536 w 916"/>
                  <a:gd name="T41" fmla="*/ 43 h 553"/>
                  <a:gd name="T42" fmla="*/ 586 w 916"/>
                  <a:gd name="T43" fmla="*/ 38 h 553"/>
                  <a:gd name="T44" fmla="*/ 606 w 916"/>
                  <a:gd name="T45" fmla="*/ 35 h 553"/>
                  <a:gd name="T46" fmla="*/ 661 w 916"/>
                  <a:gd name="T47" fmla="*/ 23 h 553"/>
                  <a:gd name="T48" fmla="*/ 723 w 916"/>
                  <a:gd name="T49" fmla="*/ 12 h 553"/>
                  <a:gd name="T50" fmla="*/ 781 w 916"/>
                  <a:gd name="T51" fmla="*/ 3 h 553"/>
                  <a:gd name="T52" fmla="*/ 800 w 916"/>
                  <a:gd name="T53" fmla="*/ 3 h 553"/>
                  <a:gd name="T54" fmla="*/ 868 w 916"/>
                  <a:gd name="T55" fmla="*/ 20 h 553"/>
                  <a:gd name="T56" fmla="*/ 909 w 916"/>
                  <a:gd name="T57" fmla="*/ 75 h 553"/>
                  <a:gd name="T58" fmla="*/ 912 w 916"/>
                  <a:gd name="T59" fmla="*/ 95 h 553"/>
                  <a:gd name="T60" fmla="*/ 906 w 916"/>
                  <a:gd name="T61" fmla="*/ 172 h 553"/>
                  <a:gd name="T62" fmla="*/ 875 w 916"/>
                  <a:gd name="T63" fmla="*/ 227 h 553"/>
                  <a:gd name="T64" fmla="*/ 810 w 916"/>
                  <a:gd name="T65" fmla="*/ 314 h 553"/>
                  <a:gd name="T66" fmla="*/ 755 w 916"/>
                  <a:gd name="T67" fmla="*/ 392 h 553"/>
                  <a:gd name="T68" fmla="*/ 707 w 916"/>
                  <a:gd name="T69" fmla="*/ 460 h 553"/>
                  <a:gd name="T70" fmla="*/ 669 w 916"/>
                  <a:gd name="T71" fmla="*/ 501 h 553"/>
                  <a:gd name="T72" fmla="*/ 659 w 916"/>
                  <a:gd name="T73" fmla="*/ 514 h 553"/>
                  <a:gd name="T74" fmla="*/ 638 w 916"/>
                  <a:gd name="T75" fmla="*/ 525 h 553"/>
                  <a:gd name="T76" fmla="*/ 634 w 916"/>
                  <a:gd name="T77" fmla="*/ 528 h 553"/>
                  <a:gd name="T78" fmla="*/ 564 w 916"/>
                  <a:gd name="T79" fmla="*/ 534 h 553"/>
                  <a:gd name="T80" fmla="*/ 497 w 916"/>
                  <a:gd name="T81" fmla="*/ 546 h 553"/>
                  <a:gd name="T82" fmla="*/ 480 w 916"/>
                  <a:gd name="T83" fmla="*/ 549 h 553"/>
                  <a:gd name="T84" fmla="*/ 478 w 916"/>
                  <a:gd name="T85" fmla="*/ 553 h 553"/>
                  <a:gd name="T86" fmla="*/ 445 w 916"/>
                  <a:gd name="T87" fmla="*/ 494 h 553"/>
                  <a:gd name="T88" fmla="*/ 441 w 916"/>
                  <a:gd name="T89" fmla="*/ 466 h 553"/>
                  <a:gd name="T90" fmla="*/ 445 w 916"/>
                  <a:gd name="T91" fmla="*/ 370 h 553"/>
                  <a:gd name="T92" fmla="*/ 433 w 916"/>
                  <a:gd name="T93" fmla="*/ 329 h 553"/>
                  <a:gd name="T94" fmla="*/ 421 w 916"/>
                  <a:gd name="T95" fmla="*/ 328 h 553"/>
                  <a:gd name="T96" fmla="*/ 328 w 916"/>
                  <a:gd name="T97" fmla="*/ 325 h 553"/>
                  <a:gd name="T98" fmla="*/ 207 w 916"/>
                  <a:gd name="T99" fmla="*/ 324 h 553"/>
                  <a:gd name="T100" fmla="*/ 96 w 916"/>
                  <a:gd name="T101" fmla="*/ 324 h 553"/>
                  <a:gd name="T102" fmla="*/ 63 w 916"/>
                  <a:gd name="T103" fmla="*/ 352 h 553"/>
                  <a:gd name="T104" fmla="*/ 47 w 916"/>
                  <a:gd name="T105" fmla="*/ 349 h 553"/>
                  <a:gd name="T106" fmla="*/ 8 w 916"/>
                  <a:gd name="T107" fmla="*/ 349 h 5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916" h="553">
                    <a:moveTo>
                      <a:pt x="0" y="346"/>
                    </a:moveTo>
                    <a:cubicBezTo>
                      <a:pt x="2" y="343"/>
                      <a:pt x="4" y="341"/>
                      <a:pt x="7" y="338"/>
                    </a:cubicBezTo>
                    <a:cubicBezTo>
                      <a:pt x="14" y="330"/>
                      <a:pt x="22" y="322"/>
                      <a:pt x="29" y="314"/>
                    </a:cubicBezTo>
                    <a:cubicBezTo>
                      <a:pt x="39" y="304"/>
                      <a:pt x="47" y="294"/>
                      <a:pt x="57" y="282"/>
                    </a:cubicBezTo>
                    <a:cubicBezTo>
                      <a:pt x="64" y="274"/>
                      <a:pt x="70" y="262"/>
                      <a:pt x="82" y="260"/>
                    </a:cubicBezTo>
                    <a:cubicBezTo>
                      <a:pt x="91" y="258"/>
                      <a:pt x="102" y="260"/>
                      <a:pt x="112" y="261"/>
                    </a:cubicBezTo>
                    <a:cubicBezTo>
                      <a:pt x="112" y="261"/>
                      <a:pt x="112" y="261"/>
                      <a:pt x="112" y="261"/>
                    </a:cubicBezTo>
                    <a:cubicBezTo>
                      <a:pt x="115" y="260"/>
                      <a:pt x="119" y="260"/>
                      <a:pt x="123" y="260"/>
                    </a:cubicBezTo>
                    <a:cubicBezTo>
                      <a:pt x="126" y="260"/>
                      <a:pt x="129" y="260"/>
                      <a:pt x="132" y="259"/>
                    </a:cubicBezTo>
                    <a:cubicBezTo>
                      <a:pt x="138" y="256"/>
                      <a:pt x="145" y="251"/>
                      <a:pt x="150" y="245"/>
                    </a:cubicBezTo>
                    <a:cubicBezTo>
                      <a:pt x="157" y="237"/>
                      <a:pt x="163" y="229"/>
                      <a:pt x="169" y="222"/>
                    </a:cubicBezTo>
                    <a:cubicBezTo>
                      <a:pt x="174" y="213"/>
                      <a:pt x="183" y="204"/>
                      <a:pt x="189" y="195"/>
                    </a:cubicBezTo>
                    <a:cubicBezTo>
                      <a:pt x="195" y="186"/>
                      <a:pt x="202" y="176"/>
                      <a:pt x="211" y="166"/>
                    </a:cubicBezTo>
                    <a:cubicBezTo>
                      <a:pt x="217" y="158"/>
                      <a:pt x="224" y="152"/>
                      <a:pt x="230" y="144"/>
                    </a:cubicBezTo>
                    <a:cubicBezTo>
                      <a:pt x="231" y="144"/>
                      <a:pt x="231" y="143"/>
                      <a:pt x="232" y="143"/>
                    </a:cubicBezTo>
                    <a:cubicBezTo>
                      <a:pt x="234" y="140"/>
                      <a:pt x="238" y="136"/>
                      <a:pt x="238" y="133"/>
                    </a:cubicBezTo>
                    <a:cubicBezTo>
                      <a:pt x="237" y="130"/>
                      <a:pt x="236" y="132"/>
                      <a:pt x="233" y="133"/>
                    </a:cubicBezTo>
                    <a:cubicBezTo>
                      <a:pt x="229" y="132"/>
                      <a:pt x="224" y="132"/>
                      <a:pt x="218" y="132"/>
                    </a:cubicBezTo>
                    <a:cubicBezTo>
                      <a:pt x="215" y="132"/>
                      <a:pt x="213" y="132"/>
                      <a:pt x="211" y="131"/>
                    </a:cubicBezTo>
                    <a:cubicBezTo>
                      <a:pt x="211" y="131"/>
                      <a:pt x="212" y="130"/>
                      <a:pt x="213" y="130"/>
                    </a:cubicBezTo>
                    <a:cubicBezTo>
                      <a:pt x="214" y="128"/>
                      <a:pt x="214" y="128"/>
                      <a:pt x="214" y="128"/>
                    </a:cubicBezTo>
                    <a:cubicBezTo>
                      <a:pt x="217" y="123"/>
                      <a:pt x="221" y="119"/>
                      <a:pt x="225" y="113"/>
                    </a:cubicBezTo>
                    <a:cubicBezTo>
                      <a:pt x="229" y="107"/>
                      <a:pt x="235" y="100"/>
                      <a:pt x="240" y="95"/>
                    </a:cubicBezTo>
                    <a:cubicBezTo>
                      <a:pt x="242" y="93"/>
                      <a:pt x="242" y="93"/>
                      <a:pt x="242" y="93"/>
                    </a:cubicBezTo>
                    <a:cubicBezTo>
                      <a:pt x="248" y="100"/>
                      <a:pt x="254" y="106"/>
                      <a:pt x="261" y="112"/>
                    </a:cubicBezTo>
                    <a:cubicBezTo>
                      <a:pt x="266" y="114"/>
                      <a:pt x="266" y="114"/>
                      <a:pt x="266" y="114"/>
                    </a:cubicBezTo>
                    <a:cubicBezTo>
                      <a:pt x="278" y="121"/>
                      <a:pt x="290" y="127"/>
                      <a:pt x="303" y="130"/>
                    </a:cubicBezTo>
                    <a:cubicBezTo>
                      <a:pt x="303" y="130"/>
                      <a:pt x="303" y="130"/>
                      <a:pt x="303" y="130"/>
                    </a:cubicBezTo>
                    <a:cubicBezTo>
                      <a:pt x="303" y="131"/>
                      <a:pt x="303" y="131"/>
                      <a:pt x="303" y="131"/>
                    </a:cubicBezTo>
                    <a:cubicBezTo>
                      <a:pt x="302" y="139"/>
                      <a:pt x="310" y="146"/>
                      <a:pt x="318" y="149"/>
                    </a:cubicBezTo>
                    <a:cubicBezTo>
                      <a:pt x="327" y="153"/>
                      <a:pt x="338" y="153"/>
                      <a:pt x="349" y="153"/>
                    </a:cubicBezTo>
                    <a:cubicBezTo>
                      <a:pt x="360" y="154"/>
                      <a:pt x="370" y="153"/>
                      <a:pt x="381" y="152"/>
                    </a:cubicBezTo>
                    <a:cubicBezTo>
                      <a:pt x="393" y="150"/>
                      <a:pt x="404" y="144"/>
                      <a:pt x="414" y="142"/>
                    </a:cubicBezTo>
                    <a:cubicBezTo>
                      <a:pt x="422" y="140"/>
                      <a:pt x="429" y="137"/>
                      <a:pt x="436" y="135"/>
                    </a:cubicBezTo>
                    <a:cubicBezTo>
                      <a:pt x="446" y="132"/>
                      <a:pt x="456" y="128"/>
                      <a:pt x="464" y="123"/>
                    </a:cubicBezTo>
                    <a:cubicBezTo>
                      <a:pt x="471" y="120"/>
                      <a:pt x="481" y="116"/>
                      <a:pt x="480" y="105"/>
                    </a:cubicBezTo>
                    <a:cubicBezTo>
                      <a:pt x="479" y="103"/>
                      <a:pt x="478" y="102"/>
                      <a:pt x="476" y="101"/>
                    </a:cubicBezTo>
                    <a:cubicBezTo>
                      <a:pt x="483" y="97"/>
                      <a:pt x="489" y="92"/>
                      <a:pt x="494" y="86"/>
                    </a:cubicBezTo>
                    <a:cubicBezTo>
                      <a:pt x="501" y="78"/>
                      <a:pt x="510" y="71"/>
                      <a:pt x="515" y="62"/>
                    </a:cubicBezTo>
                    <a:cubicBezTo>
                      <a:pt x="520" y="56"/>
                      <a:pt x="523" y="49"/>
                      <a:pt x="524" y="42"/>
                    </a:cubicBezTo>
                    <a:cubicBezTo>
                      <a:pt x="526" y="42"/>
                      <a:pt x="526" y="42"/>
                      <a:pt x="526" y="42"/>
                    </a:cubicBezTo>
                    <a:cubicBezTo>
                      <a:pt x="529" y="43"/>
                      <a:pt x="532" y="42"/>
                      <a:pt x="536" y="43"/>
                    </a:cubicBezTo>
                    <a:cubicBezTo>
                      <a:pt x="540" y="42"/>
                      <a:pt x="545" y="42"/>
                      <a:pt x="551" y="41"/>
                    </a:cubicBezTo>
                    <a:cubicBezTo>
                      <a:pt x="563" y="41"/>
                      <a:pt x="574" y="40"/>
                      <a:pt x="586" y="38"/>
                    </a:cubicBezTo>
                    <a:cubicBezTo>
                      <a:pt x="591" y="37"/>
                      <a:pt x="596" y="37"/>
                      <a:pt x="602" y="36"/>
                    </a:cubicBezTo>
                    <a:cubicBezTo>
                      <a:pt x="604" y="35"/>
                      <a:pt x="605" y="35"/>
                      <a:pt x="606" y="35"/>
                    </a:cubicBezTo>
                    <a:cubicBezTo>
                      <a:pt x="611" y="33"/>
                      <a:pt x="616" y="32"/>
                      <a:pt x="621" y="31"/>
                    </a:cubicBezTo>
                    <a:cubicBezTo>
                      <a:pt x="634" y="28"/>
                      <a:pt x="648" y="26"/>
                      <a:pt x="661" y="23"/>
                    </a:cubicBezTo>
                    <a:cubicBezTo>
                      <a:pt x="671" y="20"/>
                      <a:pt x="683" y="17"/>
                      <a:pt x="693" y="16"/>
                    </a:cubicBezTo>
                    <a:cubicBezTo>
                      <a:pt x="704" y="13"/>
                      <a:pt x="713" y="14"/>
                      <a:pt x="723" y="12"/>
                    </a:cubicBezTo>
                    <a:cubicBezTo>
                      <a:pt x="740" y="10"/>
                      <a:pt x="757" y="5"/>
                      <a:pt x="775" y="3"/>
                    </a:cubicBezTo>
                    <a:cubicBezTo>
                      <a:pt x="777" y="3"/>
                      <a:pt x="779" y="3"/>
                      <a:pt x="781" y="3"/>
                    </a:cubicBezTo>
                    <a:cubicBezTo>
                      <a:pt x="781" y="2"/>
                      <a:pt x="781" y="2"/>
                      <a:pt x="781" y="2"/>
                    </a:cubicBezTo>
                    <a:cubicBezTo>
                      <a:pt x="789" y="0"/>
                      <a:pt x="794" y="3"/>
                      <a:pt x="800" y="3"/>
                    </a:cubicBezTo>
                    <a:cubicBezTo>
                      <a:pt x="807" y="5"/>
                      <a:pt x="814" y="6"/>
                      <a:pt x="820" y="8"/>
                    </a:cubicBezTo>
                    <a:cubicBezTo>
                      <a:pt x="835" y="12"/>
                      <a:pt x="852" y="15"/>
                      <a:pt x="868" y="20"/>
                    </a:cubicBezTo>
                    <a:cubicBezTo>
                      <a:pt x="883" y="24"/>
                      <a:pt x="893" y="31"/>
                      <a:pt x="899" y="45"/>
                    </a:cubicBezTo>
                    <a:cubicBezTo>
                      <a:pt x="903" y="55"/>
                      <a:pt x="906" y="65"/>
                      <a:pt x="909" y="75"/>
                    </a:cubicBezTo>
                    <a:cubicBezTo>
                      <a:pt x="906" y="76"/>
                      <a:pt x="906" y="76"/>
                      <a:pt x="906" y="76"/>
                    </a:cubicBezTo>
                    <a:cubicBezTo>
                      <a:pt x="908" y="82"/>
                      <a:pt x="910" y="89"/>
                      <a:pt x="912" y="95"/>
                    </a:cubicBezTo>
                    <a:cubicBezTo>
                      <a:pt x="915" y="108"/>
                      <a:pt x="916" y="122"/>
                      <a:pt x="914" y="136"/>
                    </a:cubicBezTo>
                    <a:cubicBezTo>
                      <a:pt x="913" y="149"/>
                      <a:pt x="910" y="162"/>
                      <a:pt x="906" y="172"/>
                    </a:cubicBezTo>
                    <a:cubicBezTo>
                      <a:pt x="901" y="188"/>
                      <a:pt x="893" y="199"/>
                      <a:pt x="885" y="212"/>
                    </a:cubicBezTo>
                    <a:cubicBezTo>
                      <a:pt x="882" y="217"/>
                      <a:pt x="879" y="222"/>
                      <a:pt x="875" y="227"/>
                    </a:cubicBezTo>
                    <a:cubicBezTo>
                      <a:pt x="860" y="249"/>
                      <a:pt x="845" y="271"/>
                      <a:pt x="829" y="291"/>
                    </a:cubicBezTo>
                    <a:cubicBezTo>
                      <a:pt x="823" y="299"/>
                      <a:pt x="816" y="306"/>
                      <a:pt x="810" y="314"/>
                    </a:cubicBezTo>
                    <a:cubicBezTo>
                      <a:pt x="796" y="333"/>
                      <a:pt x="782" y="351"/>
                      <a:pt x="769" y="370"/>
                    </a:cubicBezTo>
                    <a:cubicBezTo>
                      <a:pt x="765" y="377"/>
                      <a:pt x="759" y="385"/>
                      <a:pt x="755" y="392"/>
                    </a:cubicBezTo>
                    <a:cubicBezTo>
                      <a:pt x="748" y="403"/>
                      <a:pt x="740" y="413"/>
                      <a:pt x="733" y="422"/>
                    </a:cubicBezTo>
                    <a:cubicBezTo>
                      <a:pt x="723" y="434"/>
                      <a:pt x="716" y="447"/>
                      <a:pt x="707" y="460"/>
                    </a:cubicBezTo>
                    <a:cubicBezTo>
                      <a:pt x="696" y="475"/>
                      <a:pt x="684" y="489"/>
                      <a:pt x="670" y="501"/>
                    </a:cubicBezTo>
                    <a:cubicBezTo>
                      <a:pt x="669" y="501"/>
                      <a:pt x="669" y="501"/>
                      <a:pt x="669" y="501"/>
                    </a:cubicBezTo>
                    <a:cubicBezTo>
                      <a:pt x="668" y="502"/>
                      <a:pt x="668" y="504"/>
                      <a:pt x="667" y="505"/>
                    </a:cubicBezTo>
                    <a:cubicBezTo>
                      <a:pt x="664" y="509"/>
                      <a:pt x="662" y="511"/>
                      <a:pt x="659" y="514"/>
                    </a:cubicBezTo>
                    <a:cubicBezTo>
                      <a:pt x="656" y="516"/>
                      <a:pt x="654" y="517"/>
                      <a:pt x="651" y="519"/>
                    </a:cubicBezTo>
                    <a:cubicBezTo>
                      <a:pt x="648" y="523"/>
                      <a:pt x="643" y="524"/>
                      <a:pt x="638" y="525"/>
                    </a:cubicBezTo>
                    <a:cubicBezTo>
                      <a:pt x="636" y="526"/>
                      <a:pt x="635" y="526"/>
                      <a:pt x="633" y="527"/>
                    </a:cubicBezTo>
                    <a:cubicBezTo>
                      <a:pt x="634" y="528"/>
                      <a:pt x="634" y="528"/>
                      <a:pt x="634" y="528"/>
                    </a:cubicBezTo>
                    <a:cubicBezTo>
                      <a:pt x="627" y="534"/>
                      <a:pt x="613" y="533"/>
                      <a:pt x="605" y="533"/>
                    </a:cubicBezTo>
                    <a:cubicBezTo>
                      <a:pt x="591" y="532"/>
                      <a:pt x="577" y="533"/>
                      <a:pt x="564" y="534"/>
                    </a:cubicBezTo>
                    <a:cubicBezTo>
                      <a:pt x="546" y="537"/>
                      <a:pt x="530" y="541"/>
                      <a:pt x="513" y="544"/>
                    </a:cubicBezTo>
                    <a:cubicBezTo>
                      <a:pt x="507" y="545"/>
                      <a:pt x="503" y="545"/>
                      <a:pt x="497" y="546"/>
                    </a:cubicBezTo>
                    <a:cubicBezTo>
                      <a:pt x="492" y="548"/>
                      <a:pt x="490" y="548"/>
                      <a:pt x="485" y="549"/>
                    </a:cubicBezTo>
                    <a:cubicBezTo>
                      <a:pt x="484" y="550"/>
                      <a:pt x="481" y="549"/>
                      <a:pt x="480" y="549"/>
                    </a:cubicBezTo>
                    <a:cubicBezTo>
                      <a:pt x="480" y="550"/>
                      <a:pt x="480" y="550"/>
                      <a:pt x="481" y="551"/>
                    </a:cubicBezTo>
                    <a:cubicBezTo>
                      <a:pt x="478" y="553"/>
                      <a:pt x="478" y="553"/>
                      <a:pt x="478" y="553"/>
                    </a:cubicBezTo>
                    <a:cubicBezTo>
                      <a:pt x="462" y="538"/>
                      <a:pt x="453" y="519"/>
                      <a:pt x="446" y="500"/>
                    </a:cubicBezTo>
                    <a:cubicBezTo>
                      <a:pt x="446" y="498"/>
                      <a:pt x="446" y="496"/>
                      <a:pt x="445" y="494"/>
                    </a:cubicBezTo>
                    <a:cubicBezTo>
                      <a:pt x="445" y="493"/>
                      <a:pt x="445" y="492"/>
                      <a:pt x="444" y="490"/>
                    </a:cubicBezTo>
                    <a:cubicBezTo>
                      <a:pt x="443" y="482"/>
                      <a:pt x="442" y="473"/>
                      <a:pt x="441" y="466"/>
                    </a:cubicBezTo>
                    <a:cubicBezTo>
                      <a:pt x="438" y="453"/>
                      <a:pt x="436" y="439"/>
                      <a:pt x="437" y="426"/>
                    </a:cubicBezTo>
                    <a:cubicBezTo>
                      <a:pt x="437" y="406"/>
                      <a:pt x="439" y="389"/>
                      <a:pt x="445" y="370"/>
                    </a:cubicBezTo>
                    <a:cubicBezTo>
                      <a:pt x="449" y="360"/>
                      <a:pt x="459" y="339"/>
                      <a:pt x="449" y="330"/>
                    </a:cubicBezTo>
                    <a:cubicBezTo>
                      <a:pt x="433" y="329"/>
                      <a:pt x="433" y="329"/>
                      <a:pt x="433" y="329"/>
                    </a:cubicBezTo>
                    <a:cubicBezTo>
                      <a:pt x="431" y="329"/>
                      <a:pt x="429" y="329"/>
                      <a:pt x="426" y="329"/>
                    </a:cubicBezTo>
                    <a:cubicBezTo>
                      <a:pt x="424" y="329"/>
                      <a:pt x="422" y="328"/>
                      <a:pt x="421" y="328"/>
                    </a:cubicBezTo>
                    <a:cubicBezTo>
                      <a:pt x="406" y="327"/>
                      <a:pt x="394" y="327"/>
                      <a:pt x="380" y="326"/>
                    </a:cubicBezTo>
                    <a:cubicBezTo>
                      <a:pt x="364" y="324"/>
                      <a:pt x="345" y="325"/>
                      <a:pt x="328" y="325"/>
                    </a:cubicBezTo>
                    <a:cubicBezTo>
                      <a:pt x="308" y="325"/>
                      <a:pt x="288" y="325"/>
                      <a:pt x="268" y="326"/>
                    </a:cubicBezTo>
                    <a:cubicBezTo>
                      <a:pt x="247" y="325"/>
                      <a:pt x="227" y="324"/>
                      <a:pt x="207" y="324"/>
                    </a:cubicBezTo>
                    <a:cubicBezTo>
                      <a:pt x="190" y="324"/>
                      <a:pt x="171" y="324"/>
                      <a:pt x="154" y="323"/>
                    </a:cubicBezTo>
                    <a:cubicBezTo>
                      <a:pt x="135" y="323"/>
                      <a:pt x="115" y="324"/>
                      <a:pt x="96" y="324"/>
                    </a:cubicBezTo>
                    <a:cubicBezTo>
                      <a:pt x="95" y="323"/>
                      <a:pt x="95" y="323"/>
                      <a:pt x="95" y="323"/>
                    </a:cubicBezTo>
                    <a:cubicBezTo>
                      <a:pt x="85" y="333"/>
                      <a:pt x="73" y="342"/>
                      <a:pt x="63" y="352"/>
                    </a:cubicBezTo>
                    <a:cubicBezTo>
                      <a:pt x="61" y="355"/>
                      <a:pt x="58" y="357"/>
                      <a:pt x="56" y="360"/>
                    </a:cubicBezTo>
                    <a:cubicBezTo>
                      <a:pt x="47" y="349"/>
                      <a:pt x="47" y="349"/>
                      <a:pt x="47" y="349"/>
                    </a:cubicBezTo>
                    <a:cubicBezTo>
                      <a:pt x="43" y="349"/>
                      <a:pt x="38" y="348"/>
                      <a:pt x="34" y="348"/>
                    </a:cubicBezTo>
                    <a:cubicBezTo>
                      <a:pt x="25" y="348"/>
                      <a:pt x="17" y="347"/>
                      <a:pt x="8" y="349"/>
                    </a:cubicBezTo>
                    <a:lnTo>
                      <a:pt x="0" y="346"/>
                    </a:lnTo>
                    <a:close/>
                  </a:path>
                </a:pathLst>
              </a:custGeom>
              <a:solidFill>
                <a:srgbClr val="3C3C3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665" name="Freeform 212">
                <a:extLst>
                  <a:ext uri="{FF2B5EF4-FFF2-40B4-BE49-F238E27FC236}">
                    <a16:creationId xmlns:a16="http://schemas.microsoft.com/office/drawing/2014/main" id="{9BBBD3E4-429A-4F73-A50D-BB5FDE783ED8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780" y="2530"/>
                <a:ext cx="84" cy="223"/>
              </a:xfrm>
              <a:custGeom>
                <a:avLst/>
                <a:gdLst>
                  <a:gd name="T0" fmla="*/ 20 w 79"/>
                  <a:gd name="T1" fmla="*/ 26 h 211"/>
                  <a:gd name="T2" fmla="*/ 0 w 79"/>
                  <a:gd name="T3" fmla="*/ 0 h 211"/>
                  <a:gd name="T4" fmla="*/ 17 w 79"/>
                  <a:gd name="T5" fmla="*/ 5 h 211"/>
                  <a:gd name="T6" fmla="*/ 50 w 79"/>
                  <a:gd name="T7" fmla="*/ 19 h 211"/>
                  <a:gd name="T8" fmla="*/ 66 w 79"/>
                  <a:gd name="T9" fmla="*/ 49 h 211"/>
                  <a:gd name="T10" fmla="*/ 77 w 79"/>
                  <a:gd name="T11" fmla="*/ 130 h 211"/>
                  <a:gd name="T12" fmla="*/ 74 w 79"/>
                  <a:gd name="T13" fmla="*/ 210 h 211"/>
                  <a:gd name="T14" fmla="*/ 56 w 79"/>
                  <a:gd name="T15" fmla="*/ 211 h 211"/>
                  <a:gd name="T16" fmla="*/ 53 w 79"/>
                  <a:gd name="T17" fmla="*/ 164 h 211"/>
                  <a:gd name="T18" fmla="*/ 41 w 79"/>
                  <a:gd name="T19" fmla="*/ 60 h 211"/>
                  <a:gd name="T20" fmla="*/ 20 w 79"/>
                  <a:gd name="T21" fmla="*/ 26 h 2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79" h="211">
                    <a:moveTo>
                      <a:pt x="20" y="26"/>
                    </a:moveTo>
                    <a:cubicBezTo>
                      <a:pt x="14" y="19"/>
                      <a:pt x="2" y="11"/>
                      <a:pt x="0" y="0"/>
                    </a:cubicBezTo>
                    <a:cubicBezTo>
                      <a:pt x="6" y="1"/>
                      <a:pt x="10" y="2"/>
                      <a:pt x="17" y="5"/>
                    </a:cubicBezTo>
                    <a:cubicBezTo>
                      <a:pt x="27" y="9"/>
                      <a:pt x="41" y="10"/>
                      <a:pt x="50" y="19"/>
                    </a:cubicBezTo>
                    <a:cubicBezTo>
                      <a:pt x="57" y="28"/>
                      <a:pt x="62" y="39"/>
                      <a:pt x="66" y="49"/>
                    </a:cubicBezTo>
                    <a:cubicBezTo>
                      <a:pt x="79" y="73"/>
                      <a:pt x="77" y="102"/>
                      <a:pt x="77" y="130"/>
                    </a:cubicBezTo>
                    <a:cubicBezTo>
                      <a:pt x="76" y="156"/>
                      <a:pt x="74" y="183"/>
                      <a:pt x="74" y="210"/>
                    </a:cubicBezTo>
                    <a:cubicBezTo>
                      <a:pt x="56" y="211"/>
                      <a:pt x="56" y="211"/>
                      <a:pt x="56" y="211"/>
                    </a:cubicBezTo>
                    <a:cubicBezTo>
                      <a:pt x="55" y="195"/>
                      <a:pt x="54" y="179"/>
                      <a:pt x="53" y="164"/>
                    </a:cubicBezTo>
                    <a:cubicBezTo>
                      <a:pt x="53" y="130"/>
                      <a:pt x="52" y="94"/>
                      <a:pt x="41" y="60"/>
                    </a:cubicBezTo>
                    <a:cubicBezTo>
                      <a:pt x="38" y="46"/>
                      <a:pt x="29" y="36"/>
                      <a:pt x="20" y="26"/>
                    </a:cubicBezTo>
                    <a:close/>
                  </a:path>
                </a:pathLst>
              </a:custGeom>
              <a:solidFill>
                <a:srgbClr val="21AAD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666" name="Freeform 213">
                <a:extLst>
                  <a:ext uri="{FF2B5EF4-FFF2-40B4-BE49-F238E27FC236}">
                    <a16:creationId xmlns:a16="http://schemas.microsoft.com/office/drawing/2014/main" id="{7D3FBAFB-ED68-4713-AA59-4B6993DD9F69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761" y="2156"/>
                <a:ext cx="506" cy="990"/>
              </a:xfrm>
              <a:custGeom>
                <a:avLst/>
                <a:gdLst>
                  <a:gd name="T0" fmla="*/ 23 w 477"/>
                  <a:gd name="T1" fmla="*/ 260 h 935"/>
                  <a:gd name="T2" fmla="*/ 83 w 477"/>
                  <a:gd name="T3" fmla="*/ 178 h 935"/>
                  <a:gd name="T4" fmla="*/ 197 w 477"/>
                  <a:gd name="T5" fmla="*/ 105 h 935"/>
                  <a:gd name="T6" fmla="*/ 236 w 477"/>
                  <a:gd name="T7" fmla="*/ 76 h 935"/>
                  <a:gd name="T8" fmla="*/ 306 w 477"/>
                  <a:gd name="T9" fmla="*/ 20 h 935"/>
                  <a:gd name="T10" fmla="*/ 339 w 477"/>
                  <a:gd name="T11" fmla="*/ 6 h 935"/>
                  <a:gd name="T12" fmla="*/ 368 w 477"/>
                  <a:gd name="T13" fmla="*/ 44 h 935"/>
                  <a:gd name="T14" fmla="*/ 361 w 477"/>
                  <a:gd name="T15" fmla="*/ 55 h 935"/>
                  <a:gd name="T16" fmla="*/ 325 w 477"/>
                  <a:gd name="T17" fmla="*/ 85 h 935"/>
                  <a:gd name="T18" fmla="*/ 269 w 477"/>
                  <a:gd name="T19" fmla="*/ 121 h 935"/>
                  <a:gd name="T20" fmla="*/ 259 w 477"/>
                  <a:gd name="T21" fmla="*/ 155 h 935"/>
                  <a:gd name="T22" fmla="*/ 268 w 477"/>
                  <a:gd name="T23" fmla="*/ 249 h 935"/>
                  <a:gd name="T24" fmla="*/ 317 w 477"/>
                  <a:gd name="T25" fmla="*/ 325 h 935"/>
                  <a:gd name="T26" fmla="*/ 343 w 477"/>
                  <a:gd name="T27" fmla="*/ 341 h 935"/>
                  <a:gd name="T28" fmla="*/ 369 w 477"/>
                  <a:gd name="T29" fmla="*/ 315 h 935"/>
                  <a:gd name="T30" fmla="*/ 383 w 477"/>
                  <a:gd name="T31" fmla="*/ 296 h 935"/>
                  <a:gd name="T32" fmla="*/ 392 w 477"/>
                  <a:gd name="T33" fmla="*/ 292 h 935"/>
                  <a:gd name="T34" fmla="*/ 407 w 477"/>
                  <a:gd name="T35" fmla="*/ 308 h 935"/>
                  <a:gd name="T36" fmla="*/ 406 w 477"/>
                  <a:gd name="T37" fmla="*/ 310 h 935"/>
                  <a:gd name="T38" fmla="*/ 408 w 477"/>
                  <a:gd name="T39" fmla="*/ 310 h 935"/>
                  <a:gd name="T40" fmla="*/ 403 w 477"/>
                  <a:gd name="T41" fmla="*/ 347 h 935"/>
                  <a:gd name="T42" fmla="*/ 362 w 477"/>
                  <a:gd name="T43" fmla="*/ 381 h 935"/>
                  <a:gd name="T44" fmla="*/ 348 w 477"/>
                  <a:gd name="T45" fmla="*/ 382 h 935"/>
                  <a:gd name="T46" fmla="*/ 260 w 477"/>
                  <a:gd name="T47" fmla="*/ 459 h 935"/>
                  <a:gd name="T48" fmla="*/ 296 w 477"/>
                  <a:gd name="T49" fmla="*/ 516 h 935"/>
                  <a:gd name="T50" fmla="*/ 341 w 477"/>
                  <a:gd name="T51" fmla="*/ 514 h 935"/>
                  <a:gd name="T52" fmla="*/ 362 w 477"/>
                  <a:gd name="T53" fmla="*/ 498 h 935"/>
                  <a:gd name="T54" fmla="*/ 379 w 477"/>
                  <a:gd name="T55" fmla="*/ 472 h 935"/>
                  <a:gd name="T56" fmla="*/ 387 w 477"/>
                  <a:gd name="T57" fmla="*/ 488 h 935"/>
                  <a:gd name="T58" fmla="*/ 393 w 477"/>
                  <a:gd name="T59" fmla="*/ 505 h 935"/>
                  <a:gd name="T60" fmla="*/ 378 w 477"/>
                  <a:gd name="T61" fmla="*/ 527 h 935"/>
                  <a:gd name="T62" fmla="*/ 338 w 477"/>
                  <a:gd name="T63" fmla="*/ 554 h 935"/>
                  <a:gd name="T64" fmla="*/ 292 w 477"/>
                  <a:gd name="T65" fmla="*/ 567 h 935"/>
                  <a:gd name="T66" fmla="*/ 285 w 477"/>
                  <a:gd name="T67" fmla="*/ 656 h 935"/>
                  <a:gd name="T68" fmla="*/ 298 w 477"/>
                  <a:gd name="T69" fmla="*/ 685 h 935"/>
                  <a:gd name="T70" fmla="*/ 348 w 477"/>
                  <a:gd name="T71" fmla="*/ 705 h 935"/>
                  <a:gd name="T72" fmla="*/ 357 w 477"/>
                  <a:gd name="T73" fmla="*/ 691 h 935"/>
                  <a:gd name="T74" fmla="*/ 402 w 477"/>
                  <a:gd name="T75" fmla="*/ 649 h 935"/>
                  <a:gd name="T76" fmla="*/ 406 w 477"/>
                  <a:gd name="T77" fmla="*/ 644 h 935"/>
                  <a:gd name="T78" fmla="*/ 417 w 477"/>
                  <a:gd name="T79" fmla="*/ 652 h 935"/>
                  <a:gd name="T80" fmla="*/ 414 w 477"/>
                  <a:gd name="T81" fmla="*/ 688 h 935"/>
                  <a:gd name="T82" fmla="*/ 355 w 477"/>
                  <a:gd name="T83" fmla="*/ 725 h 935"/>
                  <a:gd name="T84" fmla="*/ 337 w 477"/>
                  <a:gd name="T85" fmla="*/ 820 h 935"/>
                  <a:gd name="T86" fmla="*/ 433 w 477"/>
                  <a:gd name="T87" fmla="*/ 839 h 935"/>
                  <a:gd name="T88" fmla="*/ 459 w 477"/>
                  <a:gd name="T89" fmla="*/ 808 h 935"/>
                  <a:gd name="T90" fmla="*/ 469 w 477"/>
                  <a:gd name="T91" fmla="*/ 815 h 935"/>
                  <a:gd name="T92" fmla="*/ 471 w 477"/>
                  <a:gd name="T93" fmla="*/ 817 h 935"/>
                  <a:gd name="T94" fmla="*/ 477 w 477"/>
                  <a:gd name="T95" fmla="*/ 843 h 935"/>
                  <a:gd name="T96" fmla="*/ 447 w 477"/>
                  <a:gd name="T97" fmla="*/ 887 h 935"/>
                  <a:gd name="T98" fmla="*/ 415 w 477"/>
                  <a:gd name="T99" fmla="*/ 909 h 935"/>
                  <a:gd name="T100" fmla="*/ 284 w 477"/>
                  <a:gd name="T101" fmla="*/ 934 h 935"/>
                  <a:gd name="T102" fmla="*/ 256 w 477"/>
                  <a:gd name="T103" fmla="*/ 931 h 935"/>
                  <a:gd name="T104" fmla="*/ 214 w 477"/>
                  <a:gd name="T105" fmla="*/ 913 h 935"/>
                  <a:gd name="T106" fmla="*/ 169 w 477"/>
                  <a:gd name="T107" fmla="*/ 862 h 935"/>
                  <a:gd name="T108" fmla="*/ 109 w 477"/>
                  <a:gd name="T109" fmla="*/ 728 h 935"/>
                  <a:gd name="T110" fmla="*/ 88 w 477"/>
                  <a:gd name="T111" fmla="*/ 651 h 935"/>
                  <a:gd name="T112" fmla="*/ 74 w 477"/>
                  <a:gd name="T113" fmla="*/ 564 h 935"/>
                  <a:gd name="T114" fmla="*/ 95 w 477"/>
                  <a:gd name="T115" fmla="*/ 483 h 935"/>
                  <a:gd name="T116" fmla="*/ 68 w 477"/>
                  <a:gd name="T117" fmla="*/ 372 h 935"/>
                  <a:gd name="T118" fmla="*/ 18 w 477"/>
                  <a:gd name="T119" fmla="*/ 353 h 935"/>
                  <a:gd name="T120" fmla="*/ 3 w 477"/>
                  <a:gd name="T121" fmla="*/ 349 h 935"/>
                  <a:gd name="T122" fmla="*/ 20 w 477"/>
                  <a:gd name="T123" fmla="*/ 267 h 9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477" h="935">
                    <a:moveTo>
                      <a:pt x="20" y="267"/>
                    </a:moveTo>
                    <a:cubicBezTo>
                      <a:pt x="21" y="265"/>
                      <a:pt x="22" y="263"/>
                      <a:pt x="23" y="260"/>
                    </a:cubicBezTo>
                    <a:cubicBezTo>
                      <a:pt x="29" y="240"/>
                      <a:pt x="31" y="213"/>
                      <a:pt x="49" y="199"/>
                    </a:cubicBezTo>
                    <a:cubicBezTo>
                      <a:pt x="60" y="192"/>
                      <a:pt x="72" y="184"/>
                      <a:pt x="83" y="178"/>
                    </a:cubicBezTo>
                    <a:cubicBezTo>
                      <a:pt x="98" y="169"/>
                      <a:pt x="112" y="157"/>
                      <a:pt x="126" y="147"/>
                    </a:cubicBezTo>
                    <a:cubicBezTo>
                      <a:pt x="149" y="134"/>
                      <a:pt x="174" y="120"/>
                      <a:pt x="197" y="105"/>
                    </a:cubicBezTo>
                    <a:cubicBezTo>
                      <a:pt x="205" y="99"/>
                      <a:pt x="214" y="92"/>
                      <a:pt x="223" y="86"/>
                    </a:cubicBezTo>
                    <a:cubicBezTo>
                      <a:pt x="227" y="83"/>
                      <a:pt x="232" y="80"/>
                      <a:pt x="236" y="76"/>
                    </a:cubicBezTo>
                    <a:cubicBezTo>
                      <a:pt x="258" y="63"/>
                      <a:pt x="277" y="45"/>
                      <a:pt x="297" y="28"/>
                    </a:cubicBezTo>
                    <a:cubicBezTo>
                      <a:pt x="300" y="25"/>
                      <a:pt x="303" y="23"/>
                      <a:pt x="306" y="20"/>
                    </a:cubicBezTo>
                    <a:cubicBezTo>
                      <a:pt x="312" y="14"/>
                      <a:pt x="318" y="8"/>
                      <a:pt x="326" y="3"/>
                    </a:cubicBezTo>
                    <a:cubicBezTo>
                      <a:pt x="332" y="0"/>
                      <a:pt x="335" y="2"/>
                      <a:pt x="339" y="6"/>
                    </a:cubicBezTo>
                    <a:cubicBezTo>
                      <a:pt x="347" y="13"/>
                      <a:pt x="354" y="22"/>
                      <a:pt x="361" y="30"/>
                    </a:cubicBezTo>
                    <a:cubicBezTo>
                      <a:pt x="364" y="34"/>
                      <a:pt x="368" y="39"/>
                      <a:pt x="368" y="44"/>
                    </a:cubicBezTo>
                    <a:cubicBezTo>
                      <a:pt x="368" y="44"/>
                      <a:pt x="368" y="44"/>
                      <a:pt x="368" y="44"/>
                    </a:cubicBezTo>
                    <a:cubicBezTo>
                      <a:pt x="366" y="47"/>
                      <a:pt x="364" y="51"/>
                      <a:pt x="361" y="55"/>
                    </a:cubicBezTo>
                    <a:cubicBezTo>
                      <a:pt x="356" y="59"/>
                      <a:pt x="351" y="63"/>
                      <a:pt x="346" y="69"/>
                    </a:cubicBezTo>
                    <a:cubicBezTo>
                      <a:pt x="340" y="75"/>
                      <a:pt x="333" y="80"/>
                      <a:pt x="325" y="85"/>
                    </a:cubicBezTo>
                    <a:cubicBezTo>
                      <a:pt x="321" y="88"/>
                      <a:pt x="317" y="91"/>
                      <a:pt x="312" y="94"/>
                    </a:cubicBezTo>
                    <a:cubicBezTo>
                      <a:pt x="298" y="103"/>
                      <a:pt x="284" y="112"/>
                      <a:pt x="269" y="121"/>
                    </a:cubicBezTo>
                    <a:cubicBezTo>
                      <a:pt x="272" y="125"/>
                      <a:pt x="272" y="125"/>
                      <a:pt x="272" y="125"/>
                    </a:cubicBezTo>
                    <a:cubicBezTo>
                      <a:pt x="266" y="134"/>
                      <a:pt x="262" y="144"/>
                      <a:pt x="259" y="155"/>
                    </a:cubicBezTo>
                    <a:cubicBezTo>
                      <a:pt x="255" y="163"/>
                      <a:pt x="251" y="175"/>
                      <a:pt x="251" y="186"/>
                    </a:cubicBezTo>
                    <a:cubicBezTo>
                      <a:pt x="253" y="207"/>
                      <a:pt x="260" y="229"/>
                      <a:pt x="268" y="249"/>
                    </a:cubicBezTo>
                    <a:cubicBezTo>
                      <a:pt x="276" y="267"/>
                      <a:pt x="285" y="285"/>
                      <a:pt x="295" y="301"/>
                    </a:cubicBezTo>
                    <a:cubicBezTo>
                      <a:pt x="302" y="310"/>
                      <a:pt x="309" y="318"/>
                      <a:pt x="317" y="325"/>
                    </a:cubicBezTo>
                    <a:cubicBezTo>
                      <a:pt x="321" y="330"/>
                      <a:pt x="327" y="333"/>
                      <a:pt x="332" y="337"/>
                    </a:cubicBezTo>
                    <a:cubicBezTo>
                      <a:pt x="335" y="339"/>
                      <a:pt x="339" y="340"/>
                      <a:pt x="343" y="341"/>
                    </a:cubicBezTo>
                    <a:cubicBezTo>
                      <a:pt x="348" y="338"/>
                      <a:pt x="352" y="333"/>
                      <a:pt x="355" y="329"/>
                    </a:cubicBezTo>
                    <a:cubicBezTo>
                      <a:pt x="359" y="325"/>
                      <a:pt x="364" y="321"/>
                      <a:pt x="369" y="315"/>
                    </a:cubicBezTo>
                    <a:cubicBezTo>
                      <a:pt x="373" y="309"/>
                      <a:pt x="380" y="304"/>
                      <a:pt x="384" y="297"/>
                    </a:cubicBezTo>
                    <a:cubicBezTo>
                      <a:pt x="383" y="296"/>
                      <a:pt x="383" y="296"/>
                      <a:pt x="383" y="296"/>
                    </a:cubicBezTo>
                    <a:cubicBezTo>
                      <a:pt x="386" y="294"/>
                      <a:pt x="388" y="292"/>
                      <a:pt x="391" y="290"/>
                    </a:cubicBezTo>
                    <a:cubicBezTo>
                      <a:pt x="392" y="292"/>
                      <a:pt x="392" y="292"/>
                      <a:pt x="392" y="292"/>
                    </a:cubicBezTo>
                    <a:cubicBezTo>
                      <a:pt x="396" y="296"/>
                      <a:pt x="407" y="301"/>
                      <a:pt x="407" y="307"/>
                    </a:cubicBezTo>
                    <a:cubicBezTo>
                      <a:pt x="407" y="308"/>
                      <a:pt x="407" y="308"/>
                      <a:pt x="407" y="308"/>
                    </a:cubicBezTo>
                    <a:cubicBezTo>
                      <a:pt x="407" y="308"/>
                      <a:pt x="406" y="308"/>
                      <a:pt x="406" y="309"/>
                    </a:cubicBezTo>
                    <a:cubicBezTo>
                      <a:pt x="406" y="310"/>
                      <a:pt x="406" y="310"/>
                      <a:pt x="406" y="310"/>
                    </a:cubicBezTo>
                    <a:cubicBezTo>
                      <a:pt x="407" y="309"/>
                      <a:pt x="407" y="309"/>
                      <a:pt x="407" y="308"/>
                    </a:cubicBezTo>
                    <a:cubicBezTo>
                      <a:pt x="407" y="308"/>
                      <a:pt x="408" y="309"/>
                      <a:pt x="408" y="310"/>
                    </a:cubicBezTo>
                    <a:cubicBezTo>
                      <a:pt x="409" y="314"/>
                      <a:pt x="409" y="320"/>
                      <a:pt x="409" y="325"/>
                    </a:cubicBezTo>
                    <a:cubicBezTo>
                      <a:pt x="409" y="334"/>
                      <a:pt x="411" y="342"/>
                      <a:pt x="403" y="347"/>
                    </a:cubicBezTo>
                    <a:cubicBezTo>
                      <a:pt x="392" y="354"/>
                      <a:pt x="383" y="361"/>
                      <a:pt x="375" y="371"/>
                    </a:cubicBezTo>
                    <a:cubicBezTo>
                      <a:pt x="370" y="376"/>
                      <a:pt x="366" y="380"/>
                      <a:pt x="362" y="381"/>
                    </a:cubicBezTo>
                    <a:cubicBezTo>
                      <a:pt x="361" y="382"/>
                      <a:pt x="359" y="382"/>
                      <a:pt x="358" y="382"/>
                    </a:cubicBezTo>
                    <a:cubicBezTo>
                      <a:pt x="355" y="383"/>
                      <a:pt x="352" y="383"/>
                      <a:pt x="348" y="382"/>
                    </a:cubicBezTo>
                    <a:cubicBezTo>
                      <a:pt x="327" y="378"/>
                      <a:pt x="301" y="369"/>
                      <a:pt x="280" y="384"/>
                    </a:cubicBezTo>
                    <a:cubicBezTo>
                      <a:pt x="258" y="400"/>
                      <a:pt x="258" y="433"/>
                      <a:pt x="260" y="459"/>
                    </a:cubicBezTo>
                    <a:cubicBezTo>
                      <a:pt x="261" y="466"/>
                      <a:pt x="261" y="475"/>
                      <a:pt x="264" y="484"/>
                    </a:cubicBezTo>
                    <a:cubicBezTo>
                      <a:pt x="268" y="500"/>
                      <a:pt x="281" y="509"/>
                      <a:pt x="296" y="516"/>
                    </a:cubicBezTo>
                    <a:cubicBezTo>
                      <a:pt x="296" y="517"/>
                      <a:pt x="296" y="517"/>
                      <a:pt x="296" y="517"/>
                    </a:cubicBezTo>
                    <a:cubicBezTo>
                      <a:pt x="311" y="523"/>
                      <a:pt x="326" y="522"/>
                      <a:pt x="341" y="514"/>
                    </a:cubicBezTo>
                    <a:cubicBezTo>
                      <a:pt x="349" y="511"/>
                      <a:pt x="356" y="505"/>
                      <a:pt x="362" y="498"/>
                    </a:cubicBezTo>
                    <a:cubicBezTo>
                      <a:pt x="362" y="498"/>
                      <a:pt x="362" y="498"/>
                      <a:pt x="362" y="498"/>
                    </a:cubicBezTo>
                    <a:cubicBezTo>
                      <a:pt x="368" y="492"/>
                      <a:pt x="376" y="485"/>
                      <a:pt x="378" y="477"/>
                    </a:cubicBezTo>
                    <a:cubicBezTo>
                      <a:pt x="379" y="476"/>
                      <a:pt x="379" y="474"/>
                      <a:pt x="379" y="472"/>
                    </a:cubicBezTo>
                    <a:cubicBezTo>
                      <a:pt x="380" y="475"/>
                      <a:pt x="383" y="475"/>
                      <a:pt x="385" y="480"/>
                    </a:cubicBezTo>
                    <a:cubicBezTo>
                      <a:pt x="387" y="482"/>
                      <a:pt x="387" y="485"/>
                      <a:pt x="387" y="488"/>
                    </a:cubicBezTo>
                    <a:cubicBezTo>
                      <a:pt x="389" y="488"/>
                      <a:pt x="389" y="488"/>
                      <a:pt x="389" y="488"/>
                    </a:cubicBezTo>
                    <a:cubicBezTo>
                      <a:pt x="389" y="493"/>
                      <a:pt x="393" y="499"/>
                      <a:pt x="393" y="505"/>
                    </a:cubicBezTo>
                    <a:cubicBezTo>
                      <a:pt x="393" y="512"/>
                      <a:pt x="387" y="517"/>
                      <a:pt x="383" y="521"/>
                    </a:cubicBezTo>
                    <a:cubicBezTo>
                      <a:pt x="381" y="523"/>
                      <a:pt x="380" y="525"/>
                      <a:pt x="378" y="527"/>
                    </a:cubicBezTo>
                    <a:cubicBezTo>
                      <a:pt x="373" y="534"/>
                      <a:pt x="367" y="540"/>
                      <a:pt x="359" y="544"/>
                    </a:cubicBezTo>
                    <a:cubicBezTo>
                      <a:pt x="353" y="549"/>
                      <a:pt x="345" y="551"/>
                      <a:pt x="338" y="554"/>
                    </a:cubicBezTo>
                    <a:cubicBezTo>
                      <a:pt x="330" y="558"/>
                      <a:pt x="321" y="558"/>
                      <a:pt x="312" y="562"/>
                    </a:cubicBezTo>
                    <a:cubicBezTo>
                      <a:pt x="307" y="563"/>
                      <a:pt x="298" y="566"/>
                      <a:pt x="292" y="567"/>
                    </a:cubicBezTo>
                    <a:cubicBezTo>
                      <a:pt x="279" y="570"/>
                      <a:pt x="278" y="585"/>
                      <a:pt x="274" y="595"/>
                    </a:cubicBezTo>
                    <a:cubicBezTo>
                      <a:pt x="268" y="615"/>
                      <a:pt x="278" y="637"/>
                      <a:pt x="285" y="656"/>
                    </a:cubicBezTo>
                    <a:cubicBezTo>
                      <a:pt x="283" y="657"/>
                      <a:pt x="283" y="657"/>
                      <a:pt x="283" y="657"/>
                    </a:cubicBezTo>
                    <a:cubicBezTo>
                      <a:pt x="288" y="666"/>
                      <a:pt x="293" y="676"/>
                      <a:pt x="298" y="685"/>
                    </a:cubicBezTo>
                    <a:cubicBezTo>
                      <a:pt x="303" y="693"/>
                      <a:pt x="312" y="703"/>
                      <a:pt x="322" y="707"/>
                    </a:cubicBezTo>
                    <a:cubicBezTo>
                      <a:pt x="331" y="710"/>
                      <a:pt x="340" y="707"/>
                      <a:pt x="348" y="705"/>
                    </a:cubicBezTo>
                    <a:cubicBezTo>
                      <a:pt x="346" y="693"/>
                      <a:pt x="346" y="693"/>
                      <a:pt x="346" y="693"/>
                    </a:cubicBezTo>
                    <a:cubicBezTo>
                      <a:pt x="350" y="692"/>
                      <a:pt x="354" y="691"/>
                      <a:pt x="357" y="691"/>
                    </a:cubicBezTo>
                    <a:cubicBezTo>
                      <a:pt x="364" y="689"/>
                      <a:pt x="374" y="685"/>
                      <a:pt x="379" y="680"/>
                    </a:cubicBezTo>
                    <a:cubicBezTo>
                      <a:pt x="388" y="671"/>
                      <a:pt x="397" y="661"/>
                      <a:pt x="402" y="649"/>
                    </a:cubicBezTo>
                    <a:cubicBezTo>
                      <a:pt x="402" y="648"/>
                      <a:pt x="403" y="646"/>
                      <a:pt x="403" y="645"/>
                    </a:cubicBezTo>
                    <a:cubicBezTo>
                      <a:pt x="406" y="644"/>
                      <a:pt x="406" y="644"/>
                      <a:pt x="406" y="644"/>
                    </a:cubicBezTo>
                    <a:cubicBezTo>
                      <a:pt x="408" y="647"/>
                      <a:pt x="415" y="648"/>
                      <a:pt x="416" y="653"/>
                    </a:cubicBezTo>
                    <a:cubicBezTo>
                      <a:pt x="417" y="652"/>
                      <a:pt x="417" y="652"/>
                      <a:pt x="417" y="652"/>
                    </a:cubicBezTo>
                    <a:cubicBezTo>
                      <a:pt x="420" y="662"/>
                      <a:pt x="422" y="672"/>
                      <a:pt x="417" y="682"/>
                    </a:cubicBezTo>
                    <a:cubicBezTo>
                      <a:pt x="416" y="684"/>
                      <a:pt x="415" y="686"/>
                      <a:pt x="414" y="688"/>
                    </a:cubicBezTo>
                    <a:cubicBezTo>
                      <a:pt x="408" y="696"/>
                      <a:pt x="400" y="704"/>
                      <a:pt x="393" y="710"/>
                    </a:cubicBezTo>
                    <a:cubicBezTo>
                      <a:pt x="381" y="719"/>
                      <a:pt x="368" y="721"/>
                      <a:pt x="355" y="725"/>
                    </a:cubicBezTo>
                    <a:cubicBezTo>
                      <a:pt x="342" y="729"/>
                      <a:pt x="327" y="734"/>
                      <a:pt x="322" y="748"/>
                    </a:cubicBezTo>
                    <a:cubicBezTo>
                      <a:pt x="312" y="772"/>
                      <a:pt x="325" y="799"/>
                      <a:pt x="337" y="820"/>
                    </a:cubicBezTo>
                    <a:cubicBezTo>
                      <a:pt x="348" y="842"/>
                      <a:pt x="371" y="869"/>
                      <a:pt x="398" y="860"/>
                    </a:cubicBezTo>
                    <a:cubicBezTo>
                      <a:pt x="411" y="856"/>
                      <a:pt x="423" y="848"/>
                      <a:pt x="433" y="839"/>
                    </a:cubicBezTo>
                    <a:cubicBezTo>
                      <a:pt x="437" y="836"/>
                      <a:pt x="440" y="833"/>
                      <a:pt x="443" y="830"/>
                    </a:cubicBezTo>
                    <a:cubicBezTo>
                      <a:pt x="449" y="824"/>
                      <a:pt x="454" y="817"/>
                      <a:pt x="459" y="808"/>
                    </a:cubicBezTo>
                    <a:cubicBezTo>
                      <a:pt x="468" y="808"/>
                      <a:pt x="468" y="808"/>
                      <a:pt x="468" y="808"/>
                    </a:cubicBezTo>
                    <a:cubicBezTo>
                      <a:pt x="469" y="809"/>
                      <a:pt x="470" y="811"/>
                      <a:pt x="469" y="815"/>
                    </a:cubicBezTo>
                    <a:cubicBezTo>
                      <a:pt x="468" y="816"/>
                      <a:pt x="468" y="816"/>
                      <a:pt x="468" y="816"/>
                    </a:cubicBezTo>
                    <a:cubicBezTo>
                      <a:pt x="471" y="817"/>
                      <a:pt x="471" y="817"/>
                      <a:pt x="471" y="817"/>
                    </a:cubicBezTo>
                    <a:cubicBezTo>
                      <a:pt x="471" y="822"/>
                      <a:pt x="475" y="826"/>
                      <a:pt x="476" y="830"/>
                    </a:cubicBezTo>
                    <a:cubicBezTo>
                      <a:pt x="477" y="834"/>
                      <a:pt x="477" y="839"/>
                      <a:pt x="477" y="843"/>
                    </a:cubicBezTo>
                    <a:cubicBezTo>
                      <a:pt x="476" y="850"/>
                      <a:pt x="473" y="857"/>
                      <a:pt x="468" y="863"/>
                    </a:cubicBezTo>
                    <a:cubicBezTo>
                      <a:pt x="463" y="872"/>
                      <a:pt x="454" y="879"/>
                      <a:pt x="447" y="887"/>
                    </a:cubicBezTo>
                    <a:cubicBezTo>
                      <a:pt x="442" y="893"/>
                      <a:pt x="436" y="898"/>
                      <a:pt x="429" y="902"/>
                    </a:cubicBezTo>
                    <a:cubicBezTo>
                      <a:pt x="425" y="905"/>
                      <a:pt x="420" y="907"/>
                      <a:pt x="415" y="909"/>
                    </a:cubicBezTo>
                    <a:cubicBezTo>
                      <a:pt x="398" y="915"/>
                      <a:pt x="379" y="923"/>
                      <a:pt x="361" y="925"/>
                    </a:cubicBezTo>
                    <a:cubicBezTo>
                      <a:pt x="336" y="930"/>
                      <a:pt x="311" y="935"/>
                      <a:pt x="284" y="934"/>
                    </a:cubicBezTo>
                    <a:cubicBezTo>
                      <a:pt x="275" y="934"/>
                      <a:pt x="265" y="933"/>
                      <a:pt x="256" y="931"/>
                    </a:cubicBezTo>
                    <a:cubicBezTo>
                      <a:pt x="256" y="931"/>
                      <a:pt x="256" y="931"/>
                      <a:pt x="256" y="931"/>
                    </a:cubicBezTo>
                    <a:cubicBezTo>
                      <a:pt x="243" y="928"/>
                      <a:pt x="231" y="922"/>
                      <a:pt x="219" y="915"/>
                    </a:cubicBezTo>
                    <a:cubicBezTo>
                      <a:pt x="214" y="913"/>
                      <a:pt x="214" y="913"/>
                      <a:pt x="214" y="913"/>
                    </a:cubicBezTo>
                    <a:cubicBezTo>
                      <a:pt x="207" y="907"/>
                      <a:pt x="201" y="901"/>
                      <a:pt x="195" y="894"/>
                    </a:cubicBezTo>
                    <a:cubicBezTo>
                      <a:pt x="185" y="884"/>
                      <a:pt x="177" y="873"/>
                      <a:pt x="169" y="862"/>
                    </a:cubicBezTo>
                    <a:cubicBezTo>
                      <a:pt x="152" y="841"/>
                      <a:pt x="142" y="817"/>
                      <a:pt x="133" y="793"/>
                    </a:cubicBezTo>
                    <a:cubicBezTo>
                      <a:pt x="124" y="771"/>
                      <a:pt x="116" y="749"/>
                      <a:pt x="109" y="728"/>
                    </a:cubicBezTo>
                    <a:cubicBezTo>
                      <a:pt x="103" y="711"/>
                      <a:pt x="97" y="695"/>
                      <a:pt x="93" y="679"/>
                    </a:cubicBezTo>
                    <a:cubicBezTo>
                      <a:pt x="91" y="670"/>
                      <a:pt x="90" y="660"/>
                      <a:pt x="88" y="651"/>
                    </a:cubicBezTo>
                    <a:cubicBezTo>
                      <a:pt x="85" y="633"/>
                      <a:pt x="81" y="612"/>
                      <a:pt x="78" y="594"/>
                    </a:cubicBezTo>
                    <a:cubicBezTo>
                      <a:pt x="76" y="584"/>
                      <a:pt x="75" y="574"/>
                      <a:pt x="74" y="564"/>
                    </a:cubicBezTo>
                    <a:cubicBezTo>
                      <a:pt x="92" y="563"/>
                      <a:pt x="92" y="563"/>
                      <a:pt x="92" y="563"/>
                    </a:cubicBezTo>
                    <a:cubicBezTo>
                      <a:pt x="92" y="536"/>
                      <a:pt x="94" y="509"/>
                      <a:pt x="95" y="483"/>
                    </a:cubicBezTo>
                    <a:cubicBezTo>
                      <a:pt x="95" y="455"/>
                      <a:pt x="97" y="426"/>
                      <a:pt x="84" y="402"/>
                    </a:cubicBezTo>
                    <a:cubicBezTo>
                      <a:pt x="80" y="392"/>
                      <a:pt x="75" y="381"/>
                      <a:pt x="68" y="372"/>
                    </a:cubicBezTo>
                    <a:cubicBezTo>
                      <a:pt x="59" y="363"/>
                      <a:pt x="45" y="362"/>
                      <a:pt x="35" y="358"/>
                    </a:cubicBezTo>
                    <a:cubicBezTo>
                      <a:pt x="28" y="355"/>
                      <a:pt x="24" y="354"/>
                      <a:pt x="18" y="353"/>
                    </a:cubicBezTo>
                    <a:cubicBezTo>
                      <a:pt x="17" y="353"/>
                      <a:pt x="17" y="353"/>
                      <a:pt x="17" y="353"/>
                    </a:cubicBezTo>
                    <a:cubicBezTo>
                      <a:pt x="12" y="353"/>
                      <a:pt x="7" y="353"/>
                      <a:pt x="3" y="349"/>
                    </a:cubicBezTo>
                    <a:cubicBezTo>
                      <a:pt x="0" y="344"/>
                      <a:pt x="1" y="341"/>
                      <a:pt x="2" y="336"/>
                    </a:cubicBezTo>
                    <a:cubicBezTo>
                      <a:pt x="6" y="312"/>
                      <a:pt x="12" y="290"/>
                      <a:pt x="20" y="267"/>
                    </a:cubicBezTo>
                    <a:close/>
                  </a:path>
                </a:pathLst>
              </a:custGeom>
              <a:solidFill>
                <a:srgbClr val="21AAD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667" name="Freeform 214">
                <a:extLst>
                  <a:ext uri="{FF2B5EF4-FFF2-40B4-BE49-F238E27FC236}">
                    <a16:creationId xmlns:a16="http://schemas.microsoft.com/office/drawing/2014/main" id="{8A932560-3B0A-4EF5-B8C5-387CC1680DC4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7172" y="2914"/>
                <a:ext cx="85" cy="121"/>
              </a:xfrm>
              <a:custGeom>
                <a:avLst/>
                <a:gdLst>
                  <a:gd name="T0" fmla="*/ 35 w 80"/>
                  <a:gd name="T1" fmla="*/ 90 h 114"/>
                  <a:gd name="T2" fmla="*/ 21 w 80"/>
                  <a:gd name="T3" fmla="*/ 70 h 114"/>
                  <a:gd name="T4" fmla="*/ 6 w 80"/>
                  <a:gd name="T5" fmla="*/ 21 h 114"/>
                  <a:gd name="T6" fmla="*/ 0 w 80"/>
                  <a:gd name="T7" fmla="*/ 20 h 114"/>
                  <a:gd name="T8" fmla="*/ 8 w 80"/>
                  <a:gd name="T9" fmla="*/ 13 h 114"/>
                  <a:gd name="T10" fmla="*/ 24 w 80"/>
                  <a:gd name="T11" fmla="*/ 0 h 114"/>
                  <a:gd name="T12" fmla="*/ 39 w 80"/>
                  <a:gd name="T13" fmla="*/ 50 h 114"/>
                  <a:gd name="T14" fmla="*/ 58 w 80"/>
                  <a:gd name="T15" fmla="*/ 70 h 114"/>
                  <a:gd name="T16" fmla="*/ 64 w 80"/>
                  <a:gd name="T17" fmla="*/ 82 h 114"/>
                  <a:gd name="T18" fmla="*/ 64 w 80"/>
                  <a:gd name="T19" fmla="*/ 82 h 114"/>
                  <a:gd name="T20" fmla="*/ 66 w 80"/>
                  <a:gd name="T21" fmla="*/ 82 h 114"/>
                  <a:gd name="T22" fmla="*/ 74 w 80"/>
                  <a:gd name="T23" fmla="*/ 88 h 114"/>
                  <a:gd name="T24" fmla="*/ 80 w 80"/>
                  <a:gd name="T25" fmla="*/ 92 h 114"/>
                  <a:gd name="T26" fmla="*/ 71 w 80"/>
                  <a:gd name="T27" fmla="*/ 92 h 114"/>
                  <a:gd name="T28" fmla="*/ 55 w 80"/>
                  <a:gd name="T29" fmla="*/ 114 h 114"/>
                  <a:gd name="T30" fmla="*/ 51 w 80"/>
                  <a:gd name="T31" fmla="*/ 114 h 114"/>
                  <a:gd name="T32" fmla="*/ 43 w 80"/>
                  <a:gd name="T33" fmla="*/ 99 h 114"/>
                  <a:gd name="T34" fmla="*/ 42 w 80"/>
                  <a:gd name="T35" fmla="*/ 98 h 114"/>
                  <a:gd name="T36" fmla="*/ 41 w 80"/>
                  <a:gd name="T37" fmla="*/ 96 h 114"/>
                  <a:gd name="T38" fmla="*/ 35 w 80"/>
                  <a:gd name="T39" fmla="*/ 90 h 1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80" h="114">
                    <a:moveTo>
                      <a:pt x="35" y="90"/>
                    </a:moveTo>
                    <a:cubicBezTo>
                      <a:pt x="30" y="83"/>
                      <a:pt x="24" y="77"/>
                      <a:pt x="21" y="70"/>
                    </a:cubicBezTo>
                    <a:cubicBezTo>
                      <a:pt x="11" y="56"/>
                      <a:pt x="5" y="39"/>
                      <a:pt x="6" y="21"/>
                    </a:cubicBezTo>
                    <a:cubicBezTo>
                      <a:pt x="0" y="20"/>
                      <a:pt x="0" y="20"/>
                      <a:pt x="0" y="20"/>
                    </a:cubicBezTo>
                    <a:cubicBezTo>
                      <a:pt x="2" y="18"/>
                      <a:pt x="5" y="15"/>
                      <a:pt x="8" y="13"/>
                    </a:cubicBezTo>
                    <a:cubicBezTo>
                      <a:pt x="14" y="9"/>
                      <a:pt x="20" y="5"/>
                      <a:pt x="24" y="0"/>
                    </a:cubicBezTo>
                    <a:cubicBezTo>
                      <a:pt x="22" y="18"/>
                      <a:pt x="30" y="37"/>
                      <a:pt x="39" y="50"/>
                    </a:cubicBezTo>
                    <a:cubicBezTo>
                      <a:pt x="44" y="58"/>
                      <a:pt x="51" y="64"/>
                      <a:pt x="58" y="70"/>
                    </a:cubicBezTo>
                    <a:cubicBezTo>
                      <a:pt x="61" y="73"/>
                      <a:pt x="64" y="78"/>
                      <a:pt x="64" y="82"/>
                    </a:cubicBezTo>
                    <a:cubicBezTo>
                      <a:pt x="64" y="82"/>
                      <a:pt x="64" y="82"/>
                      <a:pt x="64" y="82"/>
                    </a:cubicBezTo>
                    <a:cubicBezTo>
                      <a:pt x="66" y="82"/>
                      <a:pt x="66" y="82"/>
                      <a:pt x="66" y="82"/>
                    </a:cubicBezTo>
                    <a:cubicBezTo>
                      <a:pt x="69" y="82"/>
                      <a:pt x="73" y="85"/>
                      <a:pt x="74" y="88"/>
                    </a:cubicBezTo>
                    <a:cubicBezTo>
                      <a:pt x="77" y="89"/>
                      <a:pt x="79" y="90"/>
                      <a:pt x="80" y="92"/>
                    </a:cubicBezTo>
                    <a:cubicBezTo>
                      <a:pt x="71" y="92"/>
                      <a:pt x="71" y="92"/>
                      <a:pt x="71" y="92"/>
                    </a:cubicBezTo>
                    <a:cubicBezTo>
                      <a:pt x="66" y="101"/>
                      <a:pt x="61" y="108"/>
                      <a:pt x="55" y="114"/>
                    </a:cubicBezTo>
                    <a:cubicBezTo>
                      <a:pt x="51" y="114"/>
                      <a:pt x="51" y="114"/>
                      <a:pt x="51" y="114"/>
                    </a:cubicBezTo>
                    <a:cubicBezTo>
                      <a:pt x="48" y="109"/>
                      <a:pt x="47" y="103"/>
                      <a:pt x="43" y="99"/>
                    </a:cubicBezTo>
                    <a:cubicBezTo>
                      <a:pt x="43" y="99"/>
                      <a:pt x="42" y="98"/>
                      <a:pt x="42" y="98"/>
                    </a:cubicBezTo>
                    <a:cubicBezTo>
                      <a:pt x="41" y="96"/>
                      <a:pt x="41" y="96"/>
                      <a:pt x="41" y="96"/>
                    </a:cubicBezTo>
                    <a:cubicBezTo>
                      <a:pt x="39" y="94"/>
                      <a:pt x="37" y="93"/>
                      <a:pt x="35" y="90"/>
                    </a:cubicBezTo>
                    <a:close/>
                  </a:path>
                </a:pathLst>
              </a:custGeom>
              <a:solidFill>
                <a:srgbClr val="E840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668" name="Freeform 215">
                <a:extLst>
                  <a:ext uri="{FF2B5EF4-FFF2-40B4-BE49-F238E27FC236}">
                    <a16:creationId xmlns:a16="http://schemas.microsoft.com/office/drawing/2014/main" id="{6020BE63-8E02-4019-9876-AF6C12029F15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7092" y="2885"/>
                <a:ext cx="139" cy="191"/>
              </a:xfrm>
              <a:custGeom>
                <a:avLst/>
                <a:gdLst>
                  <a:gd name="T0" fmla="*/ 86 w 131"/>
                  <a:gd name="T1" fmla="*/ 172 h 181"/>
                  <a:gd name="T2" fmla="*/ 25 w 131"/>
                  <a:gd name="T3" fmla="*/ 132 h 181"/>
                  <a:gd name="T4" fmla="*/ 10 w 131"/>
                  <a:gd name="T5" fmla="*/ 60 h 181"/>
                  <a:gd name="T6" fmla="*/ 43 w 131"/>
                  <a:gd name="T7" fmla="*/ 37 h 181"/>
                  <a:gd name="T8" fmla="*/ 81 w 131"/>
                  <a:gd name="T9" fmla="*/ 22 h 181"/>
                  <a:gd name="T10" fmla="*/ 102 w 131"/>
                  <a:gd name="T11" fmla="*/ 0 h 181"/>
                  <a:gd name="T12" fmla="*/ 103 w 131"/>
                  <a:gd name="T13" fmla="*/ 22 h 181"/>
                  <a:gd name="T14" fmla="*/ 100 w 131"/>
                  <a:gd name="T15" fmla="*/ 28 h 181"/>
                  <a:gd name="T16" fmla="*/ 84 w 131"/>
                  <a:gd name="T17" fmla="*/ 41 h 181"/>
                  <a:gd name="T18" fmla="*/ 76 w 131"/>
                  <a:gd name="T19" fmla="*/ 48 h 181"/>
                  <a:gd name="T20" fmla="*/ 82 w 131"/>
                  <a:gd name="T21" fmla="*/ 49 h 181"/>
                  <a:gd name="T22" fmla="*/ 97 w 131"/>
                  <a:gd name="T23" fmla="*/ 98 h 181"/>
                  <a:gd name="T24" fmla="*/ 111 w 131"/>
                  <a:gd name="T25" fmla="*/ 118 h 181"/>
                  <a:gd name="T26" fmla="*/ 117 w 131"/>
                  <a:gd name="T27" fmla="*/ 124 h 181"/>
                  <a:gd name="T28" fmla="*/ 118 w 131"/>
                  <a:gd name="T29" fmla="*/ 126 h 181"/>
                  <a:gd name="T30" fmla="*/ 119 w 131"/>
                  <a:gd name="T31" fmla="*/ 127 h 181"/>
                  <a:gd name="T32" fmla="*/ 127 w 131"/>
                  <a:gd name="T33" fmla="*/ 142 h 181"/>
                  <a:gd name="T34" fmla="*/ 131 w 131"/>
                  <a:gd name="T35" fmla="*/ 142 h 181"/>
                  <a:gd name="T36" fmla="*/ 121 w 131"/>
                  <a:gd name="T37" fmla="*/ 151 h 181"/>
                  <a:gd name="T38" fmla="*/ 86 w 131"/>
                  <a:gd name="T39" fmla="*/ 172 h 1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131" h="181">
                    <a:moveTo>
                      <a:pt x="86" y="172"/>
                    </a:moveTo>
                    <a:cubicBezTo>
                      <a:pt x="59" y="181"/>
                      <a:pt x="36" y="154"/>
                      <a:pt x="25" y="132"/>
                    </a:cubicBezTo>
                    <a:cubicBezTo>
                      <a:pt x="13" y="111"/>
                      <a:pt x="0" y="84"/>
                      <a:pt x="10" y="60"/>
                    </a:cubicBezTo>
                    <a:cubicBezTo>
                      <a:pt x="15" y="46"/>
                      <a:pt x="30" y="41"/>
                      <a:pt x="43" y="37"/>
                    </a:cubicBezTo>
                    <a:cubicBezTo>
                      <a:pt x="56" y="33"/>
                      <a:pt x="69" y="31"/>
                      <a:pt x="81" y="22"/>
                    </a:cubicBezTo>
                    <a:cubicBezTo>
                      <a:pt x="88" y="16"/>
                      <a:pt x="96" y="8"/>
                      <a:pt x="102" y="0"/>
                    </a:cubicBezTo>
                    <a:cubicBezTo>
                      <a:pt x="104" y="7"/>
                      <a:pt x="105" y="14"/>
                      <a:pt x="103" y="22"/>
                    </a:cubicBezTo>
                    <a:cubicBezTo>
                      <a:pt x="102" y="24"/>
                      <a:pt x="101" y="26"/>
                      <a:pt x="100" y="28"/>
                    </a:cubicBezTo>
                    <a:cubicBezTo>
                      <a:pt x="96" y="33"/>
                      <a:pt x="90" y="37"/>
                      <a:pt x="84" y="41"/>
                    </a:cubicBezTo>
                    <a:cubicBezTo>
                      <a:pt x="81" y="43"/>
                      <a:pt x="78" y="46"/>
                      <a:pt x="76" y="48"/>
                    </a:cubicBezTo>
                    <a:cubicBezTo>
                      <a:pt x="82" y="49"/>
                      <a:pt x="82" y="49"/>
                      <a:pt x="82" y="49"/>
                    </a:cubicBezTo>
                    <a:cubicBezTo>
                      <a:pt x="81" y="67"/>
                      <a:pt x="87" y="84"/>
                      <a:pt x="97" y="98"/>
                    </a:cubicBezTo>
                    <a:cubicBezTo>
                      <a:pt x="100" y="105"/>
                      <a:pt x="106" y="111"/>
                      <a:pt x="111" y="118"/>
                    </a:cubicBezTo>
                    <a:cubicBezTo>
                      <a:pt x="113" y="121"/>
                      <a:pt x="115" y="122"/>
                      <a:pt x="117" y="124"/>
                    </a:cubicBezTo>
                    <a:cubicBezTo>
                      <a:pt x="118" y="126"/>
                      <a:pt x="118" y="126"/>
                      <a:pt x="118" y="126"/>
                    </a:cubicBezTo>
                    <a:cubicBezTo>
                      <a:pt x="118" y="126"/>
                      <a:pt x="119" y="127"/>
                      <a:pt x="119" y="127"/>
                    </a:cubicBezTo>
                    <a:cubicBezTo>
                      <a:pt x="123" y="131"/>
                      <a:pt x="124" y="137"/>
                      <a:pt x="127" y="142"/>
                    </a:cubicBezTo>
                    <a:cubicBezTo>
                      <a:pt x="131" y="142"/>
                      <a:pt x="131" y="142"/>
                      <a:pt x="131" y="142"/>
                    </a:cubicBezTo>
                    <a:cubicBezTo>
                      <a:pt x="128" y="145"/>
                      <a:pt x="125" y="148"/>
                      <a:pt x="121" y="151"/>
                    </a:cubicBezTo>
                    <a:cubicBezTo>
                      <a:pt x="111" y="160"/>
                      <a:pt x="99" y="168"/>
                      <a:pt x="86" y="172"/>
                    </a:cubicBezTo>
                    <a:close/>
                  </a:path>
                </a:pathLst>
              </a:custGeom>
              <a:solidFill>
                <a:srgbClr val="E840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669" name="Freeform 216">
                <a:extLst>
                  <a:ext uri="{FF2B5EF4-FFF2-40B4-BE49-F238E27FC236}">
                    <a16:creationId xmlns:a16="http://schemas.microsoft.com/office/drawing/2014/main" id="{40FFD49B-64B7-461E-ACE2-AD58C08D79FE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7123" y="2560"/>
                <a:ext cx="40" cy="124"/>
              </a:xfrm>
              <a:custGeom>
                <a:avLst/>
                <a:gdLst>
                  <a:gd name="T0" fmla="*/ 0 w 38"/>
                  <a:gd name="T1" fmla="*/ 54 h 117"/>
                  <a:gd name="T2" fmla="*/ 9 w 38"/>
                  <a:gd name="T3" fmla="*/ 21 h 117"/>
                  <a:gd name="T4" fmla="*/ 17 w 38"/>
                  <a:gd name="T5" fmla="*/ 3 h 117"/>
                  <a:gd name="T6" fmla="*/ 17 w 38"/>
                  <a:gd name="T7" fmla="*/ 1 h 117"/>
                  <a:gd name="T8" fmla="*/ 21 w 38"/>
                  <a:gd name="T9" fmla="*/ 0 h 117"/>
                  <a:gd name="T10" fmla="*/ 21 w 38"/>
                  <a:gd name="T11" fmla="*/ 1 h 117"/>
                  <a:gd name="T12" fmla="*/ 22 w 38"/>
                  <a:gd name="T13" fmla="*/ 47 h 117"/>
                  <a:gd name="T14" fmla="*/ 31 w 38"/>
                  <a:gd name="T15" fmla="*/ 70 h 117"/>
                  <a:gd name="T16" fmla="*/ 38 w 38"/>
                  <a:gd name="T17" fmla="*/ 91 h 117"/>
                  <a:gd name="T18" fmla="*/ 37 w 38"/>
                  <a:gd name="T19" fmla="*/ 96 h 117"/>
                  <a:gd name="T20" fmla="*/ 21 w 38"/>
                  <a:gd name="T21" fmla="*/ 117 h 117"/>
                  <a:gd name="T22" fmla="*/ 20 w 38"/>
                  <a:gd name="T23" fmla="*/ 116 h 117"/>
                  <a:gd name="T24" fmla="*/ 8 w 38"/>
                  <a:gd name="T25" fmla="*/ 83 h 117"/>
                  <a:gd name="T26" fmla="*/ 0 w 38"/>
                  <a:gd name="T27" fmla="*/ 54 h 1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38" h="117">
                    <a:moveTo>
                      <a:pt x="0" y="54"/>
                    </a:moveTo>
                    <a:cubicBezTo>
                      <a:pt x="1" y="43"/>
                      <a:pt x="4" y="32"/>
                      <a:pt x="9" y="21"/>
                    </a:cubicBezTo>
                    <a:cubicBezTo>
                      <a:pt x="12" y="15"/>
                      <a:pt x="16" y="10"/>
                      <a:pt x="17" y="3"/>
                    </a:cubicBezTo>
                    <a:cubicBezTo>
                      <a:pt x="17" y="1"/>
                      <a:pt x="17" y="1"/>
                      <a:pt x="17" y="1"/>
                    </a:cubicBezTo>
                    <a:cubicBezTo>
                      <a:pt x="18" y="1"/>
                      <a:pt x="20" y="1"/>
                      <a:pt x="21" y="0"/>
                    </a:cubicBezTo>
                    <a:cubicBezTo>
                      <a:pt x="21" y="1"/>
                      <a:pt x="21" y="1"/>
                      <a:pt x="21" y="1"/>
                    </a:cubicBezTo>
                    <a:cubicBezTo>
                      <a:pt x="20" y="17"/>
                      <a:pt x="18" y="33"/>
                      <a:pt x="22" y="47"/>
                    </a:cubicBezTo>
                    <a:cubicBezTo>
                      <a:pt x="24" y="56"/>
                      <a:pt x="27" y="63"/>
                      <a:pt x="31" y="70"/>
                    </a:cubicBezTo>
                    <a:cubicBezTo>
                      <a:pt x="34" y="77"/>
                      <a:pt x="38" y="84"/>
                      <a:pt x="38" y="91"/>
                    </a:cubicBezTo>
                    <a:cubicBezTo>
                      <a:pt x="38" y="93"/>
                      <a:pt x="38" y="95"/>
                      <a:pt x="37" y="96"/>
                    </a:cubicBezTo>
                    <a:cubicBezTo>
                      <a:pt x="35" y="104"/>
                      <a:pt x="27" y="111"/>
                      <a:pt x="21" y="117"/>
                    </a:cubicBezTo>
                    <a:cubicBezTo>
                      <a:pt x="20" y="116"/>
                      <a:pt x="20" y="116"/>
                      <a:pt x="20" y="116"/>
                    </a:cubicBezTo>
                    <a:cubicBezTo>
                      <a:pt x="24" y="106"/>
                      <a:pt x="11" y="92"/>
                      <a:pt x="8" y="83"/>
                    </a:cubicBezTo>
                    <a:cubicBezTo>
                      <a:pt x="2" y="75"/>
                      <a:pt x="0" y="64"/>
                      <a:pt x="0" y="54"/>
                    </a:cubicBezTo>
                    <a:close/>
                  </a:path>
                </a:pathLst>
              </a:custGeom>
              <a:solidFill>
                <a:srgbClr val="E840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670" name="Freeform 217">
                <a:extLst>
                  <a:ext uri="{FF2B5EF4-FFF2-40B4-BE49-F238E27FC236}">
                    <a16:creationId xmlns:a16="http://schemas.microsoft.com/office/drawing/2014/main" id="{84A1C609-418B-402D-B66D-FAFEF4F82FBC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7045" y="2714"/>
                <a:ext cx="143" cy="194"/>
              </a:xfrm>
              <a:custGeom>
                <a:avLst/>
                <a:gdLst>
                  <a:gd name="T0" fmla="*/ 30 w 135"/>
                  <a:gd name="T1" fmla="*/ 158 h 183"/>
                  <a:gd name="T2" fmla="*/ 15 w 135"/>
                  <a:gd name="T3" fmla="*/ 130 h 183"/>
                  <a:gd name="T4" fmla="*/ 17 w 135"/>
                  <a:gd name="T5" fmla="*/ 129 h 183"/>
                  <a:gd name="T6" fmla="*/ 6 w 135"/>
                  <a:gd name="T7" fmla="*/ 68 h 183"/>
                  <a:gd name="T8" fmla="*/ 24 w 135"/>
                  <a:gd name="T9" fmla="*/ 40 h 183"/>
                  <a:gd name="T10" fmla="*/ 44 w 135"/>
                  <a:gd name="T11" fmla="*/ 35 h 183"/>
                  <a:gd name="T12" fmla="*/ 70 w 135"/>
                  <a:gd name="T13" fmla="*/ 27 h 183"/>
                  <a:gd name="T14" fmla="*/ 91 w 135"/>
                  <a:gd name="T15" fmla="*/ 17 h 183"/>
                  <a:gd name="T16" fmla="*/ 110 w 135"/>
                  <a:gd name="T17" fmla="*/ 0 h 183"/>
                  <a:gd name="T18" fmla="*/ 109 w 135"/>
                  <a:gd name="T19" fmla="*/ 9 h 183"/>
                  <a:gd name="T20" fmla="*/ 109 w 135"/>
                  <a:gd name="T21" fmla="*/ 10 h 183"/>
                  <a:gd name="T22" fmla="*/ 108 w 135"/>
                  <a:gd name="T23" fmla="*/ 17 h 183"/>
                  <a:gd name="T24" fmla="*/ 105 w 135"/>
                  <a:gd name="T25" fmla="*/ 34 h 183"/>
                  <a:gd name="T26" fmla="*/ 114 w 135"/>
                  <a:gd name="T27" fmla="*/ 72 h 183"/>
                  <a:gd name="T28" fmla="*/ 124 w 135"/>
                  <a:gd name="T29" fmla="*/ 88 h 183"/>
                  <a:gd name="T30" fmla="*/ 132 w 135"/>
                  <a:gd name="T31" fmla="*/ 99 h 183"/>
                  <a:gd name="T32" fmla="*/ 133 w 135"/>
                  <a:gd name="T33" fmla="*/ 122 h 183"/>
                  <a:gd name="T34" fmla="*/ 134 w 135"/>
                  <a:gd name="T35" fmla="*/ 122 h 183"/>
                  <a:gd name="T36" fmla="*/ 111 w 135"/>
                  <a:gd name="T37" fmla="*/ 153 h 183"/>
                  <a:gd name="T38" fmla="*/ 89 w 135"/>
                  <a:gd name="T39" fmla="*/ 164 h 183"/>
                  <a:gd name="T40" fmla="*/ 78 w 135"/>
                  <a:gd name="T41" fmla="*/ 166 h 183"/>
                  <a:gd name="T42" fmla="*/ 80 w 135"/>
                  <a:gd name="T43" fmla="*/ 178 h 183"/>
                  <a:gd name="T44" fmla="*/ 54 w 135"/>
                  <a:gd name="T45" fmla="*/ 180 h 183"/>
                  <a:gd name="T46" fmla="*/ 30 w 135"/>
                  <a:gd name="T47" fmla="*/ 158 h 1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135" h="183">
                    <a:moveTo>
                      <a:pt x="30" y="158"/>
                    </a:moveTo>
                    <a:cubicBezTo>
                      <a:pt x="25" y="149"/>
                      <a:pt x="20" y="139"/>
                      <a:pt x="15" y="130"/>
                    </a:cubicBezTo>
                    <a:cubicBezTo>
                      <a:pt x="17" y="129"/>
                      <a:pt x="17" y="129"/>
                      <a:pt x="17" y="129"/>
                    </a:cubicBezTo>
                    <a:cubicBezTo>
                      <a:pt x="10" y="110"/>
                      <a:pt x="0" y="88"/>
                      <a:pt x="6" y="68"/>
                    </a:cubicBezTo>
                    <a:cubicBezTo>
                      <a:pt x="10" y="58"/>
                      <a:pt x="11" y="43"/>
                      <a:pt x="24" y="40"/>
                    </a:cubicBezTo>
                    <a:cubicBezTo>
                      <a:pt x="30" y="39"/>
                      <a:pt x="39" y="36"/>
                      <a:pt x="44" y="35"/>
                    </a:cubicBezTo>
                    <a:cubicBezTo>
                      <a:pt x="53" y="31"/>
                      <a:pt x="62" y="31"/>
                      <a:pt x="70" y="27"/>
                    </a:cubicBezTo>
                    <a:cubicBezTo>
                      <a:pt x="77" y="24"/>
                      <a:pt x="85" y="22"/>
                      <a:pt x="91" y="17"/>
                    </a:cubicBezTo>
                    <a:cubicBezTo>
                      <a:pt x="99" y="13"/>
                      <a:pt x="105" y="7"/>
                      <a:pt x="110" y="0"/>
                    </a:cubicBezTo>
                    <a:cubicBezTo>
                      <a:pt x="111" y="3"/>
                      <a:pt x="110" y="6"/>
                      <a:pt x="109" y="9"/>
                    </a:cubicBezTo>
                    <a:cubicBezTo>
                      <a:pt x="109" y="10"/>
                      <a:pt x="109" y="10"/>
                      <a:pt x="109" y="10"/>
                    </a:cubicBezTo>
                    <a:cubicBezTo>
                      <a:pt x="109" y="12"/>
                      <a:pt x="108" y="15"/>
                      <a:pt x="108" y="17"/>
                    </a:cubicBezTo>
                    <a:cubicBezTo>
                      <a:pt x="107" y="23"/>
                      <a:pt x="105" y="28"/>
                      <a:pt x="105" y="34"/>
                    </a:cubicBezTo>
                    <a:cubicBezTo>
                      <a:pt x="104" y="48"/>
                      <a:pt x="108" y="59"/>
                      <a:pt x="114" y="72"/>
                    </a:cubicBezTo>
                    <a:cubicBezTo>
                      <a:pt x="117" y="77"/>
                      <a:pt x="120" y="83"/>
                      <a:pt x="124" y="88"/>
                    </a:cubicBezTo>
                    <a:cubicBezTo>
                      <a:pt x="127" y="92"/>
                      <a:pt x="131" y="94"/>
                      <a:pt x="132" y="99"/>
                    </a:cubicBezTo>
                    <a:cubicBezTo>
                      <a:pt x="135" y="105"/>
                      <a:pt x="134" y="113"/>
                      <a:pt x="133" y="122"/>
                    </a:cubicBezTo>
                    <a:cubicBezTo>
                      <a:pt x="134" y="122"/>
                      <a:pt x="134" y="122"/>
                      <a:pt x="134" y="122"/>
                    </a:cubicBezTo>
                    <a:cubicBezTo>
                      <a:pt x="129" y="134"/>
                      <a:pt x="120" y="144"/>
                      <a:pt x="111" y="153"/>
                    </a:cubicBezTo>
                    <a:cubicBezTo>
                      <a:pt x="106" y="158"/>
                      <a:pt x="96" y="162"/>
                      <a:pt x="89" y="164"/>
                    </a:cubicBezTo>
                    <a:cubicBezTo>
                      <a:pt x="86" y="164"/>
                      <a:pt x="82" y="165"/>
                      <a:pt x="78" y="166"/>
                    </a:cubicBezTo>
                    <a:cubicBezTo>
                      <a:pt x="80" y="178"/>
                      <a:pt x="80" y="178"/>
                      <a:pt x="80" y="178"/>
                    </a:cubicBezTo>
                    <a:cubicBezTo>
                      <a:pt x="72" y="180"/>
                      <a:pt x="63" y="183"/>
                      <a:pt x="54" y="180"/>
                    </a:cubicBezTo>
                    <a:cubicBezTo>
                      <a:pt x="44" y="176"/>
                      <a:pt x="35" y="166"/>
                      <a:pt x="30" y="158"/>
                    </a:cubicBezTo>
                    <a:close/>
                  </a:path>
                </a:pathLst>
              </a:custGeom>
              <a:solidFill>
                <a:srgbClr val="E840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671" name="Freeform 218">
                <a:extLst>
                  <a:ext uri="{FF2B5EF4-FFF2-40B4-BE49-F238E27FC236}">
                    <a16:creationId xmlns:a16="http://schemas.microsoft.com/office/drawing/2014/main" id="{C912F82F-85E6-4B10-B4E2-25A908645CF7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7035" y="2547"/>
                <a:ext cx="113" cy="163"/>
              </a:xfrm>
              <a:custGeom>
                <a:avLst/>
                <a:gdLst>
                  <a:gd name="T0" fmla="*/ 38 w 107"/>
                  <a:gd name="T1" fmla="*/ 147 h 154"/>
                  <a:gd name="T2" fmla="*/ 6 w 107"/>
                  <a:gd name="T3" fmla="*/ 115 h 154"/>
                  <a:gd name="T4" fmla="*/ 2 w 107"/>
                  <a:gd name="T5" fmla="*/ 90 h 154"/>
                  <a:gd name="T6" fmla="*/ 22 w 107"/>
                  <a:gd name="T7" fmla="*/ 15 h 154"/>
                  <a:gd name="T8" fmla="*/ 90 w 107"/>
                  <a:gd name="T9" fmla="*/ 13 h 154"/>
                  <a:gd name="T10" fmla="*/ 100 w 107"/>
                  <a:gd name="T11" fmla="*/ 13 h 154"/>
                  <a:gd name="T12" fmla="*/ 100 w 107"/>
                  <a:gd name="T13" fmla="*/ 15 h 154"/>
                  <a:gd name="T14" fmla="*/ 92 w 107"/>
                  <a:gd name="T15" fmla="*/ 33 h 154"/>
                  <a:gd name="T16" fmla="*/ 83 w 107"/>
                  <a:gd name="T17" fmla="*/ 66 h 154"/>
                  <a:gd name="T18" fmla="*/ 91 w 107"/>
                  <a:gd name="T19" fmla="*/ 95 h 154"/>
                  <a:gd name="T20" fmla="*/ 103 w 107"/>
                  <a:gd name="T21" fmla="*/ 128 h 154"/>
                  <a:gd name="T22" fmla="*/ 104 w 107"/>
                  <a:gd name="T23" fmla="*/ 129 h 154"/>
                  <a:gd name="T24" fmla="*/ 104 w 107"/>
                  <a:gd name="T25" fmla="*/ 129 h 154"/>
                  <a:gd name="T26" fmla="*/ 83 w 107"/>
                  <a:gd name="T27" fmla="*/ 145 h 154"/>
                  <a:gd name="T28" fmla="*/ 38 w 107"/>
                  <a:gd name="T29" fmla="*/ 148 h 154"/>
                  <a:gd name="T30" fmla="*/ 38 w 107"/>
                  <a:gd name="T31" fmla="*/ 147 h 1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107" h="154">
                    <a:moveTo>
                      <a:pt x="38" y="147"/>
                    </a:moveTo>
                    <a:cubicBezTo>
                      <a:pt x="23" y="140"/>
                      <a:pt x="10" y="131"/>
                      <a:pt x="6" y="115"/>
                    </a:cubicBezTo>
                    <a:cubicBezTo>
                      <a:pt x="3" y="106"/>
                      <a:pt x="3" y="97"/>
                      <a:pt x="2" y="90"/>
                    </a:cubicBezTo>
                    <a:cubicBezTo>
                      <a:pt x="0" y="64"/>
                      <a:pt x="0" y="31"/>
                      <a:pt x="22" y="15"/>
                    </a:cubicBezTo>
                    <a:cubicBezTo>
                      <a:pt x="43" y="0"/>
                      <a:pt x="69" y="9"/>
                      <a:pt x="90" y="13"/>
                    </a:cubicBezTo>
                    <a:cubicBezTo>
                      <a:pt x="94" y="14"/>
                      <a:pt x="97" y="14"/>
                      <a:pt x="100" y="13"/>
                    </a:cubicBezTo>
                    <a:cubicBezTo>
                      <a:pt x="100" y="15"/>
                      <a:pt x="100" y="15"/>
                      <a:pt x="100" y="15"/>
                    </a:cubicBezTo>
                    <a:cubicBezTo>
                      <a:pt x="99" y="22"/>
                      <a:pt x="95" y="27"/>
                      <a:pt x="92" y="33"/>
                    </a:cubicBezTo>
                    <a:cubicBezTo>
                      <a:pt x="87" y="44"/>
                      <a:pt x="84" y="55"/>
                      <a:pt x="83" y="66"/>
                    </a:cubicBezTo>
                    <a:cubicBezTo>
                      <a:pt x="83" y="76"/>
                      <a:pt x="85" y="87"/>
                      <a:pt x="91" y="95"/>
                    </a:cubicBezTo>
                    <a:cubicBezTo>
                      <a:pt x="94" y="104"/>
                      <a:pt x="107" y="118"/>
                      <a:pt x="103" y="128"/>
                    </a:cubicBezTo>
                    <a:cubicBezTo>
                      <a:pt x="104" y="129"/>
                      <a:pt x="104" y="129"/>
                      <a:pt x="104" y="129"/>
                    </a:cubicBezTo>
                    <a:cubicBezTo>
                      <a:pt x="104" y="129"/>
                      <a:pt x="104" y="129"/>
                      <a:pt x="104" y="129"/>
                    </a:cubicBezTo>
                    <a:cubicBezTo>
                      <a:pt x="98" y="136"/>
                      <a:pt x="91" y="142"/>
                      <a:pt x="83" y="145"/>
                    </a:cubicBezTo>
                    <a:cubicBezTo>
                      <a:pt x="68" y="153"/>
                      <a:pt x="53" y="154"/>
                      <a:pt x="38" y="148"/>
                    </a:cubicBezTo>
                    <a:lnTo>
                      <a:pt x="38" y="147"/>
                    </a:lnTo>
                    <a:close/>
                  </a:path>
                </a:pathLst>
              </a:custGeom>
              <a:solidFill>
                <a:srgbClr val="E840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672" name="Freeform 219">
                <a:extLst>
                  <a:ext uri="{FF2B5EF4-FFF2-40B4-BE49-F238E27FC236}">
                    <a16:creationId xmlns:a16="http://schemas.microsoft.com/office/drawing/2014/main" id="{213A3C9A-4756-490E-9F78-1212F513A3EF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7027" y="2256"/>
                <a:ext cx="186" cy="261"/>
              </a:xfrm>
              <a:custGeom>
                <a:avLst/>
                <a:gdLst>
                  <a:gd name="T0" fmla="*/ 18 w 175"/>
                  <a:gd name="T1" fmla="*/ 27 h 247"/>
                  <a:gd name="T2" fmla="*/ 61 w 175"/>
                  <a:gd name="T3" fmla="*/ 0 h 247"/>
                  <a:gd name="T4" fmla="*/ 63 w 175"/>
                  <a:gd name="T5" fmla="*/ 3 h 247"/>
                  <a:gd name="T6" fmla="*/ 65 w 175"/>
                  <a:gd name="T7" fmla="*/ 18 h 247"/>
                  <a:gd name="T8" fmla="*/ 76 w 175"/>
                  <a:gd name="T9" fmla="*/ 48 h 247"/>
                  <a:gd name="T10" fmla="*/ 100 w 175"/>
                  <a:gd name="T11" fmla="*/ 94 h 247"/>
                  <a:gd name="T12" fmla="*/ 123 w 175"/>
                  <a:gd name="T13" fmla="*/ 125 h 247"/>
                  <a:gd name="T14" fmla="*/ 136 w 175"/>
                  <a:gd name="T15" fmla="*/ 140 h 247"/>
                  <a:gd name="T16" fmla="*/ 150 w 175"/>
                  <a:gd name="T17" fmla="*/ 150 h 247"/>
                  <a:gd name="T18" fmla="*/ 150 w 175"/>
                  <a:gd name="T19" fmla="*/ 152 h 247"/>
                  <a:gd name="T20" fmla="*/ 158 w 175"/>
                  <a:gd name="T21" fmla="*/ 152 h 247"/>
                  <a:gd name="T22" fmla="*/ 175 w 175"/>
                  <a:gd name="T23" fmla="*/ 163 h 247"/>
                  <a:gd name="T24" fmla="*/ 173 w 175"/>
                  <a:gd name="T25" fmla="*/ 164 h 247"/>
                  <a:gd name="T26" fmla="*/ 140 w 175"/>
                  <a:gd name="T27" fmla="*/ 196 h 247"/>
                  <a:gd name="T28" fmla="*/ 132 w 175"/>
                  <a:gd name="T29" fmla="*/ 202 h 247"/>
                  <a:gd name="T30" fmla="*/ 133 w 175"/>
                  <a:gd name="T31" fmla="*/ 203 h 247"/>
                  <a:gd name="T32" fmla="*/ 118 w 175"/>
                  <a:gd name="T33" fmla="*/ 221 h 247"/>
                  <a:gd name="T34" fmla="*/ 104 w 175"/>
                  <a:gd name="T35" fmla="*/ 235 h 247"/>
                  <a:gd name="T36" fmla="*/ 92 w 175"/>
                  <a:gd name="T37" fmla="*/ 247 h 247"/>
                  <a:gd name="T38" fmla="*/ 81 w 175"/>
                  <a:gd name="T39" fmla="*/ 243 h 247"/>
                  <a:gd name="T40" fmla="*/ 66 w 175"/>
                  <a:gd name="T41" fmla="*/ 231 h 247"/>
                  <a:gd name="T42" fmla="*/ 44 w 175"/>
                  <a:gd name="T43" fmla="*/ 207 h 247"/>
                  <a:gd name="T44" fmla="*/ 17 w 175"/>
                  <a:gd name="T45" fmla="*/ 155 h 247"/>
                  <a:gd name="T46" fmla="*/ 0 w 175"/>
                  <a:gd name="T47" fmla="*/ 92 h 247"/>
                  <a:gd name="T48" fmla="*/ 8 w 175"/>
                  <a:gd name="T49" fmla="*/ 61 h 247"/>
                  <a:gd name="T50" fmla="*/ 21 w 175"/>
                  <a:gd name="T51" fmla="*/ 31 h 247"/>
                  <a:gd name="T52" fmla="*/ 18 w 175"/>
                  <a:gd name="T53" fmla="*/ 27 h 2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175" h="247">
                    <a:moveTo>
                      <a:pt x="18" y="27"/>
                    </a:moveTo>
                    <a:cubicBezTo>
                      <a:pt x="33" y="18"/>
                      <a:pt x="47" y="9"/>
                      <a:pt x="61" y="0"/>
                    </a:cubicBezTo>
                    <a:cubicBezTo>
                      <a:pt x="63" y="3"/>
                      <a:pt x="63" y="3"/>
                      <a:pt x="63" y="3"/>
                    </a:cubicBezTo>
                    <a:cubicBezTo>
                      <a:pt x="61" y="7"/>
                      <a:pt x="65" y="15"/>
                      <a:pt x="65" y="18"/>
                    </a:cubicBezTo>
                    <a:cubicBezTo>
                      <a:pt x="68" y="28"/>
                      <a:pt x="72" y="38"/>
                      <a:pt x="76" y="48"/>
                    </a:cubicBezTo>
                    <a:cubicBezTo>
                      <a:pt x="83" y="64"/>
                      <a:pt x="90" y="79"/>
                      <a:pt x="100" y="94"/>
                    </a:cubicBezTo>
                    <a:cubicBezTo>
                      <a:pt x="107" y="104"/>
                      <a:pt x="116" y="116"/>
                      <a:pt x="123" y="125"/>
                    </a:cubicBezTo>
                    <a:cubicBezTo>
                      <a:pt x="128" y="130"/>
                      <a:pt x="132" y="135"/>
                      <a:pt x="136" y="140"/>
                    </a:cubicBezTo>
                    <a:cubicBezTo>
                      <a:pt x="140" y="144"/>
                      <a:pt x="146" y="149"/>
                      <a:pt x="150" y="150"/>
                    </a:cubicBezTo>
                    <a:cubicBezTo>
                      <a:pt x="150" y="152"/>
                      <a:pt x="150" y="152"/>
                      <a:pt x="150" y="152"/>
                    </a:cubicBezTo>
                    <a:cubicBezTo>
                      <a:pt x="151" y="154"/>
                      <a:pt x="155" y="151"/>
                      <a:pt x="158" y="152"/>
                    </a:cubicBezTo>
                    <a:cubicBezTo>
                      <a:pt x="164" y="152"/>
                      <a:pt x="171" y="156"/>
                      <a:pt x="175" y="163"/>
                    </a:cubicBezTo>
                    <a:cubicBezTo>
                      <a:pt x="173" y="164"/>
                      <a:pt x="173" y="164"/>
                      <a:pt x="173" y="164"/>
                    </a:cubicBezTo>
                    <a:cubicBezTo>
                      <a:pt x="165" y="177"/>
                      <a:pt x="152" y="187"/>
                      <a:pt x="140" y="196"/>
                    </a:cubicBezTo>
                    <a:cubicBezTo>
                      <a:pt x="137" y="198"/>
                      <a:pt x="135" y="200"/>
                      <a:pt x="132" y="202"/>
                    </a:cubicBezTo>
                    <a:cubicBezTo>
                      <a:pt x="133" y="203"/>
                      <a:pt x="133" y="203"/>
                      <a:pt x="133" y="203"/>
                    </a:cubicBezTo>
                    <a:cubicBezTo>
                      <a:pt x="129" y="210"/>
                      <a:pt x="122" y="215"/>
                      <a:pt x="118" y="221"/>
                    </a:cubicBezTo>
                    <a:cubicBezTo>
                      <a:pt x="113" y="227"/>
                      <a:pt x="108" y="231"/>
                      <a:pt x="104" y="235"/>
                    </a:cubicBezTo>
                    <a:cubicBezTo>
                      <a:pt x="101" y="239"/>
                      <a:pt x="97" y="244"/>
                      <a:pt x="92" y="247"/>
                    </a:cubicBezTo>
                    <a:cubicBezTo>
                      <a:pt x="88" y="246"/>
                      <a:pt x="84" y="245"/>
                      <a:pt x="81" y="243"/>
                    </a:cubicBezTo>
                    <a:cubicBezTo>
                      <a:pt x="76" y="239"/>
                      <a:pt x="70" y="236"/>
                      <a:pt x="66" y="231"/>
                    </a:cubicBezTo>
                    <a:cubicBezTo>
                      <a:pt x="58" y="224"/>
                      <a:pt x="51" y="216"/>
                      <a:pt x="44" y="207"/>
                    </a:cubicBezTo>
                    <a:cubicBezTo>
                      <a:pt x="34" y="191"/>
                      <a:pt x="25" y="173"/>
                      <a:pt x="17" y="155"/>
                    </a:cubicBezTo>
                    <a:cubicBezTo>
                      <a:pt x="9" y="135"/>
                      <a:pt x="2" y="113"/>
                      <a:pt x="0" y="92"/>
                    </a:cubicBezTo>
                    <a:cubicBezTo>
                      <a:pt x="0" y="81"/>
                      <a:pt x="4" y="69"/>
                      <a:pt x="8" y="61"/>
                    </a:cubicBezTo>
                    <a:cubicBezTo>
                      <a:pt x="11" y="50"/>
                      <a:pt x="15" y="40"/>
                      <a:pt x="21" y="31"/>
                    </a:cubicBezTo>
                    <a:lnTo>
                      <a:pt x="18" y="27"/>
                    </a:lnTo>
                    <a:close/>
                  </a:path>
                </a:pathLst>
              </a:custGeom>
              <a:solidFill>
                <a:srgbClr val="E840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673" name="Freeform 220">
                <a:extLst>
                  <a:ext uri="{FF2B5EF4-FFF2-40B4-BE49-F238E27FC236}">
                    <a16:creationId xmlns:a16="http://schemas.microsoft.com/office/drawing/2014/main" id="{320DA233-CE49-43EC-A741-CC55D71D5D02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765" y="2208"/>
                <a:ext cx="233" cy="231"/>
              </a:xfrm>
              <a:custGeom>
                <a:avLst/>
                <a:gdLst>
                  <a:gd name="T0" fmla="*/ 1 w 219"/>
                  <a:gd name="T1" fmla="*/ 197 h 218"/>
                  <a:gd name="T2" fmla="*/ 15 w 219"/>
                  <a:gd name="T3" fmla="*/ 153 h 218"/>
                  <a:gd name="T4" fmla="*/ 25 w 219"/>
                  <a:gd name="T5" fmla="*/ 123 h 218"/>
                  <a:gd name="T6" fmla="*/ 60 w 219"/>
                  <a:gd name="T7" fmla="*/ 97 h 218"/>
                  <a:gd name="T8" fmla="*/ 63 w 219"/>
                  <a:gd name="T9" fmla="*/ 95 h 218"/>
                  <a:gd name="T10" fmla="*/ 133 w 219"/>
                  <a:gd name="T11" fmla="*/ 43 h 218"/>
                  <a:gd name="T12" fmla="*/ 164 w 219"/>
                  <a:gd name="T13" fmla="*/ 18 h 218"/>
                  <a:gd name="T14" fmla="*/ 194 w 219"/>
                  <a:gd name="T15" fmla="*/ 0 h 218"/>
                  <a:gd name="T16" fmla="*/ 196 w 219"/>
                  <a:gd name="T17" fmla="*/ 0 h 218"/>
                  <a:gd name="T18" fmla="*/ 196 w 219"/>
                  <a:gd name="T19" fmla="*/ 7 h 218"/>
                  <a:gd name="T20" fmla="*/ 212 w 219"/>
                  <a:gd name="T21" fmla="*/ 26 h 218"/>
                  <a:gd name="T22" fmla="*/ 219 w 219"/>
                  <a:gd name="T23" fmla="*/ 37 h 218"/>
                  <a:gd name="T24" fmla="*/ 193 w 219"/>
                  <a:gd name="T25" fmla="*/ 56 h 218"/>
                  <a:gd name="T26" fmla="*/ 122 w 219"/>
                  <a:gd name="T27" fmla="*/ 98 h 218"/>
                  <a:gd name="T28" fmla="*/ 79 w 219"/>
                  <a:gd name="T29" fmla="*/ 129 h 218"/>
                  <a:gd name="T30" fmla="*/ 45 w 219"/>
                  <a:gd name="T31" fmla="*/ 150 h 218"/>
                  <a:gd name="T32" fmla="*/ 19 w 219"/>
                  <a:gd name="T33" fmla="*/ 211 h 218"/>
                  <a:gd name="T34" fmla="*/ 16 w 219"/>
                  <a:gd name="T35" fmla="*/ 218 h 218"/>
                  <a:gd name="T36" fmla="*/ 5 w 219"/>
                  <a:gd name="T37" fmla="*/ 212 h 218"/>
                  <a:gd name="T38" fmla="*/ 1 w 219"/>
                  <a:gd name="T39" fmla="*/ 197 h 2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219" h="218">
                    <a:moveTo>
                      <a:pt x="1" y="197"/>
                    </a:moveTo>
                    <a:cubicBezTo>
                      <a:pt x="4" y="182"/>
                      <a:pt x="10" y="168"/>
                      <a:pt x="15" y="153"/>
                    </a:cubicBezTo>
                    <a:cubicBezTo>
                      <a:pt x="17" y="143"/>
                      <a:pt x="21" y="132"/>
                      <a:pt x="25" y="123"/>
                    </a:cubicBezTo>
                    <a:cubicBezTo>
                      <a:pt x="32" y="110"/>
                      <a:pt x="48" y="105"/>
                      <a:pt x="60" y="97"/>
                    </a:cubicBezTo>
                    <a:cubicBezTo>
                      <a:pt x="61" y="96"/>
                      <a:pt x="62" y="96"/>
                      <a:pt x="63" y="95"/>
                    </a:cubicBezTo>
                    <a:cubicBezTo>
                      <a:pt x="88" y="80"/>
                      <a:pt x="111" y="62"/>
                      <a:pt x="133" y="43"/>
                    </a:cubicBezTo>
                    <a:cubicBezTo>
                      <a:pt x="144" y="35"/>
                      <a:pt x="154" y="25"/>
                      <a:pt x="164" y="18"/>
                    </a:cubicBezTo>
                    <a:cubicBezTo>
                      <a:pt x="174" y="11"/>
                      <a:pt x="182" y="1"/>
                      <a:pt x="194" y="0"/>
                    </a:cubicBezTo>
                    <a:cubicBezTo>
                      <a:pt x="195" y="0"/>
                      <a:pt x="195" y="0"/>
                      <a:pt x="196" y="0"/>
                    </a:cubicBezTo>
                    <a:cubicBezTo>
                      <a:pt x="196" y="7"/>
                      <a:pt x="196" y="7"/>
                      <a:pt x="196" y="7"/>
                    </a:cubicBezTo>
                    <a:cubicBezTo>
                      <a:pt x="199" y="14"/>
                      <a:pt x="207" y="20"/>
                      <a:pt x="212" y="26"/>
                    </a:cubicBezTo>
                    <a:cubicBezTo>
                      <a:pt x="214" y="29"/>
                      <a:pt x="215" y="35"/>
                      <a:pt x="219" y="37"/>
                    </a:cubicBezTo>
                    <a:cubicBezTo>
                      <a:pt x="210" y="43"/>
                      <a:pt x="201" y="50"/>
                      <a:pt x="193" y="56"/>
                    </a:cubicBezTo>
                    <a:cubicBezTo>
                      <a:pt x="170" y="71"/>
                      <a:pt x="145" y="85"/>
                      <a:pt x="122" y="98"/>
                    </a:cubicBezTo>
                    <a:cubicBezTo>
                      <a:pt x="108" y="108"/>
                      <a:pt x="94" y="120"/>
                      <a:pt x="79" y="129"/>
                    </a:cubicBezTo>
                    <a:cubicBezTo>
                      <a:pt x="68" y="135"/>
                      <a:pt x="56" y="143"/>
                      <a:pt x="45" y="150"/>
                    </a:cubicBezTo>
                    <a:cubicBezTo>
                      <a:pt x="27" y="164"/>
                      <a:pt x="25" y="191"/>
                      <a:pt x="19" y="211"/>
                    </a:cubicBezTo>
                    <a:cubicBezTo>
                      <a:pt x="18" y="214"/>
                      <a:pt x="17" y="216"/>
                      <a:pt x="16" y="218"/>
                    </a:cubicBezTo>
                    <a:cubicBezTo>
                      <a:pt x="13" y="217"/>
                      <a:pt x="8" y="215"/>
                      <a:pt x="5" y="212"/>
                    </a:cubicBezTo>
                    <a:cubicBezTo>
                      <a:pt x="1" y="208"/>
                      <a:pt x="0" y="204"/>
                      <a:pt x="1" y="197"/>
                    </a:cubicBezTo>
                    <a:close/>
                  </a:path>
                </a:pathLst>
              </a:custGeom>
              <a:solidFill>
                <a:srgbClr val="E840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674" name="Freeform 221">
                <a:extLst>
                  <a:ext uri="{FF2B5EF4-FFF2-40B4-BE49-F238E27FC236}">
                    <a16:creationId xmlns:a16="http://schemas.microsoft.com/office/drawing/2014/main" id="{F2A46ADA-A8EA-4985-856E-61894A4747D1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831" y="2152"/>
                <a:ext cx="245" cy="157"/>
              </a:xfrm>
              <a:custGeom>
                <a:avLst/>
                <a:gdLst>
                  <a:gd name="T0" fmla="*/ 0 w 231"/>
                  <a:gd name="T1" fmla="*/ 146 h 148"/>
                  <a:gd name="T2" fmla="*/ 29 w 231"/>
                  <a:gd name="T3" fmla="*/ 113 h 148"/>
                  <a:gd name="T4" fmla="*/ 82 w 231"/>
                  <a:gd name="T5" fmla="*/ 78 h 148"/>
                  <a:gd name="T6" fmla="*/ 132 w 231"/>
                  <a:gd name="T7" fmla="*/ 39 h 148"/>
                  <a:gd name="T8" fmla="*/ 153 w 231"/>
                  <a:gd name="T9" fmla="*/ 23 h 148"/>
                  <a:gd name="T10" fmla="*/ 176 w 231"/>
                  <a:gd name="T11" fmla="*/ 6 h 148"/>
                  <a:gd name="T12" fmla="*/ 203 w 231"/>
                  <a:gd name="T13" fmla="*/ 6 h 148"/>
                  <a:gd name="T14" fmla="*/ 222 w 231"/>
                  <a:gd name="T15" fmla="*/ 21 h 148"/>
                  <a:gd name="T16" fmla="*/ 229 w 231"/>
                  <a:gd name="T17" fmla="*/ 30 h 148"/>
                  <a:gd name="T18" fmla="*/ 231 w 231"/>
                  <a:gd name="T19" fmla="*/ 32 h 148"/>
                  <a:gd name="T20" fmla="*/ 170 w 231"/>
                  <a:gd name="T21" fmla="*/ 80 h 148"/>
                  <a:gd name="T22" fmla="*/ 157 w 231"/>
                  <a:gd name="T23" fmla="*/ 90 h 148"/>
                  <a:gd name="T24" fmla="*/ 150 w 231"/>
                  <a:gd name="T25" fmla="*/ 79 h 148"/>
                  <a:gd name="T26" fmla="*/ 134 w 231"/>
                  <a:gd name="T27" fmla="*/ 60 h 148"/>
                  <a:gd name="T28" fmla="*/ 134 w 231"/>
                  <a:gd name="T29" fmla="*/ 53 h 148"/>
                  <a:gd name="T30" fmla="*/ 132 w 231"/>
                  <a:gd name="T31" fmla="*/ 53 h 148"/>
                  <a:gd name="T32" fmla="*/ 102 w 231"/>
                  <a:gd name="T33" fmla="*/ 71 h 148"/>
                  <a:gd name="T34" fmla="*/ 71 w 231"/>
                  <a:gd name="T35" fmla="*/ 96 h 148"/>
                  <a:gd name="T36" fmla="*/ 1 w 231"/>
                  <a:gd name="T37" fmla="*/ 148 h 148"/>
                  <a:gd name="T38" fmla="*/ 0 w 231"/>
                  <a:gd name="T39" fmla="*/ 146 h 1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231" h="148">
                    <a:moveTo>
                      <a:pt x="0" y="146"/>
                    </a:moveTo>
                    <a:cubicBezTo>
                      <a:pt x="12" y="136"/>
                      <a:pt x="16" y="121"/>
                      <a:pt x="29" y="113"/>
                    </a:cubicBezTo>
                    <a:cubicBezTo>
                      <a:pt x="48" y="100"/>
                      <a:pt x="65" y="90"/>
                      <a:pt x="82" y="78"/>
                    </a:cubicBezTo>
                    <a:cubicBezTo>
                      <a:pt x="100" y="65"/>
                      <a:pt x="116" y="52"/>
                      <a:pt x="132" y="39"/>
                    </a:cubicBezTo>
                    <a:cubicBezTo>
                      <a:pt x="140" y="34"/>
                      <a:pt x="146" y="29"/>
                      <a:pt x="153" y="23"/>
                    </a:cubicBezTo>
                    <a:cubicBezTo>
                      <a:pt x="160" y="16"/>
                      <a:pt x="166" y="10"/>
                      <a:pt x="176" y="6"/>
                    </a:cubicBezTo>
                    <a:cubicBezTo>
                      <a:pt x="186" y="2"/>
                      <a:pt x="193" y="0"/>
                      <a:pt x="203" y="6"/>
                    </a:cubicBezTo>
                    <a:cubicBezTo>
                      <a:pt x="210" y="10"/>
                      <a:pt x="216" y="16"/>
                      <a:pt x="222" y="21"/>
                    </a:cubicBezTo>
                    <a:cubicBezTo>
                      <a:pt x="224" y="23"/>
                      <a:pt x="228" y="27"/>
                      <a:pt x="229" y="30"/>
                    </a:cubicBezTo>
                    <a:cubicBezTo>
                      <a:pt x="231" y="32"/>
                      <a:pt x="231" y="32"/>
                      <a:pt x="231" y="32"/>
                    </a:cubicBezTo>
                    <a:cubicBezTo>
                      <a:pt x="211" y="49"/>
                      <a:pt x="192" y="67"/>
                      <a:pt x="170" y="80"/>
                    </a:cubicBezTo>
                    <a:cubicBezTo>
                      <a:pt x="166" y="84"/>
                      <a:pt x="161" y="87"/>
                      <a:pt x="157" y="90"/>
                    </a:cubicBezTo>
                    <a:cubicBezTo>
                      <a:pt x="153" y="88"/>
                      <a:pt x="152" y="82"/>
                      <a:pt x="150" y="79"/>
                    </a:cubicBezTo>
                    <a:cubicBezTo>
                      <a:pt x="145" y="73"/>
                      <a:pt x="137" y="67"/>
                      <a:pt x="134" y="60"/>
                    </a:cubicBezTo>
                    <a:cubicBezTo>
                      <a:pt x="134" y="53"/>
                      <a:pt x="134" y="53"/>
                      <a:pt x="134" y="53"/>
                    </a:cubicBezTo>
                    <a:cubicBezTo>
                      <a:pt x="133" y="53"/>
                      <a:pt x="133" y="53"/>
                      <a:pt x="132" y="53"/>
                    </a:cubicBezTo>
                    <a:cubicBezTo>
                      <a:pt x="120" y="54"/>
                      <a:pt x="112" y="64"/>
                      <a:pt x="102" y="71"/>
                    </a:cubicBezTo>
                    <a:cubicBezTo>
                      <a:pt x="92" y="78"/>
                      <a:pt x="82" y="88"/>
                      <a:pt x="71" y="96"/>
                    </a:cubicBezTo>
                    <a:cubicBezTo>
                      <a:pt x="49" y="115"/>
                      <a:pt x="26" y="133"/>
                      <a:pt x="1" y="148"/>
                    </a:cubicBezTo>
                    <a:lnTo>
                      <a:pt x="0" y="146"/>
                    </a:lnTo>
                    <a:close/>
                  </a:path>
                </a:pathLst>
              </a:custGeom>
              <a:solidFill>
                <a:srgbClr val="E840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675" name="Freeform 222">
                <a:extLst>
                  <a:ext uri="{FF2B5EF4-FFF2-40B4-BE49-F238E27FC236}">
                    <a16:creationId xmlns:a16="http://schemas.microsoft.com/office/drawing/2014/main" id="{1840BCD2-1A6E-41C0-916A-C7F6B80F619E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7094" y="2890"/>
                <a:ext cx="46" cy="14"/>
              </a:xfrm>
              <a:custGeom>
                <a:avLst/>
                <a:gdLst>
                  <a:gd name="T0" fmla="*/ 38 w 43"/>
                  <a:gd name="T1" fmla="*/ 2 h 13"/>
                  <a:gd name="T2" fmla="*/ 32 w 43"/>
                  <a:gd name="T3" fmla="*/ 1 h 13"/>
                  <a:gd name="T4" fmla="*/ 27 w 43"/>
                  <a:gd name="T5" fmla="*/ 2 h 13"/>
                  <a:gd name="T6" fmla="*/ 9 w 43"/>
                  <a:gd name="T7" fmla="*/ 3 h 13"/>
                  <a:gd name="T8" fmla="*/ 7 w 43"/>
                  <a:gd name="T9" fmla="*/ 13 h 13"/>
                  <a:gd name="T10" fmla="*/ 28 w 43"/>
                  <a:gd name="T11" fmla="*/ 11 h 13"/>
                  <a:gd name="T12" fmla="*/ 42 w 43"/>
                  <a:gd name="T13" fmla="*/ 6 h 13"/>
                  <a:gd name="T14" fmla="*/ 38 w 43"/>
                  <a:gd name="T15" fmla="*/ 2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43" h="13">
                    <a:moveTo>
                      <a:pt x="38" y="2"/>
                    </a:moveTo>
                    <a:cubicBezTo>
                      <a:pt x="37" y="3"/>
                      <a:pt x="33" y="1"/>
                      <a:pt x="32" y="1"/>
                    </a:cubicBezTo>
                    <a:cubicBezTo>
                      <a:pt x="30" y="1"/>
                      <a:pt x="28" y="2"/>
                      <a:pt x="27" y="2"/>
                    </a:cubicBezTo>
                    <a:cubicBezTo>
                      <a:pt x="20" y="4"/>
                      <a:pt x="16" y="5"/>
                      <a:pt x="9" y="3"/>
                    </a:cubicBezTo>
                    <a:cubicBezTo>
                      <a:pt x="2" y="1"/>
                      <a:pt x="0" y="13"/>
                      <a:pt x="7" y="13"/>
                    </a:cubicBezTo>
                    <a:cubicBezTo>
                      <a:pt x="15" y="13"/>
                      <a:pt x="21" y="13"/>
                      <a:pt x="28" y="11"/>
                    </a:cubicBezTo>
                    <a:cubicBezTo>
                      <a:pt x="33" y="9"/>
                      <a:pt x="38" y="10"/>
                      <a:pt x="42" y="6"/>
                    </a:cubicBezTo>
                    <a:cubicBezTo>
                      <a:pt x="43" y="4"/>
                      <a:pt x="41" y="0"/>
                      <a:pt x="38" y="2"/>
                    </a:cubicBezTo>
                    <a:close/>
                  </a:path>
                </a:pathLst>
              </a:custGeom>
              <a:solidFill>
                <a:srgbClr val="21AAD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676" name="Freeform 223">
                <a:extLst>
                  <a:ext uri="{FF2B5EF4-FFF2-40B4-BE49-F238E27FC236}">
                    <a16:creationId xmlns:a16="http://schemas.microsoft.com/office/drawing/2014/main" id="{F592060A-7A39-41E5-9BF3-4CB2D1388236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828" y="2207"/>
                <a:ext cx="318" cy="268"/>
              </a:xfrm>
              <a:custGeom>
                <a:avLst/>
                <a:gdLst>
                  <a:gd name="T0" fmla="*/ 297 w 300"/>
                  <a:gd name="T1" fmla="*/ 1 h 253"/>
                  <a:gd name="T2" fmla="*/ 251 w 300"/>
                  <a:gd name="T3" fmla="*/ 43 h 253"/>
                  <a:gd name="T4" fmla="*/ 207 w 300"/>
                  <a:gd name="T5" fmla="*/ 71 h 253"/>
                  <a:gd name="T6" fmla="*/ 121 w 300"/>
                  <a:gd name="T7" fmla="*/ 128 h 253"/>
                  <a:gd name="T8" fmla="*/ 48 w 300"/>
                  <a:gd name="T9" fmla="*/ 181 h 253"/>
                  <a:gd name="T10" fmla="*/ 1 w 300"/>
                  <a:gd name="T11" fmla="*/ 248 h 253"/>
                  <a:gd name="T12" fmla="*/ 7 w 300"/>
                  <a:gd name="T13" fmla="*/ 249 h 253"/>
                  <a:gd name="T14" fmla="*/ 37 w 300"/>
                  <a:gd name="T15" fmla="*/ 200 h 253"/>
                  <a:gd name="T16" fmla="*/ 73 w 300"/>
                  <a:gd name="T17" fmla="*/ 174 h 253"/>
                  <a:gd name="T18" fmla="*/ 145 w 300"/>
                  <a:gd name="T19" fmla="*/ 121 h 253"/>
                  <a:gd name="T20" fmla="*/ 231 w 300"/>
                  <a:gd name="T21" fmla="*/ 65 h 253"/>
                  <a:gd name="T22" fmla="*/ 299 w 300"/>
                  <a:gd name="T23" fmla="*/ 3 h 253"/>
                  <a:gd name="T24" fmla="*/ 297 w 300"/>
                  <a:gd name="T25" fmla="*/ 1 h 2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300" h="253">
                    <a:moveTo>
                      <a:pt x="297" y="1"/>
                    </a:moveTo>
                    <a:cubicBezTo>
                      <a:pt x="282" y="17"/>
                      <a:pt x="270" y="31"/>
                      <a:pt x="251" y="43"/>
                    </a:cubicBezTo>
                    <a:cubicBezTo>
                      <a:pt x="237" y="53"/>
                      <a:pt x="222" y="62"/>
                      <a:pt x="207" y="71"/>
                    </a:cubicBezTo>
                    <a:cubicBezTo>
                      <a:pt x="179" y="90"/>
                      <a:pt x="150" y="109"/>
                      <a:pt x="121" y="128"/>
                    </a:cubicBezTo>
                    <a:cubicBezTo>
                      <a:pt x="97" y="145"/>
                      <a:pt x="73" y="164"/>
                      <a:pt x="48" y="181"/>
                    </a:cubicBezTo>
                    <a:cubicBezTo>
                      <a:pt x="25" y="197"/>
                      <a:pt x="9" y="221"/>
                      <a:pt x="1" y="248"/>
                    </a:cubicBezTo>
                    <a:cubicBezTo>
                      <a:pt x="0" y="252"/>
                      <a:pt x="6" y="253"/>
                      <a:pt x="7" y="249"/>
                    </a:cubicBezTo>
                    <a:cubicBezTo>
                      <a:pt x="13" y="230"/>
                      <a:pt x="23" y="214"/>
                      <a:pt x="37" y="200"/>
                    </a:cubicBezTo>
                    <a:cubicBezTo>
                      <a:pt x="48" y="189"/>
                      <a:pt x="61" y="183"/>
                      <a:pt x="73" y="174"/>
                    </a:cubicBezTo>
                    <a:cubicBezTo>
                      <a:pt x="98" y="156"/>
                      <a:pt x="121" y="138"/>
                      <a:pt x="145" y="121"/>
                    </a:cubicBezTo>
                    <a:cubicBezTo>
                      <a:pt x="174" y="102"/>
                      <a:pt x="202" y="84"/>
                      <a:pt x="231" y="65"/>
                    </a:cubicBezTo>
                    <a:cubicBezTo>
                      <a:pt x="257" y="49"/>
                      <a:pt x="283" y="30"/>
                      <a:pt x="299" y="3"/>
                    </a:cubicBezTo>
                    <a:cubicBezTo>
                      <a:pt x="300" y="2"/>
                      <a:pt x="298" y="0"/>
                      <a:pt x="297" y="1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677" name="Freeform 224">
                <a:extLst>
                  <a:ext uri="{FF2B5EF4-FFF2-40B4-BE49-F238E27FC236}">
                    <a16:creationId xmlns:a16="http://schemas.microsoft.com/office/drawing/2014/main" id="{C6BB4008-C679-4632-8301-A5C4DC3A9E17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749" y="2157"/>
                <a:ext cx="394" cy="373"/>
              </a:xfrm>
              <a:custGeom>
                <a:avLst/>
                <a:gdLst>
                  <a:gd name="T0" fmla="*/ 372 w 372"/>
                  <a:gd name="T1" fmla="*/ 52 h 352"/>
                  <a:gd name="T2" fmla="*/ 342 w 372"/>
                  <a:gd name="T3" fmla="*/ 10 h 352"/>
                  <a:gd name="T4" fmla="*/ 302 w 372"/>
                  <a:gd name="T5" fmla="*/ 30 h 352"/>
                  <a:gd name="T6" fmla="*/ 172 w 372"/>
                  <a:gd name="T7" fmla="*/ 126 h 352"/>
                  <a:gd name="T8" fmla="*/ 102 w 372"/>
                  <a:gd name="T9" fmla="*/ 170 h 352"/>
                  <a:gd name="T10" fmla="*/ 42 w 372"/>
                  <a:gd name="T11" fmla="*/ 212 h 352"/>
                  <a:gd name="T12" fmla="*/ 23 w 372"/>
                  <a:gd name="T13" fmla="*/ 262 h 352"/>
                  <a:gd name="T14" fmla="*/ 1 w 372"/>
                  <a:gd name="T15" fmla="*/ 346 h 352"/>
                  <a:gd name="T16" fmla="*/ 9 w 372"/>
                  <a:gd name="T17" fmla="*/ 348 h 352"/>
                  <a:gd name="T18" fmla="*/ 25 w 372"/>
                  <a:gd name="T19" fmla="*/ 283 h 352"/>
                  <a:gd name="T20" fmla="*/ 40 w 372"/>
                  <a:gd name="T21" fmla="*/ 232 h 352"/>
                  <a:gd name="T22" fmla="*/ 88 w 372"/>
                  <a:gd name="T23" fmla="*/ 190 h 352"/>
                  <a:gd name="T24" fmla="*/ 150 w 372"/>
                  <a:gd name="T25" fmla="*/ 148 h 352"/>
                  <a:gd name="T26" fmla="*/ 253 w 372"/>
                  <a:gd name="T27" fmla="*/ 80 h 352"/>
                  <a:gd name="T28" fmla="*/ 306 w 372"/>
                  <a:gd name="T29" fmla="*/ 35 h 352"/>
                  <a:gd name="T30" fmla="*/ 349 w 372"/>
                  <a:gd name="T31" fmla="*/ 25 h 352"/>
                  <a:gd name="T32" fmla="*/ 369 w 372"/>
                  <a:gd name="T33" fmla="*/ 52 h 352"/>
                  <a:gd name="T34" fmla="*/ 372 w 372"/>
                  <a:gd name="T35" fmla="*/ 52 h 3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372" h="352">
                    <a:moveTo>
                      <a:pt x="372" y="52"/>
                    </a:moveTo>
                    <a:cubicBezTo>
                      <a:pt x="371" y="37"/>
                      <a:pt x="354" y="17"/>
                      <a:pt x="342" y="10"/>
                    </a:cubicBezTo>
                    <a:cubicBezTo>
                      <a:pt x="327" y="0"/>
                      <a:pt x="312" y="21"/>
                      <a:pt x="302" y="30"/>
                    </a:cubicBezTo>
                    <a:cubicBezTo>
                      <a:pt x="261" y="65"/>
                      <a:pt x="218" y="98"/>
                      <a:pt x="172" y="126"/>
                    </a:cubicBezTo>
                    <a:cubicBezTo>
                      <a:pt x="148" y="140"/>
                      <a:pt x="125" y="154"/>
                      <a:pt x="102" y="170"/>
                    </a:cubicBezTo>
                    <a:cubicBezTo>
                      <a:pt x="84" y="184"/>
                      <a:pt x="56" y="194"/>
                      <a:pt x="42" y="212"/>
                    </a:cubicBezTo>
                    <a:cubicBezTo>
                      <a:pt x="30" y="227"/>
                      <a:pt x="28" y="245"/>
                      <a:pt x="23" y="262"/>
                    </a:cubicBezTo>
                    <a:cubicBezTo>
                      <a:pt x="15" y="290"/>
                      <a:pt x="4" y="317"/>
                      <a:pt x="1" y="346"/>
                    </a:cubicBezTo>
                    <a:cubicBezTo>
                      <a:pt x="0" y="351"/>
                      <a:pt x="8" y="352"/>
                      <a:pt x="9" y="348"/>
                    </a:cubicBezTo>
                    <a:cubicBezTo>
                      <a:pt x="13" y="326"/>
                      <a:pt x="18" y="304"/>
                      <a:pt x="25" y="283"/>
                    </a:cubicBezTo>
                    <a:cubicBezTo>
                      <a:pt x="31" y="266"/>
                      <a:pt x="33" y="248"/>
                      <a:pt x="40" y="232"/>
                    </a:cubicBezTo>
                    <a:cubicBezTo>
                      <a:pt x="49" y="210"/>
                      <a:pt x="69" y="202"/>
                      <a:pt x="88" y="190"/>
                    </a:cubicBezTo>
                    <a:cubicBezTo>
                      <a:pt x="109" y="176"/>
                      <a:pt x="128" y="160"/>
                      <a:pt x="150" y="148"/>
                    </a:cubicBezTo>
                    <a:cubicBezTo>
                      <a:pt x="186" y="127"/>
                      <a:pt x="219" y="104"/>
                      <a:pt x="253" y="80"/>
                    </a:cubicBezTo>
                    <a:cubicBezTo>
                      <a:pt x="272" y="67"/>
                      <a:pt x="289" y="51"/>
                      <a:pt x="306" y="35"/>
                    </a:cubicBezTo>
                    <a:cubicBezTo>
                      <a:pt x="318" y="24"/>
                      <a:pt x="332" y="9"/>
                      <a:pt x="349" y="25"/>
                    </a:cubicBezTo>
                    <a:cubicBezTo>
                      <a:pt x="357" y="32"/>
                      <a:pt x="366" y="42"/>
                      <a:pt x="369" y="52"/>
                    </a:cubicBezTo>
                    <a:cubicBezTo>
                      <a:pt x="369" y="54"/>
                      <a:pt x="372" y="54"/>
                      <a:pt x="372" y="52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678" name="Freeform 225">
                <a:extLst>
                  <a:ext uri="{FF2B5EF4-FFF2-40B4-BE49-F238E27FC236}">
                    <a16:creationId xmlns:a16="http://schemas.microsoft.com/office/drawing/2014/main" id="{E3422762-2680-4AF1-B80A-0936FE4EA976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962" y="2222"/>
                <a:ext cx="28" cy="37"/>
              </a:xfrm>
              <a:custGeom>
                <a:avLst/>
                <a:gdLst>
                  <a:gd name="T0" fmla="*/ 26 w 27"/>
                  <a:gd name="T1" fmla="*/ 32 h 35"/>
                  <a:gd name="T2" fmla="*/ 21 w 27"/>
                  <a:gd name="T3" fmla="*/ 24 h 35"/>
                  <a:gd name="T4" fmla="*/ 16 w 27"/>
                  <a:gd name="T5" fmla="*/ 17 h 35"/>
                  <a:gd name="T6" fmla="*/ 3 w 27"/>
                  <a:gd name="T7" fmla="*/ 2 h 35"/>
                  <a:gd name="T8" fmla="*/ 0 w 27"/>
                  <a:gd name="T9" fmla="*/ 4 h 35"/>
                  <a:gd name="T10" fmla="*/ 13 w 27"/>
                  <a:gd name="T11" fmla="*/ 20 h 35"/>
                  <a:gd name="T12" fmla="*/ 24 w 27"/>
                  <a:gd name="T13" fmla="*/ 34 h 35"/>
                  <a:gd name="T14" fmla="*/ 26 w 27"/>
                  <a:gd name="T15" fmla="*/ 32 h 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7" h="35">
                    <a:moveTo>
                      <a:pt x="26" y="32"/>
                    </a:moveTo>
                    <a:cubicBezTo>
                      <a:pt x="23" y="30"/>
                      <a:pt x="23" y="27"/>
                      <a:pt x="21" y="24"/>
                    </a:cubicBezTo>
                    <a:cubicBezTo>
                      <a:pt x="20" y="21"/>
                      <a:pt x="18" y="19"/>
                      <a:pt x="16" y="17"/>
                    </a:cubicBezTo>
                    <a:cubicBezTo>
                      <a:pt x="12" y="12"/>
                      <a:pt x="8" y="6"/>
                      <a:pt x="3" y="2"/>
                    </a:cubicBezTo>
                    <a:cubicBezTo>
                      <a:pt x="2" y="0"/>
                      <a:pt x="0" y="2"/>
                      <a:pt x="0" y="4"/>
                    </a:cubicBezTo>
                    <a:cubicBezTo>
                      <a:pt x="1" y="10"/>
                      <a:pt x="8" y="15"/>
                      <a:pt x="13" y="20"/>
                    </a:cubicBezTo>
                    <a:cubicBezTo>
                      <a:pt x="17" y="25"/>
                      <a:pt x="19" y="31"/>
                      <a:pt x="24" y="34"/>
                    </a:cubicBezTo>
                    <a:cubicBezTo>
                      <a:pt x="26" y="35"/>
                      <a:pt x="27" y="33"/>
                      <a:pt x="26" y="32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679" name="Freeform 226">
                <a:extLst>
                  <a:ext uri="{FF2B5EF4-FFF2-40B4-BE49-F238E27FC236}">
                    <a16:creationId xmlns:a16="http://schemas.microsoft.com/office/drawing/2014/main" id="{19B416C9-F826-43DB-B552-B17F005486FF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736" y="2173"/>
                <a:ext cx="287" cy="282"/>
              </a:xfrm>
              <a:custGeom>
                <a:avLst/>
                <a:gdLst>
                  <a:gd name="T0" fmla="*/ 259 w 271"/>
                  <a:gd name="T1" fmla="*/ 2 h 266"/>
                  <a:gd name="T2" fmla="*/ 227 w 271"/>
                  <a:gd name="T3" fmla="*/ 40 h 266"/>
                  <a:gd name="T4" fmla="*/ 206 w 271"/>
                  <a:gd name="T5" fmla="*/ 41 h 266"/>
                  <a:gd name="T6" fmla="*/ 172 w 271"/>
                  <a:gd name="T7" fmla="*/ 67 h 266"/>
                  <a:gd name="T8" fmla="*/ 75 w 271"/>
                  <a:gd name="T9" fmla="*/ 138 h 266"/>
                  <a:gd name="T10" fmla="*/ 42 w 271"/>
                  <a:gd name="T11" fmla="*/ 163 h 266"/>
                  <a:gd name="T12" fmla="*/ 32 w 271"/>
                  <a:gd name="T13" fmla="*/ 189 h 266"/>
                  <a:gd name="T14" fmla="*/ 35 w 271"/>
                  <a:gd name="T15" fmla="*/ 265 h 266"/>
                  <a:gd name="T16" fmla="*/ 39 w 271"/>
                  <a:gd name="T17" fmla="*/ 258 h 266"/>
                  <a:gd name="T18" fmla="*/ 27 w 271"/>
                  <a:gd name="T19" fmla="*/ 228 h 266"/>
                  <a:gd name="T20" fmla="*/ 35 w 271"/>
                  <a:gd name="T21" fmla="*/ 203 h 266"/>
                  <a:gd name="T22" fmla="*/ 56 w 271"/>
                  <a:gd name="T23" fmla="*/ 155 h 266"/>
                  <a:gd name="T24" fmla="*/ 98 w 271"/>
                  <a:gd name="T25" fmla="*/ 129 h 266"/>
                  <a:gd name="T26" fmla="*/ 146 w 271"/>
                  <a:gd name="T27" fmla="*/ 93 h 266"/>
                  <a:gd name="T28" fmla="*/ 185 w 271"/>
                  <a:gd name="T29" fmla="*/ 62 h 266"/>
                  <a:gd name="T30" fmla="*/ 212 w 271"/>
                  <a:gd name="T31" fmla="*/ 45 h 266"/>
                  <a:gd name="T32" fmla="*/ 238 w 271"/>
                  <a:gd name="T33" fmla="*/ 42 h 266"/>
                  <a:gd name="T34" fmla="*/ 262 w 271"/>
                  <a:gd name="T35" fmla="*/ 1 h 266"/>
                  <a:gd name="T36" fmla="*/ 259 w 271"/>
                  <a:gd name="T37" fmla="*/ 2 h 2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271" h="266">
                    <a:moveTo>
                      <a:pt x="259" y="2"/>
                    </a:moveTo>
                    <a:cubicBezTo>
                      <a:pt x="266" y="24"/>
                      <a:pt x="246" y="38"/>
                      <a:pt x="227" y="40"/>
                    </a:cubicBezTo>
                    <a:cubicBezTo>
                      <a:pt x="220" y="40"/>
                      <a:pt x="213" y="39"/>
                      <a:pt x="206" y="41"/>
                    </a:cubicBezTo>
                    <a:cubicBezTo>
                      <a:pt x="194" y="46"/>
                      <a:pt x="182" y="58"/>
                      <a:pt x="172" y="67"/>
                    </a:cubicBezTo>
                    <a:cubicBezTo>
                      <a:pt x="141" y="92"/>
                      <a:pt x="110" y="118"/>
                      <a:pt x="75" y="138"/>
                    </a:cubicBezTo>
                    <a:cubicBezTo>
                      <a:pt x="63" y="146"/>
                      <a:pt x="50" y="151"/>
                      <a:pt x="42" y="163"/>
                    </a:cubicBezTo>
                    <a:cubicBezTo>
                      <a:pt x="37" y="171"/>
                      <a:pt x="34" y="180"/>
                      <a:pt x="32" y="189"/>
                    </a:cubicBezTo>
                    <a:cubicBezTo>
                      <a:pt x="24" y="214"/>
                      <a:pt x="0" y="252"/>
                      <a:pt x="35" y="265"/>
                    </a:cubicBezTo>
                    <a:cubicBezTo>
                      <a:pt x="39" y="266"/>
                      <a:pt x="42" y="261"/>
                      <a:pt x="39" y="258"/>
                    </a:cubicBezTo>
                    <a:cubicBezTo>
                      <a:pt x="27" y="250"/>
                      <a:pt x="22" y="243"/>
                      <a:pt x="27" y="228"/>
                    </a:cubicBezTo>
                    <a:cubicBezTo>
                      <a:pt x="29" y="220"/>
                      <a:pt x="32" y="211"/>
                      <a:pt x="35" y="203"/>
                    </a:cubicBezTo>
                    <a:cubicBezTo>
                      <a:pt x="41" y="187"/>
                      <a:pt x="41" y="166"/>
                      <a:pt x="56" y="155"/>
                    </a:cubicBezTo>
                    <a:cubicBezTo>
                      <a:pt x="69" y="145"/>
                      <a:pt x="84" y="138"/>
                      <a:pt x="98" y="129"/>
                    </a:cubicBezTo>
                    <a:cubicBezTo>
                      <a:pt x="114" y="118"/>
                      <a:pt x="130" y="106"/>
                      <a:pt x="146" y="93"/>
                    </a:cubicBezTo>
                    <a:cubicBezTo>
                      <a:pt x="158" y="83"/>
                      <a:pt x="172" y="72"/>
                      <a:pt x="185" y="62"/>
                    </a:cubicBezTo>
                    <a:cubicBezTo>
                      <a:pt x="193" y="54"/>
                      <a:pt x="200" y="48"/>
                      <a:pt x="212" y="45"/>
                    </a:cubicBezTo>
                    <a:cubicBezTo>
                      <a:pt x="221" y="44"/>
                      <a:pt x="229" y="44"/>
                      <a:pt x="238" y="42"/>
                    </a:cubicBezTo>
                    <a:cubicBezTo>
                      <a:pt x="256" y="36"/>
                      <a:pt x="271" y="20"/>
                      <a:pt x="262" y="1"/>
                    </a:cubicBezTo>
                    <a:cubicBezTo>
                      <a:pt x="261" y="0"/>
                      <a:pt x="259" y="1"/>
                      <a:pt x="259" y="2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680" name="Freeform 227">
                <a:extLst>
                  <a:ext uri="{FF2B5EF4-FFF2-40B4-BE49-F238E27FC236}">
                    <a16:creationId xmlns:a16="http://schemas.microsoft.com/office/drawing/2014/main" id="{5B997126-CCD5-48E3-ADA0-6B677373213F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821" y="2161"/>
                <a:ext cx="249" cy="156"/>
              </a:xfrm>
              <a:custGeom>
                <a:avLst/>
                <a:gdLst>
                  <a:gd name="T0" fmla="*/ 2 w 235"/>
                  <a:gd name="T1" fmla="*/ 148 h 148"/>
                  <a:gd name="T2" fmla="*/ 43 w 235"/>
                  <a:gd name="T3" fmla="*/ 107 h 148"/>
                  <a:gd name="T4" fmla="*/ 93 w 235"/>
                  <a:gd name="T5" fmla="*/ 74 h 148"/>
                  <a:gd name="T6" fmla="*/ 145 w 235"/>
                  <a:gd name="T7" fmla="*/ 33 h 148"/>
                  <a:gd name="T8" fmla="*/ 178 w 235"/>
                  <a:gd name="T9" fmla="*/ 9 h 148"/>
                  <a:gd name="T10" fmla="*/ 227 w 235"/>
                  <a:gd name="T11" fmla="*/ 32 h 148"/>
                  <a:gd name="T12" fmla="*/ 233 w 235"/>
                  <a:gd name="T13" fmla="*/ 29 h 148"/>
                  <a:gd name="T14" fmla="*/ 193 w 235"/>
                  <a:gd name="T15" fmla="*/ 1 h 148"/>
                  <a:gd name="T16" fmla="*/ 132 w 235"/>
                  <a:gd name="T17" fmla="*/ 38 h 148"/>
                  <a:gd name="T18" fmla="*/ 54 w 235"/>
                  <a:gd name="T19" fmla="*/ 96 h 148"/>
                  <a:gd name="T20" fmla="*/ 20 w 235"/>
                  <a:gd name="T21" fmla="*/ 119 h 148"/>
                  <a:gd name="T22" fmla="*/ 0 w 235"/>
                  <a:gd name="T23" fmla="*/ 147 h 148"/>
                  <a:gd name="T24" fmla="*/ 2 w 235"/>
                  <a:gd name="T25" fmla="*/ 148 h 1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35" h="148">
                    <a:moveTo>
                      <a:pt x="2" y="148"/>
                    </a:moveTo>
                    <a:cubicBezTo>
                      <a:pt x="17" y="136"/>
                      <a:pt x="26" y="119"/>
                      <a:pt x="43" y="107"/>
                    </a:cubicBezTo>
                    <a:cubicBezTo>
                      <a:pt x="60" y="96"/>
                      <a:pt x="77" y="85"/>
                      <a:pt x="93" y="74"/>
                    </a:cubicBezTo>
                    <a:cubicBezTo>
                      <a:pt x="111" y="61"/>
                      <a:pt x="128" y="47"/>
                      <a:pt x="145" y="33"/>
                    </a:cubicBezTo>
                    <a:cubicBezTo>
                      <a:pt x="156" y="25"/>
                      <a:pt x="165" y="14"/>
                      <a:pt x="178" y="9"/>
                    </a:cubicBezTo>
                    <a:cubicBezTo>
                      <a:pt x="194" y="3"/>
                      <a:pt x="219" y="16"/>
                      <a:pt x="227" y="32"/>
                    </a:cubicBezTo>
                    <a:cubicBezTo>
                      <a:pt x="229" y="37"/>
                      <a:pt x="235" y="34"/>
                      <a:pt x="233" y="29"/>
                    </a:cubicBezTo>
                    <a:cubicBezTo>
                      <a:pt x="226" y="17"/>
                      <a:pt x="207" y="1"/>
                      <a:pt x="193" y="1"/>
                    </a:cubicBezTo>
                    <a:cubicBezTo>
                      <a:pt x="170" y="0"/>
                      <a:pt x="148" y="26"/>
                      <a:pt x="132" y="38"/>
                    </a:cubicBezTo>
                    <a:cubicBezTo>
                      <a:pt x="106" y="58"/>
                      <a:pt x="81" y="79"/>
                      <a:pt x="54" y="96"/>
                    </a:cubicBezTo>
                    <a:cubicBezTo>
                      <a:pt x="42" y="104"/>
                      <a:pt x="29" y="109"/>
                      <a:pt x="20" y="119"/>
                    </a:cubicBezTo>
                    <a:cubicBezTo>
                      <a:pt x="12" y="127"/>
                      <a:pt x="7" y="138"/>
                      <a:pt x="0" y="147"/>
                    </a:cubicBezTo>
                    <a:cubicBezTo>
                      <a:pt x="0" y="148"/>
                      <a:pt x="1" y="148"/>
                      <a:pt x="2" y="148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681" name="Freeform 228">
                <a:extLst>
                  <a:ext uri="{FF2B5EF4-FFF2-40B4-BE49-F238E27FC236}">
                    <a16:creationId xmlns:a16="http://schemas.microsoft.com/office/drawing/2014/main" id="{3C3439B1-DEF0-420D-BA85-281239CE677F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7058" y="2327"/>
                <a:ext cx="89" cy="123"/>
              </a:xfrm>
              <a:custGeom>
                <a:avLst/>
                <a:gdLst>
                  <a:gd name="T0" fmla="*/ 81 w 84"/>
                  <a:gd name="T1" fmla="*/ 108 h 116"/>
                  <a:gd name="T2" fmla="*/ 34 w 84"/>
                  <a:gd name="T3" fmla="*/ 61 h 116"/>
                  <a:gd name="T4" fmla="*/ 4 w 84"/>
                  <a:gd name="T5" fmla="*/ 2 h 116"/>
                  <a:gd name="T6" fmla="*/ 0 w 84"/>
                  <a:gd name="T7" fmla="*/ 3 h 116"/>
                  <a:gd name="T8" fmla="*/ 40 w 84"/>
                  <a:gd name="T9" fmla="*/ 78 h 116"/>
                  <a:gd name="T10" fmla="*/ 82 w 84"/>
                  <a:gd name="T11" fmla="*/ 111 h 116"/>
                  <a:gd name="T12" fmla="*/ 81 w 84"/>
                  <a:gd name="T13" fmla="*/ 108 h 1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4" h="116">
                    <a:moveTo>
                      <a:pt x="81" y="108"/>
                    </a:moveTo>
                    <a:cubicBezTo>
                      <a:pt x="65" y="110"/>
                      <a:pt x="42" y="73"/>
                      <a:pt x="34" y="61"/>
                    </a:cubicBezTo>
                    <a:cubicBezTo>
                      <a:pt x="20" y="43"/>
                      <a:pt x="12" y="23"/>
                      <a:pt x="4" y="2"/>
                    </a:cubicBezTo>
                    <a:cubicBezTo>
                      <a:pt x="3" y="0"/>
                      <a:pt x="0" y="0"/>
                      <a:pt x="0" y="3"/>
                    </a:cubicBezTo>
                    <a:cubicBezTo>
                      <a:pt x="5" y="31"/>
                      <a:pt x="22" y="57"/>
                      <a:pt x="40" y="78"/>
                    </a:cubicBezTo>
                    <a:cubicBezTo>
                      <a:pt x="49" y="88"/>
                      <a:pt x="66" y="116"/>
                      <a:pt x="82" y="111"/>
                    </a:cubicBezTo>
                    <a:cubicBezTo>
                      <a:pt x="84" y="111"/>
                      <a:pt x="84" y="108"/>
                      <a:pt x="81" y="108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682" name="Freeform 229">
                <a:extLst>
                  <a:ext uri="{FF2B5EF4-FFF2-40B4-BE49-F238E27FC236}">
                    <a16:creationId xmlns:a16="http://schemas.microsoft.com/office/drawing/2014/main" id="{B47E7C2F-4DEC-4748-A005-D0A2380BBCB3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7078" y="2265"/>
                <a:ext cx="105" cy="164"/>
              </a:xfrm>
              <a:custGeom>
                <a:avLst/>
                <a:gdLst>
                  <a:gd name="T0" fmla="*/ 4 w 99"/>
                  <a:gd name="T1" fmla="*/ 2 h 155"/>
                  <a:gd name="T2" fmla="*/ 10 w 99"/>
                  <a:gd name="T3" fmla="*/ 34 h 155"/>
                  <a:gd name="T4" fmla="*/ 32 w 99"/>
                  <a:gd name="T5" fmla="*/ 83 h 155"/>
                  <a:gd name="T6" fmla="*/ 63 w 99"/>
                  <a:gd name="T7" fmla="*/ 127 h 155"/>
                  <a:gd name="T8" fmla="*/ 94 w 99"/>
                  <a:gd name="T9" fmla="*/ 154 h 155"/>
                  <a:gd name="T10" fmla="*/ 96 w 99"/>
                  <a:gd name="T11" fmla="*/ 147 h 155"/>
                  <a:gd name="T12" fmla="*/ 37 w 99"/>
                  <a:gd name="T13" fmla="*/ 76 h 155"/>
                  <a:gd name="T14" fmla="*/ 8 w 99"/>
                  <a:gd name="T15" fmla="*/ 3 h 155"/>
                  <a:gd name="T16" fmla="*/ 4 w 99"/>
                  <a:gd name="T17" fmla="*/ 2 h 1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99" h="155">
                    <a:moveTo>
                      <a:pt x="4" y="2"/>
                    </a:moveTo>
                    <a:cubicBezTo>
                      <a:pt x="0" y="12"/>
                      <a:pt x="7" y="25"/>
                      <a:pt x="10" y="34"/>
                    </a:cubicBezTo>
                    <a:cubicBezTo>
                      <a:pt x="16" y="51"/>
                      <a:pt x="23" y="68"/>
                      <a:pt x="32" y="83"/>
                    </a:cubicBezTo>
                    <a:cubicBezTo>
                      <a:pt x="41" y="99"/>
                      <a:pt x="52" y="113"/>
                      <a:pt x="63" y="127"/>
                    </a:cubicBezTo>
                    <a:cubicBezTo>
                      <a:pt x="71" y="137"/>
                      <a:pt x="81" y="151"/>
                      <a:pt x="94" y="154"/>
                    </a:cubicBezTo>
                    <a:cubicBezTo>
                      <a:pt x="98" y="155"/>
                      <a:pt x="99" y="149"/>
                      <a:pt x="96" y="147"/>
                    </a:cubicBezTo>
                    <a:cubicBezTo>
                      <a:pt x="72" y="137"/>
                      <a:pt x="49" y="98"/>
                      <a:pt x="37" y="76"/>
                    </a:cubicBezTo>
                    <a:cubicBezTo>
                      <a:pt x="26" y="56"/>
                      <a:pt x="8" y="27"/>
                      <a:pt x="8" y="3"/>
                    </a:cubicBezTo>
                    <a:cubicBezTo>
                      <a:pt x="8" y="1"/>
                      <a:pt x="5" y="0"/>
                      <a:pt x="4" y="2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683" name="Freeform 230">
                <a:extLst>
                  <a:ext uri="{FF2B5EF4-FFF2-40B4-BE49-F238E27FC236}">
                    <a16:creationId xmlns:a16="http://schemas.microsoft.com/office/drawing/2014/main" id="{DF157F82-1E9C-45FC-B0B7-2944BECEE15E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7151" y="2422"/>
                <a:ext cx="57" cy="62"/>
              </a:xfrm>
              <a:custGeom>
                <a:avLst/>
                <a:gdLst>
                  <a:gd name="T0" fmla="*/ 23 w 54"/>
                  <a:gd name="T1" fmla="*/ 6 h 59"/>
                  <a:gd name="T2" fmla="*/ 30 w 54"/>
                  <a:gd name="T3" fmla="*/ 7 h 59"/>
                  <a:gd name="T4" fmla="*/ 45 w 54"/>
                  <a:gd name="T5" fmla="*/ 17 h 59"/>
                  <a:gd name="T6" fmla="*/ 48 w 54"/>
                  <a:gd name="T7" fmla="*/ 12 h 59"/>
                  <a:gd name="T8" fmla="*/ 41 w 54"/>
                  <a:gd name="T9" fmla="*/ 19 h 59"/>
                  <a:gd name="T10" fmla="*/ 28 w 54"/>
                  <a:gd name="T11" fmla="*/ 32 h 59"/>
                  <a:gd name="T12" fmla="*/ 1 w 54"/>
                  <a:gd name="T13" fmla="*/ 55 h 59"/>
                  <a:gd name="T14" fmla="*/ 4 w 54"/>
                  <a:gd name="T15" fmla="*/ 58 h 59"/>
                  <a:gd name="T16" fmla="*/ 26 w 54"/>
                  <a:gd name="T17" fmla="*/ 43 h 59"/>
                  <a:gd name="T18" fmla="*/ 37 w 54"/>
                  <a:gd name="T19" fmla="*/ 33 h 59"/>
                  <a:gd name="T20" fmla="*/ 49 w 54"/>
                  <a:gd name="T21" fmla="*/ 19 h 59"/>
                  <a:gd name="T22" fmla="*/ 52 w 54"/>
                  <a:gd name="T23" fmla="*/ 14 h 59"/>
                  <a:gd name="T24" fmla="*/ 38 w 54"/>
                  <a:gd name="T25" fmla="*/ 1 h 59"/>
                  <a:gd name="T26" fmla="*/ 32 w 54"/>
                  <a:gd name="T27" fmla="*/ 1 h 59"/>
                  <a:gd name="T28" fmla="*/ 25 w 54"/>
                  <a:gd name="T29" fmla="*/ 3 h 59"/>
                  <a:gd name="T30" fmla="*/ 23 w 54"/>
                  <a:gd name="T31" fmla="*/ 6 h 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54" h="59">
                    <a:moveTo>
                      <a:pt x="23" y="6"/>
                    </a:moveTo>
                    <a:cubicBezTo>
                      <a:pt x="25" y="8"/>
                      <a:pt x="27" y="7"/>
                      <a:pt x="30" y="7"/>
                    </a:cubicBezTo>
                    <a:cubicBezTo>
                      <a:pt x="37" y="8"/>
                      <a:pt x="42" y="11"/>
                      <a:pt x="45" y="17"/>
                    </a:cubicBezTo>
                    <a:cubicBezTo>
                      <a:pt x="46" y="15"/>
                      <a:pt x="47" y="13"/>
                      <a:pt x="48" y="12"/>
                    </a:cubicBezTo>
                    <a:cubicBezTo>
                      <a:pt x="44" y="12"/>
                      <a:pt x="43" y="16"/>
                      <a:pt x="41" y="19"/>
                    </a:cubicBezTo>
                    <a:cubicBezTo>
                      <a:pt x="37" y="24"/>
                      <a:pt x="33" y="28"/>
                      <a:pt x="28" y="32"/>
                    </a:cubicBezTo>
                    <a:cubicBezTo>
                      <a:pt x="20" y="40"/>
                      <a:pt x="7" y="46"/>
                      <a:pt x="1" y="55"/>
                    </a:cubicBezTo>
                    <a:cubicBezTo>
                      <a:pt x="0" y="57"/>
                      <a:pt x="2" y="59"/>
                      <a:pt x="4" y="58"/>
                    </a:cubicBezTo>
                    <a:cubicBezTo>
                      <a:pt x="12" y="56"/>
                      <a:pt x="20" y="48"/>
                      <a:pt x="26" y="43"/>
                    </a:cubicBezTo>
                    <a:cubicBezTo>
                      <a:pt x="30" y="40"/>
                      <a:pt x="33" y="37"/>
                      <a:pt x="37" y="33"/>
                    </a:cubicBezTo>
                    <a:cubicBezTo>
                      <a:pt x="39" y="30"/>
                      <a:pt x="46" y="20"/>
                      <a:pt x="49" y="19"/>
                    </a:cubicBezTo>
                    <a:cubicBezTo>
                      <a:pt x="51" y="19"/>
                      <a:pt x="54" y="16"/>
                      <a:pt x="52" y="14"/>
                    </a:cubicBezTo>
                    <a:cubicBezTo>
                      <a:pt x="49" y="8"/>
                      <a:pt x="44" y="3"/>
                      <a:pt x="38" y="1"/>
                    </a:cubicBezTo>
                    <a:cubicBezTo>
                      <a:pt x="36" y="1"/>
                      <a:pt x="34" y="0"/>
                      <a:pt x="32" y="1"/>
                    </a:cubicBezTo>
                    <a:cubicBezTo>
                      <a:pt x="30" y="1"/>
                      <a:pt x="26" y="3"/>
                      <a:pt x="25" y="3"/>
                    </a:cubicBezTo>
                    <a:cubicBezTo>
                      <a:pt x="23" y="2"/>
                      <a:pt x="21" y="4"/>
                      <a:pt x="23" y="6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684" name="Freeform 231">
                <a:extLst>
                  <a:ext uri="{FF2B5EF4-FFF2-40B4-BE49-F238E27FC236}">
                    <a16:creationId xmlns:a16="http://schemas.microsoft.com/office/drawing/2014/main" id="{DAAED521-F969-4A11-A249-224D432F8D0C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7149" y="2439"/>
                <a:ext cx="22" cy="25"/>
              </a:xfrm>
              <a:custGeom>
                <a:avLst/>
                <a:gdLst>
                  <a:gd name="T0" fmla="*/ 18 w 21"/>
                  <a:gd name="T1" fmla="*/ 1 h 24"/>
                  <a:gd name="T2" fmla="*/ 1 w 21"/>
                  <a:gd name="T3" fmla="*/ 22 h 24"/>
                  <a:gd name="T4" fmla="*/ 3 w 21"/>
                  <a:gd name="T5" fmla="*/ 23 h 24"/>
                  <a:gd name="T6" fmla="*/ 20 w 21"/>
                  <a:gd name="T7" fmla="*/ 4 h 24"/>
                  <a:gd name="T8" fmla="*/ 18 w 21"/>
                  <a:gd name="T9" fmla="*/ 1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1" h="24">
                    <a:moveTo>
                      <a:pt x="18" y="1"/>
                    </a:moveTo>
                    <a:cubicBezTo>
                      <a:pt x="12" y="8"/>
                      <a:pt x="7" y="15"/>
                      <a:pt x="1" y="22"/>
                    </a:cubicBezTo>
                    <a:cubicBezTo>
                      <a:pt x="0" y="23"/>
                      <a:pt x="2" y="24"/>
                      <a:pt x="3" y="23"/>
                    </a:cubicBezTo>
                    <a:cubicBezTo>
                      <a:pt x="10" y="19"/>
                      <a:pt x="15" y="10"/>
                      <a:pt x="20" y="4"/>
                    </a:cubicBezTo>
                    <a:cubicBezTo>
                      <a:pt x="21" y="2"/>
                      <a:pt x="19" y="0"/>
                      <a:pt x="18" y="1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685" name="Freeform 232">
                <a:extLst>
                  <a:ext uri="{FF2B5EF4-FFF2-40B4-BE49-F238E27FC236}">
                    <a16:creationId xmlns:a16="http://schemas.microsoft.com/office/drawing/2014/main" id="{6BFB85CE-559E-4554-817B-911976C21160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7122" y="2450"/>
                <a:ext cx="27" cy="19"/>
              </a:xfrm>
              <a:custGeom>
                <a:avLst/>
                <a:gdLst>
                  <a:gd name="T0" fmla="*/ 25 w 26"/>
                  <a:gd name="T1" fmla="*/ 15 h 18"/>
                  <a:gd name="T2" fmla="*/ 3 w 26"/>
                  <a:gd name="T3" fmla="*/ 1 h 18"/>
                  <a:gd name="T4" fmla="*/ 1 w 26"/>
                  <a:gd name="T5" fmla="*/ 2 h 18"/>
                  <a:gd name="T6" fmla="*/ 24 w 26"/>
                  <a:gd name="T7" fmla="*/ 17 h 18"/>
                  <a:gd name="T8" fmla="*/ 25 w 26"/>
                  <a:gd name="T9" fmla="*/ 15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6" h="18">
                    <a:moveTo>
                      <a:pt x="25" y="15"/>
                    </a:moveTo>
                    <a:cubicBezTo>
                      <a:pt x="17" y="12"/>
                      <a:pt x="9" y="7"/>
                      <a:pt x="3" y="1"/>
                    </a:cubicBezTo>
                    <a:cubicBezTo>
                      <a:pt x="2" y="0"/>
                      <a:pt x="0" y="1"/>
                      <a:pt x="1" y="2"/>
                    </a:cubicBezTo>
                    <a:cubicBezTo>
                      <a:pt x="8" y="9"/>
                      <a:pt x="15" y="14"/>
                      <a:pt x="24" y="17"/>
                    </a:cubicBezTo>
                    <a:cubicBezTo>
                      <a:pt x="25" y="18"/>
                      <a:pt x="26" y="16"/>
                      <a:pt x="25" y="15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686" name="Freeform 233">
                <a:extLst>
                  <a:ext uri="{FF2B5EF4-FFF2-40B4-BE49-F238E27FC236}">
                    <a16:creationId xmlns:a16="http://schemas.microsoft.com/office/drawing/2014/main" id="{3911B8D3-EEF2-4147-9EC3-EF2903C19DD9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7108" y="2479"/>
                <a:ext cx="53" cy="54"/>
              </a:xfrm>
              <a:custGeom>
                <a:avLst/>
                <a:gdLst>
                  <a:gd name="T0" fmla="*/ 48 w 50"/>
                  <a:gd name="T1" fmla="*/ 0 h 51"/>
                  <a:gd name="T2" fmla="*/ 25 w 50"/>
                  <a:gd name="T3" fmla="*/ 23 h 51"/>
                  <a:gd name="T4" fmla="*/ 4 w 50"/>
                  <a:gd name="T5" fmla="*/ 43 h 51"/>
                  <a:gd name="T6" fmla="*/ 8 w 50"/>
                  <a:gd name="T7" fmla="*/ 44 h 51"/>
                  <a:gd name="T8" fmla="*/ 7 w 50"/>
                  <a:gd name="T9" fmla="*/ 43 h 51"/>
                  <a:gd name="T10" fmla="*/ 2 w 50"/>
                  <a:gd name="T11" fmla="*/ 44 h 51"/>
                  <a:gd name="T12" fmla="*/ 2 w 50"/>
                  <a:gd name="T13" fmla="*/ 45 h 51"/>
                  <a:gd name="T14" fmla="*/ 8 w 50"/>
                  <a:gd name="T15" fmla="*/ 49 h 51"/>
                  <a:gd name="T16" fmla="*/ 32 w 50"/>
                  <a:gd name="T17" fmla="*/ 25 h 51"/>
                  <a:gd name="T18" fmla="*/ 49 w 50"/>
                  <a:gd name="T19" fmla="*/ 2 h 51"/>
                  <a:gd name="T20" fmla="*/ 48 w 50"/>
                  <a:gd name="T21" fmla="*/ 0 h 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50" h="51">
                    <a:moveTo>
                      <a:pt x="48" y="0"/>
                    </a:moveTo>
                    <a:cubicBezTo>
                      <a:pt x="41" y="8"/>
                      <a:pt x="32" y="15"/>
                      <a:pt x="25" y="23"/>
                    </a:cubicBezTo>
                    <a:cubicBezTo>
                      <a:pt x="18" y="29"/>
                      <a:pt x="12" y="38"/>
                      <a:pt x="4" y="43"/>
                    </a:cubicBezTo>
                    <a:cubicBezTo>
                      <a:pt x="5" y="43"/>
                      <a:pt x="7" y="43"/>
                      <a:pt x="8" y="44"/>
                    </a:cubicBezTo>
                    <a:cubicBezTo>
                      <a:pt x="8" y="43"/>
                      <a:pt x="8" y="43"/>
                      <a:pt x="7" y="43"/>
                    </a:cubicBezTo>
                    <a:cubicBezTo>
                      <a:pt x="5" y="41"/>
                      <a:pt x="3" y="42"/>
                      <a:pt x="2" y="44"/>
                    </a:cubicBezTo>
                    <a:cubicBezTo>
                      <a:pt x="2" y="45"/>
                      <a:pt x="2" y="45"/>
                      <a:pt x="2" y="45"/>
                    </a:cubicBezTo>
                    <a:cubicBezTo>
                      <a:pt x="0" y="49"/>
                      <a:pt x="5" y="51"/>
                      <a:pt x="8" y="49"/>
                    </a:cubicBezTo>
                    <a:cubicBezTo>
                      <a:pt x="17" y="43"/>
                      <a:pt x="25" y="33"/>
                      <a:pt x="32" y="25"/>
                    </a:cubicBezTo>
                    <a:cubicBezTo>
                      <a:pt x="38" y="17"/>
                      <a:pt x="45" y="10"/>
                      <a:pt x="49" y="2"/>
                    </a:cubicBezTo>
                    <a:cubicBezTo>
                      <a:pt x="50" y="1"/>
                      <a:pt x="48" y="0"/>
                      <a:pt x="48" y="0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687" name="Freeform 234">
                <a:extLst>
                  <a:ext uri="{FF2B5EF4-FFF2-40B4-BE49-F238E27FC236}">
                    <a16:creationId xmlns:a16="http://schemas.microsoft.com/office/drawing/2014/main" id="{E2D854E7-563A-4007-BC40-822D268C883F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7013" y="2296"/>
                <a:ext cx="111" cy="235"/>
              </a:xfrm>
              <a:custGeom>
                <a:avLst/>
                <a:gdLst>
                  <a:gd name="T0" fmla="*/ 23 w 104"/>
                  <a:gd name="T1" fmla="*/ 1 h 222"/>
                  <a:gd name="T2" fmla="*/ 2 w 104"/>
                  <a:gd name="T3" fmla="*/ 56 h 222"/>
                  <a:gd name="T4" fmla="*/ 16 w 104"/>
                  <a:gd name="T5" fmla="*/ 120 h 222"/>
                  <a:gd name="T6" fmla="*/ 100 w 104"/>
                  <a:gd name="T7" fmla="*/ 221 h 222"/>
                  <a:gd name="T8" fmla="*/ 101 w 104"/>
                  <a:gd name="T9" fmla="*/ 217 h 222"/>
                  <a:gd name="T10" fmla="*/ 25 w 104"/>
                  <a:gd name="T11" fmla="*/ 128 h 222"/>
                  <a:gd name="T12" fmla="*/ 7 w 104"/>
                  <a:gd name="T13" fmla="*/ 63 h 222"/>
                  <a:gd name="T14" fmla="*/ 26 w 104"/>
                  <a:gd name="T15" fmla="*/ 3 h 222"/>
                  <a:gd name="T16" fmla="*/ 23 w 104"/>
                  <a:gd name="T17" fmla="*/ 1 h 2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04" h="222">
                    <a:moveTo>
                      <a:pt x="23" y="1"/>
                    </a:moveTo>
                    <a:cubicBezTo>
                      <a:pt x="12" y="16"/>
                      <a:pt x="4" y="38"/>
                      <a:pt x="2" y="56"/>
                    </a:cubicBezTo>
                    <a:cubicBezTo>
                      <a:pt x="0" y="78"/>
                      <a:pt x="8" y="100"/>
                      <a:pt x="16" y="120"/>
                    </a:cubicBezTo>
                    <a:cubicBezTo>
                      <a:pt x="30" y="156"/>
                      <a:pt x="56" y="216"/>
                      <a:pt x="100" y="221"/>
                    </a:cubicBezTo>
                    <a:cubicBezTo>
                      <a:pt x="103" y="222"/>
                      <a:pt x="104" y="218"/>
                      <a:pt x="101" y="217"/>
                    </a:cubicBezTo>
                    <a:cubicBezTo>
                      <a:pt x="62" y="200"/>
                      <a:pt x="42" y="166"/>
                      <a:pt x="25" y="128"/>
                    </a:cubicBezTo>
                    <a:cubicBezTo>
                      <a:pt x="17" y="108"/>
                      <a:pt x="8" y="85"/>
                      <a:pt x="7" y="63"/>
                    </a:cubicBezTo>
                    <a:cubicBezTo>
                      <a:pt x="7" y="42"/>
                      <a:pt x="18" y="22"/>
                      <a:pt x="26" y="3"/>
                    </a:cubicBezTo>
                    <a:cubicBezTo>
                      <a:pt x="27" y="1"/>
                      <a:pt x="24" y="0"/>
                      <a:pt x="23" y="1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688" name="Freeform 235">
                <a:extLst>
                  <a:ext uri="{FF2B5EF4-FFF2-40B4-BE49-F238E27FC236}">
                    <a16:creationId xmlns:a16="http://schemas.microsoft.com/office/drawing/2014/main" id="{EAEFFD8A-BFF5-436E-9574-B8CE33E5B839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7152" y="2472"/>
                <a:ext cx="37" cy="55"/>
              </a:xfrm>
              <a:custGeom>
                <a:avLst/>
                <a:gdLst>
                  <a:gd name="T0" fmla="*/ 13 w 35"/>
                  <a:gd name="T1" fmla="*/ 4 h 52"/>
                  <a:gd name="T2" fmla="*/ 19 w 35"/>
                  <a:gd name="T3" fmla="*/ 10 h 52"/>
                  <a:gd name="T4" fmla="*/ 23 w 35"/>
                  <a:gd name="T5" fmla="*/ 26 h 52"/>
                  <a:gd name="T6" fmla="*/ 2 w 35"/>
                  <a:gd name="T7" fmla="*/ 48 h 52"/>
                  <a:gd name="T8" fmla="*/ 4 w 35"/>
                  <a:gd name="T9" fmla="*/ 51 h 52"/>
                  <a:gd name="T10" fmla="*/ 30 w 35"/>
                  <a:gd name="T11" fmla="*/ 22 h 52"/>
                  <a:gd name="T12" fmla="*/ 15 w 35"/>
                  <a:gd name="T13" fmla="*/ 1 h 52"/>
                  <a:gd name="T14" fmla="*/ 13 w 35"/>
                  <a:gd name="T15" fmla="*/ 4 h 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5" h="52">
                    <a:moveTo>
                      <a:pt x="13" y="4"/>
                    </a:moveTo>
                    <a:cubicBezTo>
                      <a:pt x="15" y="6"/>
                      <a:pt x="17" y="8"/>
                      <a:pt x="19" y="10"/>
                    </a:cubicBezTo>
                    <a:cubicBezTo>
                      <a:pt x="25" y="15"/>
                      <a:pt x="28" y="19"/>
                      <a:pt x="23" y="26"/>
                    </a:cubicBezTo>
                    <a:cubicBezTo>
                      <a:pt x="16" y="35"/>
                      <a:pt x="10" y="41"/>
                      <a:pt x="2" y="48"/>
                    </a:cubicBezTo>
                    <a:cubicBezTo>
                      <a:pt x="0" y="49"/>
                      <a:pt x="2" y="52"/>
                      <a:pt x="4" y="51"/>
                    </a:cubicBezTo>
                    <a:cubicBezTo>
                      <a:pt x="14" y="44"/>
                      <a:pt x="25" y="33"/>
                      <a:pt x="30" y="22"/>
                    </a:cubicBezTo>
                    <a:cubicBezTo>
                      <a:pt x="35" y="11"/>
                      <a:pt x="23" y="6"/>
                      <a:pt x="15" y="1"/>
                    </a:cubicBezTo>
                    <a:cubicBezTo>
                      <a:pt x="13" y="0"/>
                      <a:pt x="12" y="3"/>
                      <a:pt x="13" y="4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689" name="Freeform 236">
                <a:extLst>
                  <a:ext uri="{FF2B5EF4-FFF2-40B4-BE49-F238E27FC236}">
                    <a16:creationId xmlns:a16="http://schemas.microsoft.com/office/drawing/2014/main" id="{9EB3F1DF-EDE1-4520-8DB4-C72B3EB8ED93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7078" y="2541"/>
                <a:ext cx="49" cy="15"/>
              </a:xfrm>
              <a:custGeom>
                <a:avLst/>
                <a:gdLst>
                  <a:gd name="T0" fmla="*/ 44 w 46"/>
                  <a:gd name="T1" fmla="*/ 2 h 15"/>
                  <a:gd name="T2" fmla="*/ 1 w 46"/>
                  <a:gd name="T3" fmla="*/ 0 h 15"/>
                  <a:gd name="T4" fmla="*/ 0 w 46"/>
                  <a:gd name="T5" fmla="*/ 1 h 15"/>
                  <a:gd name="T6" fmla="*/ 45 w 46"/>
                  <a:gd name="T7" fmla="*/ 3 h 15"/>
                  <a:gd name="T8" fmla="*/ 44 w 46"/>
                  <a:gd name="T9" fmla="*/ 2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6" h="15">
                    <a:moveTo>
                      <a:pt x="44" y="2"/>
                    </a:moveTo>
                    <a:cubicBezTo>
                      <a:pt x="32" y="14"/>
                      <a:pt x="13" y="5"/>
                      <a:pt x="1" y="0"/>
                    </a:cubicBezTo>
                    <a:cubicBezTo>
                      <a:pt x="0" y="0"/>
                      <a:pt x="0" y="1"/>
                      <a:pt x="0" y="1"/>
                    </a:cubicBezTo>
                    <a:cubicBezTo>
                      <a:pt x="13" y="8"/>
                      <a:pt x="33" y="15"/>
                      <a:pt x="45" y="3"/>
                    </a:cubicBezTo>
                    <a:cubicBezTo>
                      <a:pt x="46" y="2"/>
                      <a:pt x="45" y="1"/>
                      <a:pt x="44" y="2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690" name="Freeform 237">
                <a:extLst>
                  <a:ext uri="{FF2B5EF4-FFF2-40B4-BE49-F238E27FC236}">
                    <a16:creationId xmlns:a16="http://schemas.microsoft.com/office/drawing/2014/main" id="{5673460D-3708-4C07-99D6-463E7EB36EC4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988" y="2323"/>
                <a:ext cx="63" cy="183"/>
              </a:xfrm>
              <a:custGeom>
                <a:avLst/>
                <a:gdLst>
                  <a:gd name="T0" fmla="*/ 59 w 59"/>
                  <a:gd name="T1" fmla="*/ 173 h 173"/>
                  <a:gd name="T2" fmla="*/ 25 w 59"/>
                  <a:gd name="T3" fmla="*/ 99 h 173"/>
                  <a:gd name="T4" fmla="*/ 13 w 59"/>
                  <a:gd name="T5" fmla="*/ 52 h 173"/>
                  <a:gd name="T6" fmla="*/ 18 w 59"/>
                  <a:gd name="T7" fmla="*/ 4 h 173"/>
                  <a:gd name="T8" fmla="*/ 12 w 59"/>
                  <a:gd name="T9" fmla="*/ 3 h 173"/>
                  <a:gd name="T10" fmla="*/ 15 w 59"/>
                  <a:gd name="T11" fmla="*/ 89 h 173"/>
                  <a:gd name="T12" fmla="*/ 59 w 59"/>
                  <a:gd name="T13" fmla="*/ 173 h 1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59" h="173">
                    <a:moveTo>
                      <a:pt x="59" y="173"/>
                    </a:moveTo>
                    <a:cubicBezTo>
                      <a:pt x="43" y="151"/>
                      <a:pt x="33" y="125"/>
                      <a:pt x="25" y="99"/>
                    </a:cubicBezTo>
                    <a:cubicBezTo>
                      <a:pt x="21" y="84"/>
                      <a:pt x="15" y="68"/>
                      <a:pt x="13" y="52"/>
                    </a:cubicBezTo>
                    <a:cubicBezTo>
                      <a:pt x="11" y="35"/>
                      <a:pt x="16" y="21"/>
                      <a:pt x="18" y="4"/>
                    </a:cubicBezTo>
                    <a:cubicBezTo>
                      <a:pt x="18" y="1"/>
                      <a:pt x="13" y="0"/>
                      <a:pt x="12" y="3"/>
                    </a:cubicBezTo>
                    <a:cubicBezTo>
                      <a:pt x="0" y="33"/>
                      <a:pt x="6" y="59"/>
                      <a:pt x="15" y="89"/>
                    </a:cubicBezTo>
                    <a:cubicBezTo>
                      <a:pt x="24" y="119"/>
                      <a:pt x="38" y="149"/>
                      <a:pt x="59" y="173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691" name="Freeform 238">
                <a:extLst>
                  <a:ext uri="{FF2B5EF4-FFF2-40B4-BE49-F238E27FC236}">
                    <a16:creationId xmlns:a16="http://schemas.microsoft.com/office/drawing/2014/main" id="{DC2836DA-5DDA-4752-8AD0-9F9B96C0C17F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7020" y="2489"/>
                <a:ext cx="171" cy="227"/>
              </a:xfrm>
              <a:custGeom>
                <a:avLst/>
                <a:gdLst>
                  <a:gd name="T0" fmla="*/ 155 w 162"/>
                  <a:gd name="T1" fmla="*/ 5 h 215"/>
                  <a:gd name="T2" fmla="*/ 152 w 162"/>
                  <a:gd name="T3" fmla="*/ 5 h 215"/>
                  <a:gd name="T4" fmla="*/ 153 w 162"/>
                  <a:gd name="T5" fmla="*/ 20 h 215"/>
                  <a:gd name="T6" fmla="*/ 143 w 162"/>
                  <a:gd name="T7" fmla="*/ 43 h 215"/>
                  <a:gd name="T8" fmla="*/ 90 w 162"/>
                  <a:gd name="T9" fmla="*/ 75 h 215"/>
                  <a:gd name="T10" fmla="*/ 16 w 162"/>
                  <a:gd name="T11" fmla="*/ 87 h 215"/>
                  <a:gd name="T12" fmla="*/ 4 w 162"/>
                  <a:gd name="T13" fmla="*/ 163 h 215"/>
                  <a:gd name="T14" fmla="*/ 42 w 162"/>
                  <a:gd name="T15" fmla="*/ 214 h 215"/>
                  <a:gd name="T16" fmla="*/ 45 w 162"/>
                  <a:gd name="T17" fmla="*/ 209 h 215"/>
                  <a:gd name="T18" fmla="*/ 20 w 162"/>
                  <a:gd name="T19" fmla="*/ 191 h 215"/>
                  <a:gd name="T20" fmla="*/ 10 w 162"/>
                  <a:gd name="T21" fmla="*/ 154 h 215"/>
                  <a:gd name="T22" fmla="*/ 11 w 162"/>
                  <a:gd name="T23" fmla="*/ 116 h 215"/>
                  <a:gd name="T24" fmla="*/ 67 w 162"/>
                  <a:gd name="T25" fmla="*/ 73 h 215"/>
                  <a:gd name="T26" fmla="*/ 105 w 162"/>
                  <a:gd name="T27" fmla="*/ 79 h 215"/>
                  <a:gd name="T28" fmla="*/ 120 w 162"/>
                  <a:gd name="T29" fmla="*/ 71 h 215"/>
                  <a:gd name="T30" fmla="*/ 152 w 162"/>
                  <a:gd name="T31" fmla="*/ 44 h 215"/>
                  <a:gd name="T32" fmla="*/ 157 w 162"/>
                  <a:gd name="T33" fmla="*/ 2 h 215"/>
                  <a:gd name="T34" fmla="*/ 152 w 162"/>
                  <a:gd name="T35" fmla="*/ 1 h 215"/>
                  <a:gd name="T36" fmla="*/ 151 w 162"/>
                  <a:gd name="T37" fmla="*/ 2 h 215"/>
                  <a:gd name="T38" fmla="*/ 151 w 162"/>
                  <a:gd name="T39" fmla="*/ 5 h 215"/>
                  <a:gd name="T40" fmla="*/ 152 w 162"/>
                  <a:gd name="T41" fmla="*/ 6 h 215"/>
                  <a:gd name="T42" fmla="*/ 155 w 162"/>
                  <a:gd name="T43" fmla="*/ 5 h 2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62" h="215">
                    <a:moveTo>
                      <a:pt x="155" y="5"/>
                    </a:moveTo>
                    <a:cubicBezTo>
                      <a:pt x="155" y="4"/>
                      <a:pt x="153" y="5"/>
                      <a:pt x="152" y="5"/>
                    </a:cubicBezTo>
                    <a:cubicBezTo>
                      <a:pt x="151" y="7"/>
                      <a:pt x="153" y="17"/>
                      <a:pt x="153" y="20"/>
                    </a:cubicBezTo>
                    <a:cubicBezTo>
                      <a:pt x="152" y="30"/>
                      <a:pt x="150" y="36"/>
                      <a:pt x="143" y="43"/>
                    </a:cubicBezTo>
                    <a:cubicBezTo>
                      <a:pt x="129" y="56"/>
                      <a:pt x="110" y="78"/>
                      <a:pt x="90" y="75"/>
                    </a:cubicBezTo>
                    <a:cubicBezTo>
                      <a:pt x="65" y="70"/>
                      <a:pt x="34" y="62"/>
                      <a:pt x="16" y="87"/>
                    </a:cubicBezTo>
                    <a:cubicBezTo>
                      <a:pt x="0" y="108"/>
                      <a:pt x="2" y="138"/>
                      <a:pt x="4" y="163"/>
                    </a:cubicBezTo>
                    <a:cubicBezTo>
                      <a:pt x="7" y="187"/>
                      <a:pt x="18" y="207"/>
                      <a:pt x="42" y="214"/>
                    </a:cubicBezTo>
                    <a:cubicBezTo>
                      <a:pt x="45" y="215"/>
                      <a:pt x="47" y="211"/>
                      <a:pt x="45" y="209"/>
                    </a:cubicBezTo>
                    <a:cubicBezTo>
                      <a:pt x="37" y="203"/>
                      <a:pt x="27" y="199"/>
                      <a:pt x="20" y="191"/>
                    </a:cubicBezTo>
                    <a:cubicBezTo>
                      <a:pt x="12" y="180"/>
                      <a:pt x="11" y="166"/>
                      <a:pt x="10" y="154"/>
                    </a:cubicBezTo>
                    <a:cubicBezTo>
                      <a:pt x="9" y="141"/>
                      <a:pt x="9" y="128"/>
                      <a:pt x="11" y="116"/>
                    </a:cubicBezTo>
                    <a:cubicBezTo>
                      <a:pt x="15" y="85"/>
                      <a:pt x="36" y="70"/>
                      <a:pt x="67" y="73"/>
                    </a:cubicBezTo>
                    <a:cubicBezTo>
                      <a:pt x="79" y="74"/>
                      <a:pt x="92" y="81"/>
                      <a:pt x="105" y="79"/>
                    </a:cubicBezTo>
                    <a:cubicBezTo>
                      <a:pt x="111" y="78"/>
                      <a:pt x="116" y="76"/>
                      <a:pt x="120" y="71"/>
                    </a:cubicBezTo>
                    <a:cubicBezTo>
                      <a:pt x="130" y="63"/>
                      <a:pt x="144" y="54"/>
                      <a:pt x="152" y="44"/>
                    </a:cubicBezTo>
                    <a:cubicBezTo>
                      <a:pt x="161" y="34"/>
                      <a:pt x="162" y="14"/>
                      <a:pt x="157" y="2"/>
                    </a:cubicBezTo>
                    <a:cubicBezTo>
                      <a:pt x="156" y="0"/>
                      <a:pt x="154" y="0"/>
                      <a:pt x="152" y="1"/>
                    </a:cubicBezTo>
                    <a:cubicBezTo>
                      <a:pt x="151" y="2"/>
                      <a:pt x="151" y="2"/>
                      <a:pt x="151" y="2"/>
                    </a:cubicBezTo>
                    <a:cubicBezTo>
                      <a:pt x="151" y="3"/>
                      <a:pt x="150" y="4"/>
                      <a:pt x="151" y="5"/>
                    </a:cubicBezTo>
                    <a:cubicBezTo>
                      <a:pt x="151" y="5"/>
                      <a:pt x="151" y="6"/>
                      <a:pt x="152" y="6"/>
                    </a:cubicBezTo>
                    <a:cubicBezTo>
                      <a:pt x="153" y="8"/>
                      <a:pt x="155" y="7"/>
                      <a:pt x="155" y="5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692" name="Freeform 239">
                <a:extLst>
                  <a:ext uri="{FF2B5EF4-FFF2-40B4-BE49-F238E27FC236}">
                    <a16:creationId xmlns:a16="http://schemas.microsoft.com/office/drawing/2014/main" id="{B836DDAA-D844-4B32-A2C1-09B2AF5E7E5E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7111" y="2569"/>
                <a:ext cx="30" cy="127"/>
              </a:xfrm>
              <a:custGeom>
                <a:avLst/>
                <a:gdLst>
                  <a:gd name="T0" fmla="*/ 17 w 28"/>
                  <a:gd name="T1" fmla="*/ 5 h 120"/>
                  <a:gd name="T2" fmla="*/ 1 w 28"/>
                  <a:gd name="T3" fmla="*/ 54 h 120"/>
                  <a:gd name="T4" fmla="*/ 5 w 28"/>
                  <a:gd name="T5" fmla="*/ 79 h 120"/>
                  <a:gd name="T6" fmla="*/ 20 w 28"/>
                  <a:gd name="T7" fmla="*/ 116 h 120"/>
                  <a:gd name="T8" fmla="*/ 25 w 28"/>
                  <a:gd name="T9" fmla="*/ 116 h 120"/>
                  <a:gd name="T10" fmla="*/ 11 w 28"/>
                  <a:gd name="T11" fmla="*/ 82 h 120"/>
                  <a:gd name="T12" fmla="*/ 7 w 28"/>
                  <a:gd name="T13" fmla="*/ 35 h 120"/>
                  <a:gd name="T14" fmla="*/ 21 w 28"/>
                  <a:gd name="T15" fmla="*/ 4 h 120"/>
                  <a:gd name="T16" fmla="*/ 18 w 28"/>
                  <a:gd name="T17" fmla="*/ 2 h 120"/>
                  <a:gd name="T18" fmla="*/ 17 w 28"/>
                  <a:gd name="T19" fmla="*/ 3 h 120"/>
                  <a:gd name="T20" fmla="*/ 17 w 28"/>
                  <a:gd name="T21" fmla="*/ 5 h 1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28" h="120">
                    <a:moveTo>
                      <a:pt x="17" y="5"/>
                    </a:moveTo>
                    <a:cubicBezTo>
                      <a:pt x="13" y="3"/>
                      <a:pt x="1" y="48"/>
                      <a:pt x="1" y="54"/>
                    </a:cubicBezTo>
                    <a:cubicBezTo>
                      <a:pt x="0" y="63"/>
                      <a:pt x="2" y="71"/>
                      <a:pt x="5" y="79"/>
                    </a:cubicBezTo>
                    <a:cubicBezTo>
                      <a:pt x="10" y="91"/>
                      <a:pt x="21" y="102"/>
                      <a:pt x="20" y="116"/>
                    </a:cubicBezTo>
                    <a:cubicBezTo>
                      <a:pt x="19" y="119"/>
                      <a:pt x="24" y="120"/>
                      <a:pt x="25" y="116"/>
                    </a:cubicBezTo>
                    <a:cubicBezTo>
                      <a:pt x="28" y="103"/>
                      <a:pt x="17" y="93"/>
                      <a:pt x="11" y="82"/>
                    </a:cubicBezTo>
                    <a:cubicBezTo>
                      <a:pt x="3" y="67"/>
                      <a:pt x="2" y="51"/>
                      <a:pt x="7" y="35"/>
                    </a:cubicBezTo>
                    <a:cubicBezTo>
                      <a:pt x="11" y="23"/>
                      <a:pt x="18" y="15"/>
                      <a:pt x="21" y="4"/>
                    </a:cubicBezTo>
                    <a:cubicBezTo>
                      <a:pt x="22" y="2"/>
                      <a:pt x="19" y="0"/>
                      <a:pt x="18" y="2"/>
                    </a:cubicBezTo>
                    <a:cubicBezTo>
                      <a:pt x="17" y="2"/>
                      <a:pt x="17" y="2"/>
                      <a:pt x="17" y="3"/>
                    </a:cubicBezTo>
                    <a:cubicBezTo>
                      <a:pt x="16" y="4"/>
                      <a:pt x="16" y="5"/>
                      <a:pt x="17" y="5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693" name="Freeform 240">
                <a:extLst>
                  <a:ext uri="{FF2B5EF4-FFF2-40B4-BE49-F238E27FC236}">
                    <a16:creationId xmlns:a16="http://schemas.microsoft.com/office/drawing/2014/main" id="{E61B29F0-9194-4740-B704-F3C12CEE04E5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7056" y="2568"/>
                <a:ext cx="102" cy="163"/>
              </a:xfrm>
              <a:custGeom>
                <a:avLst/>
                <a:gdLst>
                  <a:gd name="T0" fmla="*/ 74 w 96"/>
                  <a:gd name="T1" fmla="*/ 2 h 154"/>
                  <a:gd name="T2" fmla="*/ 73 w 96"/>
                  <a:gd name="T3" fmla="*/ 43 h 154"/>
                  <a:gd name="T4" fmla="*/ 86 w 96"/>
                  <a:gd name="T5" fmla="*/ 79 h 154"/>
                  <a:gd name="T6" fmla="*/ 69 w 96"/>
                  <a:gd name="T7" fmla="*/ 121 h 154"/>
                  <a:gd name="T8" fmla="*/ 5 w 96"/>
                  <a:gd name="T9" fmla="*/ 132 h 154"/>
                  <a:gd name="T10" fmla="*/ 3 w 96"/>
                  <a:gd name="T11" fmla="*/ 137 h 154"/>
                  <a:gd name="T12" fmla="*/ 88 w 96"/>
                  <a:gd name="T13" fmla="*/ 108 h 154"/>
                  <a:gd name="T14" fmla="*/ 89 w 96"/>
                  <a:gd name="T15" fmla="*/ 75 h 154"/>
                  <a:gd name="T16" fmla="*/ 78 w 96"/>
                  <a:gd name="T17" fmla="*/ 48 h 154"/>
                  <a:gd name="T18" fmla="*/ 77 w 96"/>
                  <a:gd name="T19" fmla="*/ 2 h 154"/>
                  <a:gd name="T20" fmla="*/ 74 w 96"/>
                  <a:gd name="T21" fmla="*/ 2 h 1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96" h="154">
                    <a:moveTo>
                      <a:pt x="74" y="2"/>
                    </a:moveTo>
                    <a:cubicBezTo>
                      <a:pt x="73" y="15"/>
                      <a:pt x="71" y="29"/>
                      <a:pt x="73" y="43"/>
                    </a:cubicBezTo>
                    <a:cubicBezTo>
                      <a:pt x="75" y="56"/>
                      <a:pt x="81" y="67"/>
                      <a:pt x="86" y="79"/>
                    </a:cubicBezTo>
                    <a:cubicBezTo>
                      <a:pt x="93" y="98"/>
                      <a:pt x="82" y="110"/>
                      <a:pt x="69" y="121"/>
                    </a:cubicBezTo>
                    <a:cubicBezTo>
                      <a:pt x="50" y="137"/>
                      <a:pt x="29" y="141"/>
                      <a:pt x="5" y="132"/>
                    </a:cubicBezTo>
                    <a:cubicBezTo>
                      <a:pt x="2" y="130"/>
                      <a:pt x="0" y="135"/>
                      <a:pt x="3" y="137"/>
                    </a:cubicBezTo>
                    <a:cubicBezTo>
                      <a:pt x="36" y="154"/>
                      <a:pt x="67" y="135"/>
                      <a:pt x="88" y="108"/>
                    </a:cubicBezTo>
                    <a:cubicBezTo>
                      <a:pt x="96" y="97"/>
                      <a:pt x="94" y="87"/>
                      <a:pt x="89" y="75"/>
                    </a:cubicBezTo>
                    <a:cubicBezTo>
                      <a:pt x="85" y="66"/>
                      <a:pt x="80" y="57"/>
                      <a:pt x="78" y="48"/>
                    </a:cubicBezTo>
                    <a:cubicBezTo>
                      <a:pt x="74" y="33"/>
                      <a:pt x="76" y="17"/>
                      <a:pt x="77" y="2"/>
                    </a:cubicBezTo>
                    <a:cubicBezTo>
                      <a:pt x="77" y="0"/>
                      <a:pt x="74" y="0"/>
                      <a:pt x="74" y="2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694" name="Freeform 241">
                <a:extLst>
                  <a:ext uri="{FF2B5EF4-FFF2-40B4-BE49-F238E27FC236}">
                    <a16:creationId xmlns:a16="http://schemas.microsoft.com/office/drawing/2014/main" id="{7C3AB555-931F-4956-B724-3C19A873B0B9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7149" y="2661"/>
                <a:ext cx="16" cy="35"/>
              </a:xfrm>
              <a:custGeom>
                <a:avLst/>
                <a:gdLst>
                  <a:gd name="T0" fmla="*/ 1 w 15"/>
                  <a:gd name="T1" fmla="*/ 3 h 33"/>
                  <a:gd name="T2" fmla="*/ 8 w 15"/>
                  <a:gd name="T3" fmla="*/ 14 h 33"/>
                  <a:gd name="T4" fmla="*/ 2 w 15"/>
                  <a:gd name="T5" fmla="*/ 29 h 33"/>
                  <a:gd name="T6" fmla="*/ 4 w 15"/>
                  <a:gd name="T7" fmla="*/ 33 h 33"/>
                  <a:gd name="T8" fmla="*/ 15 w 15"/>
                  <a:gd name="T9" fmla="*/ 19 h 33"/>
                  <a:gd name="T10" fmla="*/ 13 w 15"/>
                  <a:gd name="T11" fmla="*/ 11 h 33"/>
                  <a:gd name="T12" fmla="*/ 5 w 15"/>
                  <a:gd name="T13" fmla="*/ 2 h 33"/>
                  <a:gd name="T14" fmla="*/ 1 w 15"/>
                  <a:gd name="T15" fmla="*/ 3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5" h="33">
                    <a:moveTo>
                      <a:pt x="1" y="3"/>
                    </a:moveTo>
                    <a:cubicBezTo>
                      <a:pt x="2" y="8"/>
                      <a:pt x="6" y="10"/>
                      <a:pt x="8" y="14"/>
                    </a:cubicBezTo>
                    <a:cubicBezTo>
                      <a:pt x="11" y="20"/>
                      <a:pt x="8" y="26"/>
                      <a:pt x="2" y="29"/>
                    </a:cubicBezTo>
                    <a:cubicBezTo>
                      <a:pt x="0" y="30"/>
                      <a:pt x="2" y="33"/>
                      <a:pt x="4" y="33"/>
                    </a:cubicBezTo>
                    <a:cubicBezTo>
                      <a:pt x="11" y="32"/>
                      <a:pt x="15" y="26"/>
                      <a:pt x="15" y="19"/>
                    </a:cubicBezTo>
                    <a:cubicBezTo>
                      <a:pt x="15" y="16"/>
                      <a:pt x="14" y="14"/>
                      <a:pt x="13" y="11"/>
                    </a:cubicBezTo>
                    <a:cubicBezTo>
                      <a:pt x="11" y="7"/>
                      <a:pt x="7" y="5"/>
                      <a:pt x="5" y="2"/>
                    </a:cubicBezTo>
                    <a:cubicBezTo>
                      <a:pt x="4" y="0"/>
                      <a:pt x="1" y="1"/>
                      <a:pt x="1" y="3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695" name="Freeform 242">
                <a:extLst>
                  <a:ext uri="{FF2B5EF4-FFF2-40B4-BE49-F238E27FC236}">
                    <a16:creationId xmlns:a16="http://schemas.microsoft.com/office/drawing/2014/main" id="{F9FBC502-4070-4804-8931-81D8EAB70E6B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7057" y="2699"/>
                <a:ext cx="89" cy="37"/>
              </a:xfrm>
              <a:custGeom>
                <a:avLst/>
                <a:gdLst>
                  <a:gd name="T0" fmla="*/ 83 w 84"/>
                  <a:gd name="T1" fmla="*/ 1 h 35"/>
                  <a:gd name="T2" fmla="*/ 48 w 84"/>
                  <a:gd name="T3" fmla="*/ 25 h 35"/>
                  <a:gd name="T4" fmla="*/ 2 w 84"/>
                  <a:gd name="T5" fmla="*/ 29 h 35"/>
                  <a:gd name="T6" fmla="*/ 2 w 84"/>
                  <a:gd name="T7" fmla="*/ 32 h 35"/>
                  <a:gd name="T8" fmla="*/ 84 w 84"/>
                  <a:gd name="T9" fmla="*/ 2 h 35"/>
                  <a:gd name="T10" fmla="*/ 83 w 84"/>
                  <a:gd name="T11" fmla="*/ 1 h 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84" h="35">
                    <a:moveTo>
                      <a:pt x="83" y="1"/>
                    </a:moveTo>
                    <a:cubicBezTo>
                      <a:pt x="74" y="13"/>
                      <a:pt x="63" y="22"/>
                      <a:pt x="48" y="25"/>
                    </a:cubicBezTo>
                    <a:cubicBezTo>
                      <a:pt x="33" y="28"/>
                      <a:pt x="18" y="29"/>
                      <a:pt x="2" y="29"/>
                    </a:cubicBezTo>
                    <a:cubicBezTo>
                      <a:pt x="0" y="30"/>
                      <a:pt x="0" y="32"/>
                      <a:pt x="2" y="32"/>
                    </a:cubicBezTo>
                    <a:cubicBezTo>
                      <a:pt x="33" y="35"/>
                      <a:pt x="67" y="30"/>
                      <a:pt x="84" y="2"/>
                    </a:cubicBezTo>
                    <a:cubicBezTo>
                      <a:pt x="84" y="1"/>
                      <a:pt x="83" y="0"/>
                      <a:pt x="83" y="1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696" name="Freeform 243">
                <a:extLst>
                  <a:ext uri="{FF2B5EF4-FFF2-40B4-BE49-F238E27FC236}">
                    <a16:creationId xmlns:a16="http://schemas.microsoft.com/office/drawing/2014/main" id="{0D06AD78-9A5E-4DC4-9A5E-974C283AEE59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7033" y="2678"/>
                <a:ext cx="142" cy="188"/>
              </a:xfrm>
              <a:custGeom>
                <a:avLst/>
                <a:gdLst>
                  <a:gd name="T0" fmla="*/ 124 w 134"/>
                  <a:gd name="T1" fmla="*/ 1 h 177"/>
                  <a:gd name="T2" fmla="*/ 116 w 134"/>
                  <a:gd name="T3" fmla="*/ 36 h 177"/>
                  <a:gd name="T4" fmla="*/ 82 w 134"/>
                  <a:gd name="T5" fmla="*/ 63 h 177"/>
                  <a:gd name="T6" fmla="*/ 50 w 134"/>
                  <a:gd name="T7" fmla="*/ 74 h 177"/>
                  <a:gd name="T8" fmla="*/ 21 w 134"/>
                  <a:gd name="T9" fmla="*/ 82 h 177"/>
                  <a:gd name="T10" fmla="*/ 5 w 134"/>
                  <a:gd name="T11" fmla="*/ 110 h 177"/>
                  <a:gd name="T12" fmla="*/ 16 w 134"/>
                  <a:gd name="T13" fmla="*/ 173 h 177"/>
                  <a:gd name="T14" fmla="*/ 23 w 134"/>
                  <a:gd name="T15" fmla="*/ 171 h 177"/>
                  <a:gd name="T16" fmla="*/ 18 w 134"/>
                  <a:gd name="T17" fmla="*/ 96 h 177"/>
                  <a:gd name="T18" fmla="*/ 52 w 134"/>
                  <a:gd name="T19" fmla="*/ 80 h 177"/>
                  <a:gd name="T20" fmla="*/ 80 w 134"/>
                  <a:gd name="T21" fmla="*/ 70 h 177"/>
                  <a:gd name="T22" fmla="*/ 123 w 134"/>
                  <a:gd name="T23" fmla="*/ 36 h 177"/>
                  <a:gd name="T24" fmla="*/ 126 w 134"/>
                  <a:gd name="T25" fmla="*/ 1 h 177"/>
                  <a:gd name="T26" fmla="*/ 124 w 134"/>
                  <a:gd name="T27" fmla="*/ 1 h 1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34" h="177">
                    <a:moveTo>
                      <a:pt x="124" y="1"/>
                    </a:moveTo>
                    <a:cubicBezTo>
                      <a:pt x="122" y="13"/>
                      <a:pt x="123" y="25"/>
                      <a:pt x="116" y="36"/>
                    </a:cubicBezTo>
                    <a:cubicBezTo>
                      <a:pt x="107" y="48"/>
                      <a:pt x="96" y="57"/>
                      <a:pt x="82" y="63"/>
                    </a:cubicBezTo>
                    <a:cubicBezTo>
                      <a:pt x="72" y="68"/>
                      <a:pt x="61" y="71"/>
                      <a:pt x="50" y="74"/>
                    </a:cubicBezTo>
                    <a:cubicBezTo>
                      <a:pt x="41" y="76"/>
                      <a:pt x="29" y="77"/>
                      <a:pt x="21" y="82"/>
                    </a:cubicBezTo>
                    <a:cubicBezTo>
                      <a:pt x="11" y="87"/>
                      <a:pt x="8" y="100"/>
                      <a:pt x="5" y="110"/>
                    </a:cubicBezTo>
                    <a:cubicBezTo>
                      <a:pt x="0" y="132"/>
                      <a:pt x="8" y="154"/>
                      <a:pt x="16" y="173"/>
                    </a:cubicBezTo>
                    <a:cubicBezTo>
                      <a:pt x="18" y="177"/>
                      <a:pt x="24" y="175"/>
                      <a:pt x="23" y="171"/>
                    </a:cubicBezTo>
                    <a:cubicBezTo>
                      <a:pt x="16" y="147"/>
                      <a:pt x="3" y="120"/>
                      <a:pt x="18" y="96"/>
                    </a:cubicBezTo>
                    <a:cubicBezTo>
                      <a:pt x="25" y="84"/>
                      <a:pt x="40" y="84"/>
                      <a:pt x="52" y="80"/>
                    </a:cubicBezTo>
                    <a:cubicBezTo>
                      <a:pt x="61" y="77"/>
                      <a:pt x="71" y="74"/>
                      <a:pt x="80" y="70"/>
                    </a:cubicBezTo>
                    <a:cubicBezTo>
                      <a:pt x="98" y="63"/>
                      <a:pt x="111" y="52"/>
                      <a:pt x="123" y="36"/>
                    </a:cubicBezTo>
                    <a:cubicBezTo>
                      <a:pt x="134" y="22"/>
                      <a:pt x="126" y="18"/>
                      <a:pt x="126" y="1"/>
                    </a:cubicBezTo>
                    <a:cubicBezTo>
                      <a:pt x="125" y="0"/>
                      <a:pt x="124" y="0"/>
                      <a:pt x="124" y="1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697" name="Freeform 244">
                <a:extLst>
                  <a:ext uri="{FF2B5EF4-FFF2-40B4-BE49-F238E27FC236}">
                    <a16:creationId xmlns:a16="http://schemas.microsoft.com/office/drawing/2014/main" id="{AA7FD192-AFCA-4AB5-9667-1DB174F8F948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7158" y="2844"/>
                <a:ext cx="38" cy="55"/>
              </a:xfrm>
              <a:custGeom>
                <a:avLst/>
                <a:gdLst>
                  <a:gd name="T0" fmla="*/ 22 w 36"/>
                  <a:gd name="T1" fmla="*/ 5 h 52"/>
                  <a:gd name="T2" fmla="*/ 28 w 36"/>
                  <a:gd name="T3" fmla="*/ 16 h 52"/>
                  <a:gd name="T4" fmla="*/ 26 w 36"/>
                  <a:gd name="T5" fmla="*/ 18 h 52"/>
                  <a:gd name="T6" fmla="*/ 23 w 36"/>
                  <a:gd name="T7" fmla="*/ 26 h 52"/>
                  <a:gd name="T8" fmla="*/ 2 w 36"/>
                  <a:gd name="T9" fmla="*/ 47 h 52"/>
                  <a:gd name="T10" fmla="*/ 4 w 36"/>
                  <a:gd name="T11" fmla="*/ 50 h 52"/>
                  <a:gd name="T12" fmla="*/ 20 w 36"/>
                  <a:gd name="T13" fmla="*/ 38 h 52"/>
                  <a:gd name="T14" fmla="*/ 27 w 36"/>
                  <a:gd name="T15" fmla="*/ 30 h 52"/>
                  <a:gd name="T16" fmla="*/ 30 w 36"/>
                  <a:gd name="T17" fmla="*/ 21 h 52"/>
                  <a:gd name="T18" fmla="*/ 35 w 36"/>
                  <a:gd name="T19" fmla="*/ 11 h 52"/>
                  <a:gd name="T20" fmla="*/ 24 w 36"/>
                  <a:gd name="T21" fmla="*/ 2 h 52"/>
                  <a:gd name="T22" fmla="*/ 22 w 36"/>
                  <a:gd name="T23" fmla="*/ 5 h 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52">
                    <a:moveTo>
                      <a:pt x="22" y="5"/>
                    </a:moveTo>
                    <a:cubicBezTo>
                      <a:pt x="25" y="8"/>
                      <a:pt x="30" y="9"/>
                      <a:pt x="28" y="16"/>
                    </a:cubicBezTo>
                    <a:cubicBezTo>
                      <a:pt x="28" y="16"/>
                      <a:pt x="27" y="17"/>
                      <a:pt x="26" y="18"/>
                    </a:cubicBezTo>
                    <a:cubicBezTo>
                      <a:pt x="25" y="20"/>
                      <a:pt x="25" y="23"/>
                      <a:pt x="23" y="26"/>
                    </a:cubicBezTo>
                    <a:cubicBezTo>
                      <a:pt x="19" y="36"/>
                      <a:pt x="10" y="40"/>
                      <a:pt x="2" y="47"/>
                    </a:cubicBezTo>
                    <a:cubicBezTo>
                      <a:pt x="0" y="48"/>
                      <a:pt x="2" y="52"/>
                      <a:pt x="4" y="50"/>
                    </a:cubicBezTo>
                    <a:cubicBezTo>
                      <a:pt x="10" y="47"/>
                      <a:pt x="16" y="43"/>
                      <a:pt x="20" y="38"/>
                    </a:cubicBezTo>
                    <a:cubicBezTo>
                      <a:pt x="22" y="36"/>
                      <a:pt x="25" y="33"/>
                      <a:pt x="27" y="30"/>
                    </a:cubicBezTo>
                    <a:cubicBezTo>
                      <a:pt x="29" y="27"/>
                      <a:pt x="29" y="23"/>
                      <a:pt x="30" y="21"/>
                    </a:cubicBezTo>
                    <a:cubicBezTo>
                      <a:pt x="32" y="17"/>
                      <a:pt x="36" y="15"/>
                      <a:pt x="35" y="11"/>
                    </a:cubicBezTo>
                    <a:cubicBezTo>
                      <a:pt x="34" y="6"/>
                      <a:pt x="28" y="4"/>
                      <a:pt x="24" y="2"/>
                    </a:cubicBezTo>
                    <a:cubicBezTo>
                      <a:pt x="22" y="0"/>
                      <a:pt x="19" y="3"/>
                      <a:pt x="22" y="5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698" name="Freeform 245">
                <a:extLst>
                  <a:ext uri="{FF2B5EF4-FFF2-40B4-BE49-F238E27FC236}">
                    <a16:creationId xmlns:a16="http://schemas.microsoft.com/office/drawing/2014/main" id="{E826C5F8-9DF1-4E81-AE3F-433BEEA4A732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7046" y="2856"/>
                <a:ext cx="107" cy="66"/>
              </a:xfrm>
              <a:custGeom>
                <a:avLst/>
                <a:gdLst>
                  <a:gd name="T0" fmla="*/ 99 w 101"/>
                  <a:gd name="T1" fmla="*/ 43 h 62"/>
                  <a:gd name="T2" fmla="*/ 36 w 101"/>
                  <a:gd name="T3" fmla="*/ 48 h 62"/>
                  <a:gd name="T4" fmla="*/ 5 w 101"/>
                  <a:gd name="T5" fmla="*/ 2 h 62"/>
                  <a:gd name="T6" fmla="*/ 1 w 101"/>
                  <a:gd name="T7" fmla="*/ 4 h 62"/>
                  <a:gd name="T8" fmla="*/ 46 w 101"/>
                  <a:gd name="T9" fmla="*/ 59 h 62"/>
                  <a:gd name="T10" fmla="*/ 100 w 101"/>
                  <a:gd name="T11" fmla="*/ 45 h 62"/>
                  <a:gd name="T12" fmla="*/ 99 w 101"/>
                  <a:gd name="T13" fmla="*/ 43 h 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01" h="62">
                    <a:moveTo>
                      <a:pt x="99" y="43"/>
                    </a:moveTo>
                    <a:cubicBezTo>
                      <a:pt x="83" y="50"/>
                      <a:pt x="51" y="58"/>
                      <a:pt x="36" y="48"/>
                    </a:cubicBezTo>
                    <a:cubicBezTo>
                      <a:pt x="20" y="37"/>
                      <a:pt x="15" y="16"/>
                      <a:pt x="5" y="2"/>
                    </a:cubicBezTo>
                    <a:cubicBezTo>
                      <a:pt x="4" y="0"/>
                      <a:pt x="0" y="2"/>
                      <a:pt x="1" y="4"/>
                    </a:cubicBezTo>
                    <a:cubicBezTo>
                      <a:pt x="9" y="22"/>
                      <a:pt x="24" y="54"/>
                      <a:pt x="46" y="59"/>
                    </a:cubicBezTo>
                    <a:cubicBezTo>
                      <a:pt x="63" y="62"/>
                      <a:pt x="87" y="56"/>
                      <a:pt x="100" y="45"/>
                    </a:cubicBezTo>
                    <a:cubicBezTo>
                      <a:pt x="101" y="45"/>
                      <a:pt x="100" y="43"/>
                      <a:pt x="99" y="43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699" name="Freeform 246">
                <a:extLst>
                  <a:ext uri="{FF2B5EF4-FFF2-40B4-BE49-F238E27FC236}">
                    <a16:creationId xmlns:a16="http://schemas.microsoft.com/office/drawing/2014/main" id="{CB3E6BF4-625E-4C2D-8D37-620A465F1567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7072" y="2851"/>
                <a:ext cx="169" cy="243"/>
              </a:xfrm>
              <a:custGeom>
                <a:avLst/>
                <a:gdLst>
                  <a:gd name="T0" fmla="*/ 113 w 160"/>
                  <a:gd name="T1" fmla="*/ 2 h 230"/>
                  <a:gd name="T2" fmla="*/ 66 w 160"/>
                  <a:gd name="T3" fmla="*/ 71 h 230"/>
                  <a:gd name="T4" fmla="*/ 27 w 160"/>
                  <a:gd name="T5" fmla="*/ 85 h 230"/>
                  <a:gd name="T6" fmla="*/ 29 w 160"/>
                  <a:gd name="T7" fmla="*/ 170 h 230"/>
                  <a:gd name="T8" fmla="*/ 85 w 160"/>
                  <a:gd name="T9" fmla="*/ 217 h 230"/>
                  <a:gd name="T10" fmla="*/ 159 w 160"/>
                  <a:gd name="T11" fmla="*/ 162 h 230"/>
                  <a:gd name="T12" fmla="*/ 156 w 160"/>
                  <a:gd name="T13" fmla="*/ 160 h 230"/>
                  <a:gd name="T14" fmla="*/ 63 w 160"/>
                  <a:gd name="T15" fmla="*/ 204 h 230"/>
                  <a:gd name="T16" fmla="*/ 21 w 160"/>
                  <a:gd name="T17" fmla="*/ 108 h 230"/>
                  <a:gd name="T18" fmla="*/ 97 w 160"/>
                  <a:gd name="T19" fmla="*/ 61 h 230"/>
                  <a:gd name="T20" fmla="*/ 116 w 160"/>
                  <a:gd name="T21" fmla="*/ 2 h 230"/>
                  <a:gd name="T22" fmla="*/ 113 w 160"/>
                  <a:gd name="T23" fmla="*/ 2 h 2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60" h="230">
                    <a:moveTo>
                      <a:pt x="113" y="2"/>
                    </a:moveTo>
                    <a:cubicBezTo>
                      <a:pt x="121" y="38"/>
                      <a:pt x="98" y="61"/>
                      <a:pt x="66" y="71"/>
                    </a:cubicBezTo>
                    <a:cubicBezTo>
                      <a:pt x="53" y="75"/>
                      <a:pt x="38" y="77"/>
                      <a:pt x="27" y="85"/>
                    </a:cubicBezTo>
                    <a:cubicBezTo>
                      <a:pt x="0" y="106"/>
                      <a:pt x="16" y="146"/>
                      <a:pt x="29" y="170"/>
                    </a:cubicBezTo>
                    <a:cubicBezTo>
                      <a:pt x="40" y="190"/>
                      <a:pt x="59" y="217"/>
                      <a:pt x="85" y="217"/>
                    </a:cubicBezTo>
                    <a:cubicBezTo>
                      <a:pt x="116" y="217"/>
                      <a:pt x="145" y="186"/>
                      <a:pt x="159" y="162"/>
                    </a:cubicBezTo>
                    <a:cubicBezTo>
                      <a:pt x="160" y="160"/>
                      <a:pt x="157" y="158"/>
                      <a:pt x="156" y="160"/>
                    </a:cubicBezTo>
                    <a:cubicBezTo>
                      <a:pt x="138" y="187"/>
                      <a:pt x="97" y="230"/>
                      <a:pt x="63" y="204"/>
                    </a:cubicBezTo>
                    <a:cubicBezTo>
                      <a:pt x="39" y="186"/>
                      <a:pt x="13" y="137"/>
                      <a:pt x="21" y="108"/>
                    </a:cubicBezTo>
                    <a:cubicBezTo>
                      <a:pt x="31" y="77"/>
                      <a:pt x="75" y="80"/>
                      <a:pt x="97" y="61"/>
                    </a:cubicBezTo>
                    <a:cubicBezTo>
                      <a:pt x="116" y="44"/>
                      <a:pt x="122" y="26"/>
                      <a:pt x="116" y="2"/>
                    </a:cubicBezTo>
                    <a:cubicBezTo>
                      <a:pt x="115" y="0"/>
                      <a:pt x="113" y="1"/>
                      <a:pt x="113" y="2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700" name="Freeform 247">
                <a:extLst>
                  <a:ext uri="{FF2B5EF4-FFF2-40B4-BE49-F238E27FC236}">
                    <a16:creationId xmlns:a16="http://schemas.microsoft.com/office/drawing/2014/main" id="{0BB83CC2-4095-470D-9168-6C71B9B717FC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7235" y="3014"/>
                <a:ext cx="17" cy="35"/>
              </a:xfrm>
              <a:custGeom>
                <a:avLst/>
                <a:gdLst>
                  <a:gd name="T0" fmla="*/ 5 w 16"/>
                  <a:gd name="T1" fmla="*/ 6 h 33"/>
                  <a:gd name="T2" fmla="*/ 9 w 16"/>
                  <a:gd name="T3" fmla="*/ 15 h 33"/>
                  <a:gd name="T4" fmla="*/ 1 w 16"/>
                  <a:gd name="T5" fmla="*/ 30 h 33"/>
                  <a:gd name="T6" fmla="*/ 4 w 16"/>
                  <a:gd name="T7" fmla="*/ 32 h 33"/>
                  <a:gd name="T8" fmla="*/ 14 w 16"/>
                  <a:gd name="T9" fmla="*/ 17 h 33"/>
                  <a:gd name="T10" fmla="*/ 16 w 16"/>
                  <a:gd name="T11" fmla="*/ 10 h 33"/>
                  <a:gd name="T12" fmla="*/ 6 w 16"/>
                  <a:gd name="T13" fmla="*/ 1 h 33"/>
                  <a:gd name="T14" fmla="*/ 5 w 16"/>
                  <a:gd name="T15" fmla="*/ 6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6" h="33">
                    <a:moveTo>
                      <a:pt x="5" y="6"/>
                    </a:moveTo>
                    <a:cubicBezTo>
                      <a:pt x="10" y="7"/>
                      <a:pt x="12" y="9"/>
                      <a:pt x="9" y="15"/>
                    </a:cubicBezTo>
                    <a:cubicBezTo>
                      <a:pt x="7" y="20"/>
                      <a:pt x="3" y="24"/>
                      <a:pt x="1" y="30"/>
                    </a:cubicBezTo>
                    <a:cubicBezTo>
                      <a:pt x="0" y="31"/>
                      <a:pt x="3" y="33"/>
                      <a:pt x="4" y="32"/>
                    </a:cubicBezTo>
                    <a:cubicBezTo>
                      <a:pt x="8" y="27"/>
                      <a:pt x="11" y="22"/>
                      <a:pt x="14" y="17"/>
                    </a:cubicBezTo>
                    <a:cubicBezTo>
                      <a:pt x="15" y="15"/>
                      <a:pt x="16" y="13"/>
                      <a:pt x="16" y="10"/>
                    </a:cubicBezTo>
                    <a:cubicBezTo>
                      <a:pt x="15" y="4"/>
                      <a:pt x="11" y="2"/>
                      <a:pt x="6" y="1"/>
                    </a:cubicBezTo>
                    <a:cubicBezTo>
                      <a:pt x="3" y="0"/>
                      <a:pt x="2" y="5"/>
                      <a:pt x="5" y="6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701" name="Freeform 248">
                <a:extLst>
                  <a:ext uri="{FF2B5EF4-FFF2-40B4-BE49-F238E27FC236}">
                    <a16:creationId xmlns:a16="http://schemas.microsoft.com/office/drawing/2014/main" id="{A0B6CB20-0380-4E13-BD66-60367E08DFC1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7178" y="3053"/>
                <a:ext cx="52" cy="36"/>
              </a:xfrm>
              <a:custGeom>
                <a:avLst/>
                <a:gdLst>
                  <a:gd name="T0" fmla="*/ 47 w 49"/>
                  <a:gd name="T1" fmla="*/ 1 h 34"/>
                  <a:gd name="T2" fmla="*/ 29 w 49"/>
                  <a:gd name="T3" fmla="*/ 18 h 34"/>
                  <a:gd name="T4" fmla="*/ 3 w 49"/>
                  <a:gd name="T5" fmla="*/ 30 h 34"/>
                  <a:gd name="T6" fmla="*/ 3 w 49"/>
                  <a:gd name="T7" fmla="*/ 33 h 34"/>
                  <a:gd name="T8" fmla="*/ 33 w 49"/>
                  <a:gd name="T9" fmla="*/ 20 h 34"/>
                  <a:gd name="T10" fmla="*/ 49 w 49"/>
                  <a:gd name="T11" fmla="*/ 2 h 34"/>
                  <a:gd name="T12" fmla="*/ 47 w 49"/>
                  <a:gd name="T13" fmla="*/ 1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9" h="34">
                    <a:moveTo>
                      <a:pt x="47" y="1"/>
                    </a:moveTo>
                    <a:cubicBezTo>
                      <a:pt x="45" y="9"/>
                      <a:pt x="36" y="14"/>
                      <a:pt x="29" y="18"/>
                    </a:cubicBezTo>
                    <a:cubicBezTo>
                      <a:pt x="20" y="23"/>
                      <a:pt x="13" y="29"/>
                      <a:pt x="3" y="30"/>
                    </a:cubicBezTo>
                    <a:cubicBezTo>
                      <a:pt x="1" y="30"/>
                      <a:pt x="0" y="33"/>
                      <a:pt x="3" y="33"/>
                    </a:cubicBezTo>
                    <a:cubicBezTo>
                      <a:pt x="15" y="34"/>
                      <a:pt x="24" y="26"/>
                      <a:pt x="33" y="20"/>
                    </a:cubicBezTo>
                    <a:cubicBezTo>
                      <a:pt x="40" y="16"/>
                      <a:pt x="47" y="10"/>
                      <a:pt x="49" y="2"/>
                    </a:cubicBezTo>
                    <a:cubicBezTo>
                      <a:pt x="49" y="1"/>
                      <a:pt x="48" y="0"/>
                      <a:pt x="47" y="1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702" name="Freeform 249">
                <a:extLst>
                  <a:ext uri="{FF2B5EF4-FFF2-40B4-BE49-F238E27FC236}">
                    <a16:creationId xmlns:a16="http://schemas.microsoft.com/office/drawing/2014/main" id="{209E0A9E-1C59-4488-8091-D55EE615E4A2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7231" y="3006"/>
                <a:ext cx="12" cy="14"/>
              </a:xfrm>
              <a:custGeom>
                <a:avLst/>
                <a:gdLst>
                  <a:gd name="T0" fmla="*/ 11 w 12"/>
                  <a:gd name="T1" fmla="*/ 10 h 13"/>
                  <a:gd name="T2" fmla="*/ 1 w 12"/>
                  <a:gd name="T3" fmla="*/ 3 h 13"/>
                  <a:gd name="T4" fmla="*/ 0 w 12"/>
                  <a:gd name="T5" fmla="*/ 5 h 13"/>
                  <a:gd name="T6" fmla="*/ 3 w 12"/>
                  <a:gd name="T7" fmla="*/ 7 h 13"/>
                  <a:gd name="T8" fmla="*/ 8 w 12"/>
                  <a:gd name="T9" fmla="*/ 11 h 13"/>
                  <a:gd name="T10" fmla="*/ 11 w 12"/>
                  <a:gd name="T11" fmla="*/ 10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2" h="13">
                    <a:moveTo>
                      <a:pt x="11" y="10"/>
                    </a:moveTo>
                    <a:cubicBezTo>
                      <a:pt x="11" y="6"/>
                      <a:pt x="6" y="0"/>
                      <a:pt x="1" y="3"/>
                    </a:cubicBezTo>
                    <a:cubicBezTo>
                      <a:pt x="0" y="3"/>
                      <a:pt x="0" y="4"/>
                      <a:pt x="0" y="5"/>
                    </a:cubicBezTo>
                    <a:cubicBezTo>
                      <a:pt x="0" y="6"/>
                      <a:pt x="2" y="6"/>
                      <a:pt x="3" y="7"/>
                    </a:cubicBezTo>
                    <a:cubicBezTo>
                      <a:pt x="5" y="8"/>
                      <a:pt x="7" y="9"/>
                      <a:pt x="8" y="11"/>
                    </a:cubicBezTo>
                    <a:cubicBezTo>
                      <a:pt x="9" y="13"/>
                      <a:pt x="12" y="12"/>
                      <a:pt x="11" y="10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703" name="Freeform 250">
                <a:extLst>
                  <a:ext uri="{FF2B5EF4-FFF2-40B4-BE49-F238E27FC236}">
                    <a16:creationId xmlns:a16="http://schemas.microsoft.com/office/drawing/2014/main" id="{0F976884-2BB0-40E4-8AB8-C2C885331438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7183" y="2916"/>
                <a:ext cx="52" cy="105"/>
              </a:xfrm>
              <a:custGeom>
                <a:avLst/>
                <a:gdLst>
                  <a:gd name="T0" fmla="*/ 43 w 49"/>
                  <a:gd name="T1" fmla="*/ 97 h 99"/>
                  <a:gd name="T2" fmla="*/ 40 w 49"/>
                  <a:gd name="T3" fmla="*/ 76 h 99"/>
                  <a:gd name="T4" fmla="*/ 18 w 49"/>
                  <a:gd name="T5" fmla="*/ 48 h 99"/>
                  <a:gd name="T6" fmla="*/ 8 w 49"/>
                  <a:gd name="T7" fmla="*/ 4 h 99"/>
                  <a:gd name="T8" fmla="*/ 3 w 49"/>
                  <a:gd name="T9" fmla="*/ 3 h 99"/>
                  <a:gd name="T10" fmla="*/ 10 w 49"/>
                  <a:gd name="T11" fmla="*/ 45 h 99"/>
                  <a:gd name="T12" fmla="*/ 42 w 49"/>
                  <a:gd name="T13" fmla="*/ 96 h 99"/>
                  <a:gd name="T14" fmla="*/ 43 w 49"/>
                  <a:gd name="T15" fmla="*/ 97 h 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49" h="99">
                    <a:moveTo>
                      <a:pt x="43" y="97"/>
                    </a:moveTo>
                    <a:cubicBezTo>
                      <a:pt x="49" y="90"/>
                      <a:pt x="46" y="83"/>
                      <a:pt x="40" y="76"/>
                    </a:cubicBezTo>
                    <a:cubicBezTo>
                      <a:pt x="33" y="66"/>
                      <a:pt x="24" y="59"/>
                      <a:pt x="18" y="48"/>
                    </a:cubicBezTo>
                    <a:cubicBezTo>
                      <a:pt x="10" y="34"/>
                      <a:pt x="7" y="20"/>
                      <a:pt x="8" y="4"/>
                    </a:cubicBezTo>
                    <a:cubicBezTo>
                      <a:pt x="8" y="1"/>
                      <a:pt x="3" y="0"/>
                      <a:pt x="3" y="3"/>
                    </a:cubicBezTo>
                    <a:cubicBezTo>
                      <a:pt x="0" y="18"/>
                      <a:pt x="4" y="32"/>
                      <a:pt x="10" y="45"/>
                    </a:cubicBezTo>
                    <a:cubicBezTo>
                      <a:pt x="15" y="55"/>
                      <a:pt x="46" y="89"/>
                      <a:pt x="42" y="96"/>
                    </a:cubicBezTo>
                    <a:cubicBezTo>
                      <a:pt x="41" y="97"/>
                      <a:pt x="42" y="99"/>
                      <a:pt x="43" y="97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704" name="Freeform 251">
                <a:extLst>
                  <a:ext uri="{FF2B5EF4-FFF2-40B4-BE49-F238E27FC236}">
                    <a16:creationId xmlns:a16="http://schemas.microsoft.com/office/drawing/2014/main" id="{8B920874-64AC-44E6-8E5E-28D2FAB632F8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7137" y="2892"/>
                <a:ext cx="60" cy="86"/>
              </a:xfrm>
              <a:custGeom>
                <a:avLst/>
                <a:gdLst>
                  <a:gd name="T0" fmla="*/ 49 w 56"/>
                  <a:gd name="T1" fmla="*/ 1 h 81"/>
                  <a:gd name="T2" fmla="*/ 33 w 56"/>
                  <a:gd name="T3" fmla="*/ 39 h 81"/>
                  <a:gd name="T4" fmla="*/ 20 w 56"/>
                  <a:gd name="T5" fmla="*/ 49 h 81"/>
                  <a:gd name="T6" fmla="*/ 1 w 56"/>
                  <a:gd name="T7" fmla="*/ 76 h 81"/>
                  <a:gd name="T8" fmla="*/ 5 w 56"/>
                  <a:gd name="T9" fmla="*/ 78 h 81"/>
                  <a:gd name="T10" fmla="*/ 24 w 56"/>
                  <a:gd name="T11" fmla="*/ 54 h 81"/>
                  <a:gd name="T12" fmla="*/ 46 w 56"/>
                  <a:gd name="T13" fmla="*/ 37 h 81"/>
                  <a:gd name="T14" fmla="*/ 50 w 56"/>
                  <a:gd name="T15" fmla="*/ 1 h 81"/>
                  <a:gd name="T16" fmla="*/ 49 w 56"/>
                  <a:gd name="T17" fmla="*/ 1 h 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6" h="81">
                    <a:moveTo>
                      <a:pt x="49" y="1"/>
                    </a:moveTo>
                    <a:cubicBezTo>
                      <a:pt x="51" y="18"/>
                      <a:pt x="47" y="29"/>
                      <a:pt x="33" y="39"/>
                    </a:cubicBezTo>
                    <a:cubicBezTo>
                      <a:pt x="28" y="42"/>
                      <a:pt x="24" y="46"/>
                      <a:pt x="20" y="49"/>
                    </a:cubicBezTo>
                    <a:cubicBezTo>
                      <a:pt x="11" y="57"/>
                      <a:pt x="5" y="65"/>
                      <a:pt x="1" y="76"/>
                    </a:cubicBezTo>
                    <a:cubicBezTo>
                      <a:pt x="0" y="78"/>
                      <a:pt x="4" y="81"/>
                      <a:pt x="5" y="78"/>
                    </a:cubicBezTo>
                    <a:cubicBezTo>
                      <a:pt x="10" y="69"/>
                      <a:pt x="16" y="61"/>
                      <a:pt x="24" y="54"/>
                    </a:cubicBezTo>
                    <a:cubicBezTo>
                      <a:pt x="31" y="48"/>
                      <a:pt x="39" y="43"/>
                      <a:pt x="46" y="37"/>
                    </a:cubicBezTo>
                    <a:cubicBezTo>
                      <a:pt x="56" y="27"/>
                      <a:pt x="56" y="14"/>
                      <a:pt x="50" y="1"/>
                    </a:cubicBezTo>
                    <a:cubicBezTo>
                      <a:pt x="50" y="0"/>
                      <a:pt x="49" y="0"/>
                      <a:pt x="49" y="1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705" name="Freeform 252">
                <a:extLst>
                  <a:ext uri="{FF2B5EF4-FFF2-40B4-BE49-F238E27FC236}">
                    <a16:creationId xmlns:a16="http://schemas.microsoft.com/office/drawing/2014/main" id="{6E3777B2-E552-4A1A-B78E-9AE5333DD9D4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7130" y="3006"/>
                <a:ext cx="35" cy="53"/>
              </a:xfrm>
              <a:custGeom>
                <a:avLst/>
                <a:gdLst>
                  <a:gd name="T0" fmla="*/ 2 w 33"/>
                  <a:gd name="T1" fmla="*/ 1 h 50"/>
                  <a:gd name="T2" fmla="*/ 32 w 33"/>
                  <a:gd name="T3" fmla="*/ 49 h 50"/>
                  <a:gd name="T4" fmla="*/ 32 w 33"/>
                  <a:gd name="T5" fmla="*/ 48 h 50"/>
                  <a:gd name="T6" fmla="*/ 13 w 33"/>
                  <a:gd name="T7" fmla="*/ 33 h 50"/>
                  <a:gd name="T8" fmla="*/ 4 w 33"/>
                  <a:gd name="T9" fmla="*/ 2 h 50"/>
                  <a:gd name="T10" fmla="*/ 2 w 33"/>
                  <a:gd name="T11" fmla="*/ 1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3" h="50">
                    <a:moveTo>
                      <a:pt x="2" y="1"/>
                    </a:moveTo>
                    <a:cubicBezTo>
                      <a:pt x="0" y="21"/>
                      <a:pt x="11" y="45"/>
                      <a:pt x="32" y="49"/>
                    </a:cubicBezTo>
                    <a:cubicBezTo>
                      <a:pt x="33" y="50"/>
                      <a:pt x="33" y="48"/>
                      <a:pt x="32" y="48"/>
                    </a:cubicBezTo>
                    <a:cubicBezTo>
                      <a:pt x="23" y="46"/>
                      <a:pt x="17" y="41"/>
                      <a:pt x="13" y="33"/>
                    </a:cubicBezTo>
                    <a:cubicBezTo>
                      <a:pt x="9" y="24"/>
                      <a:pt x="3" y="11"/>
                      <a:pt x="4" y="2"/>
                    </a:cubicBezTo>
                    <a:cubicBezTo>
                      <a:pt x="4" y="0"/>
                      <a:pt x="2" y="0"/>
                      <a:pt x="2" y="1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706" name="Freeform 253">
                <a:extLst>
                  <a:ext uri="{FF2B5EF4-FFF2-40B4-BE49-F238E27FC236}">
                    <a16:creationId xmlns:a16="http://schemas.microsoft.com/office/drawing/2014/main" id="{312FE157-9B2A-4BC1-9D8D-829BF331066B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7184" y="3020"/>
                <a:ext cx="36" cy="38"/>
              </a:xfrm>
              <a:custGeom>
                <a:avLst/>
                <a:gdLst>
                  <a:gd name="T0" fmla="*/ 32 w 34"/>
                  <a:gd name="T1" fmla="*/ 0 h 36"/>
                  <a:gd name="T2" fmla="*/ 15 w 34"/>
                  <a:gd name="T3" fmla="*/ 14 h 36"/>
                  <a:gd name="T4" fmla="*/ 2 w 34"/>
                  <a:gd name="T5" fmla="*/ 32 h 36"/>
                  <a:gd name="T6" fmla="*/ 5 w 34"/>
                  <a:gd name="T7" fmla="*/ 35 h 36"/>
                  <a:gd name="T8" fmla="*/ 16 w 34"/>
                  <a:gd name="T9" fmla="*/ 19 h 36"/>
                  <a:gd name="T10" fmla="*/ 33 w 34"/>
                  <a:gd name="T11" fmla="*/ 1 h 36"/>
                  <a:gd name="T12" fmla="*/ 32 w 34"/>
                  <a:gd name="T13" fmla="*/ 0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4" h="36">
                    <a:moveTo>
                      <a:pt x="32" y="0"/>
                    </a:moveTo>
                    <a:cubicBezTo>
                      <a:pt x="26" y="5"/>
                      <a:pt x="19" y="8"/>
                      <a:pt x="15" y="14"/>
                    </a:cubicBezTo>
                    <a:cubicBezTo>
                      <a:pt x="10" y="20"/>
                      <a:pt x="7" y="27"/>
                      <a:pt x="2" y="32"/>
                    </a:cubicBezTo>
                    <a:cubicBezTo>
                      <a:pt x="0" y="33"/>
                      <a:pt x="3" y="36"/>
                      <a:pt x="5" y="35"/>
                    </a:cubicBezTo>
                    <a:cubicBezTo>
                      <a:pt x="10" y="31"/>
                      <a:pt x="13" y="25"/>
                      <a:pt x="16" y="19"/>
                    </a:cubicBezTo>
                    <a:cubicBezTo>
                      <a:pt x="21" y="12"/>
                      <a:pt x="27" y="7"/>
                      <a:pt x="33" y="1"/>
                    </a:cubicBezTo>
                    <a:cubicBezTo>
                      <a:pt x="34" y="1"/>
                      <a:pt x="33" y="0"/>
                      <a:pt x="32" y="0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707" name="Freeform 254">
                <a:extLst>
                  <a:ext uri="{FF2B5EF4-FFF2-40B4-BE49-F238E27FC236}">
                    <a16:creationId xmlns:a16="http://schemas.microsoft.com/office/drawing/2014/main" id="{78BA6D60-8CEB-465A-BA09-150F003A5921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7205" y="3025"/>
                <a:ext cx="12" cy="21"/>
              </a:xfrm>
              <a:custGeom>
                <a:avLst/>
                <a:gdLst>
                  <a:gd name="T0" fmla="*/ 11 w 11"/>
                  <a:gd name="T1" fmla="*/ 18 h 19"/>
                  <a:gd name="T2" fmla="*/ 2 w 11"/>
                  <a:gd name="T3" fmla="*/ 0 h 19"/>
                  <a:gd name="T4" fmla="*/ 1 w 11"/>
                  <a:gd name="T5" fmla="*/ 3 h 19"/>
                  <a:gd name="T6" fmla="*/ 5 w 11"/>
                  <a:gd name="T7" fmla="*/ 9 h 19"/>
                  <a:gd name="T8" fmla="*/ 10 w 11"/>
                  <a:gd name="T9" fmla="*/ 18 h 19"/>
                  <a:gd name="T10" fmla="*/ 11 w 11"/>
                  <a:gd name="T11" fmla="*/ 18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1" h="19">
                    <a:moveTo>
                      <a:pt x="11" y="18"/>
                    </a:moveTo>
                    <a:cubicBezTo>
                      <a:pt x="8" y="12"/>
                      <a:pt x="10" y="2"/>
                      <a:pt x="2" y="0"/>
                    </a:cubicBezTo>
                    <a:cubicBezTo>
                      <a:pt x="0" y="0"/>
                      <a:pt x="0" y="2"/>
                      <a:pt x="1" y="3"/>
                    </a:cubicBezTo>
                    <a:cubicBezTo>
                      <a:pt x="2" y="5"/>
                      <a:pt x="4" y="7"/>
                      <a:pt x="5" y="9"/>
                    </a:cubicBezTo>
                    <a:cubicBezTo>
                      <a:pt x="7" y="12"/>
                      <a:pt x="8" y="15"/>
                      <a:pt x="10" y="18"/>
                    </a:cubicBezTo>
                    <a:cubicBezTo>
                      <a:pt x="10" y="19"/>
                      <a:pt x="11" y="18"/>
                      <a:pt x="11" y="18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708" name="Freeform 255">
                <a:extLst>
                  <a:ext uri="{FF2B5EF4-FFF2-40B4-BE49-F238E27FC236}">
                    <a16:creationId xmlns:a16="http://schemas.microsoft.com/office/drawing/2014/main" id="{9CC70847-1A7D-4C9C-ACCD-FCEE40CD7FBC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7165" y="2943"/>
                <a:ext cx="42" cy="82"/>
              </a:xfrm>
              <a:custGeom>
                <a:avLst/>
                <a:gdLst>
                  <a:gd name="T0" fmla="*/ 40 w 40"/>
                  <a:gd name="T1" fmla="*/ 78 h 78"/>
                  <a:gd name="T2" fmla="*/ 6 w 40"/>
                  <a:gd name="T3" fmla="*/ 3 h 78"/>
                  <a:gd name="T4" fmla="*/ 1 w 40"/>
                  <a:gd name="T5" fmla="*/ 3 h 78"/>
                  <a:gd name="T6" fmla="*/ 39 w 40"/>
                  <a:gd name="T7" fmla="*/ 78 h 78"/>
                  <a:gd name="T8" fmla="*/ 40 w 40"/>
                  <a:gd name="T9" fmla="*/ 78 h 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0" h="78">
                    <a:moveTo>
                      <a:pt x="40" y="78"/>
                    </a:moveTo>
                    <a:cubicBezTo>
                      <a:pt x="21" y="55"/>
                      <a:pt x="8" y="33"/>
                      <a:pt x="6" y="3"/>
                    </a:cubicBezTo>
                    <a:cubicBezTo>
                      <a:pt x="6" y="0"/>
                      <a:pt x="1" y="0"/>
                      <a:pt x="1" y="3"/>
                    </a:cubicBezTo>
                    <a:cubicBezTo>
                      <a:pt x="0" y="31"/>
                      <a:pt x="18" y="61"/>
                      <a:pt x="39" y="78"/>
                    </a:cubicBezTo>
                    <a:lnTo>
                      <a:pt x="40" y="78"/>
                    </a:ln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709" name="Freeform 256">
                <a:extLst>
                  <a:ext uri="{FF2B5EF4-FFF2-40B4-BE49-F238E27FC236}">
                    <a16:creationId xmlns:a16="http://schemas.microsoft.com/office/drawing/2014/main" id="{8645F6C2-556A-4BAB-A37E-0E0D2D876E64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7171" y="2887"/>
                <a:ext cx="0" cy="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>
                    <a:moveTo>
                      <a:pt x="0" y="0"/>
                    </a:move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710" name="Freeform 257">
                <a:extLst>
                  <a:ext uri="{FF2B5EF4-FFF2-40B4-BE49-F238E27FC236}">
                    <a16:creationId xmlns:a16="http://schemas.microsoft.com/office/drawing/2014/main" id="{BC815E15-170E-4194-8AA6-71277538F55C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7075" y="2847"/>
                <a:ext cx="105" cy="62"/>
              </a:xfrm>
              <a:custGeom>
                <a:avLst/>
                <a:gdLst>
                  <a:gd name="T0" fmla="*/ 97 w 99"/>
                  <a:gd name="T1" fmla="*/ 1 h 59"/>
                  <a:gd name="T2" fmla="*/ 46 w 99"/>
                  <a:gd name="T3" fmla="*/ 46 h 59"/>
                  <a:gd name="T4" fmla="*/ 4 w 99"/>
                  <a:gd name="T5" fmla="*/ 51 h 59"/>
                  <a:gd name="T6" fmla="*/ 4 w 99"/>
                  <a:gd name="T7" fmla="*/ 56 h 59"/>
                  <a:gd name="T8" fmla="*/ 52 w 99"/>
                  <a:gd name="T9" fmla="*/ 50 h 59"/>
                  <a:gd name="T10" fmla="*/ 99 w 99"/>
                  <a:gd name="T11" fmla="*/ 2 h 59"/>
                  <a:gd name="T12" fmla="*/ 97 w 99"/>
                  <a:gd name="T13" fmla="*/ 1 h 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99" h="59">
                    <a:moveTo>
                      <a:pt x="97" y="1"/>
                    </a:moveTo>
                    <a:cubicBezTo>
                      <a:pt x="86" y="24"/>
                      <a:pt x="71" y="41"/>
                      <a:pt x="46" y="46"/>
                    </a:cubicBezTo>
                    <a:cubicBezTo>
                      <a:pt x="33" y="49"/>
                      <a:pt x="18" y="52"/>
                      <a:pt x="4" y="51"/>
                    </a:cubicBezTo>
                    <a:cubicBezTo>
                      <a:pt x="1" y="51"/>
                      <a:pt x="0" y="56"/>
                      <a:pt x="4" y="56"/>
                    </a:cubicBezTo>
                    <a:cubicBezTo>
                      <a:pt x="19" y="59"/>
                      <a:pt x="38" y="54"/>
                      <a:pt x="52" y="50"/>
                    </a:cubicBezTo>
                    <a:cubicBezTo>
                      <a:pt x="76" y="44"/>
                      <a:pt x="92" y="25"/>
                      <a:pt x="99" y="2"/>
                    </a:cubicBezTo>
                    <a:cubicBezTo>
                      <a:pt x="99" y="1"/>
                      <a:pt x="98" y="0"/>
                      <a:pt x="97" y="1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711" name="Freeform 258">
                <a:extLst>
                  <a:ext uri="{FF2B5EF4-FFF2-40B4-BE49-F238E27FC236}">
                    <a16:creationId xmlns:a16="http://schemas.microsoft.com/office/drawing/2014/main" id="{B24FD433-5D9C-4E7A-AC72-6268317AC771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7138" y="2719"/>
                <a:ext cx="44" cy="135"/>
              </a:xfrm>
              <a:custGeom>
                <a:avLst/>
                <a:gdLst>
                  <a:gd name="T0" fmla="*/ 37 w 41"/>
                  <a:gd name="T1" fmla="*/ 126 h 127"/>
                  <a:gd name="T2" fmla="*/ 28 w 41"/>
                  <a:gd name="T3" fmla="*/ 88 h 127"/>
                  <a:gd name="T4" fmla="*/ 11 w 41"/>
                  <a:gd name="T5" fmla="*/ 44 h 127"/>
                  <a:gd name="T6" fmla="*/ 16 w 41"/>
                  <a:gd name="T7" fmla="*/ 4 h 127"/>
                  <a:gd name="T8" fmla="*/ 10 w 41"/>
                  <a:gd name="T9" fmla="*/ 4 h 127"/>
                  <a:gd name="T10" fmla="*/ 8 w 41"/>
                  <a:gd name="T11" fmla="*/ 65 h 127"/>
                  <a:gd name="T12" fmla="*/ 21 w 41"/>
                  <a:gd name="T13" fmla="*/ 89 h 127"/>
                  <a:gd name="T14" fmla="*/ 32 w 41"/>
                  <a:gd name="T15" fmla="*/ 104 h 127"/>
                  <a:gd name="T16" fmla="*/ 35 w 41"/>
                  <a:gd name="T17" fmla="*/ 126 h 127"/>
                  <a:gd name="T18" fmla="*/ 37 w 41"/>
                  <a:gd name="T19" fmla="*/ 126 h 1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41" h="127">
                    <a:moveTo>
                      <a:pt x="37" y="126"/>
                    </a:moveTo>
                    <a:cubicBezTo>
                      <a:pt x="41" y="110"/>
                      <a:pt x="37" y="101"/>
                      <a:pt x="28" y="88"/>
                    </a:cubicBezTo>
                    <a:cubicBezTo>
                      <a:pt x="20" y="75"/>
                      <a:pt x="11" y="60"/>
                      <a:pt x="11" y="44"/>
                    </a:cubicBezTo>
                    <a:cubicBezTo>
                      <a:pt x="11" y="31"/>
                      <a:pt x="16" y="18"/>
                      <a:pt x="16" y="4"/>
                    </a:cubicBezTo>
                    <a:cubicBezTo>
                      <a:pt x="16" y="0"/>
                      <a:pt x="10" y="0"/>
                      <a:pt x="10" y="4"/>
                    </a:cubicBezTo>
                    <a:cubicBezTo>
                      <a:pt x="10" y="27"/>
                      <a:pt x="0" y="42"/>
                      <a:pt x="8" y="65"/>
                    </a:cubicBezTo>
                    <a:cubicBezTo>
                      <a:pt x="11" y="73"/>
                      <a:pt x="16" y="82"/>
                      <a:pt x="21" y="89"/>
                    </a:cubicBezTo>
                    <a:cubicBezTo>
                      <a:pt x="24" y="93"/>
                      <a:pt x="30" y="98"/>
                      <a:pt x="32" y="104"/>
                    </a:cubicBezTo>
                    <a:cubicBezTo>
                      <a:pt x="36" y="110"/>
                      <a:pt x="35" y="119"/>
                      <a:pt x="35" y="126"/>
                    </a:cubicBezTo>
                    <a:cubicBezTo>
                      <a:pt x="35" y="127"/>
                      <a:pt x="37" y="127"/>
                      <a:pt x="37" y="126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712" name="Freeform 259">
                <a:extLst>
                  <a:ext uri="{FF2B5EF4-FFF2-40B4-BE49-F238E27FC236}">
                    <a16:creationId xmlns:a16="http://schemas.microsoft.com/office/drawing/2014/main" id="{40639EA0-00BF-451C-88F0-B9FC7A708A99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7099" y="2732"/>
                <a:ext cx="54" cy="44"/>
              </a:xfrm>
              <a:custGeom>
                <a:avLst/>
                <a:gdLst>
                  <a:gd name="T0" fmla="*/ 48 w 51"/>
                  <a:gd name="T1" fmla="*/ 1 h 41"/>
                  <a:gd name="T2" fmla="*/ 30 w 51"/>
                  <a:gd name="T3" fmla="*/ 20 h 41"/>
                  <a:gd name="T4" fmla="*/ 2 w 51"/>
                  <a:gd name="T5" fmla="*/ 36 h 41"/>
                  <a:gd name="T6" fmla="*/ 3 w 51"/>
                  <a:gd name="T7" fmla="*/ 40 h 41"/>
                  <a:gd name="T8" fmla="*/ 34 w 51"/>
                  <a:gd name="T9" fmla="*/ 23 h 41"/>
                  <a:gd name="T10" fmla="*/ 50 w 51"/>
                  <a:gd name="T11" fmla="*/ 2 h 41"/>
                  <a:gd name="T12" fmla="*/ 48 w 51"/>
                  <a:gd name="T13" fmla="*/ 1 h 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51" h="41">
                    <a:moveTo>
                      <a:pt x="48" y="1"/>
                    </a:moveTo>
                    <a:cubicBezTo>
                      <a:pt x="45" y="10"/>
                      <a:pt x="38" y="16"/>
                      <a:pt x="30" y="20"/>
                    </a:cubicBezTo>
                    <a:cubicBezTo>
                      <a:pt x="21" y="26"/>
                      <a:pt x="12" y="32"/>
                      <a:pt x="2" y="36"/>
                    </a:cubicBezTo>
                    <a:cubicBezTo>
                      <a:pt x="0" y="37"/>
                      <a:pt x="1" y="41"/>
                      <a:pt x="3" y="40"/>
                    </a:cubicBezTo>
                    <a:cubicBezTo>
                      <a:pt x="14" y="36"/>
                      <a:pt x="24" y="29"/>
                      <a:pt x="34" y="23"/>
                    </a:cubicBezTo>
                    <a:cubicBezTo>
                      <a:pt x="41" y="18"/>
                      <a:pt x="48" y="10"/>
                      <a:pt x="50" y="2"/>
                    </a:cubicBezTo>
                    <a:cubicBezTo>
                      <a:pt x="51" y="1"/>
                      <a:pt x="49" y="0"/>
                      <a:pt x="48" y="1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713" name="Freeform 260">
                <a:extLst>
                  <a:ext uri="{FF2B5EF4-FFF2-40B4-BE49-F238E27FC236}">
                    <a16:creationId xmlns:a16="http://schemas.microsoft.com/office/drawing/2014/main" id="{14EA7E55-D39F-4F59-B070-F1BAF49C49A5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7065" y="2801"/>
                <a:ext cx="26" cy="83"/>
              </a:xfrm>
              <a:custGeom>
                <a:avLst/>
                <a:gdLst>
                  <a:gd name="T0" fmla="*/ 6 w 24"/>
                  <a:gd name="T1" fmla="*/ 1 h 78"/>
                  <a:gd name="T2" fmla="*/ 20 w 24"/>
                  <a:gd name="T3" fmla="*/ 76 h 78"/>
                  <a:gd name="T4" fmla="*/ 23 w 24"/>
                  <a:gd name="T5" fmla="*/ 75 h 78"/>
                  <a:gd name="T6" fmla="*/ 9 w 24"/>
                  <a:gd name="T7" fmla="*/ 43 h 78"/>
                  <a:gd name="T8" fmla="*/ 9 w 24"/>
                  <a:gd name="T9" fmla="*/ 2 h 78"/>
                  <a:gd name="T10" fmla="*/ 6 w 24"/>
                  <a:gd name="T11" fmla="*/ 1 h 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4" h="78">
                    <a:moveTo>
                      <a:pt x="6" y="1"/>
                    </a:moveTo>
                    <a:cubicBezTo>
                      <a:pt x="0" y="29"/>
                      <a:pt x="6" y="52"/>
                      <a:pt x="20" y="76"/>
                    </a:cubicBezTo>
                    <a:cubicBezTo>
                      <a:pt x="21" y="78"/>
                      <a:pt x="24" y="77"/>
                      <a:pt x="23" y="75"/>
                    </a:cubicBezTo>
                    <a:cubicBezTo>
                      <a:pt x="19" y="64"/>
                      <a:pt x="12" y="54"/>
                      <a:pt x="9" y="43"/>
                    </a:cubicBezTo>
                    <a:cubicBezTo>
                      <a:pt x="5" y="29"/>
                      <a:pt x="6" y="16"/>
                      <a:pt x="9" y="2"/>
                    </a:cubicBezTo>
                    <a:cubicBezTo>
                      <a:pt x="9" y="0"/>
                      <a:pt x="7" y="0"/>
                      <a:pt x="6" y="1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714" name="Freeform 261">
                <a:extLst>
                  <a:ext uri="{FF2B5EF4-FFF2-40B4-BE49-F238E27FC236}">
                    <a16:creationId xmlns:a16="http://schemas.microsoft.com/office/drawing/2014/main" id="{4F47D07B-F641-4310-B4DB-979FA606B71D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7133" y="2740"/>
                <a:ext cx="5" cy="13"/>
              </a:xfrm>
              <a:custGeom>
                <a:avLst/>
                <a:gdLst>
                  <a:gd name="T0" fmla="*/ 1 w 5"/>
                  <a:gd name="T1" fmla="*/ 3 h 13"/>
                  <a:gd name="T2" fmla="*/ 1 w 5"/>
                  <a:gd name="T3" fmla="*/ 11 h 13"/>
                  <a:gd name="T4" fmla="*/ 4 w 5"/>
                  <a:gd name="T5" fmla="*/ 11 h 13"/>
                  <a:gd name="T6" fmla="*/ 4 w 5"/>
                  <a:gd name="T7" fmla="*/ 2 h 13"/>
                  <a:gd name="T8" fmla="*/ 1 w 5"/>
                  <a:gd name="T9" fmla="*/ 3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" h="13">
                    <a:moveTo>
                      <a:pt x="1" y="3"/>
                    </a:moveTo>
                    <a:cubicBezTo>
                      <a:pt x="1" y="6"/>
                      <a:pt x="0" y="9"/>
                      <a:pt x="1" y="11"/>
                    </a:cubicBezTo>
                    <a:cubicBezTo>
                      <a:pt x="2" y="13"/>
                      <a:pt x="4" y="12"/>
                      <a:pt x="4" y="11"/>
                    </a:cubicBezTo>
                    <a:cubicBezTo>
                      <a:pt x="5" y="8"/>
                      <a:pt x="5" y="5"/>
                      <a:pt x="4" y="2"/>
                    </a:cubicBezTo>
                    <a:cubicBezTo>
                      <a:pt x="4" y="0"/>
                      <a:pt x="0" y="1"/>
                      <a:pt x="1" y="3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715" name="Freeform 262">
                <a:extLst>
                  <a:ext uri="{FF2B5EF4-FFF2-40B4-BE49-F238E27FC236}">
                    <a16:creationId xmlns:a16="http://schemas.microsoft.com/office/drawing/2014/main" id="{C10218D5-D17A-475F-926E-F534752DE9B8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7130" y="2757"/>
                <a:ext cx="7" cy="22"/>
              </a:xfrm>
              <a:custGeom>
                <a:avLst/>
                <a:gdLst>
                  <a:gd name="T0" fmla="*/ 5 w 7"/>
                  <a:gd name="T1" fmla="*/ 0 h 21"/>
                  <a:gd name="T2" fmla="*/ 0 w 7"/>
                  <a:gd name="T3" fmla="*/ 19 h 21"/>
                  <a:gd name="T4" fmla="*/ 2 w 7"/>
                  <a:gd name="T5" fmla="*/ 19 h 21"/>
                  <a:gd name="T6" fmla="*/ 6 w 7"/>
                  <a:gd name="T7" fmla="*/ 1 h 21"/>
                  <a:gd name="T8" fmla="*/ 5 w 7"/>
                  <a:gd name="T9" fmla="*/ 0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21">
                    <a:moveTo>
                      <a:pt x="5" y="0"/>
                    </a:moveTo>
                    <a:cubicBezTo>
                      <a:pt x="2" y="6"/>
                      <a:pt x="1" y="12"/>
                      <a:pt x="0" y="19"/>
                    </a:cubicBezTo>
                    <a:cubicBezTo>
                      <a:pt x="0" y="20"/>
                      <a:pt x="2" y="21"/>
                      <a:pt x="2" y="19"/>
                    </a:cubicBezTo>
                    <a:cubicBezTo>
                      <a:pt x="4" y="13"/>
                      <a:pt x="4" y="7"/>
                      <a:pt x="6" y="1"/>
                    </a:cubicBezTo>
                    <a:cubicBezTo>
                      <a:pt x="7" y="0"/>
                      <a:pt x="6" y="0"/>
                      <a:pt x="5" y="0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716" name="Freeform 263">
                <a:extLst>
                  <a:ext uri="{FF2B5EF4-FFF2-40B4-BE49-F238E27FC236}">
                    <a16:creationId xmlns:a16="http://schemas.microsoft.com/office/drawing/2014/main" id="{380F40DB-2463-461D-B455-7EC6EA34181F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7129" y="2793"/>
                <a:ext cx="6" cy="31"/>
              </a:xfrm>
              <a:custGeom>
                <a:avLst/>
                <a:gdLst>
                  <a:gd name="T0" fmla="*/ 1 w 6"/>
                  <a:gd name="T1" fmla="*/ 1 h 30"/>
                  <a:gd name="T2" fmla="*/ 5 w 6"/>
                  <a:gd name="T3" fmla="*/ 29 h 30"/>
                  <a:gd name="T4" fmla="*/ 6 w 6"/>
                  <a:gd name="T5" fmla="*/ 29 h 30"/>
                  <a:gd name="T6" fmla="*/ 3 w 6"/>
                  <a:gd name="T7" fmla="*/ 16 h 30"/>
                  <a:gd name="T8" fmla="*/ 2 w 6"/>
                  <a:gd name="T9" fmla="*/ 1 h 30"/>
                  <a:gd name="T10" fmla="*/ 1 w 6"/>
                  <a:gd name="T11" fmla="*/ 1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6" h="30">
                    <a:moveTo>
                      <a:pt x="1" y="1"/>
                    </a:moveTo>
                    <a:cubicBezTo>
                      <a:pt x="0" y="11"/>
                      <a:pt x="1" y="20"/>
                      <a:pt x="5" y="29"/>
                    </a:cubicBezTo>
                    <a:cubicBezTo>
                      <a:pt x="5" y="30"/>
                      <a:pt x="6" y="30"/>
                      <a:pt x="6" y="29"/>
                    </a:cubicBezTo>
                    <a:cubicBezTo>
                      <a:pt x="5" y="25"/>
                      <a:pt x="4" y="20"/>
                      <a:pt x="3" y="16"/>
                    </a:cubicBezTo>
                    <a:cubicBezTo>
                      <a:pt x="2" y="11"/>
                      <a:pt x="1" y="6"/>
                      <a:pt x="2" y="1"/>
                    </a:cubicBezTo>
                    <a:cubicBezTo>
                      <a:pt x="2" y="0"/>
                      <a:pt x="1" y="0"/>
                      <a:pt x="1" y="1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717" name="Freeform 264">
                <a:extLst>
                  <a:ext uri="{FF2B5EF4-FFF2-40B4-BE49-F238E27FC236}">
                    <a16:creationId xmlns:a16="http://schemas.microsoft.com/office/drawing/2014/main" id="{78159B4E-5D31-4C4D-B084-918ABDC89577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7141" y="2836"/>
                <a:ext cx="12" cy="16"/>
              </a:xfrm>
              <a:custGeom>
                <a:avLst/>
                <a:gdLst>
                  <a:gd name="T0" fmla="*/ 0 w 12"/>
                  <a:gd name="T1" fmla="*/ 1 h 15"/>
                  <a:gd name="T2" fmla="*/ 9 w 12"/>
                  <a:gd name="T3" fmla="*/ 14 h 15"/>
                  <a:gd name="T4" fmla="*/ 11 w 12"/>
                  <a:gd name="T5" fmla="*/ 13 h 15"/>
                  <a:gd name="T6" fmla="*/ 1 w 12"/>
                  <a:gd name="T7" fmla="*/ 0 h 15"/>
                  <a:gd name="T8" fmla="*/ 0 w 12"/>
                  <a:gd name="T9" fmla="*/ 1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" h="15">
                    <a:moveTo>
                      <a:pt x="0" y="1"/>
                    </a:moveTo>
                    <a:cubicBezTo>
                      <a:pt x="3" y="6"/>
                      <a:pt x="5" y="11"/>
                      <a:pt x="9" y="14"/>
                    </a:cubicBezTo>
                    <a:cubicBezTo>
                      <a:pt x="10" y="15"/>
                      <a:pt x="12" y="14"/>
                      <a:pt x="11" y="13"/>
                    </a:cubicBezTo>
                    <a:cubicBezTo>
                      <a:pt x="7" y="9"/>
                      <a:pt x="4" y="5"/>
                      <a:pt x="1" y="0"/>
                    </a:cubicBezTo>
                    <a:cubicBezTo>
                      <a:pt x="1" y="0"/>
                      <a:pt x="0" y="0"/>
                      <a:pt x="0" y="1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718" name="Freeform 265">
                <a:extLst>
                  <a:ext uri="{FF2B5EF4-FFF2-40B4-BE49-F238E27FC236}">
                    <a16:creationId xmlns:a16="http://schemas.microsoft.com/office/drawing/2014/main" id="{032E9E8B-3EB3-4952-9CFA-4D381F6C2230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7155" y="2854"/>
                <a:ext cx="14" cy="22"/>
              </a:xfrm>
              <a:custGeom>
                <a:avLst/>
                <a:gdLst>
                  <a:gd name="T0" fmla="*/ 0 w 13"/>
                  <a:gd name="T1" fmla="*/ 0 h 21"/>
                  <a:gd name="T2" fmla="*/ 2 w 13"/>
                  <a:gd name="T3" fmla="*/ 8 h 21"/>
                  <a:gd name="T4" fmla="*/ 4 w 13"/>
                  <a:gd name="T5" fmla="*/ 13 h 21"/>
                  <a:gd name="T6" fmla="*/ 3 w 13"/>
                  <a:gd name="T7" fmla="*/ 18 h 21"/>
                  <a:gd name="T8" fmla="*/ 8 w 13"/>
                  <a:gd name="T9" fmla="*/ 19 h 21"/>
                  <a:gd name="T10" fmla="*/ 0 w 13"/>
                  <a:gd name="T11" fmla="*/ 0 h 21"/>
                  <a:gd name="T12" fmla="*/ 0 w 13"/>
                  <a:gd name="T13" fmla="*/ 0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3" h="21">
                    <a:moveTo>
                      <a:pt x="0" y="0"/>
                    </a:moveTo>
                    <a:cubicBezTo>
                      <a:pt x="0" y="3"/>
                      <a:pt x="1" y="6"/>
                      <a:pt x="2" y="8"/>
                    </a:cubicBezTo>
                    <a:cubicBezTo>
                      <a:pt x="3" y="9"/>
                      <a:pt x="4" y="11"/>
                      <a:pt x="4" y="13"/>
                    </a:cubicBezTo>
                    <a:cubicBezTo>
                      <a:pt x="4" y="14"/>
                      <a:pt x="3" y="16"/>
                      <a:pt x="3" y="18"/>
                    </a:cubicBezTo>
                    <a:cubicBezTo>
                      <a:pt x="3" y="20"/>
                      <a:pt x="7" y="21"/>
                      <a:pt x="8" y="19"/>
                    </a:cubicBezTo>
                    <a:cubicBezTo>
                      <a:pt x="13" y="12"/>
                      <a:pt x="3" y="6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719" name="Freeform 266">
                <a:extLst>
                  <a:ext uri="{FF2B5EF4-FFF2-40B4-BE49-F238E27FC236}">
                    <a16:creationId xmlns:a16="http://schemas.microsoft.com/office/drawing/2014/main" id="{4EF96F32-294B-4C2C-A3F7-D57E5E70E6C6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7055" y="2587"/>
                <a:ext cx="44" cy="101"/>
              </a:xfrm>
              <a:custGeom>
                <a:avLst/>
                <a:gdLst>
                  <a:gd name="T0" fmla="*/ 39 w 42"/>
                  <a:gd name="T1" fmla="*/ 1 h 95"/>
                  <a:gd name="T2" fmla="*/ 23 w 42"/>
                  <a:gd name="T3" fmla="*/ 93 h 95"/>
                  <a:gd name="T4" fmla="*/ 28 w 42"/>
                  <a:gd name="T5" fmla="*/ 90 h 95"/>
                  <a:gd name="T6" fmla="*/ 41 w 42"/>
                  <a:gd name="T7" fmla="*/ 3 h 95"/>
                  <a:gd name="T8" fmla="*/ 39 w 42"/>
                  <a:gd name="T9" fmla="*/ 1 h 9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2" h="95">
                    <a:moveTo>
                      <a:pt x="39" y="1"/>
                    </a:moveTo>
                    <a:cubicBezTo>
                      <a:pt x="21" y="24"/>
                      <a:pt x="0" y="67"/>
                      <a:pt x="23" y="93"/>
                    </a:cubicBezTo>
                    <a:cubicBezTo>
                      <a:pt x="25" y="95"/>
                      <a:pt x="29" y="93"/>
                      <a:pt x="28" y="90"/>
                    </a:cubicBezTo>
                    <a:cubicBezTo>
                      <a:pt x="13" y="61"/>
                      <a:pt x="23" y="28"/>
                      <a:pt x="41" y="3"/>
                    </a:cubicBezTo>
                    <a:cubicBezTo>
                      <a:pt x="42" y="2"/>
                      <a:pt x="40" y="0"/>
                      <a:pt x="39" y="1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720" name="Freeform 267">
                <a:extLst>
                  <a:ext uri="{FF2B5EF4-FFF2-40B4-BE49-F238E27FC236}">
                    <a16:creationId xmlns:a16="http://schemas.microsoft.com/office/drawing/2014/main" id="{BDA7AA9F-3516-41AA-BF7D-B95D7A99842A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749" y="2518"/>
                <a:ext cx="113" cy="247"/>
              </a:xfrm>
              <a:custGeom>
                <a:avLst/>
                <a:gdLst>
                  <a:gd name="T0" fmla="*/ 4 w 107"/>
                  <a:gd name="T1" fmla="*/ 2 h 233"/>
                  <a:gd name="T2" fmla="*/ 14 w 107"/>
                  <a:gd name="T3" fmla="*/ 22 h 233"/>
                  <a:gd name="T4" fmla="*/ 82 w 107"/>
                  <a:gd name="T5" fmla="*/ 64 h 233"/>
                  <a:gd name="T6" fmla="*/ 93 w 107"/>
                  <a:gd name="T7" fmla="*/ 230 h 233"/>
                  <a:gd name="T8" fmla="*/ 97 w 107"/>
                  <a:gd name="T9" fmla="*/ 230 h 233"/>
                  <a:gd name="T10" fmla="*/ 100 w 107"/>
                  <a:gd name="T11" fmla="*/ 143 h 233"/>
                  <a:gd name="T12" fmla="*/ 94 w 107"/>
                  <a:gd name="T13" fmla="*/ 78 h 233"/>
                  <a:gd name="T14" fmla="*/ 68 w 107"/>
                  <a:gd name="T15" fmla="*/ 33 h 233"/>
                  <a:gd name="T16" fmla="*/ 7 w 107"/>
                  <a:gd name="T17" fmla="*/ 2 h 233"/>
                  <a:gd name="T18" fmla="*/ 4 w 107"/>
                  <a:gd name="T19" fmla="*/ 2 h 2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07" h="233">
                    <a:moveTo>
                      <a:pt x="4" y="2"/>
                    </a:moveTo>
                    <a:cubicBezTo>
                      <a:pt x="0" y="13"/>
                      <a:pt x="3" y="18"/>
                      <a:pt x="14" y="22"/>
                    </a:cubicBezTo>
                    <a:cubicBezTo>
                      <a:pt x="43" y="33"/>
                      <a:pt x="67" y="30"/>
                      <a:pt x="82" y="64"/>
                    </a:cubicBezTo>
                    <a:cubicBezTo>
                      <a:pt x="107" y="118"/>
                      <a:pt x="89" y="174"/>
                      <a:pt x="93" y="230"/>
                    </a:cubicBezTo>
                    <a:cubicBezTo>
                      <a:pt x="93" y="233"/>
                      <a:pt x="97" y="232"/>
                      <a:pt x="97" y="230"/>
                    </a:cubicBezTo>
                    <a:cubicBezTo>
                      <a:pt x="99" y="201"/>
                      <a:pt x="99" y="172"/>
                      <a:pt x="100" y="143"/>
                    </a:cubicBezTo>
                    <a:cubicBezTo>
                      <a:pt x="101" y="121"/>
                      <a:pt x="101" y="98"/>
                      <a:pt x="94" y="78"/>
                    </a:cubicBezTo>
                    <a:cubicBezTo>
                      <a:pt x="89" y="63"/>
                      <a:pt x="81" y="43"/>
                      <a:pt x="68" y="33"/>
                    </a:cubicBezTo>
                    <a:cubicBezTo>
                      <a:pt x="58" y="25"/>
                      <a:pt x="4" y="19"/>
                      <a:pt x="7" y="2"/>
                    </a:cubicBezTo>
                    <a:cubicBezTo>
                      <a:pt x="7" y="1"/>
                      <a:pt x="5" y="0"/>
                      <a:pt x="4" y="2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721" name="Freeform 268">
                <a:extLst>
                  <a:ext uri="{FF2B5EF4-FFF2-40B4-BE49-F238E27FC236}">
                    <a16:creationId xmlns:a16="http://schemas.microsoft.com/office/drawing/2014/main" id="{80F58C89-1C6B-4912-90D1-66C83E1FD46F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864" y="2848"/>
                <a:ext cx="67" cy="174"/>
              </a:xfrm>
              <a:custGeom>
                <a:avLst/>
                <a:gdLst>
                  <a:gd name="T0" fmla="*/ 0 w 63"/>
                  <a:gd name="T1" fmla="*/ 1 h 165"/>
                  <a:gd name="T2" fmla="*/ 61 w 63"/>
                  <a:gd name="T3" fmla="*/ 164 h 165"/>
                  <a:gd name="T4" fmla="*/ 62 w 63"/>
                  <a:gd name="T5" fmla="*/ 164 h 165"/>
                  <a:gd name="T6" fmla="*/ 27 w 63"/>
                  <a:gd name="T7" fmla="*/ 79 h 165"/>
                  <a:gd name="T8" fmla="*/ 1 w 63"/>
                  <a:gd name="T9" fmla="*/ 0 h 165"/>
                  <a:gd name="T10" fmla="*/ 0 w 63"/>
                  <a:gd name="T11" fmla="*/ 1 h 1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63" h="165">
                    <a:moveTo>
                      <a:pt x="0" y="1"/>
                    </a:moveTo>
                    <a:cubicBezTo>
                      <a:pt x="14" y="58"/>
                      <a:pt x="33" y="113"/>
                      <a:pt x="61" y="164"/>
                    </a:cubicBezTo>
                    <a:cubicBezTo>
                      <a:pt x="61" y="165"/>
                      <a:pt x="63" y="165"/>
                      <a:pt x="62" y="164"/>
                    </a:cubicBezTo>
                    <a:cubicBezTo>
                      <a:pt x="51" y="135"/>
                      <a:pt x="37" y="108"/>
                      <a:pt x="27" y="79"/>
                    </a:cubicBezTo>
                    <a:cubicBezTo>
                      <a:pt x="17" y="53"/>
                      <a:pt x="10" y="27"/>
                      <a:pt x="1" y="0"/>
                    </a:cubicBezTo>
                    <a:cubicBezTo>
                      <a:pt x="1" y="0"/>
                      <a:pt x="0" y="0"/>
                      <a:pt x="0" y="1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722" name="Freeform 269">
                <a:extLst>
                  <a:ext uri="{FF2B5EF4-FFF2-40B4-BE49-F238E27FC236}">
                    <a16:creationId xmlns:a16="http://schemas.microsoft.com/office/drawing/2014/main" id="{652D9B4B-1D72-4E70-8C08-B9FA5AA3B9F4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769" y="2536"/>
                <a:ext cx="213" cy="600"/>
              </a:xfrm>
              <a:custGeom>
                <a:avLst/>
                <a:gdLst>
                  <a:gd name="T0" fmla="*/ 0 w 201"/>
                  <a:gd name="T1" fmla="*/ 2 h 566"/>
                  <a:gd name="T2" fmla="*/ 28 w 201"/>
                  <a:gd name="T3" fmla="*/ 38 h 566"/>
                  <a:gd name="T4" fmla="*/ 51 w 201"/>
                  <a:gd name="T5" fmla="*/ 145 h 566"/>
                  <a:gd name="T6" fmla="*/ 69 w 201"/>
                  <a:gd name="T7" fmla="*/ 304 h 566"/>
                  <a:gd name="T8" fmla="*/ 114 w 201"/>
                  <a:gd name="T9" fmla="*/ 444 h 566"/>
                  <a:gd name="T10" fmla="*/ 196 w 201"/>
                  <a:gd name="T11" fmla="*/ 564 h 566"/>
                  <a:gd name="T12" fmla="*/ 199 w 201"/>
                  <a:gd name="T13" fmla="*/ 561 h 566"/>
                  <a:gd name="T14" fmla="*/ 150 w 201"/>
                  <a:gd name="T15" fmla="*/ 504 h 566"/>
                  <a:gd name="T16" fmla="*/ 112 w 201"/>
                  <a:gd name="T17" fmla="*/ 422 h 566"/>
                  <a:gd name="T18" fmla="*/ 71 w 201"/>
                  <a:gd name="T19" fmla="*/ 276 h 566"/>
                  <a:gd name="T20" fmla="*/ 57 w 201"/>
                  <a:gd name="T21" fmla="*/ 118 h 566"/>
                  <a:gd name="T22" fmla="*/ 41 w 201"/>
                  <a:gd name="T23" fmla="*/ 52 h 566"/>
                  <a:gd name="T24" fmla="*/ 3 w 201"/>
                  <a:gd name="T25" fmla="*/ 1 h 566"/>
                  <a:gd name="T26" fmla="*/ 0 w 201"/>
                  <a:gd name="T27" fmla="*/ 2 h 5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201" h="566">
                    <a:moveTo>
                      <a:pt x="0" y="2"/>
                    </a:moveTo>
                    <a:cubicBezTo>
                      <a:pt x="4" y="18"/>
                      <a:pt x="18" y="25"/>
                      <a:pt x="28" y="38"/>
                    </a:cubicBezTo>
                    <a:cubicBezTo>
                      <a:pt x="49" y="66"/>
                      <a:pt x="50" y="110"/>
                      <a:pt x="51" y="145"/>
                    </a:cubicBezTo>
                    <a:cubicBezTo>
                      <a:pt x="53" y="199"/>
                      <a:pt x="59" y="251"/>
                      <a:pt x="69" y="304"/>
                    </a:cubicBezTo>
                    <a:cubicBezTo>
                      <a:pt x="78" y="353"/>
                      <a:pt x="95" y="399"/>
                      <a:pt x="114" y="444"/>
                    </a:cubicBezTo>
                    <a:cubicBezTo>
                      <a:pt x="131" y="488"/>
                      <a:pt x="157" y="536"/>
                      <a:pt x="196" y="564"/>
                    </a:cubicBezTo>
                    <a:cubicBezTo>
                      <a:pt x="199" y="566"/>
                      <a:pt x="201" y="563"/>
                      <a:pt x="199" y="561"/>
                    </a:cubicBezTo>
                    <a:cubicBezTo>
                      <a:pt x="181" y="544"/>
                      <a:pt x="165" y="525"/>
                      <a:pt x="150" y="504"/>
                    </a:cubicBezTo>
                    <a:cubicBezTo>
                      <a:pt x="133" y="479"/>
                      <a:pt x="123" y="451"/>
                      <a:pt x="112" y="422"/>
                    </a:cubicBezTo>
                    <a:cubicBezTo>
                      <a:pt x="94" y="374"/>
                      <a:pt x="80" y="326"/>
                      <a:pt x="71" y="276"/>
                    </a:cubicBezTo>
                    <a:cubicBezTo>
                      <a:pt x="62" y="223"/>
                      <a:pt x="61" y="171"/>
                      <a:pt x="57" y="118"/>
                    </a:cubicBezTo>
                    <a:cubicBezTo>
                      <a:pt x="55" y="97"/>
                      <a:pt x="52" y="72"/>
                      <a:pt x="41" y="52"/>
                    </a:cubicBezTo>
                    <a:cubicBezTo>
                      <a:pt x="32" y="34"/>
                      <a:pt x="9" y="21"/>
                      <a:pt x="3" y="1"/>
                    </a:cubicBezTo>
                    <a:cubicBezTo>
                      <a:pt x="3" y="0"/>
                      <a:pt x="0" y="0"/>
                      <a:pt x="0" y="2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723" name="Freeform 270">
                <a:extLst>
                  <a:ext uri="{FF2B5EF4-FFF2-40B4-BE49-F238E27FC236}">
                    <a16:creationId xmlns:a16="http://schemas.microsoft.com/office/drawing/2014/main" id="{961A8D75-1267-4241-B9B6-6D2AA4F6F8CD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978" y="3030"/>
                <a:ext cx="283" cy="144"/>
              </a:xfrm>
              <a:custGeom>
                <a:avLst/>
                <a:gdLst>
                  <a:gd name="T0" fmla="*/ 256 w 267"/>
                  <a:gd name="T1" fmla="*/ 1 h 136"/>
                  <a:gd name="T2" fmla="*/ 254 w 267"/>
                  <a:gd name="T3" fmla="*/ 40 h 136"/>
                  <a:gd name="T4" fmla="*/ 230 w 267"/>
                  <a:gd name="T5" fmla="*/ 69 h 136"/>
                  <a:gd name="T6" fmla="*/ 160 w 267"/>
                  <a:gd name="T7" fmla="*/ 103 h 136"/>
                  <a:gd name="T8" fmla="*/ 6 w 267"/>
                  <a:gd name="T9" fmla="*/ 96 h 136"/>
                  <a:gd name="T10" fmla="*/ 3 w 267"/>
                  <a:gd name="T11" fmla="*/ 101 h 136"/>
                  <a:gd name="T12" fmla="*/ 186 w 267"/>
                  <a:gd name="T13" fmla="*/ 102 h 136"/>
                  <a:gd name="T14" fmla="*/ 251 w 267"/>
                  <a:gd name="T15" fmla="*/ 57 h 136"/>
                  <a:gd name="T16" fmla="*/ 266 w 267"/>
                  <a:gd name="T17" fmla="*/ 26 h 136"/>
                  <a:gd name="T18" fmla="*/ 258 w 267"/>
                  <a:gd name="T19" fmla="*/ 1 h 136"/>
                  <a:gd name="T20" fmla="*/ 256 w 267"/>
                  <a:gd name="T21" fmla="*/ 1 h 1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267" h="136">
                    <a:moveTo>
                      <a:pt x="256" y="1"/>
                    </a:moveTo>
                    <a:cubicBezTo>
                      <a:pt x="256" y="16"/>
                      <a:pt x="262" y="25"/>
                      <a:pt x="254" y="40"/>
                    </a:cubicBezTo>
                    <a:cubicBezTo>
                      <a:pt x="249" y="52"/>
                      <a:pt x="239" y="60"/>
                      <a:pt x="230" y="69"/>
                    </a:cubicBezTo>
                    <a:cubicBezTo>
                      <a:pt x="211" y="88"/>
                      <a:pt x="185" y="96"/>
                      <a:pt x="160" y="103"/>
                    </a:cubicBezTo>
                    <a:cubicBezTo>
                      <a:pt x="110" y="116"/>
                      <a:pt x="53" y="123"/>
                      <a:pt x="6" y="96"/>
                    </a:cubicBezTo>
                    <a:cubicBezTo>
                      <a:pt x="4" y="95"/>
                      <a:pt x="0" y="99"/>
                      <a:pt x="3" y="101"/>
                    </a:cubicBezTo>
                    <a:cubicBezTo>
                      <a:pt x="56" y="136"/>
                      <a:pt x="130" y="122"/>
                      <a:pt x="186" y="102"/>
                    </a:cubicBezTo>
                    <a:cubicBezTo>
                      <a:pt x="213" y="92"/>
                      <a:pt x="232" y="79"/>
                      <a:pt x="251" y="57"/>
                    </a:cubicBezTo>
                    <a:cubicBezTo>
                      <a:pt x="259" y="48"/>
                      <a:pt x="265" y="38"/>
                      <a:pt x="266" y="26"/>
                    </a:cubicBezTo>
                    <a:cubicBezTo>
                      <a:pt x="267" y="15"/>
                      <a:pt x="262" y="11"/>
                      <a:pt x="258" y="1"/>
                    </a:cubicBezTo>
                    <a:cubicBezTo>
                      <a:pt x="258" y="0"/>
                      <a:pt x="256" y="0"/>
                      <a:pt x="256" y="1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724" name="Freeform 271">
                <a:extLst>
                  <a:ext uri="{FF2B5EF4-FFF2-40B4-BE49-F238E27FC236}">
                    <a16:creationId xmlns:a16="http://schemas.microsoft.com/office/drawing/2014/main" id="{AB7B3E8F-A81D-4748-9743-BCD89EC7B130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960" y="3085"/>
                <a:ext cx="48" cy="37"/>
              </a:xfrm>
              <a:custGeom>
                <a:avLst/>
                <a:gdLst>
                  <a:gd name="T0" fmla="*/ 0 w 45"/>
                  <a:gd name="T1" fmla="*/ 2 h 35"/>
                  <a:gd name="T2" fmla="*/ 43 w 45"/>
                  <a:gd name="T3" fmla="*/ 34 h 35"/>
                  <a:gd name="T4" fmla="*/ 44 w 45"/>
                  <a:gd name="T5" fmla="*/ 32 h 35"/>
                  <a:gd name="T6" fmla="*/ 2 w 45"/>
                  <a:gd name="T7" fmla="*/ 1 h 35"/>
                  <a:gd name="T8" fmla="*/ 0 w 45"/>
                  <a:gd name="T9" fmla="*/ 2 h 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5" h="35">
                    <a:moveTo>
                      <a:pt x="0" y="2"/>
                    </a:moveTo>
                    <a:cubicBezTo>
                      <a:pt x="8" y="18"/>
                      <a:pt x="28" y="28"/>
                      <a:pt x="43" y="34"/>
                    </a:cubicBezTo>
                    <a:cubicBezTo>
                      <a:pt x="44" y="35"/>
                      <a:pt x="45" y="33"/>
                      <a:pt x="44" y="32"/>
                    </a:cubicBezTo>
                    <a:cubicBezTo>
                      <a:pt x="30" y="25"/>
                      <a:pt x="10" y="16"/>
                      <a:pt x="2" y="1"/>
                    </a:cubicBezTo>
                    <a:cubicBezTo>
                      <a:pt x="2" y="0"/>
                      <a:pt x="0" y="1"/>
                      <a:pt x="0" y="2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725" name="Freeform 272">
                <a:extLst>
                  <a:ext uri="{FF2B5EF4-FFF2-40B4-BE49-F238E27FC236}">
                    <a16:creationId xmlns:a16="http://schemas.microsoft.com/office/drawing/2014/main" id="{61947D67-505C-4905-89A2-81578AD7A8DD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7239" y="3075"/>
                <a:ext cx="110" cy="56"/>
              </a:xfrm>
              <a:custGeom>
                <a:avLst/>
                <a:gdLst>
                  <a:gd name="T0" fmla="*/ 7 w 104"/>
                  <a:gd name="T1" fmla="*/ 16 h 53"/>
                  <a:gd name="T2" fmla="*/ 100 w 104"/>
                  <a:gd name="T3" fmla="*/ 52 h 53"/>
                  <a:gd name="T4" fmla="*/ 102 w 104"/>
                  <a:gd name="T5" fmla="*/ 47 h 53"/>
                  <a:gd name="T6" fmla="*/ 5 w 104"/>
                  <a:gd name="T7" fmla="*/ 8 h 53"/>
                  <a:gd name="T8" fmla="*/ 7 w 104"/>
                  <a:gd name="T9" fmla="*/ 16 h 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4" h="53">
                    <a:moveTo>
                      <a:pt x="7" y="16"/>
                    </a:moveTo>
                    <a:cubicBezTo>
                      <a:pt x="50" y="9"/>
                      <a:pt x="66" y="36"/>
                      <a:pt x="100" y="52"/>
                    </a:cubicBezTo>
                    <a:cubicBezTo>
                      <a:pt x="102" y="53"/>
                      <a:pt x="104" y="49"/>
                      <a:pt x="102" y="47"/>
                    </a:cubicBezTo>
                    <a:cubicBezTo>
                      <a:pt x="78" y="26"/>
                      <a:pt x="39" y="0"/>
                      <a:pt x="5" y="8"/>
                    </a:cubicBezTo>
                    <a:cubicBezTo>
                      <a:pt x="0" y="10"/>
                      <a:pt x="2" y="17"/>
                      <a:pt x="7" y="16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726" name="Freeform 273">
                <a:extLst>
                  <a:ext uri="{FF2B5EF4-FFF2-40B4-BE49-F238E27FC236}">
                    <a16:creationId xmlns:a16="http://schemas.microsoft.com/office/drawing/2014/main" id="{48E73B65-B1D8-46AE-ADAF-A41DD84B8175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911" y="3147"/>
                <a:ext cx="104" cy="137"/>
              </a:xfrm>
              <a:custGeom>
                <a:avLst/>
                <a:gdLst>
                  <a:gd name="T0" fmla="*/ 95 w 98"/>
                  <a:gd name="T1" fmla="*/ 1 h 129"/>
                  <a:gd name="T2" fmla="*/ 41 w 98"/>
                  <a:gd name="T3" fmla="*/ 56 h 129"/>
                  <a:gd name="T4" fmla="*/ 2 w 98"/>
                  <a:gd name="T5" fmla="*/ 122 h 129"/>
                  <a:gd name="T6" fmla="*/ 8 w 98"/>
                  <a:gd name="T7" fmla="*/ 125 h 129"/>
                  <a:gd name="T8" fmla="*/ 55 w 98"/>
                  <a:gd name="T9" fmla="*/ 53 h 129"/>
                  <a:gd name="T10" fmla="*/ 97 w 98"/>
                  <a:gd name="T11" fmla="*/ 3 h 129"/>
                  <a:gd name="T12" fmla="*/ 95 w 98"/>
                  <a:gd name="T13" fmla="*/ 1 h 1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98" h="129">
                    <a:moveTo>
                      <a:pt x="95" y="1"/>
                    </a:moveTo>
                    <a:cubicBezTo>
                      <a:pt x="73" y="17"/>
                      <a:pt x="57" y="34"/>
                      <a:pt x="41" y="56"/>
                    </a:cubicBezTo>
                    <a:cubicBezTo>
                      <a:pt x="27" y="76"/>
                      <a:pt x="9" y="98"/>
                      <a:pt x="2" y="122"/>
                    </a:cubicBezTo>
                    <a:cubicBezTo>
                      <a:pt x="0" y="126"/>
                      <a:pt x="6" y="129"/>
                      <a:pt x="8" y="125"/>
                    </a:cubicBezTo>
                    <a:cubicBezTo>
                      <a:pt x="22" y="99"/>
                      <a:pt x="38" y="76"/>
                      <a:pt x="55" y="53"/>
                    </a:cubicBezTo>
                    <a:cubicBezTo>
                      <a:pt x="68" y="35"/>
                      <a:pt x="85" y="21"/>
                      <a:pt x="97" y="3"/>
                    </a:cubicBezTo>
                    <a:cubicBezTo>
                      <a:pt x="98" y="2"/>
                      <a:pt x="96" y="0"/>
                      <a:pt x="95" y="1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727" name="Freeform 274">
                <a:extLst>
                  <a:ext uri="{FF2B5EF4-FFF2-40B4-BE49-F238E27FC236}">
                    <a16:creationId xmlns:a16="http://schemas.microsoft.com/office/drawing/2014/main" id="{7D419064-368E-4F00-B3D1-E96FF36C5F76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949" y="3266"/>
                <a:ext cx="273" cy="40"/>
              </a:xfrm>
              <a:custGeom>
                <a:avLst/>
                <a:gdLst>
                  <a:gd name="T0" fmla="*/ 256 w 258"/>
                  <a:gd name="T1" fmla="*/ 1 h 38"/>
                  <a:gd name="T2" fmla="*/ 206 w 258"/>
                  <a:gd name="T3" fmla="*/ 17 h 38"/>
                  <a:gd name="T4" fmla="*/ 139 w 258"/>
                  <a:gd name="T5" fmla="*/ 25 h 38"/>
                  <a:gd name="T6" fmla="*/ 4 w 258"/>
                  <a:gd name="T7" fmla="*/ 32 h 38"/>
                  <a:gd name="T8" fmla="*/ 4 w 258"/>
                  <a:gd name="T9" fmla="*/ 38 h 38"/>
                  <a:gd name="T10" fmla="*/ 158 w 258"/>
                  <a:gd name="T11" fmla="*/ 30 h 38"/>
                  <a:gd name="T12" fmla="*/ 222 w 258"/>
                  <a:gd name="T13" fmla="*/ 19 h 38"/>
                  <a:gd name="T14" fmla="*/ 257 w 258"/>
                  <a:gd name="T15" fmla="*/ 2 h 38"/>
                  <a:gd name="T16" fmla="*/ 256 w 258"/>
                  <a:gd name="T17" fmla="*/ 1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58" h="38">
                    <a:moveTo>
                      <a:pt x="256" y="1"/>
                    </a:moveTo>
                    <a:cubicBezTo>
                      <a:pt x="243" y="11"/>
                      <a:pt x="222" y="13"/>
                      <a:pt x="206" y="17"/>
                    </a:cubicBezTo>
                    <a:cubicBezTo>
                      <a:pt x="184" y="23"/>
                      <a:pt x="161" y="25"/>
                      <a:pt x="139" y="25"/>
                    </a:cubicBezTo>
                    <a:cubicBezTo>
                      <a:pt x="94" y="27"/>
                      <a:pt x="48" y="26"/>
                      <a:pt x="4" y="32"/>
                    </a:cubicBezTo>
                    <a:cubicBezTo>
                      <a:pt x="0" y="32"/>
                      <a:pt x="1" y="38"/>
                      <a:pt x="4" y="38"/>
                    </a:cubicBezTo>
                    <a:cubicBezTo>
                      <a:pt x="55" y="37"/>
                      <a:pt x="108" y="34"/>
                      <a:pt x="158" y="30"/>
                    </a:cubicBezTo>
                    <a:cubicBezTo>
                      <a:pt x="180" y="29"/>
                      <a:pt x="201" y="24"/>
                      <a:pt x="222" y="19"/>
                    </a:cubicBezTo>
                    <a:cubicBezTo>
                      <a:pt x="236" y="16"/>
                      <a:pt x="249" y="13"/>
                      <a:pt x="257" y="2"/>
                    </a:cubicBezTo>
                    <a:cubicBezTo>
                      <a:pt x="258" y="1"/>
                      <a:pt x="257" y="0"/>
                      <a:pt x="256" y="1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728" name="Freeform 275">
                <a:extLst>
                  <a:ext uri="{FF2B5EF4-FFF2-40B4-BE49-F238E27FC236}">
                    <a16:creationId xmlns:a16="http://schemas.microsoft.com/office/drawing/2014/main" id="{29A5CBA2-374B-4FB3-9E3F-E4EBC4F8B1AF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7274" y="3122"/>
                <a:ext cx="79" cy="89"/>
              </a:xfrm>
              <a:custGeom>
                <a:avLst/>
                <a:gdLst>
                  <a:gd name="T0" fmla="*/ 62 w 74"/>
                  <a:gd name="T1" fmla="*/ 4 h 84"/>
                  <a:gd name="T2" fmla="*/ 38 w 74"/>
                  <a:gd name="T3" fmla="*/ 45 h 84"/>
                  <a:gd name="T4" fmla="*/ 3 w 74"/>
                  <a:gd name="T5" fmla="*/ 78 h 84"/>
                  <a:gd name="T6" fmla="*/ 7 w 74"/>
                  <a:gd name="T7" fmla="*/ 83 h 84"/>
                  <a:gd name="T8" fmla="*/ 53 w 74"/>
                  <a:gd name="T9" fmla="*/ 36 h 84"/>
                  <a:gd name="T10" fmla="*/ 66 w 74"/>
                  <a:gd name="T11" fmla="*/ 2 h 84"/>
                  <a:gd name="T12" fmla="*/ 62 w 74"/>
                  <a:gd name="T13" fmla="*/ 4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74" h="84">
                    <a:moveTo>
                      <a:pt x="62" y="4"/>
                    </a:moveTo>
                    <a:cubicBezTo>
                      <a:pt x="67" y="14"/>
                      <a:pt x="43" y="40"/>
                      <a:pt x="38" y="45"/>
                    </a:cubicBezTo>
                    <a:cubicBezTo>
                      <a:pt x="28" y="57"/>
                      <a:pt x="16" y="68"/>
                      <a:pt x="3" y="78"/>
                    </a:cubicBezTo>
                    <a:cubicBezTo>
                      <a:pt x="0" y="80"/>
                      <a:pt x="4" y="84"/>
                      <a:pt x="7" y="83"/>
                    </a:cubicBezTo>
                    <a:cubicBezTo>
                      <a:pt x="25" y="70"/>
                      <a:pt x="41" y="54"/>
                      <a:pt x="53" y="36"/>
                    </a:cubicBezTo>
                    <a:cubicBezTo>
                      <a:pt x="59" y="28"/>
                      <a:pt x="74" y="11"/>
                      <a:pt x="66" y="2"/>
                    </a:cubicBezTo>
                    <a:cubicBezTo>
                      <a:pt x="64" y="0"/>
                      <a:pt x="61" y="2"/>
                      <a:pt x="62" y="4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729" name="Freeform 276">
                <a:extLst>
                  <a:ext uri="{FF2B5EF4-FFF2-40B4-BE49-F238E27FC236}">
                    <a16:creationId xmlns:a16="http://schemas.microsoft.com/office/drawing/2014/main" id="{95684718-970F-4DE3-B1D7-AC4B85820427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7172" y="3092"/>
                <a:ext cx="110" cy="112"/>
              </a:xfrm>
              <a:custGeom>
                <a:avLst/>
                <a:gdLst>
                  <a:gd name="T0" fmla="*/ 100 w 103"/>
                  <a:gd name="T1" fmla="*/ 2 h 106"/>
                  <a:gd name="T2" fmla="*/ 3 w 103"/>
                  <a:gd name="T3" fmla="*/ 99 h 106"/>
                  <a:gd name="T4" fmla="*/ 7 w 103"/>
                  <a:gd name="T5" fmla="*/ 103 h 106"/>
                  <a:gd name="T6" fmla="*/ 63 w 103"/>
                  <a:gd name="T7" fmla="*/ 49 h 106"/>
                  <a:gd name="T8" fmla="*/ 102 w 103"/>
                  <a:gd name="T9" fmla="*/ 3 h 106"/>
                  <a:gd name="T10" fmla="*/ 100 w 103"/>
                  <a:gd name="T11" fmla="*/ 2 h 1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03" h="106">
                    <a:moveTo>
                      <a:pt x="100" y="2"/>
                    </a:moveTo>
                    <a:cubicBezTo>
                      <a:pt x="71" y="36"/>
                      <a:pt x="36" y="68"/>
                      <a:pt x="3" y="99"/>
                    </a:cubicBezTo>
                    <a:cubicBezTo>
                      <a:pt x="0" y="102"/>
                      <a:pt x="4" y="106"/>
                      <a:pt x="7" y="103"/>
                    </a:cubicBezTo>
                    <a:cubicBezTo>
                      <a:pt x="27" y="87"/>
                      <a:pt x="46" y="68"/>
                      <a:pt x="63" y="49"/>
                    </a:cubicBezTo>
                    <a:cubicBezTo>
                      <a:pt x="76" y="35"/>
                      <a:pt x="92" y="20"/>
                      <a:pt x="102" y="3"/>
                    </a:cubicBezTo>
                    <a:cubicBezTo>
                      <a:pt x="103" y="2"/>
                      <a:pt x="101" y="0"/>
                      <a:pt x="100" y="2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730" name="Freeform 277">
                <a:extLst>
                  <a:ext uri="{FF2B5EF4-FFF2-40B4-BE49-F238E27FC236}">
                    <a16:creationId xmlns:a16="http://schemas.microsoft.com/office/drawing/2014/main" id="{881F95E0-C904-4DF4-8591-FC6BFA3B1EC3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7003" y="3198"/>
                <a:ext cx="174" cy="25"/>
              </a:xfrm>
              <a:custGeom>
                <a:avLst/>
                <a:gdLst>
                  <a:gd name="T0" fmla="*/ 161 w 164"/>
                  <a:gd name="T1" fmla="*/ 1 h 24"/>
                  <a:gd name="T2" fmla="*/ 82 w 164"/>
                  <a:gd name="T3" fmla="*/ 14 h 24"/>
                  <a:gd name="T4" fmla="*/ 3 w 164"/>
                  <a:gd name="T5" fmla="*/ 18 h 24"/>
                  <a:gd name="T6" fmla="*/ 4 w 164"/>
                  <a:gd name="T7" fmla="*/ 24 h 24"/>
                  <a:gd name="T8" fmla="*/ 96 w 164"/>
                  <a:gd name="T9" fmla="*/ 20 h 24"/>
                  <a:gd name="T10" fmla="*/ 163 w 164"/>
                  <a:gd name="T11" fmla="*/ 2 h 24"/>
                  <a:gd name="T12" fmla="*/ 161 w 164"/>
                  <a:gd name="T13" fmla="*/ 1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64" h="24">
                    <a:moveTo>
                      <a:pt x="161" y="1"/>
                    </a:moveTo>
                    <a:cubicBezTo>
                      <a:pt x="142" y="15"/>
                      <a:pt x="105" y="11"/>
                      <a:pt x="82" y="14"/>
                    </a:cubicBezTo>
                    <a:cubicBezTo>
                      <a:pt x="56" y="17"/>
                      <a:pt x="29" y="15"/>
                      <a:pt x="3" y="18"/>
                    </a:cubicBezTo>
                    <a:cubicBezTo>
                      <a:pt x="0" y="19"/>
                      <a:pt x="0" y="24"/>
                      <a:pt x="4" y="24"/>
                    </a:cubicBezTo>
                    <a:cubicBezTo>
                      <a:pt x="35" y="24"/>
                      <a:pt x="65" y="22"/>
                      <a:pt x="96" y="20"/>
                    </a:cubicBezTo>
                    <a:cubicBezTo>
                      <a:pt x="118" y="18"/>
                      <a:pt x="148" y="20"/>
                      <a:pt x="163" y="2"/>
                    </a:cubicBezTo>
                    <a:cubicBezTo>
                      <a:pt x="164" y="1"/>
                      <a:pt x="162" y="0"/>
                      <a:pt x="161" y="1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731" name="Freeform 278">
                <a:extLst>
                  <a:ext uri="{FF2B5EF4-FFF2-40B4-BE49-F238E27FC236}">
                    <a16:creationId xmlns:a16="http://schemas.microsoft.com/office/drawing/2014/main" id="{EA92B11A-4A8A-4A2D-B0A8-A7FF94331243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7019" y="3118"/>
                <a:ext cx="204" cy="80"/>
              </a:xfrm>
              <a:custGeom>
                <a:avLst/>
                <a:gdLst>
                  <a:gd name="T0" fmla="*/ 174 w 193"/>
                  <a:gd name="T1" fmla="*/ 1 h 76"/>
                  <a:gd name="T2" fmla="*/ 104 w 193"/>
                  <a:gd name="T3" fmla="*/ 45 h 76"/>
                  <a:gd name="T4" fmla="*/ 7 w 193"/>
                  <a:gd name="T5" fmla="*/ 33 h 76"/>
                  <a:gd name="T6" fmla="*/ 0 w 193"/>
                  <a:gd name="T7" fmla="*/ 33 h 76"/>
                  <a:gd name="T8" fmla="*/ 111 w 193"/>
                  <a:gd name="T9" fmla="*/ 47 h 76"/>
                  <a:gd name="T10" fmla="*/ 177 w 193"/>
                  <a:gd name="T11" fmla="*/ 21 h 76"/>
                  <a:gd name="T12" fmla="*/ 175 w 193"/>
                  <a:gd name="T13" fmla="*/ 0 h 76"/>
                  <a:gd name="T14" fmla="*/ 174 w 193"/>
                  <a:gd name="T15" fmla="*/ 1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93" h="76">
                    <a:moveTo>
                      <a:pt x="174" y="1"/>
                    </a:moveTo>
                    <a:cubicBezTo>
                      <a:pt x="193" y="21"/>
                      <a:pt x="114" y="42"/>
                      <a:pt x="104" y="45"/>
                    </a:cubicBezTo>
                    <a:cubicBezTo>
                      <a:pt x="87" y="50"/>
                      <a:pt x="9" y="67"/>
                      <a:pt x="7" y="33"/>
                    </a:cubicBezTo>
                    <a:cubicBezTo>
                      <a:pt x="7" y="28"/>
                      <a:pt x="0" y="29"/>
                      <a:pt x="0" y="33"/>
                    </a:cubicBezTo>
                    <a:cubicBezTo>
                      <a:pt x="5" y="76"/>
                      <a:pt x="87" y="55"/>
                      <a:pt x="111" y="47"/>
                    </a:cubicBezTo>
                    <a:cubicBezTo>
                      <a:pt x="132" y="41"/>
                      <a:pt x="160" y="36"/>
                      <a:pt x="177" y="21"/>
                    </a:cubicBezTo>
                    <a:cubicBezTo>
                      <a:pt x="185" y="13"/>
                      <a:pt x="185" y="4"/>
                      <a:pt x="175" y="0"/>
                    </a:cubicBezTo>
                    <a:cubicBezTo>
                      <a:pt x="174" y="0"/>
                      <a:pt x="173" y="1"/>
                      <a:pt x="174" y="1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732" name="Freeform 279">
                <a:extLst>
                  <a:ext uri="{FF2B5EF4-FFF2-40B4-BE49-F238E27FC236}">
                    <a16:creationId xmlns:a16="http://schemas.microsoft.com/office/drawing/2014/main" id="{FE43DF78-71F2-4319-86F4-9EE042FE88BE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7087" y="3165"/>
                <a:ext cx="75" cy="29"/>
              </a:xfrm>
              <a:custGeom>
                <a:avLst/>
                <a:gdLst>
                  <a:gd name="T0" fmla="*/ 68 w 71"/>
                  <a:gd name="T1" fmla="*/ 1 h 27"/>
                  <a:gd name="T2" fmla="*/ 35 w 71"/>
                  <a:gd name="T3" fmla="*/ 15 h 27"/>
                  <a:gd name="T4" fmla="*/ 3 w 71"/>
                  <a:gd name="T5" fmla="*/ 23 h 27"/>
                  <a:gd name="T6" fmla="*/ 4 w 71"/>
                  <a:gd name="T7" fmla="*/ 27 h 27"/>
                  <a:gd name="T8" fmla="*/ 52 w 71"/>
                  <a:gd name="T9" fmla="*/ 17 h 27"/>
                  <a:gd name="T10" fmla="*/ 70 w 71"/>
                  <a:gd name="T11" fmla="*/ 2 h 27"/>
                  <a:gd name="T12" fmla="*/ 68 w 71"/>
                  <a:gd name="T13" fmla="*/ 1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71" h="27">
                    <a:moveTo>
                      <a:pt x="68" y="1"/>
                    </a:moveTo>
                    <a:cubicBezTo>
                      <a:pt x="63" y="11"/>
                      <a:pt x="44" y="13"/>
                      <a:pt x="35" y="15"/>
                    </a:cubicBezTo>
                    <a:cubicBezTo>
                      <a:pt x="24" y="18"/>
                      <a:pt x="13" y="20"/>
                      <a:pt x="3" y="23"/>
                    </a:cubicBezTo>
                    <a:cubicBezTo>
                      <a:pt x="0" y="23"/>
                      <a:pt x="1" y="27"/>
                      <a:pt x="4" y="27"/>
                    </a:cubicBezTo>
                    <a:cubicBezTo>
                      <a:pt x="20" y="26"/>
                      <a:pt x="37" y="24"/>
                      <a:pt x="52" y="17"/>
                    </a:cubicBezTo>
                    <a:cubicBezTo>
                      <a:pt x="60" y="14"/>
                      <a:pt x="68" y="11"/>
                      <a:pt x="70" y="2"/>
                    </a:cubicBezTo>
                    <a:cubicBezTo>
                      <a:pt x="71" y="1"/>
                      <a:pt x="69" y="0"/>
                      <a:pt x="68" y="1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733" name="Freeform 280">
                <a:extLst>
                  <a:ext uri="{FF2B5EF4-FFF2-40B4-BE49-F238E27FC236}">
                    <a16:creationId xmlns:a16="http://schemas.microsoft.com/office/drawing/2014/main" id="{26158052-6A10-4B25-A723-8EFD64E1205C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798" y="3351"/>
                <a:ext cx="381" cy="18"/>
              </a:xfrm>
              <a:custGeom>
                <a:avLst/>
                <a:gdLst>
                  <a:gd name="T0" fmla="*/ 354 w 359"/>
                  <a:gd name="T1" fmla="*/ 6 h 17"/>
                  <a:gd name="T2" fmla="*/ 282 w 359"/>
                  <a:gd name="T3" fmla="*/ 5 h 17"/>
                  <a:gd name="T4" fmla="*/ 188 w 359"/>
                  <a:gd name="T5" fmla="*/ 4 h 17"/>
                  <a:gd name="T6" fmla="*/ 6 w 359"/>
                  <a:gd name="T7" fmla="*/ 1 h 17"/>
                  <a:gd name="T8" fmla="*/ 5 w 359"/>
                  <a:gd name="T9" fmla="*/ 9 h 17"/>
                  <a:gd name="T10" fmla="*/ 196 w 359"/>
                  <a:gd name="T11" fmla="*/ 9 h 17"/>
                  <a:gd name="T12" fmla="*/ 281 w 359"/>
                  <a:gd name="T13" fmla="*/ 8 h 17"/>
                  <a:gd name="T14" fmla="*/ 355 w 359"/>
                  <a:gd name="T15" fmla="*/ 12 h 17"/>
                  <a:gd name="T16" fmla="*/ 354 w 359"/>
                  <a:gd name="T17" fmla="*/ 6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59" h="17">
                    <a:moveTo>
                      <a:pt x="354" y="6"/>
                    </a:moveTo>
                    <a:cubicBezTo>
                      <a:pt x="331" y="9"/>
                      <a:pt x="305" y="6"/>
                      <a:pt x="282" y="5"/>
                    </a:cubicBezTo>
                    <a:cubicBezTo>
                      <a:pt x="251" y="3"/>
                      <a:pt x="219" y="4"/>
                      <a:pt x="188" y="4"/>
                    </a:cubicBezTo>
                    <a:cubicBezTo>
                      <a:pt x="127" y="4"/>
                      <a:pt x="66" y="1"/>
                      <a:pt x="6" y="1"/>
                    </a:cubicBezTo>
                    <a:cubicBezTo>
                      <a:pt x="0" y="0"/>
                      <a:pt x="0" y="9"/>
                      <a:pt x="5" y="9"/>
                    </a:cubicBezTo>
                    <a:cubicBezTo>
                      <a:pt x="69" y="8"/>
                      <a:pt x="133" y="11"/>
                      <a:pt x="196" y="9"/>
                    </a:cubicBezTo>
                    <a:cubicBezTo>
                      <a:pt x="224" y="8"/>
                      <a:pt x="253" y="6"/>
                      <a:pt x="281" y="8"/>
                    </a:cubicBezTo>
                    <a:cubicBezTo>
                      <a:pt x="305" y="9"/>
                      <a:pt x="331" y="17"/>
                      <a:pt x="355" y="12"/>
                    </a:cubicBezTo>
                    <a:cubicBezTo>
                      <a:pt x="359" y="12"/>
                      <a:pt x="359" y="5"/>
                      <a:pt x="354" y="6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734" name="Freeform 281">
                <a:extLst>
                  <a:ext uri="{FF2B5EF4-FFF2-40B4-BE49-F238E27FC236}">
                    <a16:creationId xmlns:a16="http://schemas.microsoft.com/office/drawing/2014/main" id="{7FC25253-42C9-4D6F-997F-8CA978BE5739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729" y="3351"/>
                <a:ext cx="77" cy="255"/>
              </a:xfrm>
              <a:custGeom>
                <a:avLst/>
                <a:gdLst>
                  <a:gd name="T0" fmla="*/ 67 w 72"/>
                  <a:gd name="T1" fmla="*/ 2 h 240"/>
                  <a:gd name="T2" fmla="*/ 15 w 72"/>
                  <a:gd name="T3" fmla="*/ 53 h 240"/>
                  <a:gd name="T4" fmla="*/ 1 w 72"/>
                  <a:gd name="T5" fmla="*/ 115 h 240"/>
                  <a:gd name="T6" fmla="*/ 50 w 72"/>
                  <a:gd name="T7" fmla="*/ 237 h 240"/>
                  <a:gd name="T8" fmla="*/ 56 w 72"/>
                  <a:gd name="T9" fmla="*/ 231 h 240"/>
                  <a:gd name="T10" fmla="*/ 9 w 72"/>
                  <a:gd name="T11" fmla="*/ 118 h 240"/>
                  <a:gd name="T12" fmla="*/ 20 w 72"/>
                  <a:gd name="T13" fmla="*/ 60 h 240"/>
                  <a:gd name="T14" fmla="*/ 70 w 72"/>
                  <a:gd name="T15" fmla="*/ 5 h 240"/>
                  <a:gd name="T16" fmla="*/ 67 w 72"/>
                  <a:gd name="T17" fmla="*/ 2 h 2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72" h="240">
                    <a:moveTo>
                      <a:pt x="67" y="2"/>
                    </a:moveTo>
                    <a:cubicBezTo>
                      <a:pt x="49" y="17"/>
                      <a:pt x="28" y="33"/>
                      <a:pt x="15" y="53"/>
                    </a:cubicBezTo>
                    <a:cubicBezTo>
                      <a:pt x="3" y="72"/>
                      <a:pt x="0" y="93"/>
                      <a:pt x="1" y="115"/>
                    </a:cubicBezTo>
                    <a:cubicBezTo>
                      <a:pt x="1" y="160"/>
                      <a:pt x="17" y="206"/>
                      <a:pt x="50" y="237"/>
                    </a:cubicBezTo>
                    <a:cubicBezTo>
                      <a:pt x="54" y="240"/>
                      <a:pt x="60" y="235"/>
                      <a:pt x="56" y="231"/>
                    </a:cubicBezTo>
                    <a:cubicBezTo>
                      <a:pt x="27" y="199"/>
                      <a:pt x="11" y="162"/>
                      <a:pt x="9" y="118"/>
                    </a:cubicBezTo>
                    <a:cubicBezTo>
                      <a:pt x="8" y="98"/>
                      <a:pt x="10" y="78"/>
                      <a:pt x="20" y="60"/>
                    </a:cubicBezTo>
                    <a:cubicBezTo>
                      <a:pt x="33" y="38"/>
                      <a:pt x="55" y="24"/>
                      <a:pt x="70" y="5"/>
                    </a:cubicBezTo>
                    <a:cubicBezTo>
                      <a:pt x="72" y="3"/>
                      <a:pt x="69" y="0"/>
                      <a:pt x="67" y="2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735" name="Freeform 282">
                <a:extLst>
                  <a:ext uri="{FF2B5EF4-FFF2-40B4-BE49-F238E27FC236}">
                    <a16:creationId xmlns:a16="http://schemas.microsoft.com/office/drawing/2014/main" id="{F51054EB-47F9-4426-BAC9-D65093676174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7159" y="3359"/>
                <a:ext cx="57" cy="247"/>
              </a:xfrm>
              <a:custGeom>
                <a:avLst/>
                <a:gdLst>
                  <a:gd name="T0" fmla="*/ 15 w 54"/>
                  <a:gd name="T1" fmla="*/ 5 h 233"/>
                  <a:gd name="T2" fmla="*/ 5 w 54"/>
                  <a:gd name="T3" fmla="*/ 64 h 233"/>
                  <a:gd name="T4" fmla="*/ 3 w 54"/>
                  <a:gd name="T5" fmla="*/ 124 h 233"/>
                  <a:gd name="T6" fmla="*/ 44 w 54"/>
                  <a:gd name="T7" fmla="*/ 229 h 233"/>
                  <a:gd name="T8" fmla="*/ 50 w 54"/>
                  <a:gd name="T9" fmla="*/ 224 h 233"/>
                  <a:gd name="T10" fmla="*/ 11 w 54"/>
                  <a:gd name="T11" fmla="*/ 82 h 233"/>
                  <a:gd name="T12" fmla="*/ 24 w 54"/>
                  <a:gd name="T13" fmla="*/ 23 h 233"/>
                  <a:gd name="T14" fmla="*/ 18 w 54"/>
                  <a:gd name="T15" fmla="*/ 2 h 233"/>
                  <a:gd name="T16" fmla="*/ 15 w 54"/>
                  <a:gd name="T17" fmla="*/ 5 h 2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4" h="233">
                    <a:moveTo>
                      <a:pt x="15" y="5"/>
                    </a:moveTo>
                    <a:cubicBezTo>
                      <a:pt x="27" y="16"/>
                      <a:pt x="8" y="50"/>
                      <a:pt x="5" y="64"/>
                    </a:cubicBezTo>
                    <a:cubicBezTo>
                      <a:pt x="1" y="83"/>
                      <a:pt x="0" y="105"/>
                      <a:pt x="3" y="124"/>
                    </a:cubicBezTo>
                    <a:cubicBezTo>
                      <a:pt x="8" y="162"/>
                      <a:pt x="14" y="203"/>
                      <a:pt x="44" y="229"/>
                    </a:cubicBezTo>
                    <a:cubicBezTo>
                      <a:pt x="48" y="233"/>
                      <a:pt x="54" y="228"/>
                      <a:pt x="50" y="224"/>
                    </a:cubicBezTo>
                    <a:cubicBezTo>
                      <a:pt x="15" y="187"/>
                      <a:pt x="8" y="132"/>
                      <a:pt x="11" y="82"/>
                    </a:cubicBezTo>
                    <a:cubicBezTo>
                      <a:pt x="12" y="61"/>
                      <a:pt x="21" y="44"/>
                      <a:pt x="24" y="23"/>
                    </a:cubicBezTo>
                    <a:cubicBezTo>
                      <a:pt x="26" y="14"/>
                      <a:pt x="25" y="7"/>
                      <a:pt x="18" y="2"/>
                    </a:cubicBezTo>
                    <a:cubicBezTo>
                      <a:pt x="15" y="0"/>
                      <a:pt x="13" y="3"/>
                      <a:pt x="15" y="5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736" name="Freeform 283">
                <a:extLst>
                  <a:ext uri="{FF2B5EF4-FFF2-40B4-BE49-F238E27FC236}">
                    <a16:creationId xmlns:a16="http://schemas.microsoft.com/office/drawing/2014/main" id="{6BAE22D9-14EB-46DB-A987-601423A003EC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789" y="3592"/>
                <a:ext cx="440" cy="41"/>
              </a:xfrm>
              <a:custGeom>
                <a:avLst/>
                <a:gdLst>
                  <a:gd name="T0" fmla="*/ 395 w 415"/>
                  <a:gd name="T1" fmla="*/ 3 h 39"/>
                  <a:gd name="T2" fmla="*/ 297 w 415"/>
                  <a:gd name="T3" fmla="*/ 26 h 39"/>
                  <a:gd name="T4" fmla="*/ 197 w 415"/>
                  <a:gd name="T5" fmla="*/ 28 h 39"/>
                  <a:gd name="T6" fmla="*/ 91 w 415"/>
                  <a:gd name="T7" fmla="*/ 31 h 39"/>
                  <a:gd name="T8" fmla="*/ 6 w 415"/>
                  <a:gd name="T9" fmla="*/ 8 h 39"/>
                  <a:gd name="T10" fmla="*/ 2 w 415"/>
                  <a:gd name="T11" fmla="*/ 11 h 39"/>
                  <a:gd name="T12" fmla="*/ 75 w 415"/>
                  <a:gd name="T13" fmla="*/ 38 h 39"/>
                  <a:gd name="T14" fmla="*/ 220 w 415"/>
                  <a:gd name="T15" fmla="*/ 35 h 39"/>
                  <a:gd name="T16" fmla="*/ 290 w 415"/>
                  <a:gd name="T17" fmla="*/ 33 h 39"/>
                  <a:gd name="T18" fmla="*/ 359 w 415"/>
                  <a:gd name="T19" fmla="*/ 32 h 39"/>
                  <a:gd name="T20" fmla="*/ 398 w 415"/>
                  <a:gd name="T21" fmla="*/ 1 h 39"/>
                  <a:gd name="T22" fmla="*/ 395 w 415"/>
                  <a:gd name="T23" fmla="*/ 3 h 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15" h="39">
                    <a:moveTo>
                      <a:pt x="395" y="3"/>
                    </a:moveTo>
                    <a:cubicBezTo>
                      <a:pt x="411" y="31"/>
                      <a:pt x="308" y="27"/>
                      <a:pt x="297" y="26"/>
                    </a:cubicBezTo>
                    <a:cubicBezTo>
                      <a:pt x="263" y="25"/>
                      <a:pt x="230" y="27"/>
                      <a:pt x="197" y="28"/>
                    </a:cubicBezTo>
                    <a:cubicBezTo>
                      <a:pt x="161" y="29"/>
                      <a:pt x="126" y="31"/>
                      <a:pt x="91" y="31"/>
                    </a:cubicBezTo>
                    <a:cubicBezTo>
                      <a:pt x="59" y="30"/>
                      <a:pt x="31" y="32"/>
                      <a:pt x="6" y="8"/>
                    </a:cubicBezTo>
                    <a:cubicBezTo>
                      <a:pt x="4" y="6"/>
                      <a:pt x="0" y="8"/>
                      <a:pt x="2" y="11"/>
                    </a:cubicBezTo>
                    <a:cubicBezTo>
                      <a:pt x="15" y="38"/>
                      <a:pt x="50" y="38"/>
                      <a:pt x="75" y="38"/>
                    </a:cubicBezTo>
                    <a:cubicBezTo>
                      <a:pt x="123" y="39"/>
                      <a:pt x="171" y="36"/>
                      <a:pt x="220" y="35"/>
                    </a:cubicBezTo>
                    <a:cubicBezTo>
                      <a:pt x="243" y="35"/>
                      <a:pt x="266" y="32"/>
                      <a:pt x="290" y="33"/>
                    </a:cubicBezTo>
                    <a:cubicBezTo>
                      <a:pt x="313" y="33"/>
                      <a:pt x="336" y="35"/>
                      <a:pt x="359" y="32"/>
                    </a:cubicBezTo>
                    <a:cubicBezTo>
                      <a:pt x="375" y="31"/>
                      <a:pt x="415" y="24"/>
                      <a:pt x="398" y="1"/>
                    </a:cubicBezTo>
                    <a:cubicBezTo>
                      <a:pt x="397" y="0"/>
                      <a:pt x="395" y="1"/>
                      <a:pt x="395" y="3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737" name="Freeform 284">
                <a:extLst>
                  <a:ext uri="{FF2B5EF4-FFF2-40B4-BE49-F238E27FC236}">
                    <a16:creationId xmlns:a16="http://schemas.microsoft.com/office/drawing/2014/main" id="{56B1CB85-9D34-47D3-81B4-06CB4F20C1CA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7122" y="3384"/>
                <a:ext cx="42" cy="218"/>
              </a:xfrm>
              <a:custGeom>
                <a:avLst/>
                <a:gdLst>
                  <a:gd name="T0" fmla="*/ 26 w 40"/>
                  <a:gd name="T1" fmla="*/ 2 h 206"/>
                  <a:gd name="T2" fmla="*/ 8 w 40"/>
                  <a:gd name="T3" fmla="*/ 98 h 206"/>
                  <a:gd name="T4" fmla="*/ 36 w 40"/>
                  <a:gd name="T5" fmla="*/ 204 h 206"/>
                  <a:gd name="T6" fmla="*/ 39 w 40"/>
                  <a:gd name="T7" fmla="*/ 202 h 206"/>
                  <a:gd name="T8" fmla="*/ 28 w 40"/>
                  <a:gd name="T9" fmla="*/ 3 h 206"/>
                  <a:gd name="T10" fmla="*/ 26 w 40"/>
                  <a:gd name="T11" fmla="*/ 2 h 2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0" h="206">
                    <a:moveTo>
                      <a:pt x="26" y="2"/>
                    </a:moveTo>
                    <a:cubicBezTo>
                      <a:pt x="10" y="31"/>
                      <a:pt x="6" y="65"/>
                      <a:pt x="8" y="98"/>
                    </a:cubicBezTo>
                    <a:cubicBezTo>
                      <a:pt x="9" y="133"/>
                      <a:pt x="17" y="174"/>
                      <a:pt x="36" y="204"/>
                    </a:cubicBezTo>
                    <a:cubicBezTo>
                      <a:pt x="37" y="206"/>
                      <a:pt x="40" y="204"/>
                      <a:pt x="39" y="202"/>
                    </a:cubicBezTo>
                    <a:cubicBezTo>
                      <a:pt x="8" y="142"/>
                      <a:pt x="0" y="66"/>
                      <a:pt x="28" y="3"/>
                    </a:cubicBezTo>
                    <a:cubicBezTo>
                      <a:pt x="29" y="1"/>
                      <a:pt x="27" y="0"/>
                      <a:pt x="26" y="2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738" name="Freeform 285">
                <a:extLst>
                  <a:ext uri="{FF2B5EF4-FFF2-40B4-BE49-F238E27FC236}">
                    <a16:creationId xmlns:a16="http://schemas.microsoft.com/office/drawing/2014/main" id="{385CA083-DE3C-45EB-9D58-5EECEFF82A3E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7144" y="3536"/>
                <a:ext cx="26" cy="22"/>
              </a:xfrm>
              <a:custGeom>
                <a:avLst/>
                <a:gdLst>
                  <a:gd name="T0" fmla="*/ 23 w 25"/>
                  <a:gd name="T1" fmla="*/ 2 h 21"/>
                  <a:gd name="T2" fmla="*/ 2 w 25"/>
                  <a:gd name="T3" fmla="*/ 17 h 21"/>
                  <a:gd name="T4" fmla="*/ 3 w 25"/>
                  <a:gd name="T5" fmla="*/ 20 h 21"/>
                  <a:gd name="T6" fmla="*/ 25 w 25"/>
                  <a:gd name="T7" fmla="*/ 3 h 21"/>
                  <a:gd name="T8" fmla="*/ 23 w 25"/>
                  <a:gd name="T9" fmla="*/ 2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5" h="21">
                    <a:moveTo>
                      <a:pt x="23" y="2"/>
                    </a:moveTo>
                    <a:cubicBezTo>
                      <a:pt x="17" y="9"/>
                      <a:pt x="11" y="13"/>
                      <a:pt x="2" y="17"/>
                    </a:cubicBezTo>
                    <a:cubicBezTo>
                      <a:pt x="0" y="18"/>
                      <a:pt x="1" y="21"/>
                      <a:pt x="3" y="20"/>
                    </a:cubicBezTo>
                    <a:cubicBezTo>
                      <a:pt x="13" y="18"/>
                      <a:pt x="19" y="10"/>
                      <a:pt x="25" y="3"/>
                    </a:cubicBezTo>
                    <a:cubicBezTo>
                      <a:pt x="25" y="2"/>
                      <a:pt x="24" y="0"/>
                      <a:pt x="23" y="2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739" name="Freeform 286">
                <a:extLst>
                  <a:ext uri="{FF2B5EF4-FFF2-40B4-BE49-F238E27FC236}">
                    <a16:creationId xmlns:a16="http://schemas.microsoft.com/office/drawing/2014/main" id="{3AA05D94-B957-4E36-9843-B9F3A7767387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770" y="3554"/>
                <a:ext cx="373" cy="20"/>
              </a:xfrm>
              <a:custGeom>
                <a:avLst/>
                <a:gdLst>
                  <a:gd name="T0" fmla="*/ 351 w 352"/>
                  <a:gd name="T1" fmla="*/ 0 h 19"/>
                  <a:gd name="T2" fmla="*/ 178 w 352"/>
                  <a:gd name="T3" fmla="*/ 6 h 19"/>
                  <a:gd name="T4" fmla="*/ 4 w 352"/>
                  <a:gd name="T5" fmla="*/ 8 h 19"/>
                  <a:gd name="T6" fmla="*/ 4 w 352"/>
                  <a:gd name="T7" fmla="*/ 15 h 19"/>
                  <a:gd name="T8" fmla="*/ 185 w 352"/>
                  <a:gd name="T9" fmla="*/ 11 h 19"/>
                  <a:gd name="T10" fmla="*/ 267 w 352"/>
                  <a:gd name="T11" fmla="*/ 6 h 19"/>
                  <a:gd name="T12" fmla="*/ 351 w 352"/>
                  <a:gd name="T13" fmla="*/ 2 h 19"/>
                  <a:gd name="T14" fmla="*/ 351 w 352"/>
                  <a:gd name="T15" fmla="*/ 0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52" h="19">
                    <a:moveTo>
                      <a:pt x="351" y="0"/>
                    </a:moveTo>
                    <a:cubicBezTo>
                      <a:pt x="293" y="1"/>
                      <a:pt x="235" y="5"/>
                      <a:pt x="178" y="6"/>
                    </a:cubicBezTo>
                    <a:cubicBezTo>
                      <a:pt x="120" y="8"/>
                      <a:pt x="62" y="8"/>
                      <a:pt x="4" y="8"/>
                    </a:cubicBezTo>
                    <a:cubicBezTo>
                      <a:pt x="0" y="8"/>
                      <a:pt x="0" y="15"/>
                      <a:pt x="4" y="15"/>
                    </a:cubicBezTo>
                    <a:cubicBezTo>
                      <a:pt x="64" y="19"/>
                      <a:pt x="124" y="14"/>
                      <a:pt x="185" y="11"/>
                    </a:cubicBezTo>
                    <a:cubicBezTo>
                      <a:pt x="212" y="10"/>
                      <a:pt x="240" y="9"/>
                      <a:pt x="267" y="6"/>
                    </a:cubicBezTo>
                    <a:cubicBezTo>
                      <a:pt x="295" y="4"/>
                      <a:pt x="324" y="5"/>
                      <a:pt x="351" y="2"/>
                    </a:cubicBezTo>
                    <a:cubicBezTo>
                      <a:pt x="352" y="2"/>
                      <a:pt x="352" y="0"/>
                      <a:pt x="351" y="0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740" name="Freeform 287">
                <a:extLst>
                  <a:ext uri="{FF2B5EF4-FFF2-40B4-BE49-F238E27FC236}">
                    <a16:creationId xmlns:a16="http://schemas.microsoft.com/office/drawing/2014/main" id="{71DE7284-B7F6-4A59-81AD-12BB6D5D1EF2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654" y="3284"/>
                <a:ext cx="169" cy="322"/>
              </a:xfrm>
              <a:custGeom>
                <a:avLst/>
                <a:gdLst>
                  <a:gd name="T0" fmla="*/ 157 w 159"/>
                  <a:gd name="T1" fmla="*/ 4 h 304"/>
                  <a:gd name="T2" fmla="*/ 122 w 159"/>
                  <a:gd name="T3" fmla="*/ 5 h 304"/>
                  <a:gd name="T4" fmla="*/ 100 w 159"/>
                  <a:gd name="T5" fmla="*/ 25 h 304"/>
                  <a:gd name="T6" fmla="*/ 28 w 159"/>
                  <a:gd name="T7" fmla="*/ 114 h 304"/>
                  <a:gd name="T8" fmla="*/ 6 w 159"/>
                  <a:gd name="T9" fmla="*/ 215 h 304"/>
                  <a:gd name="T10" fmla="*/ 47 w 159"/>
                  <a:gd name="T11" fmla="*/ 301 h 304"/>
                  <a:gd name="T12" fmla="*/ 52 w 159"/>
                  <a:gd name="T13" fmla="*/ 295 h 304"/>
                  <a:gd name="T14" fmla="*/ 12 w 159"/>
                  <a:gd name="T15" fmla="*/ 207 h 304"/>
                  <a:gd name="T16" fmla="*/ 36 w 159"/>
                  <a:gd name="T17" fmla="*/ 114 h 304"/>
                  <a:gd name="T18" fmla="*/ 90 w 159"/>
                  <a:gd name="T19" fmla="*/ 46 h 304"/>
                  <a:gd name="T20" fmla="*/ 110 w 159"/>
                  <a:gd name="T21" fmla="*/ 21 h 304"/>
                  <a:gd name="T22" fmla="*/ 157 w 159"/>
                  <a:gd name="T23" fmla="*/ 7 h 304"/>
                  <a:gd name="T24" fmla="*/ 157 w 159"/>
                  <a:gd name="T25" fmla="*/ 4 h 3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59" h="304">
                    <a:moveTo>
                      <a:pt x="157" y="4"/>
                    </a:moveTo>
                    <a:cubicBezTo>
                      <a:pt x="145" y="3"/>
                      <a:pt x="133" y="0"/>
                      <a:pt x="122" y="5"/>
                    </a:cubicBezTo>
                    <a:cubicBezTo>
                      <a:pt x="112" y="9"/>
                      <a:pt x="106" y="18"/>
                      <a:pt x="100" y="25"/>
                    </a:cubicBezTo>
                    <a:cubicBezTo>
                      <a:pt x="75" y="53"/>
                      <a:pt x="44" y="79"/>
                      <a:pt x="28" y="114"/>
                    </a:cubicBezTo>
                    <a:cubicBezTo>
                      <a:pt x="13" y="146"/>
                      <a:pt x="0" y="178"/>
                      <a:pt x="6" y="215"/>
                    </a:cubicBezTo>
                    <a:cubicBezTo>
                      <a:pt x="11" y="248"/>
                      <a:pt x="21" y="278"/>
                      <a:pt x="47" y="301"/>
                    </a:cubicBezTo>
                    <a:cubicBezTo>
                      <a:pt x="51" y="304"/>
                      <a:pt x="55" y="298"/>
                      <a:pt x="52" y="295"/>
                    </a:cubicBezTo>
                    <a:cubicBezTo>
                      <a:pt x="27" y="272"/>
                      <a:pt x="16" y="241"/>
                      <a:pt x="12" y="207"/>
                    </a:cubicBezTo>
                    <a:cubicBezTo>
                      <a:pt x="9" y="174"/>
                      <a:pt x="22" y="143"/>
                      <a:pt x="36" y="114"/>
                    </a:cubicBezTo>
                    <a:cubicBezTo>
                      <a:pt x="49" y="87"/>
                      <a:pt x="72" y="68"/>
                      <a:pt x="90" y="46"/>
                    </a:cubicBezTo>
                    <a:cubicBezTo>
                      <a:pt x="97" y="38"/>
                      <a:pt x="103" y="30"/>
                      <a:pt x="110" y="21"/>
                    </a:cubicBezTo>
                    <a:cubicBezTo>
                      <a:pt x="122" y="5"/>
                      <a:pt x="138" y="7"/>
                      <a:pt x="157" y="7"/>
                    </a:cubicBezTo>
                    <a:cubicBezTo>
                      <a:pt x="159" y="7"/>
                      <a:pt x="159" y="5"/>
                      <a:pt x="157" y="4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741" name="Freeform 288">
                <a:extLst>
                  <a:ext uri="{FF2B5EF4-FFF2-40B4-BE49-F238E27FC236}">
                    <a16:creationId xmlns:a16="http://schemas.microsoft.com/office/drawing/2014/main" id="{93F8AE37-BCDF-4438-A9E8-ECD3B22085C2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700" y="3596"/>
                <a:ext cx="98" cy="14"/>
              </a:xfrm>
              <a:custGeom>
                <a:avLst/>
                <a:gdLst>
                  <a:gd name="T0" fmla="*/ 90 w 93"/>
                  <a:gd name="T1" fmla="*/ 7 h 13"/>
                  <a:gd name="T2" fmla="*/ 4 w 93"/>
                  <a:gd name="T3" fmla="*/ 1 h 13"/>
                  <a:gd name="T4" fmla="*/ 3 w 93"/>
                  <a:gd name="T5" fmla="*/ 7 h 13"/>
                  <a:gd name="T6" fmla="*/ 52 w 93"/>
                  <a:gd name="T7" fmla="*/ 11 h 13"/>
                  <a:gd name="T8" fmla="*/ 91 w 93"/>
                  <a:gd name="T9" fmla="*/ 10 h 13"/>
                  <a:gd name="T10" fmla="*/ 90 w 93"/>
                  <a:gd name="T11" fmla="*/ 7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93" h="13">
                    <a:moveTo>
                      <a:pt x="90" y="7"/>
                    </a:moveTo>
                    <a:cubicBezTo>
                      <a:pt x="62" y="7"/>
                      <a:pt x="32" y="3"/>
                      <a:pt x="4" y="1"/>
                    </a:cubicBezTo>
                    <a:cubicBezTo>
                      <a:pt x="0" y="0"/>
                      <a:pt x="0" y="6"/>
                      <a:pt x="3" y="7"/>
                    </a:cubicBezTo>
                    <a:cubicBezTo>
                      <a:pt x="19" y="10"/>
                      <a:pt x="36" y="10"/>
                      <a:pt x="52" y="11"/>
                    </a:cubicBezTo>
                    <a:cubicBezTo>
                      <a:pt x="64" y="12"/>
                      <a:pt x="79" y="13"/>
                      <a:pt x="91" y="10"/>
                    </a:cubicBezTo>
                    <a:cubicBezTo>
                      <a:pt x="93" y="10"/>
                      <a:pt x="93" y="7"/>
                      <a:pt x="90" y="7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742" name="Freeform 289">
                <a:extLst>
                  <a:ext uri="{FF2B5EF4-FFF2-40B4-BE49-F238E27FC236}">
                    <a16:creationId xmlns:a16="http://schemas.microsoft.com/office/drawing/2014/main" id="{CB582AC4-4BB2-43D5-98EE-A09A52CA955F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680" y="3553"/>
                <a:ext cx="69" cy="7"/>
              </a:xfrm>
              <a:custGeom>
                <a:avLst/>
                <a:gdLst>
                  <a:gd name="T0" fmla="*/ 65 w 65"/>
                  <a:gd name="T1" fmla="*/ 1 h 7"/>
                  <a:gd name="T2" fmla="*/ 3 w 65"/>
                  <a:gd name="T3" fmla="*/ 1 h 7"/>
                  <a:gd name="T4" fmla="*/ 3 w 65"/>
                  <a:gd name="T5" fmla="*/ 5 h 7"/>
                  <a:gd name="T6" fmla="*/ 65 w 65"/>
                  <a:gd name="T7" fmla="*/ 2 h 7"/>
                  <a:gd name="T8" fmla="*/ 65 w 65"/>
                  <a:gd name="T9" fmla="*/ 1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5" h="7">
                    <a:moveTo>
                      <a:pt x="65" y="1"/>
                    </a:moveTo>
                    <a:cubicBezTo>
                      <a:pt x="44" y="3"/>
                      <a:pt x="23" y="0"/>
                      <a:pt x="3" y="1"/>
                    </a:cubicBezTo>
                    <a:cubicBezTo>
                      <a:pt x="1" y="1"/>
                      <a:pt x="0" y="5"/>
                      <a:pt x="3" y="5"/>
                    </a:cubicBezTo>
                    <a:cubicBezTo>
                      <a:pt x="23" y="7"/>
                      <a:pt x="45" y="6"/>
                      <a:pt x="65" y="2"/>
                    </a:cubicBezTo>
                    <a:cubicBezTo>
                      <a:pt x="65" y="2"/>
                      <a:pt x="65" y="1"/>
                      <a:pt x="65" y="1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743" name="Freeform 290">
                <a:extLst>
                  <a:ext uri="{FF2B5EF4-FFF2-40B4-BE49-F238E27FC236}">
                    <a16:creationId xmlns:a16="http://schemas.microsoft.com/office/drawing/2014/main" id="{26722114-145F-45A9-B195-31E0B78DEADA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814" y="3147"/>
                <a:ext cx="144" cy="147"/>
              </a:xfrm>
              <a:custGeom>
                <a:avLst/>
                <a:gdLst>
                  <a:gd name="T0" fmla="*/ 103 w 136"/>
                  <a:gd name="T1" fmla="*/ 5 h 139"/>
                  <a:gd name="T2" fmla="*/ 122 w 136"/>
                  <a:gd name="T3" fmla="*/ 8 h 139"/>
                  <a:gd name="T4" fmla="*/ 123 w 136"/>
                  <a:gd name="T5" fmla="*/ 14 h 139"/>
                  <a:gd name="T6" fmla="*/ 86 w 136"/>
                  <a:gd name="T7" fmla="*/ 58 h 139"/>
                  <a:gd name="T8" fmla="*/ 53 w 136"/>
                  <a:gd name="T9" fmla="*/ 103 h 139"/>
                  <a:gd name="T10" fmla="*/ 33 w 136"/>
                  <a:gd name="T11" fmla="*/ 124 h 139"/>
                  <a:gd name="T12" fmla="*/ 2 w 136"/>
                  <a:gd name="T13" fmla="*/ 133 h 139"/>
                  <a:gd name="T14" fmla="*/ 3 w 136"/>
                  <a:gd name="T15" fmla="*/ 138 h 139"/>
                  <a:gd name="T16" fmla="*/ 38 w 136"/>
                  <a:gd name="T17" fmla="*/ 130 h 139"/>
                  <a:gd name="T18" fmla="*/ 69 w 136"/>
                  <a:gd name="T19" fmla="*/ 93 h 139"/>
                  <a:gd name="T20" fmla="*/ 105 w 136"/>
                  <a:gd name="T21" fmla="*/ 45 h 139"/>
                  <a:gd name="T22" fmla="*/ 135 w 136"/>
                  <a:gd name="T23" fmla="*/ 8 h 139"/>
                  <a:gd name="T24" fmla="*/ 134 w 136"/>
                  <a:gd name="T25" fmla="*/ 4 h 139"/>
                  <a:gd name="T26" fmla="*/ 104 w 136"/>
                  <a:gd name="T27" fmla="*/ 4 h 139"/>
                  <a:gd name="T28" fmla="*/ 103 w 136"/>
                  <a:gd name="T29" fmla="*/ 5 h 1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136" h="139">
                    <a:moveTo>
                      <a:pt x="103" y="5"/>
                    </a:moveTo>
                    <a:cubicBezTo>
                      <a:pt x="109" y="8"/>
                      <a:pt x="116" y="6"/>
                      <a:pt x="122" y="8"/>
                    </a:cubicBezTo>
                    <a:cubicBezTo>
                      <a:pt x="129" y="10"/>
                      <a:pt x="129" y="7"/>
                      <a:pt x="123" y="14"/>
                    </a:cubicBezTo>
                    <a:cubicBezTo>
                      <a:pt x="111" y="29"/>
                      <a:pt x="98" y="43"/>
                      <a:pt x="86" y="58"/>
                    </a:cubicBezTo>
                    <a:cubicBezTo>
                      <a:pt x="75" y="73"/>
                      <a:pt x="64" y="88"/>
                      <a:pt x="53" y="103"/>
                    </a:cubicBezTo>
                    <a:cubicBezTo>
                      <a:pt x="47" y="110"/>
                      <a:pt x="41" y="119"/>
                      <a:pt x="33" y="124"/>
                    </a:cubicBezTo>
                    <a:cubicBezTo>
                      <a:pt x="23" y="132"/>
                      <a:pt x="13" y="129"/>
                      <a:pt x="2" y="133"/>
                    </a:cubicBezTo>
                    <a:cubicBezTo>
                      <a:pt x="0" y="134"/>
                      <a:pt x="0" y="138"/>
                      <a:pt x="3" y="138"/>
                    </a:cubicBezTo>
                    <a:cubicBezTo>
                      <a:pt x="16" y="139"/>
                      <a:pt x="27" y="138"/>
                      <a:pt x="38" y="130"/>
                    </a:cubicBezTo>
                    <a:cubicBezTo>
                      <a:pt x="51" y="120"/>
                      <a:pt x="60" y="105"/>
                      <a:pt x="69" y="93"/>
                    </a:cubicBezTo>
                    <a:cubicBezTo>
                      <a:pt x="81" y="77"/>
                      <a:pt x="93" y="61"/>
                      <a:pt x="105" y="45"/>
                    </a:cubicBezTo>
                    <a:cubicBezTo>
                      <a:pt x="115" y="33"/>
                      <a:pt x="129" y="22"/>
                      <a:pt x="135" y="8"/>
                    </a:cubicBezTo>
                    <a:cubicBezTo>
                      <a:pt x="136" y="6"/>
                      <a:pt x="135" y="5"/>
                      <a:pt x="134" y="4"/>
                    </a:cubicBezTo>
                    <a:cubicBezTo>
                      <a:pt x="126" y="0"/>
                      <a:pt x="113" y="6"/>
                      <a:pt x="104" y="4"/>
                    </a:cubicBezTo>
                    <a:cubicBezTo>
                      <a:pt x="103" y="4"/>
                      <a:pt x="102" y="5"/>
                      <a:pt x="103" y="5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744" name="Freeform 291">
                <a:extLst>
                  <a:ext uri="{FF2B5EF4-FFF2-40B4-BE49-F238E27FC236}">
                    <a16:creationId xmlns:a16="http://schemas.microsoft.com/office/drawing/2014/main" id="{E7831160-B099-46CF-ADC2-0B6E398704B2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707" y="3375"/>
                <a:ext cx="54" cy="14"/>
              </a:xfrm>
              <a:custGeom>
                <a:avLst/>
                <a:gdLst>
                  <a:gd name="T0" fmla="*/ 48 w 51"/>
                  <a:gd name="T1" fmla="*/ 5 h 13"/>
                  <a:gd name="T2" fmla="*/ 2 w 51"/>
                  <a:gd name="T3" fmla="*/ 6 h 13"/>
                  <a:gd name="T4" fmla="*/ 3 w 51"/>
                  <a:gd name="T5" fmla="*/ 10 h 13"/>
                  <a:gd name="T6" fmla="*/ 49 w 51"/>
                  <a:gd name="T7" fmla="*/ 10 h 13"/>
                  <a:gd name="T8" fmla="*/ 48 w 51"/>
                  <a:gd name="T9" fmla="*/ 5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1" h="13">
                    <a:moveTo>
                      <a:pt x="48" y="5"/>
                    </a:moveTo>
                    <a:cubicBezTo>
                      <a:pt x="33" y="7"/>
                      <a:pt x="17" y="0"/>
                      <a:pt x="2" y="6"/>
                    </a:cubicBezTo>
                    <a:cubicBezTo>
                      <a:pt x="0" y="7"/>
                      <a:pt x="1" y="10"/>
                      <a:pt x="3" y="10"/>
                    </a:cubicBezTo>
                    <a:cubicBezTo>
                      <a:pt x="18" y="9"/>
                      <a:pt x="34" y="13"/>
                      <a:pt x="49" y="10"/>
                    </a:cubicBezTo>
                    <a:cubicBezTo>
                      <a:pt x="51" y="9"/>
                      <a:pt x="50" y="5"/>
                      <a:pt x="48" y="5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745" name="Freeform 292">
                <a:extLst>
                  <a:ext uri="{FF2B5EF4-FFF2-40B4-BE49-F238E27FC236}">
                    <a16:creationId xmlns:a16="http://schemas.microsoft.com/office/drawing/2014/main" id="{A0CA1E66-FDE0-41BF-8261-EB0B4E51C1FC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924" y="3110"/>
                <a:ext cx="36" cy="45"/>
              </a:xfrm>
              <a:custGeom>
                <a:avLst/>
                <a:gdLst>
                  <a:gd name="T0" fmla="*/ 28 w 34"/>
                  <a:gd name="T1" fmla="*/ 2 h 42"/>
                  <a:gd name="T2" fmla="*/ 14 w 34"/>
                  <a:gd name="T3" fmla="*/ 18 h 42"/>
                  <a:gd name="T4" fmla="*/ 1 w 34"/>
                  <a:gd name="T5" fmla="*/ 36 h 42"/>
                  <a:gd name="T6" fmla="*/ 6 w 34"/>
                  <a:gd name="T7" fmla="*/ 39 h 42"/>
                  <a:gd name="T8" fmla="*/ 32 w 34"/>
                  <a:gd name="T9" fmla="*/ 6 h 42"/>
                  <a:gd name="T10" fmla="*/ 28 w 34"/>
                  <a:gd name="T11" fmla="*/ 2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4" h="42">
                    <a:moveTo>
                      <a:pt x="28" y="2"/>
                    </a:moveTo>
                    <a:cubicBezTo>
                      <a:pt x="22" y="7"/>
                      <a:pt x="18" y="12"/>
                      <a:pt x="14" y="18"/>
                    </a:cubicBezTo>
                    <a:cubicBezTo>
                      <a:pt x="10" y="24"/>
                      <a:pt x="4" y="29"/>
                      <a:pt x="1" y="36"/>
                    </a:cubicBezTo>
                    <a:cubicBezTo>
                      <a:pt x="0" y="39"/>
                      <a:pt x="4" y="42"/>
                      <a:pt x="6" y="39"/>
                    </a:cubicBezTo>
                    <a:cubicBezTo>
                      <a:pt x="14" y="29"/>
                      <a:pt x="22" y="16"/>
                      <a:pt x="32" y="6"/>
                    </a:cubicBezTo>
                    <a:cubicBezTo>
                      <a:pt x="34" y="4"/>
                      <a:pt x="30" y="0"/>
                      <a:pt x="28" y="2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746" name="Freeform 293">
                <a:extLst>
                  <a:ext uri="{FF2B5EF4-FFF2-40B4-BE49-F238E27FC236}">
                    <a16:creationId xmlns:a16="http://schemas.microsoft.com/office/drawing/2014/main" id="{31122CA7-9577-4ACB-A64F-25680AD9D991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919" y="3149"/>
                <a:ext cx="11" cy="19"/>
              </a:xfrm>
              <a:custGeom>
                <a:avLst/>
                <a:gdLst>
                  <a:gd name="T0" fmla="*/ 7 w 10"/>
                  <a:gd name="T1" fmla="*/ 1 h 18"/>
                  <a:gd name="T2" fmla="*/ 0 w 10"/>
                  <a:gd name="T3" fmla="*/ 14 h 18"/>
                  <a:gd name="T4" fmla="*/ 6 w 10"/>
                  <a:gd name="T5" fmla="*/ 14 h 18"/>
                  <a:gd name="T6" fmla="*/ 9 w 10"/>
                  <a:gd name="T7" fmla="*/ 3 h 18"/>
                  <a:gd name="T8" fmla="*/ 7 w 10"/>
                  <a:gd name="T9" fmla="*/ 1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" h="18">
                    <a:moveTo>
                      <a:pt x="7" y="1"/>
                    </a:moveTo>
                    <a:cubicBezTo>
                      <a:pt x="2" y="3"/>
                      <a:pt x="0" y="9"/>
                      <a:pt x="0" y="14"/>
                    </a:cubicBezTo>
                    <a:cubicBezTo>
                      <a:pt x="0" y="18"/>
                      <a:pt x="5" y="18"/>
                      <a:pt x="6" y="14"/>
                    </a:cubicBezTo>
                    <a:cubicBezTo>
                      <a:pt x="6" y="10"/>
                      <a:pt x="5" y="6"/>
                      <a:pt x="9" y="3"/>
                    </a:cubicBezTo>
                    <a:cubicBezTo>
                      <a:pt x="10" y="2"/>
                      <a:pt x="8" y="0"/>
                      <a:pt x="7" y="1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747" name="Freeform 294">
                <a:extLst>
                  <a:ext uri="{FF2B5EF4-FFF2-40B4-BE49-F238E27FC236}">
                    <a16:creationId xmlns:a16="http://schemas.microsoft.com/office/drawing/2014/main" id="{5A9C30A7-7DD5-407B-9E16-B36F0A1F545F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828" y="3151"/>
                <a:ext cx="123" cy="144"/>
              </a:xfrm>
              <a:custGeom>
                <a:avLst/>
                <a:gdLst>
                  <a:gd name="T0" fmla="*/ 113 w 116"/>
                  <a:gd name="T1" fmla="*/ 10 h 136"/>
                  <a:gd name="T2" fmla="*/ 52 w 116"/>
                  <a:gd name="T3" fmla="*/ 45 h 136"/>
                  <a:gd name="T4" fmla="*/ 0 w 116"/>
                  <a:gd name="T5" fmla="*/ 130 h 136"/>
                  <a:gd name="T6" fmla="*/ 7 w 116"/>
                  <a:gd name="T7" fmla="*/ 132 h 136"/>
                  <a:gd name="T8" fmla="*/ 57 w 116"/>
                  <a:gd name="T9" fmla="*/ 50 h 136"/>
                  <a:gd name="T10" fmla="*/ 112 w 116"/>
                  <a:gd name="T11" fmla="*/ 15 h 136"/>
                  <a:gd name="T12" fmla="*/ 113 w 116"/>
                  <a:gd name="T13" fmla="*/ 10 h 1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16" h="136">
                    <a:moveTo>
                      <a:pt x="113" y="10"/>
                    </a:moveTo>
                    <a:cubicBezTo>
                      <a:pt x="88" y="0"/>
                      <a:pt x="68" y="29"/>
                      <a:pt x="52" y="45"/>
                    </a:cubicBezTo>
                    <a:cubicBezTo>
                      <a:pt x="30" y="67"/>
                      <a:pt x="6" y="99"/>
                      <a:pt x="0" y="130"/>
                    </a:cubicBezTo>
                    <a:cubicBezTo>
                      <a:pt x="0" y="135"/>
                      <a:pt x="6" y="136"/>
                      <a:pt x="7" y="132"/>
                    </a:cubicBezTo>
                    <a:cubicBezTo>
                      <a:pt x="15" y="101"/>
                      <a:pt x="35" y="72"/>
                      <a:pt x="57" y="50"/>
                    </a:cubicBezTo>
                    <a:cubicBezTo>
                      <a:pt x="72" y="35"/>
                      <a:pt x="89" y="12"/>
                      <a:pt x="112" y="15"/>
                    </a:cubicBezTo>
                    <a:cubicBezTo>
                      <a:pt x="115" y="15"/>
                      <a:pt x="116" y="11"/>
                      <a:pt x="113" y="10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748" name="Freeform 295">
                <a:extLst>
                  <a:ext uri="{FF2B5EF4-FFF2-40B4-BE49-F238E27FC236}">
                    <a16:creationId xmlns:a16="http://schemas.microsoft.com/office/drawing/2014/main" id="{B5A51A26-7FBE-4973-8A92-154BC045B9DA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7248" y="2986"/>
                <a:ext cx="278" cy="31"/>
              </a:xfrm>
              <a:custGeom>
                <a:avLst/>
                <a:gdLst>
                  <a:gd name="T0" fmla="*/ 261 w 263"/>
                  <a:gd name="T1" fmla="*/ 25 h 29"/>
                  <a:gd name="T2" fmla="*/ 227 w 263"/>
                  <a:gd name="T3" fmla="*/ 1 h 29"/>
                  <a:gd name="T4" fmla="*/ 148 w 263"/>
                  <a:gd name="T5" fmla="*/ 3 h 29"/>
                  <a:gd name="T6" fmla="*/ 1 w 263"/>
                  <a:gd name="T7" fmla="*/ 20 h 29"/>
                  <a:gd name="T8" fmla="*/ 1 w 263"/>
                  <a:gd name="T9" fmla="*/ 22 h 29"/>
                  <a:gd name="T10" fmla="*/ 77 w 263"/>
                  <a:gd name="T11" fmla="*/ 14 h 29"/>
                  <a:gd name="T12" fmla="*/ 148 w 263"/>
                  <a:gd name="T13" fmla="*/ 10 h 29"/>
                  <a:gd name="T14" fmla="*/ 214 w 263"/>
                  <a:gd name="T15" fmla="*/ 8 h 29"/>
                  <a:gd name="T16" fmla="*/ 250 w 263"/>
                  <a:gd name="T17" fmla="*/ 21 h 29"/>
                  <a:gd name="T18" fmla="*/ 259 w 263"/>
                  <a:gd name="T19" fmla="*/ 28 h 29"/>
                  <a:gd name="T20" fmla="*/ 261 w 263"/>
                  <a:gd name="T21" fmla="*/ 25 h 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263" h="29">
                    <a:moveTo>
                      <a:pt x="261" y="25"/>
                    </a:moveTo>
                    <a:cubicBezTo>
                      <a:pt x="248" y="15"/>
                      <a:pt x="245" y="2"/>
                      <a:pt x="227" y="1"/>
                    </a:cubicBezTo>
                    <a:cubicBezTo>
                      <a:pt x="201" y="0"/>
                      <a:pt x="174" y="3"/>
                      <a:pt x="148" y="3"/>
                    </a:cubicBezTo>
                    <a:cubicBezTo>
                      <a:pt x="99" y="2"/>
                      <a:pt x="48" y="8"/>
                      <a:pt x="1" y="20"/>
                    </a:cubicBezTo>
                    <a:cubicBezTo>
                      <a:pt x="0" y="21"/>
                      <a:pt x="0" y="22"/>
                      <a:pt x="1" y="22"/>
                    </a:cubicBezTo>
                    <a:cubicBezTo>
                      <a:pt x="26" y="17"/>
                      <a:pt x="52" y="17"/>
                      <a:pt x="77" y="14"/>
                    </a:cubicBezTo>
                    <a:cubicBezTo>
                      <a:pt x="101" y="11"/>
                      <a:pt x="124" y="10"/>
                      <a:pt x="148" y="10"/>
                    </a:cubicBezTo>
                    <a:cubicBezTo>
                      <a:pt x="170" y="10"/>
                      <a:pt x="192" y="9"/>
                      <a:pt x="214" y="8"/>
                    </a:cubicBezTo>
                    <a:cubicBezTo>
                      <a:pt x="229" y="8"/>
                      <a:pt x="239" y="11"/>
                      <a:pt x="250" y="21"/>
                    </a:cubicBezTo>
                    <a:cubicBezTo>
                      <a:pt x="253" y="25"/>
                      <a:pt x="255" y="27"/>
                      <a:pt x="259" y="28"/>
                    </a:cubicBezTo>
                    <a:cubicBezTo>
                      <a:pt x="262" y="29"/>
                      <a:pt x="263" y="26"/>
                      <a:pt x="261" y="25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749" name="Freeform 296">
                <a:extLst>
                  <a:ext uri="{FF2B5EF4-FFF2-40B4-BE49-F238E27FC236}">
                    <a16:creationId xmlns:a16="http://schemas.microsoft.com/office/drawing/2014/main" id="{276365CF-8642-46DE-997E-066DE3F8F5F6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7303" y="3007"/>
                <a:ext cx="63" cy="35"/>
              </a:xfrm>
              <a:custGeom>
                <a:avLst/>
                <a:gdLst>
                  <a:gd name="T0" fmla="*/ 57 w 60"/>
                  <a:gd name="T1" fmla="*/ 1 h 33"/>
                  <a:gd name="T2" fmla="*/ 31 w 60"/>
                  <a:gd name="T3" fmla="*/ 14 h 33"/>
                  <a:gd name="T4" fmla="*/ 19 w 60"/>
                  <a:gd name="T5" fmla="*/ 21 h 33"/>
                  <a:gd name="T6" fmla="*/ 2 w 60"/>
                  <a:gd name="T7" fmla="*/ 29 h 33"/>
                  <a:gd name="T8" fmla="*/ 3 w 60"/>
                  <a:gd name="T9" fmla="*/ 33 h 33"/>
                  <a:gd name="T10" fmla="*/ 18 w 60"/>
                  <a:gd name="T11" fmla="*/ 31 h 33"/>
                  <a:gd name="T12" fmla="*/ 31 w 60"/>
                  <a:gd name="T13" fmla="*/ 21 h 33"/>
                  <a:gd name="T14" fmla="*/ 59 w 60"/>
                  <a:gd name="T15" fmla="*/ 3 h 33"/>
                  <a:gd name="T16" fmla="*/ 57 w 60"/>
                  <a:gd name="T17" fmla="*/ 1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60" h="33">
                    <a:moveTo>
                      <a:pt x="57" y="1"/>
                    </a:moveTo>
                    <a:cubicBezTo>
                      <a:pt x="50" y="8"/>
                      <a:pt x="40" y="10"/>
                      <a:pt x="31" y="14"/>
                    </a:cubicBezTo>
                    <a:cubicBezTo>
                      <a:pt x="27" y="16"/>
                      <a:pt x="23" y="19"/>
                      <a:pt x="19" y="21"/>
                    </a:cubicBezTo>
                    <a:cubicBezTo>
                      <a:pt x="14" y="25"/>
                      <a:pt x="8" y="27"/>
                      <a:pt x="2" y="29"/>
                    </a:cubicBezTo>
                    <a:cubicBezTo>
                      <a:pt x="0" y="30"/>
                      <a:pt x="0" y="33"/>
                      <a:pt x="3" y="33"/>
                    </a:cubicBezTo>
                    <a:cubicBezTo>
                      <a:pt x="7" y="33"/>
                      <a:pt x="13" y="33"/>
                      <a:pt x="18" y="31"/>
                    </a:cubicBezTo>
                    <a:cubicBezTo>
                      <a:pt x="22" y="29"/>
                      <a:pt x="26" y="24"/>
                      <a:pt x="31" y="21"/>
                    </a:cubicBezTo>
                    <a:cubicBezTo>
                      <a:pt x="41" y="15"/>
                      <a:pt x="52" y="14"/>
                      <a:pt x="59" y="3"/>
                    </a:cubicBezTo>
                    <a:cubicBezTo>
                      <a:pt x="60" y="1"/>
                      <a:pt x="58" y="0"/>
                      <a:pt x="57" y="1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750" name="Freeform 297">
                <a:extLst>
                  <a:ext uri="{FF2B5EF4-FFF2-40B4-BE49-F238E27FC236}">
                    <a16:creationId xmlns:a16="http://schemas.microsoft.com/office/drawing/2014/main" id="{F9FA11A5-9504-49A0-8F45-DB6715376B0F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7257" y="3038"/>
                <a:ext cx="18" cy="3"/>
              </a:xfrm>
              <a:custGeom>
                <a:avLst/>
                <a:gdLst>
                  <a:gd name="T0" fmla="*/ 16 w 17"/>
                  <a:gd name="T1" fmla="*/ 1 h 3"/>
                  <a:gd name="T2" fmla="*/ 1 w 17"/>
                  <a:gd name="T3" fmla="*/ 2 h 3"/>
                  <a:gd name="T4" fmla="*/ 1 w 17"/>
                  <a:gd name="T5" fmla="*/ 3 h 3"/>
                  <a:gd name="T6" fmla="*/ 16 w 17"/>
                  <a:gd name="T7" fmla="*/ 2 h 3"/>
                  <a:gd name="T8" fmla="*/ 16 w 17"/>
                  <a:gd name="T9" fmla="*/ 1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7" h="3">
                    <a:moveTo>
                      <a:pt x="16" y="1"/>
                    </a:moveTo>
                    <a:cubicBezTo>
                      <a:pt x="11" y="2"/>
                      <a:pt x="6" y="0"/>
                      <a:pt x="1" y="2"/>
                    </a:cubicBezTo>
                    <a:cubicBezTo>
                      <a:pt x="0" y="2"/>
                      <a:pt x="0" y="3"/>
                      <a:pt x="1" y="3"/>
                    </a:cubicBezTo>
                    <a:cubicBezTo>
                      <a:pt x="6" y="3"/>
                      <a:pt x="11" y="3"/>
                      <a:pt x="16" y="2"/>
                    </a:cubicBezTo>
                    <a:cubicBezTo>
                      <a:pt x="17" y="2"/>
                      <a:pt x="17" y="1"/>
                      <a:pt x="16" y="1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751" name="Freeform 298">
                <a:extLst>
                  <a:ext uri="{FF2B5EF4-FFF2-40B4-BE49-F238E27FC236}">
                    <a16:creationId xmlns:a16="http://schemas.microsoft.com/office/drawing/2014/main" id="{995EB879-2BBF-42E3-9FF2-E4F4CF9B946B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7309" y="3039"/>
                <a:ext cx="40" cy="15"/>
              </a:xfrm>
              <a:custGeom>
                <a:avLst/>
                <a:gdLst>
                  <a:gd name="T0" fmla="*/ 1 w 38"/>
                  <a:gd name="T1" fmla="*/ 2 h 14"/>
                  <a:gd name="T2" fmla="*/ 16 w 38"/>
                  <a:gd name="T3" fmla="*/ 7 h 14"/>
                  <a:gd name="T4" fmla="*/ 32 w 38"/>
                  <a:gd name="T5" fmla="*/ 13 h 14"/>
                  <a:gd name="T6" fmla="*/ 35 w 38"/>
                  <a:gd name="T7" fmla="*/ 8 h 14"/>
                  <a:gd name="T8" fmla="*/ 18 w 38"/>
                  <a:gd name="T9" fmla="*/ 2 h 14"/>
                  <a:gd name="T10" fmla="*/ 2 w 38"/>
                  <a:gd name="T11" fmla="*/ 0 h 14"/>
                  <a:gd name="T12" fmla="*/ 1 w 38"/>
                  <a:gd name="T13" fmla="*/ 2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8" h="14">
                    <a:moveTo>
                      <a:pt x="1" y="2"/>
                    </a:moveTo>
                    <a:cubicBezTo>
                      <a:pt x="6" y="4"/>
                      <a:pt x="11" y="5"/>
                      <a:pt x="16" y="7"/>
                    </a:cubicBezTo>
                    <a:cubicBezTo>
                      <a:pt x="22" y="9"/>
                      <a:pt x="27" y="12"/>
                      <a:pt x="32" y="13"/>
                    </a:cubicBezTo>
                    <a:cubicBezTo>
                      <a:pt x="35" y="14"/>
                      <a:pt x="38" y="10"/>
                      <a:pt x="35" y="8"/>
                    </a:cubicBezTo>
                    <a:cubicBezTo>
                      <a:pt x="30" y="6"/>
                      <a:pt x="24" y="3"/>
                      <a:pt x="18" y="2"/>
                    </a:cubicBezTo>
                    <a:cubicBezTo>
                      <a:pt x="13" y="1"/>
                      <a:pt x="7" y="1"/>
                      <a:pt x="2" y="0"/>
                    </a:cubicBezTo>
                    <a:cubicBezTo>
                      <a:pt x="1" y="0"/>
                      <a:pt x="0" y="2"/>
                      <a:pt x="1" y="2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752" name="Freeform 299">
                <a:extLst>
                  <a:ext uri="{FF2B5EF4-FFF2-40B4-BE49-F238E27FC236}">
                    <a16:creationId xmlns:a16="http://schemas.microsoft.com/office/drawing/2014/main" id="{97B2CEBC-E132-4C3B-886F-16DE12B9CD31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7256" y="3013"/>
                <a:ext cx="282" cy="51"/>
              </a:xfrm>
              <a:custGeom>
                <a:avLst/>
                <a:gdLst>
                  <a:gd name="T0" fmla="*/ 3 w 266"/>
                  <a:gd name="T1" fmla="*/ 46 h 48"/>
                  <a:gd name="T2" fmla="*/ 56 w 266"/>
                  <a:gd name="T3" fmla="*/ 42 h 48"/>
                  <a:gd name="T4" fmla="*/ 119 w 266"/>
                  <a:gd name="T5" fmla="*/ 31 h 48"/>
                  <a:gd name="T6" fmla="*/ 262 w 266"/>
                  <a:gd name="T7" fmla="*/ 7 h 48"/>
                  <a:gd name="T8" fmla="*/ 261 w 266"/>
                  <a:gd name="T9" fmla="*/ 0 h 48"/>
                  <a:gd name="T10" fmla="*/ 200 w 266"/>
                  <a:gd name="T11" fmla="*/ 9 h 48"/>
                  <a:gd name="T12" fmla="*/ 134 w 266"/>
                  <a:gd name="T13" fmla="*/ 21 h 48"/>
                  <a:gd name="T14" fmla="*/ 3 w 266"/>
                  <a:gd name="T15" fmla="*/ 41 h 48"/>
                  <a:gd name="T16" fmla="*/ 3 w 266"/>
                  <a:gd name="T17" fmla="*/ 46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66" h="48">
                    <a:moveTo>
                      <a:pt x="3" y="46"/>
                    </a:moveTo>
                    <a:cubicBezTo>
                      <a:pt x="20" y="48"/>
                      <a:pt x="39" y="44"/>
                      <a:pt x="56" y="42"/>
                    </a:cubicBezTo>
                    <a:cubicBezTo>
                      <a:pt x="77" y="40"/>
                      <a:pt x="98" y="35"/>
                      <a:pt x="119" y="31"/>
                    </a:cubicBezTo>
                    <a:cubicBezTo>
                      <a:pt x="166" y="22"/>
                      <a:pt x="214" y="12"/>
                      <a:pt x="262" y="7"/>
                    </a:cubicBezTo>
                    <a:cubicBezTo>
                      <a:pt x="266" y="6"/>
                      <a:pt x="266" y="0"/>
                      <a:pt x="261" y="0"/>
                    </a:cubicBezTo>
                    <a:cubicBezTo>
                      <a:pt x="241" y="0"/>
                      <a:pt x="220" y="6"/>
                      <a:pt x="200" y="9"/>
                    </a:cubicBezTo>
                    <a:cubicBezTo>
                      <a:pt x="178" y="12"/>
                      <a:pt x="156" y="16"/>
                      <a:pt x="134" y="21"/>
                    </a:cubicBezTo>
                    <a:cubicBezTo>
                      <a:pt x="90" y="31"/>
                      <a:pt x="48" y="41"/>
                      <a:pt x="3" y="41"/>
                    </a:cubicBezTo>
                    <a:cubicBezTo>
                      <a:pt x="0" y="41"/>
                      <a:pt x="0" y="45"/>
                      <a:pt x="3" y="46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753" name="Freeform 300">
                <a:extLst>
                  <a:ext uri="{FF2B5EF4-FFF2-40B4-BE49-F238E27FC236}">
                    <a16:creationId xmlns:a16="http://schemas.microsoft.com/office/drawing/2014/main" id="{7E2A3E63-886F-4E67-AF0B-54C3B5F8838A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7169" y="3523"/>
                <a:ext cx="156" cy="21"/>
              </a:xfrm>
              <a:custGeom>
                <a:avLst/>
                <a:gdLst>
                  <a:gd name="T0" fmla="*/ 1 w 147"/>
                  <a:gd name="T1" fmla="*/ 10 h 20"/>
                  <a:gd name="T2" fmla="*/ 48 w 147"/>
                  <a:gd name="T3" fmla="*/ 14 h 20"/>
                  <a:gd name="T4" fmla="*/ 144 w 147"/>
                  <a:gd name="T5" fmla="*/ 6 h 20"/>
                  <a:gd name="T6" fmla="*/ 143 w 147"/>
                  <a:gd name="T7" fmla="*/ 1 h 20"/>
                  <a:gd name="T8" fmla="*/ 67 w 147"/>
                  <a:gd name="T9" fmla="*/ 8 h 20"/>
                  <a:gd name="T10" fmla="*/ 34 w 147"/>
                  <a:gd name="T11" fmla="*/ 8 h 20"/>
                  <a:gd name="T12" fmla="*/ 4 w 147"/>
                  <a:gd name="T13" fmla="*/ 7 h 20"/>
                  <a:gd name="T14" fmla="*/ 1 w 147"/>
                  <a:gd name="T15" fmla="*/ 1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47" h="20">
                    <a:moveTo>
                      <a:pt x="1" y="10"/>
                    </a:moveTo>
                    <a:cubicBezTo>
                      <a:pt x="10" y="20"/>
                      <a:pt x="38" y="14"/>
                      <a:pt x="48" y="14"/>
                    </a:cubicBezTo>
                    <a:cubicBezTo>
                      <a:pt x="79" y="13"/>
                      <a:pt x="114" y="15"/>
                      <a:pt x="144" y="6"/>
                    </a:cubicBezTo>
                    <a:cubicBezTo>
                      <a:pt x="147" y="5"/>
                      <a:pt x="146" y="0"/>
                      <a:pt x="143" y="1"/>
                    </a:cubicBezTo>
                    <a:cubicBezTo>
                      <a:pt x="117" y="5"/>
                      <a:pt x="93" y="7"/>
                      <a:pt x="67" y="8"/>
                    </a:cubicBezTo>
                    <a:cubicBezTo>
                      <a:pt x="56" y="8"/>
                      <a:pt x="45" y="8"/>
                      <a:pt x="34" y="8"/>
                    </a:cubicBezTo>
                    <a:cubicBezTo>
                      <a:pt x="24" y="8"/>
                      <a:pt x="13" y="11"/>
                      <a:pt x="4" y="7"/>
                    </a:cubicBezTo>
                    <a:cubicBezTo>
                      <a:pt x="1" y="6"/>
                      <a:pt x="0" y="9"/>
                      <a:pt x="1" y="10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754" name="Freeform 301">
                <a:extLst>
                  <a:ext uri="{FF2B5EF4-FFF2-40B4-BE49-F238E27FC236}">
                    <a16:creationId xmlns:a16="http://schemas.microsoft.com/office/drawing/2014/main" id="{E34ADD60-5303-4B26-8587-4F4215AC1A76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7526" y="3010"/>
                <a:ext cx="140" cy="86"/>
              </a:xfrm>
              <a:custGeom>
                <a:avLst/>
                <a:gdLst>
                  <a:gd name="T0" fmla="*/ 132 w 132"/>
                  <a:gd name="T1" fmla="*/ 79 h 82"/>
                  <a:gd name="T2" fmla="*/ 94 w 132"/>
                  <a:gd name="T3" fmla="*/ 23 h 82"/>
                  <a:gd name="T4" fmla="*/ 39 w 132"/>
                  <a:gd name="T5" fmla="*/ 8 h 82"/>
                  <a:gd name="T6" fmla="*/ 3 w 132"/>
                  <a:gd name="T7" fmla="*/ 3 h 82"/>
                  <a:gd name="T8" fmla="*/ 4 w 132"/>
                  <a:gd name="T9" fmla="*/ 8 h 82"/>
                  <a:gd name="T10" fmla="*/ 69 w 132"/>
                  <a:gd name="T11" fmla="*/ 21 h 82"/>
                  <a:gd name="T12" fmla="*/ 111 w 132"/>
                  <a:gd name="T13" fmla="*/ 38 h 82"/>
                  <a:gd name="T14" fmla="*/ 129 w 132"/>
                  <a:gd name="T15" fmla="*/ 80 h 82"/>
                  <a:gd name="T16" fmla="*/ 132 w 132"/>
                  <a:gd name="T17" fmla="*/ 79 h 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32" h="82">
                    <a:moveTo>
                      <a:pt x="132" y="79"/>
                    </a:moveTo>
                    <a:cubicBezTo>
                      <a:pt x="128" y="54"/>
                      <a:pt x="120" y="32"/>
                      <a:pt x="94" y="23"/>
                    </a:cubicBezTo>
                    <a:cubicBezTo>
                      <a:pt x="76" y="17"/>
                      <a:pt x="57" y="12"/>
                      <a:pt x="39" y="8"/>
                    </a:cubicBezTo>
                    <a:cubicBezTo>
                      <a:pt x="28" y="5"/>
                      <a:pt x="15" y="0"/>
                      <a:pt x="3" y="3"/>
                    </a:cubicBezTo>
                    <a:cubicBezTo>
                      <a:pt x="0" y="4"/>
                      <a:pt x="1" y="8"/>
                      <a:pt x="4" y="8"/>
                    </a:cubicBezTo>
                    <a:cubicBezTo>
                      <a:pt x="26" y="9"/>
                      <a:pt x="47" y="16"/>
                      <a:pt x="69" y="21"/>
                    </a:cubicBezTo>
                    <a:cubicBezTo>
                      <a:pt x="83" y="25"/>
                      <a:pt x="100" y="27"/>
                      <a:pt x="111" y="38"/>
                    </a:cubicBezTo>
                    <a:cubicBezTo>
                      <a:pt x="122" y="49"/>
                      <a:pt x="124" y="66"/>
                      <a:pt x="129" y="80"/>
                    </a:cubicBezTo>
                    <a:cubicBezTo>
                      <a:pt x="130" y="82"/>
                      <a:pt x="132" y="81"/>
                      <a:pt x="132" y="79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755" name="Freeform 302">
                <a:extLst>
                  <a:ext uri="{FF2B5EF4-FFF2-40B4-BE49-F238E27FC236}">
                    <a16:creationId xmlns:a16="http://schemas.microsoft.com/office/drawing/2014/main" id="{8EF4BF3C-5233-4202-8796-9F973BDE006D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7409" y="3072"/>
                <a:ext cx="272" cy="476"/>
              </a:xfrm>
              <a:custGeom>
                <a:avLst/>
                <a:gdLst>
                  <a:gd name="T0" fmla="*/ 233 w 257"/>
                  <a:gd name="T1" fmla="*/ 1 h 450"/>
                  <a:gd name="T2" fmla="*/ 245 w 257"/>
                  <a:gd name="T3" fmla="*/ 60 h 450"/>
                  <a:gd name="T4" fmla="*/ 229 w 257"/>
                  <a:gd name="T5" fmla="*/ 134 h 450"/>
                  <a:gd name="T6" fmla="*/ 154 w 257"/>
                  <a:gd name="T7" fmla="*/ 240 h 450"/>
                  <a:gd name="T8" fmla="*/ 2 w 257"/>
                  <a:gd name="T9" fmla="*/ 445 h 450"/>
                  <a:gd name="T10" fmla="*/ 5 w 257"/>
                  <a:gd name="T11" fmla="*/ 448 h 450"/>
                  <a:gd name="T12" fmla="*/ 46 w 257"/>
                  <a:gd name="T13" fmla="*/ 401 h 450"/>
                  <a:gd name="T14" fmla="*/ 83 w 257"/>
                  <a:gd name="T15" fmla="*/ 349 h 450"/>
                  <a:gd name="T16" fmla="*/ 167 w 257"/>
                  <a:gd name="T17" fmla="*/ 235 h 450"/>
                  <a:gd name="T18" fmla="*/ 240 w 257"/>
                  <a:gd name="T19" fmla="*/ 125 h 450"/>
                  <a:gd name="T20" fmla="*/ 234 w 257"/>
                  <a:gd name="T21" fmla="*/ 1 h 450"/>
                  <a:gd name="T22" fmla="*/ 233 w 257"/>
                  <a:gd name="T23" fmla="*/ 1 h 4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257" h="450">
                    <a:moveTo>
                      <a:pt x="233" y="1"/>
                    </a:moveTo>
                    <a:cubicBezTo>
                      <a:pt x="236" y="21"/>
                      <a:pt x="244" y="40"/>
                      <a:pt x="245" y="60"/>
                    </a:cubicBezTo>
                    <a:cubicBezTo>
                      <a:pt x="247" y="85"/>
                      <a:pt x="241" y="112"/>
                      <a:pt x="229" y="134"/>
                    </a:cubicBezTo>
                    <a:cubicBezTo>
                      <a:pt x="208" y="171"/>
                      <a:pt x="181" y="207"/>
                      <a:pt x="154" y="240"/>
                    </a:cubicBezTo>
                    <a:cubicBezTo>
                      <a:pt x="101" y="306"/>
                      <a:pt x="58" y="381"/>
                      <a:pt x="2" y="445"/>
                    </a:cubicBezTo>
                    <a:cubicBezTo>
                      <a:pt x="0" y="447"/>
                      <a:pt x="3" y="450"/>
                      <a:pt x="5" y="448"/>
                    </a:cubicBezTo>
                    <a:cubicBezTo>
                      <a:pt x="21" y="435"/>
                      <a:pt x="34" y="418"/>
                      <a:pt x="46" y="401"/>
                    </a:cubicBezTo>
                    <a:cubicBezTo>
                      <a:pt x="58" y="383"/>
                      <a:pt x="71" y="367"/>
                      <a:pt x="83" y="349"/>
                    </a:cubicBezTo>
                    <a:cubicBezTo>
                      <a:pt x="111" y="310"/>
                      <a:pt x="137" y="272"/>
                      <a:pt x="167" y="235"/>
                    </a:cubicBezTo>
                    <a:cubicBezTo>
                      <a:pt x="193" y="202"/>
                      <a:pt x="223" y="164"/>
                      <a:pt x="240" y="125"/>
                    </a:cubicBezTo>
                    <a:cubicBezTo>
                      <a:pt x="257" y="83"/>
                      <a:pt x="250" y="41"/>
                      <a:pt x="234" y="1"/>
                    </a:cubicBezTo>
                    <a:cubicBezTo>
                      <a:pt x="234" y="0"/>
                      <a:pt x="233" y="0"/>
                      <a:pt x="233" y="1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756" name="Freeform 303">
                <a:extLst>
                  <a:ext uri="{FF2B5EF4-FFF2-40B4-BE49-F238E27FC236}">
                    <a16:creationId xmlns:a16="http://schemas.microsoft.com/office/drawing/2014/main" id="{CF1E945D-B30E-4148-8B4B-9F098BA76FF5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7328" y="3537"/>
                <a:ext cx="89" cy="39"/>
              </a:xfrm>
              <a:custGeom>
                <a:avLst/>
                <a:gdLst>
                  <a:gd name="T0" fmla="*/ 80 w 84"/>
                  <a:gd name="T1" fmla="*/ 1 h 37"/>
                  <a:gd name="T2" fmla="*/ 46 w 84"/>
                  <a:gd name="T3" fmla="*/ 29 h 37"/>
                  <a:gd name="T4" fmla="*/ 1 w 84"/>
                  <a:gd name="T5" fmla="*/ 2 h 37"/>
                  <a:gd name="T6" fmla="*/ 0 w 84"/>
                  <a:gd name="T7" fmla="*/ 3 h 37"/>
                  <a:gd name="T8" fmla="*/ 33 w 84"/>
                  <a:gd name="T9" fmla="*/ 35 h 37"/>
                  <a:gd name="T10" fmla="*/ 60 w 84"/>
                  <a:gd name="T11" fmla="*/ 28 h 37"/>
                  <a:gd name="T12" fmla="*/ 83 w 84"/>
                  <a:gd name="T13" fmla="*/ 4 h 37"/>
                  <a:gd name="T14" fmla="*/ 80 w 84"/>
                  <a:gd name="T15" fmla="*/ 1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84" h="37">
                    <a:moveTo>
                      <a:pt x="80" y="1"/>
                    </a:moveTo>
                    <a:cubicBezTo>
                      <a:pt x="69" y="12"/>
                      <a:pt x="62" y="25"/>
                      <a:pt x="46" y="29"/>
                    </a:cubicBezTo>
                    <a:cubicBezTo>
                      <a:pt x="26" y="33"/>
                      <a:pt x="9" y="19"/>
                      <a:pt x="1" y="2"/>
                    </a:cubicBezTo>
                    <a:cubicBezTo>
                      <a:pt x="1" y="2"/>
                      <a:pt x="0" y="2"/>
                      <a:pt x="0" y="3"/>
                    </a:cubicBezTo>
                    <a:cubicBezTo>
                      <a:pt x="3" y="20"/>
                      <a:pt x="17" y="31"/>
                      <a:pt x="33" y="35"/>
                    </a:cubicBezTo>
                    <a:cubicBezTo>
                      <a:pt x="43" y="37"/>
                      <a:pt x="52" y="34"/>
                      <a:pt x="60" y="28"/>
                    </a:cubicBezTo>
                    <a:cubicBezTo>
                      <a:pt x="71" y="21"/>
                      <a:pt x="76" y="14"/>
                      <a:pt x="83" y="4"/>
                    </a:cubicBezTo>
                    <a:cubicBezTo>
                      <a:pt x="84" y="2"/>
                      <a:pt x="81" y="0"/>
                      <a:pt x="80" y="1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757" name="Freeform 304">
                <a:extLst>
                  <a:ext uri="{FF2B5EF4-FFF2-40B4-BE49-F238E27FC236}">
                    <a16:creationId xmlns:a16="http://schemas.microsoft.com/office/drawing/2014/main" id="{407073A4-1FD7-4EFC-A606-507183211A80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7311" y="3453"/>
                <a:ext cx="9" cy="47"/>
              </a:xfrm>
              <a:custGeom>
                <a:avLst/>
                <a:gdLst>
                  <a:gd name="T0" fmla="*/ 8 w 8"/>
                  <a:gd name="T1" fmla="*/ 43 h 44"/>
                  <a:gd name="T2" fmla="*/ 2 w 8"/>
                  <a:gd name="T3" fmla="*/ 1 h 44"/>
                  <a:gd name="T4" fmla="*/ 0 w 8"/>
                  <a:gd name="T5" fmla="*/ 1 h 44"/>
                  <a:gd name="T6" fmla="*/ 6 w 8"/>
                  <a:gd name="T7" fmla="*/ 44 h 44"/>
                  <a:gd name="T8" fmla="*/ 8 w 8"/>
                  <a:gd name="T9" fmla="*/ 43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4">
                    <a:moveTo>
                      <a:pt x="8" y="43"/>
                    </a:moveTo>
                    <a:cubicBezTo>
                      <a:pt x="5" y="29"/>
                      <a:pt x="3" y="15"/>
                      <a:pt x="2" y="1"/>
                    </a:cubicBezTo>
                    <a:cubicBezTo>
                      <a:pt x="2" y="0"/>
                      <a:pt x="0" y="1"/>
                      <a:pt x="0" y="1"/>
                    </a:cubicBezTo>
                    <a:cubicBezTo>
                      <a:pt x="0" y="16"/>
                      <a:pt x="2" y="30"/>
                      <a:pt x="6" y="44"/>
                    </a:cubicBezTo>
                    <a:cubicBezTo>
                      <a:pt x="7" y="44"/>
                      <a:pt x="8" y="44"/>
                      <a:pt x="8" y="43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758" name="Freeform 305">
                <a:extLst>
                  <a:ext uri="{FF2B5EF4-FFF2-40B4-BE49-F238E27FC236}">
                    <a16:creationId xmlns:a16="http://schemas.microsoft.com/office/drawing/2014/main" id="{634F46BA-0E7A-4C4C-82CB-E10BFE92A832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7204" y="3571"/>
                <a:ext cx="171" cy="28"/>
              </a:xfrm>
              <a:custGeom>
                <a:avLst/>
                <a:gdLst>
                  <a:gd name="T0" fmla="*/ 159 w 161"/>
                  <a:gd name="T1" fmla="*/ 1 h 27"/>
                  <a:gd name="T2" fmla="*/ 118 w 161"/>
                  <a:gd name="T3" fmla="*/ 4 h 27"/>
                  <a:gd name="T4" fmla="*/ 85 w 161"/>
                  <a:gd name="T5" fmla="*/ 6 h 27"/>
                  <a:gd name="T6" fmla="*/ 5 w 161"/>
                  <a:gd name="T7" fmla="*/ 20 h 27"/>
                  <a:gd name="T8" fmla="*/ 5 w 161"/>
                  <a:gd name="T9" fmla="*/ 27 h 27"/>
                  <a:gd name="T10" fmla="*/ 86 w 161"/>
                  <a:gd name="T11" fmla="*/ 12 h 27"/>
                  <a:gd name="T12" fmla="*/ 138 w 161"/>
                  <a:gd name="T13" fmla="*/ 10 h 27"/>
                  <a:gd name="T14" fmla="*/ 160 w 161"/>
                  <a:gd name="T15" fmla="*/ 3 h 27"/>
                  <a:gd name="T16" fmla="*/ 159 w 161"/>
                  <a:gd name="T17" fmla="*/ 1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61" h="27">
                    <a:moveTo>
                      <a:pt x="159" y="1"/>
                    </a:moveTo>
                    <a:cubicBezTo>
                      <a:pt x="147" y="7"/>
                      <a:pt x="131" y="4"/>
                      <a:pt x="118" y="4"/>
                    </a:cubicBezTo>
                    <a:cubicBezTo>
                      <a:pt x="107" y="4"/>
                      <a:pt x="96" y="4"/>
                      <a:pt x="85" y="6"/>
                    </a:cubicBezTo>
                    <a:cubicBezTo>
                      <a:pt x="59" y="10"/>
                      <a:pt x="31" y="20"/>
                      <a:pt x="5" y="20"/>
                    </a:cubicBezTo>
                    <a:cubicBezTo>
                      <a:pt x="0" y="20"/>
                      <a:pt x="1" y="27"/>
                      <a:pt x="5" y="27"/>
                    </a:cubicBezTo>
                    <a:cubicBezTo>
                      <a:pt x="32" y="27"/>
                      <a:pt x="60" y="16"/>
                      <a:pt x="86" y="12"/>
                    </a:cubicBezTo>
                    <a:cubicBezTo>
                      <a:pt x="104" y="9"/>
                      <a:pt x="121" y="11"/>
                      <a:pt x="138" y="10"/>
                    </a:cubicBezTo>
                    <a:cubicBezTo>
                      <a:pt x="147" y="9"/>
                      <a:pt x="154" y="8"/>
                      <a:pt x="160" y="3"/>
                    </a:cubicBezTo>
                    <a:cubicBezTo>
                      <a:pt x="161" y="2"/>
                      <a:pt x="160" y="0"/>
                      <a:pt x="159" y="1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759" name="Freeform 306">
                <a:extLst>
                  <a:ext uri="{FF2B5EF4-FFF2-40B4-BE49-F238E27FC236}">
                    <a16:creationId xmlns:a16="http://schemas.microsoft.com/office/drawing/2014/main" id="{DA51F0EE-9C5B-4EF6-A493-9F2AEB8DE50E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7478" y="3028"/>
                <a:ext cx="160" cy="173"/>
              </a:xfrm>
              <a:custGeom>
                <a:avLst/>
                <a:gdLst>
                  <a:gd name="T0" fmla="*/ 150 w 151"/>
                  <a:gd name="T1" fmla="*/ 17 h 164"/>
                  <a:gd name="T2" fmla="*/ 82 w 151"/>
                  <a:gd name="T3" fmla="*/ 52 h 164"/>
                  <a:gd name="T4" fmla="*/ 44 w 151"/>
                  <a:gd name="T5" fmla="*/ 103 h 164"/>
                  <a:gd name="T6" fmla="*/ 2 w 151"/>
                  <a:gd name="T7" fmla="*/ 159 h 164"/>
                  <a:gd name="T8" fmla="*/ 5 w 151"/>
                  <a:gd name="T9" fmla="*/ 162 h 164"/>
                  <a:gd name="T10" fmla="*/ 63 w 151"/>
                  <a:gd name="T11" fmla="*/ 87 h 164"/>
                  <a:gd name="T12" fmla="*/ 148 w 151"/>
                  <a:gd name="T13" fmla="*/ 20 h 164"/>
                  <a:gd name="T14" fmla="*/ 150 w 151"/>
                  <a:gd name="T15" fmla="*/ 17 h 1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51" h="164">
                    <a:moveTo>
                      <a:pt x="150" y="17"/>
                    </a:moveTo>
                    <a:cubicBezTo>
                      <a:pt x="124" y="0"/>
                      <a:pt x="97" y="34"/>
                      <a:pt x="82" y="52"/>
                    </a:cubicBezTo>
                    <a:cubicBezTo>
                      <a:pt x="69" y="68"/>
                      <a:pt x="56" y="86"/>
                      <a:pt x="44" y="103"/>
                    </a:cubicBezTo>
                    <a:cubicBezTo>
                      <a:pt x="30" y="121"/>
                      <a:pt x="14" y="139"/>
                      <a:pt x="2" y="159"/>
                    </a:cubicBezTo>
                    <a:cubicBezTo>
                      <a:pt x="0" y="161"/>
                      <a:pt x="4" y="164"/>
                      <a:pt x="5" y="162"/>
                    </a:cubicBezTo>
                    <a:cubicBezTo>
                      <a:pt x="26" y="138"/>
                      <a:pt x="44" y="112"/>
                      <a:pt x="63" y="87"/>
                    </a:cubicBezTo>
                    <a:cubicBezTo>
                      <a:pt x="78" y="65"/>
                      <a:pt x="115" y="5"/>
                      <a:pt x="148" y="20"/>
                    </a:cubicBezTo>
                    <a:cubicBezTo>
                      <a:pt x="150" y="21"/>
                      <a:pt x="151" y="18"/>
                      <a:pt x="150" y="17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760" name="Freeform 307">
                <a:extLst>
                  <a:ext uri="{FF2B5EF4-FFF2-40B4-BE49-F238E27FC236}">
                    <a16:creationId xmlns:a16="http://schemas.microsoft.com/office/drawing/2014/main" id="{347BEA6D-7832-4E33-A8A1-197F6B53A166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7326" y="3227"/>
                <a:ext cx="128" cy="171"/>
              </a:xfrm>
              <a:custGeom>
                <a:avLst/>
                <a:gdLst>
                  <a:gd name="T0" fmla="*/ 117 w 121"/>
                  <a:gd name="T1" fmla="*/ 1 h 162"/>
                  <a:gd name="T2" fmla="*/ 50 w 121"/>
                  <a:gd name="T3" fmla="*/ 80 h 162"/>
                  <a:gd name="T4" fmla="*/ 1 w 121"/>
                  <a:gd name="T5" fmla="*/ 158 h 162"/>
                  <a:gd name="T6" fmla="*/ 4 w 121"/>
                  <a:gd name="T7" fmla="*/ 160 h 162"/>
                  <a:gd name="T8" fmla="*/ 55 w 121"/>
                  <a:gd name="T9" fmla="*/ 80 h 162"/>
                  <a:gd name="T10" fmla="*/ 120 w 121"/>
                  <a:gd name="T11" fmla="*/ 4 h 162"/>
                  <a:gd name="T12" fmla="*/ 117 w 121"/>
                  <a:gd name="T13" fmla="*/ 1 h 1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21" h="162">
                    <a:moveTo>
                      <a:pt x="117" y="1"/>
                    </a:moveTo>
                    <a:cubicBezTo>
                      <a:pt x="95" y="28"/>
                      <a:pt x="70" y="52"/>
                      <a:pt x="50" y="80"/>
                    </a:cubicBezTo>
                    <a:cubicBezTo>
                      <a:pt x="33" y="105"/>
                      <a:pt x="12" y="129"/>
                      <a:pt x="1" y="158"/>
                    </a:cubicBezTo>
                    <a:cubicBezTo>
                      <a:pt x="0" y="160"/>
                      <a:pt x="3" y="162"/>
                      <a:pt x="4" y="160"/>
                    </a:cubicBezTo>
                    <a:cubicBezTo>
                      <a:pt x="19" y="131"/>
                      <a:pt x="37" y="106"/>
                      <a:pt x="55" y="80"/>
                    </a:cubicBezTo>
                    <a:cubicBezTo>
                      <a:pt x="74" y="52"/>
                      <a:pt x="99" y="29"/>
                      <a:pt x="120" y="4"/>
                    </a:cubicBezTo>
                    <a:cubicBezTo>
                      <a:pt x="121" y="2"/>
                      <a:pt x="119" y="0"/>
                      <a:pt x="117" y="1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761" name="Freeform 308">
                <a:extLst>
                  <a:ext uri="{FF2B5EF4-FFF2-40B4-BE49-F238E27FC236}">
                    <a16:creationId xmlns:a16="http://schemas.microsoft.com/office/drawing/2014/main" id="{9A1F93DE-8726-403B-A1A6-94585551DB18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7237" y="3396"/>
                <a:ext cx="75" cy="12"/>
              </a:xfrm>
              <a:custGeom>
                <a:avLst/>
                <a:gdLst>
                  <a:gd name="T0" fmla="*/ 68 w 71"/>
                  <a:gd name="T1" fmla="*/ 0 h 11"/>
                  <a:gd name="T2" fmla="*/ 3 w 71"/>
                  <a:gd name="T3" fmla="*/ 6 h 11"/>
                  <a:gd name="T4" fmla="*/ 4 w 71"/>
                  <a:gd name="T5" fmla="*/ 11 h 11"/>
                  <a:gd name="T6" fmla="*/ 69 w 71"/>
                  <a:gd name="T7" fmla="*/ 3 h 11"/>
                  <a:gd name="T8" fmla="*/ 68 w 71"/>
                  <a:gd name="T9" fmla="*/ 0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1" h="11">
                    <a:moveTo>
                      <a:pt x="68" y="0"/>
                    </a:moveTo>
                    <a:cubicBezTo>
                      <a:pt x="47" y="4"/>
                      <a:pt x="25" y="3"/>
                      <a:pt x="3" y="6"/>
                    </a:cubicBezTo>
                    <a:cubicBezTo>
                      <a:pt x="0" y="7"/>
                      <a:pt x="1" y="11"/>
                      <a:pt x="4" y="11"/>
                    </a:cubicBezTo>
                    <a:cubicBezTo>
                      <a:pt x="26" y="10"/>
                      <a:pt x="48" y="10"/>
                      <a:pt x="69" y="3"/>
                    </a:cubicBezTo>
                    <a:cubicBezTo>
                      <a:pt x="71" y="3"/>
                      <a:pt x="70" y="0"/>
                      <a:pt x="68" y="0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762" name="Freeform 309">
                <a:extLst>
                  <a:ext uri="{FF2B5EF4-FFF2-40B4-BE49-F238E27FC236}">
                    <a16:creationId xmlns:a16="http://schemas.microsoft.com/office/drawing/2014/main" id="{68991C3A-BABE-4B4E-8728-C62235A1D76F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7534" y="3092"/>
                <a:ext cx="130" cy="173"/>
              </a:xfrm>
              <a:custGeom>
                <a:avLst/>
                <a:gdLst>
                  <a:gd name="T0" fmla="*/ 119 w 123"/>
                  <a:gd name="T1" fmla="*/ 2 h 163"/>
                  <a:gd name="T2" fmla="*/ 60 w 123"/>
                  <a:gd name="T3" fmla="*/ 81 h 163"/>
                  <a:gd name="T4" fmla="*/ 1 w 123"/>
                  <a:gd name="T5" fmla="*/ 160 h 163"/>
                  <a:gd name="T6" fmla="*/ 3 w 123"/>
                  <a:gd name="T7" fmla="*/ 162 h 163"/>
                  <a:gd name="T8" fmla="*/ 65 w 123"/>
                  <a:gd name="T9" fmla="*/ 80 h 163"/>
                  <a:gd name="T10" fmla="*/ 122 w 123"/>
                  <a:gd name="T11" fmla="*/ 3 h 163"/>
                  <a:gd name="T12" fmla="*/ 119 w 123"/>
                  <a:gd name="T13" fmla="*/ 2 h 1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23" h="163">
                    <a:moveTo>
                      <a:pt x="119" y="2"/>
                    </a:moveTo>
                    <a:cubicBezTo>
                      <a:pt x="107" y="31"/>
                      <a:pt x="79" y="55"/>
                      <a:pt x="60" y="81"/>
                    </a:cubicBezTo>
                    <a:cubicBezTo>
                      <a:pt x="40" y="107"/>
                      <a:pt x="21" y="134"/>
                      <a:pt x="1" y="160"/>
                    </a:cubicBezTo>
                    <a:cubicBezTo>
                      <a:pt x="0" y="161"/>
                      <a:pt x="2" y="163"/>
                      <a:pt x="3" y="162"/>
                    </a:cubicBezTo>
                    <a:cubicBezTo>
                      <a:pt x="26" y="137"/>
                      <a:pt x="44" y="108"/>
                      <a:pt x="65" y="80"/>
                    </a:cubicBezTo>
                    <a:cubicBezTo>
                      <a:pt x="84" y="55"/>
                      <a:pt x="111" y="33"/>
                      <a:pt x="122" y="3"/>
                    </a:cubicBezTo>
                    <a:cubicBezTo>
                      <a:pt x="123" y="1"/>
                      <a:pt x="120" y="0"/>
                      <a:pt x="119" y="2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763" name="Freeform 310">
                <a:extLst>
                  <a:ext uri="{FF2B5EF4-FFF2-40B4-BE49-F238E27FC236}">
                    <a16:creationId xmlns:a16="http://schemas.microsoft.com/office/drawing/2014/main" id="{0205A35E-0426-4158-A2EE-B9626BF8994A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7327" y="3320"/>
                <a:ext cx="160" cy="201"/>
              </a:xfrm>
              <a:custGeom>
                <a:avLst/>
                <a:gdLst>
                  <a:gd name="T0" fmla="*/ 150 w 151"/>
                  <a:gd name="T1" fmla="*/ 0 h 190"/>
                  <a:gd name="T2" fmla="*/ 1 w 151"/>
                  <a:gd name="T3" fmla="*/ 186 h 190"/>
                  <a:gd name="T4" fmla="*/ 4 w 151"/>
                  <a:gd name="T5" fmla="*/ 188 h 190"/>
                  <a:gd name="T6" fmla="*/ 71 w 151"/>
                  <a:gd name="T7" fmla="*/ 103 h 190"/>
                  <a:gd name="T8" fmla="*/ 151 w 151"/>
                  <a:gd name="T9" fmla="*/ 2 h 190"/>
                  <a:gd name="T10" fmla="*/ 150 w 151"/>
                  <a:gd name="T11" fmla="*/ 0 h 1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51" h="190">
                    <a:moveTo>
                      <a:pt x="150" y="0"/>
                    </a:moveTo>
                    <a:cubicBezTo>
                      <a:pt x="98" y="61"/>
                      <a:pt x="51" y="125"/>
                      <a:pt x="1" y="186"/>
                    </a:cubicBezTo>
                    <a:cubicBezTo>
                      <a:pt x="0" y="188"/>
                      <a:pt x="2" y="190"/>
                      <a:pt x="4" y="188"/>
                    </a:cubicBezTo>
                    <a:cubicBezTo>
                      <a:pt x="29" y="163"/>
                      <a:pt x="50" y="131"/>
                      <a:pt x="71" y="103"/>
                    </a:cubicBezTo>
                    <a:cubicBezTo>
                      <a:pt x="97" y="69"/>
                      <a:pt x="124" y="35"/>
                      <a:pt x="151" y="2"/>
                    </a:cubicBezTo>
                    <a:cubicBezTo>
                      <a:pt x="151" y="1"/>
                      <a:pt x="150" y="0"/>
                      <a:pt x="150" y="0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764" name="Freeform 311">
                <a:extLst>
                  <a:ext uri="{FF2B5EF4-FFF2-40B4-BE49-F238E27FC236}">
                    <a16:creationId xmlns:a16="http://schemas.microsoft.com/office/drawing/2014/main" id="{403E42B0-28E8-43D5-9B8C-84B1851FADE2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7187" y="3555"/>
                <a:ext cx="247" cy="130"/>
              </a:xfrm>
              <a:custGeom>
                <a:avLst/>
                <a:gdLst>
                  <a:gd name="T0" fmla="*/ 199 w 233"/>
                  <a:gd name="T1" fmla="*/ 2 h 123"/>
                  <a:gd name="T2" fmla="*/ 215 w 233"/>
                  <a:gd name="T3" fmla="*/ 46 h 123"/>
                  <a:gd name="T4" fmla="*/ 196 w 233"/>
                  <a:gd name="T5" fmla="*/ 66 h 123"/>
                  <a:gd name="T6" fmla="*/ 141 w 233"/>
                  <a:gd name="T7" fmla="*/ 92 h 123"/>
                  <a:gd name="T8" fmla="*/ 9 w 233"/>
                  <a:gd name="T9" fmla="*/ 64 h 123"/>
                  <a:gd name="T10" fmla="*/ 2 w 233"/>
                  <a:gd name="T11" fmla="*/ 64 h 123"/>
                  <a:gd name="T12" fmla="*/ 141 w 233"/>
                  <a:gd name="T13" fmla="*/ 100 h 123"/>
                  <a:gd name="T14" fmla="*/ 220 w 233"/>
                  <a:gd name="T15" fmla="*/ 49 h 123"/>
                  <a:gd name="T16" fmla="*/ 200 w 233"/>
                  <a:gd name="T17" fmla="*/ 1 h 123"/>
                  <a:gd name="T18" fmla="*/ 199 w 233"/>
                  <a:gd name="T19" fmla="*/ 2 h 1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33" h="123">
                    <a:moveTo>
                      <a:pt x="199" y="2"/>
                    </a:moveTo>
                    <a:cubicBezTo>
                      <a:pt x="211" y="16"/>
                      <a:pt x="228" y="22"/>
                      <a:pt x="215" y="46"/>
                    </a:cubicBezTo>
                    <a:cubicBezTo>
                      <a:pt x="211" y="54"/>
                      <a:pt x="203" y="61"/>
                      <a:pt x="196" y="66"/>
                    </a:cubicBezTo>
                    <a:cubicBezTo>
                      <a:pt x="180" y="78"/>
                      <a:pt x="160" y="86"/>
                      <a:pt x="141" y="92"/>
                    </a:cubicBezTo>
                    <a:cubicBezTo>
                      <a:pt x="113" y="100"/>
                      <a:pt x="8" y="115"/>
                      <a:pt x="9" y="64"/>
                    </a:cubicBezTo>
                    <a:cubicBezTo>
                      <a:pt x="9" y="60"/>
                      <a:pt x="3" y="60"/>
                      <a:pt x="2" y="64"/>
                    </a:cubicBezTo>
                    <a:cubicBezTo>
                      <a:pt x="0" y="123"/>
                      <a:pt x="109" y="109"/>
                      <a:pt x="141" y="100"/>
                    </a:cubicBezTo>
                    <a:cubicBezTo>
                      <a:pt x="169" y="92"/>
                      <a:pt x="205" y="77"/>
                      <a:pt x="220" y="49"/>
                    </a:cubicBezTo>
                    <a:cubicBezTo>
                      <a:pt x="233" y="27"/>
                      <a:pt x="220" y="11"/>
                      <a:pt x="200" y="1"/>
                    </a:cubicBezTo>
                    <a:cubicBezTo>
                      <a:pt x="199" y="0"/>
                      <a:pt x="198" y="1"/>
                      <a:pt x="199" y="2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765" name="Freeform 312">
                <a:extLst>
                  <a:ext uri="{FF2B5EF4-FFF2-40B4-BE49-F238E27FC236}">
                    <a16:creationId xmlns:a16="http://schemas.microsoft.com/office/drawing/2014/main" id="{34E6CD59-3476-4705-B46B-2C1F632A1C1A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754" y="3607"/>
                <a:ext cx="217" cy="82"/>
              </a:xfrm>
              <a:custGeom>
                <a:avLst/>
                <a:gdLst>
                  <a:gd name="T0" fmla="*/ 201 w 205"/>
                  <a:gd name="T1" fmla="*/ 21 h 78"/>
                  <a:gd name="T2" fmla="*/ 166 w 205"/>
                  <a:gd name="T3" fmla="*/ 49 h 78"/>
                  <a:gd name="T4" fmla="*/ 113 w 205"/>
                  <a:gd name="T5" fmla="*/ 64 h 78"/>
                  <a:gd name="T6" fmla="*/ 56 w 205"/>
                  <a:gd name="T7" fmla="*/ 69 h 78"/>
                  <a:gd name="T8" fmla="*/ 19 w 205"/>
                  <a:gd name="T9" fmla="*/ 48 h 78"/>
                  <a:gd name="T10" fmla="*/ 24 w 205"/>
                  <a:gd name="T11" fmla="*/ 22 h 78"/>
                  <a:gd name="T12" fmla="*/ 45 w 205"/>
                  <a:gd name="T13" fmla="*/ 6 h 78"/>
                  <a:gd name="T14" fmla="*/ 43 w 205"/>
                  <a:gd name="T15" fmla="*/ 1 h 78"/>
                  <a:gd name="T16" fmla="*/ 9 w 205"/>
                  <a:gd name="T17" fmla="*/ 50 h 78"/>
                  <a:gd name="T18" fmla="*/ 79 w 205"/>
                  <a:gd name="T19" fmla="*/ 75 h 78"/>
                  <a:gd name="T20" fmla="*/ 172 w 205"/>
                  <a:gd name="T21" fmla="*/ 53 h 78"/>
                  <a:gd name="T22" fmla="*/ 203 w 205"/>
                  <a:gd name="T23" fmla="*/ 22 h 78"/>
                  <a:gd name="T24" fmla="*/ 201 w 205"/>
                  <a:gd name="T25" fmla="*/ 21 h 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05" h="78">
                    <a:moveTo>
                      <a:pt x="201" y="21"/>
                    </a:moveTo>
                    <a:cubicBezTo>
                      <a:pt x="199" y="39"/>
                      <a:pt x="180" y="44"/>
                      <a:pt x="166" y="49"/>
                    </a:cubicBezTo>
                    <a:cubicBezTo>
                      <a:pt x="149" y="55"/>
                      <a:pt x="131" y="61"/>
                      <a:pt x="113" y="64"/>
                    </a:cubicBezTo>
                    <a:cubicBezTo>
                      <a:pt x="95" y="68"/>
                      <a:pt x="75" y="70"/>
                      <a:pt x="56" y="69"/>
                    </a:cubicBezTo>
                    <a:cubicBezTo>
                      <a:pt x="39" y="68"/>
                      <a:pt x="26" y="64"/>
                      <a:pt x="19" y="48"/>
                    </a:cubicBezTo>
                    <a:cubicBezTo>
                      <a:pt x="13" y="36"/>
                      <a:pt x="15" y="32"/>
                      <a:pt x="24" y="22"/>
                    </a:cubicBezTo>
                    <a:cubicBezTo>
                      <a:pt x="30" y="15"/>
                      <a:pt x="37" y="10"/>
                      <a:pt x="45" y="6"/>
                    </a:cubicBezTo>
                    <a:cubicBezTo>
                      <a:pt x="48" y="5"/>
                      <a:pt x="46" y="0"/>
                      <a:pt x="43" y="1"/>
                    </a:cubicBezTo>
                    <a:cubicBezTo>
                      <a:pt x="25" y="6"/>
                      <a:pt x="0" y="29"/>
                      <a:pt x="9" y="50"/>
                    </a:cubicBezTo>
                    <a:cubicBezTo>
                      <a:pt x="20" y="78"/>
                      <a:pt x="56" y="76"/>
                      <a:pt x="79" y="75"/>
                    </a:cubicBezTo>
                    <a:cubicBezTo>
                      <a:pt x="111" y="74"/>
                      <a:pt x="142" y="64"/>
                      <a:pt x="172" y="53"/>
                    </a:cubicBezTo>
                    <a:cubicBezTo>
                      <a:pt x="187" y="48"/>
                      <a:pt x="205" y="40"/>
                      <a:pt x="203" y="22"/>
                    </a:cubicBezTo>
                    <a:cubicBezTo>
                      <a:pt x="202" y="21"/>
                      <a:pt x="202" y="21"/>
                      <a:pt x="201" y="21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766" name="Freeform 313">
                <a:extLst>
                  <a:ext uri="{FF2B5EF4-FFF2-40B4-BE49-F238E27FC236}">
                    <a16:creationId xmlns:a16="http://schemas.microsoft.com/office/drawing/2014/main" id="{3017BA49-A58C-4F41-8B9A-DD6AC9C5444D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7560" y="3252"/>
                <a:ext cx="95" cy="101"/>
              </a:xfrm>
              <a:custGeom>
                <a:avLst/>
                <a:gdLst>
                  <a:gd name="T0" fmla="*/ 64 w 89"/>
                  <a:gd name="T1" fmla="*/ 2 h 95"/>
                  <a:gd name="T2" fmla="*/ 80 w 89"/>
                  <a:gd name="T3" fmla="*/ 21 h 95"/>
                  <a:gd name="T4" fmla="*/ 62 w 89"/>
                  <a:gd name="T5" fmla="*/ 58 h 95"/>
                  <a:gd name="T6" fmla="*/ 1 w 89"/>
                  <a:gd name="T7" fmla="*/ 89 h 95"/>
                  <a:gd name="T8" fmla="*/ 1 w 89"/>
                  <a:gd name="T9" fmla="*/ 92 h 95"/>
                  <a:gd name="T10" fmla="*/ 39 w 89"/>
                  <a:gd name="T11" fmla="*/ 82 h 95"/>
                  <a:gd name="T12" fmla="*/ 78 w 89"/>
                  <a:gd name="T13" fmla="*/ 52 h 95"/>
                  <a:gd name="T14" fmla="*/ 89 w 89"/>
                  <a:gd name="T15" fmla="*/ 26 h 95"/>
                  <a:gd name="T16" fmla="*/ 66 w 89"/>
                  <a:gd name="T17" fmla="*/ 1 h 95"/>
                  <a:gd name="T18" fmla="*/ 64 w 89"/>
                  <a:gd name="T19" fmla="*/ 2 h 9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89" h="95">
                    <a:moveTo>
                      <a:pt x="64" y="2"/>
                    </a:moveTo>
                    <a:cubicBezTo>
                      <a:pt x="69" y="11"/>
                      <a:pt x="76" y="12"/>
                      <a:pt x="80" y="21"/>
                    </a:cubicBezTo>
                    <a:cubicBezTo>
                      <a:pt x="87" y="37"/>
                      <a:pt x="74" y="49"/>
                      <a:pt x="62" y="58"/>
                    </a:cubicBezTo>
                    <a:cubicBezTo>
                      <a:pt x="44" y="74"/>
                      <a:pt x="23" y="81"/>
                      <a:pt x="1" y="89"/>
                    </a:cubicBezTo>
                    <a:cubicBezTo>
                      <a:pt x="0" y="90"/>
                      <a:pt x="0" y="92"/>
                      <a:pt x="1" y="92"/>
                    </a:cubicBezTo>
                    <a:cubicBezTo>
                      <a:pt x="14" y="95"/>
                      <a:pt x="28" y="87"/>
                      <a:pt x="39" y="82"/>
                    </a:cubicBezTo>
                    <a:cubicBezTo>
                      <a:pt x="53" y="75"/>
                      <a:pt x="67" y="64"/>
                      <a:pt x="78" y="52"/>
                    </a:cubicBezTo>
                    <a:cubicBezTo>
                      <a:pt x="84" y="45"/>
                      <a:pt x="89" y="36"/>
                      <a:pt x="89" y="26"/>
                    </a:cubicBezTo>
                    <a:cubicBezTo>
                      <a:pt x="88" y="11"/>
                      <a:pt x="75" y="10"/>
                      <a:pt x="66" y="1"/>
                    </a:cubicBezTo>
                    <a:cubicBezTo>
                      <a:pt x="65" y="0"/>
                      <a:pt x="63" y="1"/>
                      <a:pt x="64" y="2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767" name="Freeform 314">
                <a:extLst>
                  <a:ext uri="{FF2B5EF4-FFF2-40B4-BE49-F238E27FC236}">
                    <a16:creationId xmlns:a16="http://schemas.microsoft.com/office/drawing/2014/main" id="{E34AA55F-7674-44AB-83E8-0B44BA7AF61D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7254" y="3061"/>
                <a:ext cx="193" cy="226"/>
              </a:xfrm>
              <a:custGeom>
                <a:avLst/>
                <a:gdLst>
                  <a:gd name="T0" fmla="*/ 181 w 182"/>
                  <a:gd name="T1" fmla="*/ 1 h 213"/>
                  <a:gd name="T2" fmla="*/ 135 w 182"/>
                  <a:gd name="T3" fmla="*/ 54 h 213"/>
                  <a:gd name="T4" fmla="*/ 94 w 182"/>
                  <a:gd name="T5" fmla="*/ 100 h 213"/>
                  <a:gd name="T6" fmla="*/ 1 w 182"/>
                  <a:gd name="T7" fmla="*/ 210 h 213"/>
                  <a:gd name="T8" fmla="*/ 4 w 182"/>
                  <a:gd name="T9" fmla="*/ 212 h 213"/>
                  <a:gd name="T10" fmla="*/ 100 w 182"/>
                  <a:gd name="T11" fmla="*/ 100 h 213"/>
                  <a:gd name="T12" fmla="*/ 145 w 182"/>
                  <a:gd name="T13" fmla="*/ 49 h 213"/>
                  <a:gd name="T14" fmla="*/ 182 w 182"/>
                  <a:gd name="T15" fmla="*/ 2 h 213"/>
                  <a:gd name="T16" fmla="*/ 181 w 182"/>
                  <a:gd name="T17" fmla="*/ 1 h 2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82" h="213">
                    <a:moveTo>
                      <a:pt x="181" y="1"/>
                    </a:moveTo>
                    <a:cubicBezTo>
                      <a:pt x="172" y="21"/>
                      <a:pt x="151" y="38"/>
                      <a:pt x="135" y="54"/>
                    </a:cubicBezTo>
                    <a:cubicBezTo>
                      <a:pt x="121" y="69"/>
                      <a:pt x="107" y="84"/>
                      <a:pt x="94" y="100"/>
                    </a:cubicBezTo>
                    <a:cubicBezTo>
                      <a:pt x="63" y="137"/>
                      <a:pt x="32" y="173"/>
                      <a:pt x="1" y="210"/>
                    </a:cubicBezTo>
                    <a:cubicBezTo>
                      <a:pt x="0" y="211"/>
                      <a:pt x="2" y="213"/>
                      <a:pt x="4" y="212"/>
                    </a:cubicBezTo>
                    <a:cubicBezTo>
                      <a:pt x="39" y="177"/>
                      <a:pt x="69" y="138"/>
                      <a:pt x="100" y="100"/>
                    </a:cubicBezTo>
                    <a:cubicBezTo>
                      <a:pt x="114" y="82"/>
                      <a:pt x="130" y="66"/>
                      <a:pt x="145" y="49"/>
                    </a:cubicBezTo>
                    <a:cubicBezTo>
                      <a:pt x="158" y="34"/>
                      <a:pt x="174" y="20"/>
                      <a:pt x="182" y="2"/>
                    </a:cubicBezTo>
                    <a:cubicBezTo>
                      <a:pt x="182" y="1"/>
                      <a:pt x="181" y="0"/>
                      <a:pt x="181" y="1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768" name="Freeform 315">
                <a:extLst>
                  <a:ext uri="{FF2B5EF4-FFF2-40B4-BE49-F238E27FC236}">
                    <a16:creationId xmlns:a16="http://schemas.microsoft.com/office/drawing/2014/main" id="{BCA00E59-047F-4FC4-8606-69E7A55C8CC7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17" y="633"/>
                <a:ext cx="102" cy="1479"/>
              </a:xfrm>
              <a:custGeom>
                <a:avLst/>
                <a:gdLst>
                  <a:gd name="T0" fmla="*/ 4 w 96"/>
                  <a:gd name="T1" fmla="*/ 3 h 1397"/>
                  <a:gd name="T2" fmla="*/ 9 w 96"/>
                  <a:gd name="T3" fmla="*/ 42 h 1397"/>
                  <a:gd name="T4" fmla="*/ 19 w 96"/>
                  <a:gd name="T5" fmla="*/ 116 h 1397"/>
                  <a:gd name="T6" fmla="*/ 28 w 96"/>
                  <a:gd name="T7" fmla="*/ 252 h 1397"/>
                  <a:gd name="T8" fmla="*/ 47 w 96"/>
                  <a:gd name="T9" fmla="*/ 546 h 1397"/>
                  <a:gd name="T10" fmla="*/ 58 w 96"/>
                  <a:gd name="T11" fmla="*/ 820 h 1397"/>
                  <a:gd name="T12" fmla="*/ 57 w 96"/>
                  <a:gd name="T13" fmla="*/ 963 h 1397"/>
                  <a:gd name="T14" fmla="*/ 58 w 96"/>
                  <a:gd name="T15" fmla="*/ 1030 h 1397"/>
                  <a:gd name="T16" fmla="*/ 64 w 96"/>
                  <a:gd name="T17" fmla="*/ 1102 h 1397"/>
                  <a:gd name="T18" fmla="*/ 61 w 96"/>
                  <a:gd name="T19" fmla="*/ 1175 h 1397"/>
                  <a:gd name="T20" fmla="*/ 67 w 96"/>
                  <a:gd name="T21" fmla="*/ 1247 h 1397"/>
                  <a:gd name="T22" fmla="*/ 74 w 96"/>
                  <a:gd name="T23" fmla="*/ 1328 h 1397"/>
                  <a:gd name="T24" fmla="*/ 76 w 96"/>
                  <a:gd name="T25" fmla="*/ 1359 h 1397"/>
                  <a:gd name="T26" fmla="*/ 80 w 96"/>
                  <a:gd name="T27" fmla="*/ 1386 h 1397"/>
                  <a:gd name="T28" fmla="*/ 96 w 96"/>
                  <a:gd name="T29" fmla="*/ 1387 h 1397"/>
                  <a:gd name="T30" fmla="*/ 91 w 96"/>
                  <a:gd name="T31" fmla="*/ 1344 h 1397"/>
                  <a:gd name="T32" fmla="*/ 84 w 96"/>
                  <a:gd name="T33" fmla="*/ 1265 h 1397"/>
                  <a:gd name="T34" fmla="*/ 77 w 96"/>
                  <a:gd name="T35" fmla="*/ 1194 h 1397"/>
                  <a:gd name="T36" fmla="*/ 79 w 96"/>
                  <a:gd name="T37" fmla="*/ 1125 h 1397"/>
                  <a:gd name="T38" fmla="*/ 72 w 96"/>
                  <a:gd name="T39" fmla="*/ 986 h 1397"/>
                  <a:gd name="T40" fmla="*/ 73 w 96"/>
                  <a:gd name="T41" fmla="*/ 852 h 1397"/>
                  <a:gd name="T42" fmla="*/ 72 w 96"/>
                  <a:gd name="T43" fmla="*/ 715 h 1397"/>
                  <a:gd name="T44" fmla="*/ 64 w 96"/>
                  <a:gd name="T45" fmla="*/ 588 h 1397"/>
                  <a:gd name="T46" fmla="*/ 45 w 96"/>
                  <a:gd name="T47" fmla="*/ 302 h 1397"/>
                  <a:gd name="T48" fmla="*/ 33 w 96"/>
                  <a:gd name="T49" fmla="*/ 144 h 1397"/>
                  <a:gd name="T50" fmla="*/ 22 w 96"/>
                  <a:gd name="T51" fmla="*/ 71 h 1397"/>
                  <a:gd name="T52" fmla="*/ 15 w 96"/>
                  <a:gd name="T53" fmla="*/ 33 h 1397"/>
                  <a:gd name="T54" fmla="*/ 9 w 96"/>
                  <a:gd name="T55" fmla="*/ 4 h 1397"/>
                  <a:gd name="T56" fmla="*/ 4 w 96"/>
                  <a:gd name="T57" fmla="*/ 3 h 13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96" h="1397">
                    <a:moveTo>
                      <a:pt x="4" y="3"/>
                    </a:moveTo>
                    <a:cubicBezTo>
                      <a:pt x="0" y="16"/>
                      <a:pt x="7" y="29"/>
                      <a:pt x="9" y="42"/>
                    </a:cubicBezTo>
                    <a:cubicBezTo>
                      <a:pt x="12" y="66"/>
                      <a:pt x="16" y="91"/>
                      <a:pt x="19" y="116"/>
                    </a:cubicBezTo>
                    <a:cubicBezTo>
                      <a:pt x="24" y="161"/>
                      <a:pt x="25" y="207"/>
                      <a:pt x="28" y="252"/>
                    </a:cubicBezTo>
                    <a:cubicBezTo>
                      <a:pt x="36" y="350"/>
                      <a:pt x="40" y="448"/>
                      <a:pt x="47" y="546"/>
                    </a:cubicBezTo>
                    <a:cubicBezTo>
                      <a:pt x="53" y="637"/>
                      <a:pt x="58" y="729"/>
                      <a:pt x="58" y="820"/>
                    </a:cubicBezTo>
                    <a:cubicBezTo>
                      <a:pt x="58" y="868"/>
                      <a:pt x="58" y="915"/>
                      <a:pt x="57" y="963"/>
                    </a:cubicBezTo>
                    <a:cubicBezTo>
                      <a:pt x="57" y="985"/>
                      <a:pt x="56" y="1007"/>
                      <a:pt x="58" y="1030"/>
                    </a:cubicBezTo>
                    <a:cubicBezTo>
                      <a:pt x="59" y="1054"/>
                      <a:pt x="64" y="1078"/>
                      <a:pt x="64" y="1102"/>
                    </a:cubicBezTo>
                    <a:cubicBezTo>
                      <a:pt x="64" y="1126"/>
                      <a:pt x="62" y="1151"/>
                      <a:pt x="61" y="1175"/>
                    </a:cubicBezTo>
                    <a:cubicBezTo>
                      <a:pt x="61" y="1200"/>
                      <a:pt x="64" y="1223"/>
                      <a:pt x="67" y="1247"/>
                    </a:cubicBezTo>
                    <a:cubicBezTo>
                      <a:pt x="70" y="1274"/>
                      <a:pt x="70" y="1301"/>
                      <a:pt x="74" y="1328"/>
                    </a:cubicBezTo>
                    <a:cubicBezTo>
                      <a:pt x="76" y="1338"/>
                      <a:pt x="75" y="1348"/>
                      <a:pt x="76" y="1359"/>
                    </a:cubicBezTo>
                    <a:cubicBezTo>
                      <a:pt x="77" y="1368"/>
                      <a:pt x="80" y="1376"/>
                      <a:pt x="80" y="1386"/>
                    </a:cubicBezTo>
                    <a:cubicBezTo>
                      <a:pt x="80" y="1396"/>
                      <a:pt x="96" y="1397"/>
                      <a:pt x="96" y="1387"/>
                    </a:cubicBezTo>
                    <a:cubicBezTo>
                      <a:pt x="96" y="1372"/>
                      <a:pt x="92" y="1359"/>
                      <a:pt x="91" y="1344"/>
                    </a:cubicBezTo>
                    <a:cubicBezTo>
                      <a:pt x="91" y="1318"/>
                      <a:pt x="86" y="1291"/>
                      <a:pt x="84" y="1265"/>
                    </a:cubicBezTo>
                    <a:cubicBezTo>
                      <a:pt x="82" y="1241"/>
                      <a:pt x="77" y="1218"/>
                      <a:pt x="77" y="1194"/>
                    </a:cubicBezTo>
                    <a:cubicBezTo>
                      <a:pt x="76" y="1171"/>
                      <a:pt x="78" y="1148"/>
                      <a:pt x="79" y="1125"/>
                    </a:cubicBezTo>
                    <a:cubicBezTo>
                      <a:pt x="80" y="1078"/>
                      <a:pt x="72" y="1033"/>
                      <a:pt x="72" y="986"/>
                    </a:cubicBezTo>
                    <a:cubicBezTo>
                      <a:pt x="72" y="941"/>
                      <a:pt x="73" y="897"/>
                      <a:pt x="73" y="852"/>
                    </a:cubicBezTo>
                    <a:cubicBezTo>
                      <a:pt x="73" y="806"/>
                      <a:pt x="75" y="761"/>
                      <a:pt x="72" y="715"/>
                    </a:cubicBezTo>
                    <a:cubicBezTo>
                      <a:pt x="70" y="673"/>
                      <a:pt x="66" y="630"/>
                      <a:pt x="64" y="588"/>
                    </a:cubicBezTo>
                    <a:cubicBezTo>
                      <a:pt x="59" y="493"/>
                      <a:pt x="52" y="398"/>
                      <a:pt x="45" y="302"/>
                    </a:cubicBezTo>
                    <a:cubicBezTo>
                      <a:pt x="41" y="250"/>
                      <a:pt x="38" y="197"/>
                      <a:pt x="33" y="144"/>
                    </a:cubicBezTo>
                    <a:cubicBezTo>
                      <a:pt x="31" y="119"/>
                      <a:pt x="27" y="95"/>
                      <a:pt x="22" y="71"/>
                    </a:cubicBezTo>
                    <a:cubicBezTo>
                      <a:pt x="20" y="58"/>
                      <a:pt x="18" y="45"/>
                      <a:pt x="15" y="33"/>
                    </a:cubicBezTo>
                    <a:cubicBezTo>
                      <a:pt x="13" y="23"/>
                      <a:pt x="7" y="14"/>
                      <a:pt x="9" y="4"/>
                    </a:cubicBezTo>
                    <a:cubicBezTo>
                      <a:pt x="10" y="2"/>
                      <a:pt x="5" y="0"/>
                      <a:pt x="4" y="3"/>
                    </a:cubicBezTo>
                    <a:close/>
                  </a:path>
                </a:pathLst>
              </a:custGeom>
              <a:solidFill>
                <a:srgbClr val="04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769" name="Freeform 316">
                <a:extLst>
                  <a:ext uri="{FF2B5EF4-FFF2-40B4-BE49-F238E27FC236}">
                    <a16:creationId xmlns:a16="http://schemas.microsoft.com/office/drawing/2014/main" id="{AD2212FE-07B9-4FAC-98DF-412A77CA4A0B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51" y="2994"/>
                <a:ext cx="214" cy="238"/>
              </a:xfrm>
              <a:custGeom>
                <a:avLst/>
                <a:gdLst>
                  <a:gd name="T0" fmla="*/ 61 w 202"/>
                  <a:gd name="T1" fmla="*/ 137 h 225"/>
                  <a:gd name="T2" fmla="*/ 61 w 202"/>
                  <a:gd name="T3" fmla="*/ 138 h 225"/>
                  <a:gd name="T4" fmla="*/ 54 w 202"/>
                  <a:gd name="T5" fmla="*/ 135 h 225"/>
                  <a:gd name="T6" fmla="*/ 26 w 202"/>
                  <a:gd name="T7" fmla="*/ 125 h 225"/>
                  <a:gd name="T8" fmla="*/ 6 w 202"/>
                  <a:gd name="T9" fmla="*/ 121 h 225"/>
                  <a:gd name="T10" fmla="*/ 1 w 202"/>
                  <a:gd name="T11" fmla="*/ 96 h 225"/>
                  <a:gd name="T12" fmla="*/ 25 w 202"/>
                  <a:gd name="T13" fmla="*/ 59 h 225"/>
                  <a:gd name="T14" fmla="*/ 68 w 202"/>
                  <a:gd name="T15" fmla="*/ 66 h 225"/>
                  <a:gd name="T16" fmla="*/ 68 w 202"/>
                  <a:gd name="T17" fmla="*/ 65 h 225"/>
                  <a:gd name="T18" fmla="*/ 77 w 202"/>
                  <a:gd name="T19" fmla="*/ 62 h 225"/>
                  <a:gd name="T20" fmla="*/ 82 w 202"/>
                  <a:gd name="T21" fmla="*/ 35 h 225"/>
                  <a:gd name="T22" fmla="*/ 85 w 202"/>
                  <a:gd name="T23" fmla="*/ 24 h 225"/>
                  <a:gd name="T24" fmla="*/ 89 w 202"/>
                  <a:gd name="T25" fmla="*/ 11 h 225"/>
                  <a:gd name="T26" fmla="*/ 118 w 202"/>
                  <a:gd name="T27" fmla="*/ 11 h 225"/>
                  <a:gd name="T28" fmla="*/ 145 w 202"/>
                  <a:gd name="T29" fmla="*/ 23 h 225"/>
                  <a:gd name="T30" fmla="*/ 154 w 202"/>
                  <a:gd name="T31" fmla="*/ 40 h 225"/>
                  <a:gd name="T32" fmla="*/ 142 w 202"/>
                  <a:gd name="T33" fmla="*/ 93 h 225"/>
                  <a:gd name="T34" fmla="*/ 147 w 202"/>
                  <a:gd name="T35" fmla="*/ 96 h 225"/>
                  <a:gd name="T36" fmla="*/ 178 w 202"/>
                  <a:gd name="T37" fmla="*/ 101 h 225"/>
                  <a:gd name="T38" fmla="*/ 202 w 202"/>
                  <a:gd name="T39" fmla="*/ 115 h 225"/>
                  <a:gd name="T40" fmla="*/ 201 w 202"/>
                  <a:gd name="T41" fmla="*/ 140 h 225"/>
                  <a:gd name="T42" fmla="*/ 197 w 202"/>
                  <a:gd name="T43" fmla="*/ 157 h 225"/>
                  <a:gd name="T44" fmla="*/ 191 w 202"/>
                  <a:gd name="T45" fmla="*/ 173 h 225"/>
                  <a:gd name="T46" fmla="*/ 175 w 202"/>
                  <a:gd name="T47" fmla="*/ 176 h 225"/>
                  <a:gd name="T48" fmla="*/ 131 w 202"/>
                  <a:gd name="T49" fmla="*/ 165 h 225"/>
                  <a:gd name="T50" fmla="*/ 130 w 202"/>
                  <a:gd name="T51" fmla="*/ 164 h 225"/>
                  <a:gd name="T52" fmla="*/ 122 w 202"/>
                  <a:gd name="T53" fmla="*/ 189 h 225"/>
                  <a:gd name="T54" fmla="*/ 107 w 202"/>
                  <a:gd name="T55" fmla="*/ 221 h 225"/>
                  <a:gd name="T56" fmla="*/ 76 w 202"/>
                  <a:gd name="T57" fmla="*/ 216 h 225"/>
                  <a:gd name="T58" fmla="*/ 53 w 202"/>
                  <a:gd name="T59" fmla="*/ 200 h 225"/>
                  <a:gd name="T60" fmla="*/ 55 w 202"/>
                  <a:gd name="T61" fmla="*/ 173 h 225"/>
                  <a:gd name="T62" fmla="*/ 60 w 202"/>
                  <a:gd name="T63" fmla="*/ 149 h 225"/>
                  <a:gd name="T64" fmla="*/ 61 w 202"/>
                  <a:gd name="T65" fmla="*/ 137 h 2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202" h="225">
                    <a:moveTo>
                      <a:pt x="61" y="137"/>
                    </a:moveTo>
                    <a:cubicBezTo>
                      <a:pt x="61" y="138"/>
                      <a:pt x="61" y="138"/>
                      <a:pt x="61" y="138"/>
                    </a:cubicBezTo>
                    <a:cubicBezTo>
                      <a:pt x="60" y="135"/>
                      <a:pt x="58" y="135"/>
                      <a:pt x="54" y="135"/>
                    </a:cubicBezTo>
                    <a:cubicBezTo>
                      <a:pt x="46" y="129"/>
                      <a:pt x="35" y="128"/>
                      <a:pt x="26" y="125"/>
                    </a:cubicBezTo>
                    <a:cubicBezTo>
                      <a:pt x="19" y="124"/>
                      <a:pt x="12" y="126"/>
                      <a:pt x="6" y="121"/>
                    </a:cubicBezTo>
                    <a:cubicBezTo>
                      <a:pt x="0" y="113"/>
                      <a:pt x="1" y="105"/>
                      <a:pt x="1" y="96"/>
                    </a:cubicBezTo>
                    <a:cubicBezTo>
                      <a:pt x="3" y="80"/>
                      <a:pt x="3" y="57"/>
                      <a:pt x="25" y="59"/>
                    </a:cubicBezTo>
                    <a:cubicBezTo>
                      <a:pt x="39" y="61"/>
                      <a:pt x="52" y="66"/>
                      <a:pt x="68" y="66"/>
                    </a:cubicBezTo>
                    <a:cubicBezTo>
                      <a:pt x="68" y="65"/>
                      <a:pt x="68" y="65"/>
                      <a:pt x="68" y="65"/>
                    </a:cubicBezTo>
                    <a:cubicBezTo>
                      <a:pt x="70" y="68"/>
                      <a:pt x="77" y="62"/>
                      <a:pt x="77" y="62"/>
                    </a:cubicBezTo>
                    <a:cubicBezTo>
                      <a:pt x="83" y="53"/>
                      <a:pt x="79" y="42"/>
                      <a:pt x="82" y="35"/>
                    </a:cubicBezTo>
                    <a:cubicBezTo>
                      <a:pt x="82" y="31"/>
                      <a:pt x="85" y="26"/>
                      <a:pt x="85" y="24"/>
                    </a:cubicBezTo>
                    <a:cubicBezTo>
                      <a:pt x="88" y="20"/>
                      <a:pt x="89" y="15"/>
                      <a:pt x="89" y="11"/>
                    </a:cubicBezTo>
                    <a:cubicBezTo>
                      <a:pt x="95" y="0"/>
                      <a:pt x="112" y="8"/>
                      <a:pt x="118" y="11"/>
                    </a:cubicBezTo>
                    <a:cubicBezTo>
                      <a:pt x="127" y="14"/>
                      <a:pt x="136" y="18"/>
                      <a:pt x="145" y="23"/>
                    </a:cubicBezTo>
                    <a:cubicBezTo>
                      <a:pt x="153" y="26"/>
                      <a:pt x="155" y="31"/>
                      <a:pt x="154" y="40"/>
                    </a:cubicBezTo>
                    <a:cubicBezTo>
                      <a:pt x="148" y="57"/>
                      <a:pt x="151" y="76"/>
                      <a:pt x="142" y="93"/>
                    </a:cubicBezTo>
                    <a:cubicBezTo>
                      <a:pt x="147" y="96"/>
                      <a:pt x="147" y="96"/>
                      <a:pt x="147" y="96"/>
                    </a:cubicBezTo>
                    <a:cubicBezTo>
                      <a:pt x="158" y="99"/>
                      <a:pt x="169" y="100"/>
                      <a:pt x="178" y="101"/>
                    </a:cubicBezTo>
                    <a:cubicBezTo>
                      <a:pt x="187" y="102"/>
                      <a:pt x="198" y="103"/>
                      <a:pt x="202" y="115"/>
                    </a:cubicBezTo>
                    <a:cubicBezTo>
                      <a:pt x="201" y="121"/>
                      <a:pt x="200" y="130"/>
                      <a:pt x="201" y="140"/>
                    </a:cubicBezTo>
                    <a:cubicBezTo>
                      <a:pt x="201" y="146"/>
                      <a:pt x="200" y="151"/>
                      <a:pt x="197" y="157"/>
                    </a:cubicBezTo>
                    <a:cubicBezTo>
                      <a:pt x="197" y="162"/>
                      <a:pt x="194" y="171"/>
                      <a:pt x="191" y="173"/>
                    </a:cubicBezTo>
                    <a:cubicBezTo>
                      <a:pt x="187" y="177"/>
                      <a:pt x="180" y="176"/>
                      <a:pt x="175" y="176"/>
                    </a:cubicBezTo>
                    <a:cubicBezTo>
                      <a:pt x="162" y="172"/>
                      <a:pt x="145" y="161"/>
                      <a:pt x="131" y="165"/>
                    </a:cubicBezTo>
                    <a:cubicBezTo>
                      <a:pt x="130" y="164"/>
                      <a:pt x="130" y="164"/>
                      <a:pt x="130" y="164"/>
                    </a:cubicBezTo>
                    <a:cubicBezTo>
                      <a:pt x="128" y="173"/>
                      <a:pt x="125" y="181"/>
                      <a:pt x="122" y="189"/>
                    </a:cubicBezTo>
                    <a:cubicBezTo>
                      <a:pt x="121" y="198"/>
                      <a:pt x="117" y="218"/>
                      <a:pt x="107" y="221"/>
                    </a:cubicBezTo>
                    <a:cubicBezTo>
                      <a:pt x="98" y="225"/>
                      <a:pt x="85" y="217"/>
                      <a:pt x="76" y="216"/>
                    </a:cubicBezTo>
                    <a:cubicBezTo>
                      <a:pt x="70" y="213"/>
                      <a:pt x="56" y="210"/>
                      <a:pt x="53" y="200"/>
                    </a:cubicBezTo>
                    <a:cubicBezTo>
                      <a:pt x="51" y="191"/>
                      <a:pt x="55" y="180"/>
                      <a:pt x="55" y="173"/>
                    </a:cubicBezTo>
                    <a:cubicBezTo>
                      <a:pt x="58" y="165"/>
                      <a:pt x="59" y="155"/>
                      <a:pt x="60" y="149"/>
                    </a:cubicBezTo>
                    <a:cubicBezTo>
                      <a:pt x="63" y="143"/>
                      <a:pt x="63" y="142"/>
                      <a:pt x="61" y="137"/>
                    </a:cubicBezTo>
                    <a:close/>
                  </a:path>
                </a:pathLst>
              </a:custGeom>
              <a:solidFill>
                <a:srgbClr val="21AAD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770" name="Freeform 317">
                <a:extLst>
                  <a:ext uri="{FF2B5EF4-FFF2-40B4-BE49-F238E27FC236}">
                    <a16:creationId xmlns:a16="http://schemas.microsoft.com/office/drawing/2014/main" id="{8270B3D0-876C-4863-865F-ADB026BBFBA6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336" y="2468"/>
                <a:ext cx="90" cy="93"/>
              </a:xfrm>
              <a:custGeom>
                <a:avLst/>
                <a:gdLst>
                  <a:gd name="T0" fmla="*/ 5 w 85"/>
                  <a:gd name="T1" fmla="*/ 37 h 88"/>
                  <a:gd name="T2" fmla="*/ 14 w 85"/>
                  <a:gd name="T3" fmla="*/ 20 h 88"/>
                  <a:gd name="T4" fmla="*/ 43 w 85"/>
                  <a:gd name="T5" fmla="*/ 0 h 88"/>
                  <a:gd name="T6" fmla="*/ 75 w 85"/>
                  <a:gd name="T7" fmla="*/ 17 h 88"/>
                  <a:gd name="T8" fmla="*/ 75 w 85"/>
                  <a:gd name="T9" fmla="*/ 65 h 88"/>
                  <a:gd name="T10" fmla="*/ 14 w 85"/>
                  <a:gd name="T11" fmla="*/ 68 h 88"/>
                  <a:gd name="T12" fmla="*/ 3 w 85"/>
                  <a:gd name="T13" fmla="*/ 40 h 88"/>
                  <a:gd name="T14" fmla="*/ 5 w 85"/>
                  <a:gd name="T15" fmla="*/ 37 h 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85" h="88">
                    <a:moveTo>
                      <a:pt x="5" y="37"/>
                    </a:moveTo>
                    <a:cubicBezTo>
                      <a:pt x="14" y="20"/>
                      <a:pt x="14" y="20"/>
                      <a:pt x="14" y="20"/>
                    </a:cubicBezTo>
                    <a:cubicBezTo>
                      <a:pt x="19" y="9"/>
                      <a:pt x="27" y="1"/>
                      <a:pt x="43" y="0"/>
                    </a:cubicBezTo>
                    <a:cubicBezTo>
                      <a:pt x="54" y="1"/>
                      <a:pt x="67" y="5"/>
                      <a:pt x="75" y="17"/>
                    </a:cubicBezTo>
                    <a:cubicBezTo>
                      <a:pt x="85" y="32"/>
                      <a:pt x="84" y="50"/>
                      <a:pt x="75" y="65"/>
                    </a:cubicBezTo>
                    <a:cubicBezTo>
                      <a:pt x="59" y="88"/>
                      <a:pt x="30" y="88"/>
                      <a:pt x="14" y="68"/>
                    </a:cubicBezTo>
                    <a:cubicBezTo>
                      <a:pt x="8" y="60"/>
                      <a:pt x="0" y="48"/>
                      <a:pt x="3" y="40"/>
                    </a:cubicBezTo>
                    <a:cubicBezTo>
                      <a:pt x="4" y="38"/>
                      <a:pt x="4" y="38"/>
                      <a:pt x="5" y="37"/>
                    </a:cubicBezTo>
                    <a:close/>
                  </a:path>
                </a:pathLst>
              </a:custGeom>
              <a:solidFill>
                <a:srgbClr val="21AAD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771" name="Freeform 318">
                <a:extLst>
                  <a:ext uri="{FF2B5EF4-FFF2-40B4-BE49-F238E27FC236}">
                    <a16:creationId xmlns:a16="http://schemas.microsoft.com/office/drawing/2014/main" id="{B6D13FA8-1A11-4018-BEDB-51F5530D5F08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385" y="2220"/>
                <a:ext cx="96" cy="100"/>
              </a:xfrm>
              <a:custGeom>
                <a:avLst/>
                <a:gdLst>
                  <a:gd name="T0" fmla="*/ 44 w 91"/>
                  <a:gd name="T1" fmla="*/ 0 h 95"/>
                  <a:gd name="T2" fmla="*/ 75 w 91"/>
                  <a:gd name="T3" fmla="*/ 8 h 95"/>
                  <a:gd name="T4" fmla="*/ 89 w 91"/>
                  <a:gd name="T5" fmla="*/ 30 h 95"/>
                  <a:gd name="T6" fmla="*/ 84 w 91"/>
                  <a:gd name="T7" fmla="*/ 59 h 95"/>
                  <a:gd name="T8" fmla="*/ 63 w 91"/>
                  <a:gd name="T9" fmla="*/ 91 h 95"/>
                  <a:gd name="T10" fmla="*/ 29 w 91"/>
                  <a:gd name="T11" fmla="*/ 90 h 95"/>
                  <a:gd name="T12" fmla="*/ 0 w 91"/>
                  <a:gd name="T13" fmla="*/ 39 h 95"/>
                  <a:gd name="T14" fmla="*/ 0 w 91"/>
                  <a:gd name="T15" fmla="*/ 33 h 95"/>
                  <a:gd name="T16" fmla="*/ 44 w 91"/>
                  <a:gd name="T17" fmla="*/ 0 h 9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91" h="95">
                    <a:moveTo>
                      <a:pt x="44" y="0"/>
                    </a:moveTo>
                    <a:cubicBezTo>
                      <a:pt x="56" y="2"/>
                      <a:pt x="67" y="0"/>
                      <a:pt x="75" y="8"/>
                    </a:cubicBezTo>
                    <a:cubicBezTo>
                      <a:pt x="82" y="13"/>
                      <a:pt x="88" y="21"/>
                      <a:pt x="89" y="30"/>
                    </a:cubicBezTo>
                    <a:cubicBezTo>
                      <a:pt x="91" y="39"/>
                      <a:pt x="87" y="50"/>
                      <a:pt x="84" y="59"/>
                    </a:cubicBezTo>
                    <a:cubicBezTo>
                      <a:pt x="83" y="72"/>
                      <a:pt x="77" y="85"/>
                      <a:pt x="63" y="91"/>
                    </a:cubicBezTo>
                    <a:cubicBezTo>
                      <a:pt x="51" y="94"/>
                      <a:pt x="37" y="95"/>
                      <a:pt x="29" y="90"/>
                    </a:cubicBezTo>
                    <a:cubicBezTo>
                      <a:pt x="10" y="79"/>
                      <a:pt x="0" y="60"/>
                      <a:pt x="0" y="39"/>
                    </a:cubicBezTo>
                    <a:cubicBezTo>
                      <a:pt x="0" y="33"/>
                      <a:pt x="0" y="33"/>
                      <a:pt x="0" y="33"/>
                    </a:cubicBezTo>
                    <a:cubicBezTo>
                      <a:pt x="11" y="15"/>
                      <a:pt x="24" y="3"/>
                      <a:pt x="44" y="0"/>
                    </a:cubicBezTo>
                    <a:close/>
                  </a:path>
                </a:pathLst>
              </a:custGeom>
              <a:solidFill>
                <a:srgbClr val="21AAD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772" name="Freeform 319">
                <a:extLst>
                  <a:ext uri="{FF2B5EF4-FFF2-40B4-BE49-F238E27FC236}">
                    <a16:creationId xmlns:a16="http://schemas.microsoft.com/office/drawing/2014/main" id="{588EC78D-9025-40E3-BD84-71D20DE0D8E8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47" y="2364"/>
                <a:ext cx="99" cy="106"/>
              </a:xfrm>
              <a:custGeom>
                <a:avLst/>
                <a:gdLst>
                  <a:gd name="T0" fmla="*/ 7 w 93"/>
                  <a:gd name="T1" fmla="*/ 41 h 100"/>
                  <a:gd name="T2" fmla="*/ 23 w 93"/>
                  <a:gd name="T3" fmla="*/ 11 h 100"/>
                  <a:gd name="T4" fmla="*/ 58 w 93"/>
                  <a:gd name="T5" fmla="*/ 3 h 100"/>
                  <a:gd name="T6" fmla="*/ 89 w 93"/>
                  <a:gd name="T7" fmla="*/ 33 h 100"/>
                  <a:gd name="T8" fmla="*/ 91 w 93"/>
                  <a:gd name="T9" fmla="*/ 61 h 100"/>
                  <a:gd name="T10" fmla="*/ 73 w 93"/>
                  <a:gd name="T11" fmla="*/ 91 h 100"/>
                  <a:gd name="T12" fmla="*/ 36 w 93"/>
                  <a:gd name="T13" fmla="*/ 96 h 100"/>
                  <a:gd name="T14" fmla="*/ 4 w 93"/>
                  <a:gd name="T15" fmla="*/ 73 h 100"/>
                  <a:gd name="T16" fmla="*/ 7 w 93"/>
                  <a:gd name="T17" fmla="*/ 41 h 1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93" h="100">
                    <a:moveTo>
                      <a:pt x="7" y="41"/>
                    </a:moveTo>
                    <a:cubicBezTo>
                      <a:pt x="9" y="29"/>
                      <a:pt x="13" y="18"/>
                      <a:pt x="23" y="11"/>
                    </a:cubicBezTo>
                    <a:cubicBezTo>
                      <a:pt x="33" y="5"/>
                      <a:pt x="47" y="0"/>
                      <a:pt x="58" y="3"/>
                    </a:cubicBezTo>
                    <a:cubicBezTo>
                      <a:pt x="72" y="7"/>
                      <a:pt x="84" y="19"/>
                      <a:pt x="89" y="33"/>
                    </a:cubicBezTo>
                    <a:cubicBezTo>
                      <a:pt x="93" y="43"/>
                      <a:pt x="92" y="52"/>
                      <a:pt x="91" y="61"/>
                    </a:cubicBezTo>
                    <a:cubicBezTo>
                      <a:pt x="90" y="74"/>
                      <a:pt x="85" y="83"/>
                      <a:pt x="73" y="91"/>
                    </a:cubicBezTo>
                    <a:cubicBezTo>
                      <a:pt x="63" y="97"/>
                      <a:pt x="49" y="100"/>
                      <a:pt x="36" y="96"/>
                    </a:cubicBezTo>
                    <a:cubicBezTo>
                      <a:pt x="24" y="95"/>
                      <a:pt x="10" y="85"/>
                      <a:pt x="4" y="73"/>
                    </a:cubicBezTo>
                    <a:cubicBezTo>
                      <a:pt x="0" y="63"/>
                      <a:pt x="4" y="50"/>
                      <a:pt x="7" y="41"/>
                    </a:cubicBezTo>
                    <a:close/>
                  </a:path>
                </a:pathLst>
              </a:custGeom>
              <a:solidFill>
                <a:srgbClr val="21AAD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773" name="Freeform 320">
                <a:extLst>
                  <a:ext uri="{FF2B5EF4-FFF2-40B4-BE49-F238E27FC236}">
                    <a16:creationId xmlns:a16="http://schemas.microsoft.com/office/drawing/2014/main" id="{325CC017-E561-485E-9CD2-05F4E483D453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71" y="2308"/>
                <a:ext cx="101" cy="101"/>
              </a:xfrm>
              <a:custGeom>
                <a:avLst/>
                <a:gdLst>
                  <a:gd name="T0" fmla="*/ 7 w 95"/>
                  <a:gd name="T1" fmla="*/ 30 h 96"/>
                  <a:gd name="T2" fmla="*/ 18 w 95"/>
                  <a:gd name="T3" fmla="*/ 7 h 96"/>
                  <a:gd name="T4" fmla="*/ 52 w 95"/>
                  <a:gd name="T5" fmla="*/ 1 h 96"/>
                  <a:gd name="T6" fmla="*/ 90 w 95"/>
                  <a:gd name="T7" fmla="*/ 57 h 96"/>
                  <a:gd name="T8" fmla="*/ 27 w 95"/>
                  <a:gd name="T9" fmla="*/ 83 h 96"/>
                  <a:gd name="T10" fmla="*/ 2 w 95"/>
                  <a:gd name="T11" fmla="*/ 55 h 96"/>
                  <a:gd name="T12" fmla="*/ 4 w 95"/>
                  <a:gd name="T13" fmla="*/ 35 h 96"/>
                  <a:gd name="T14" fmla="*/ 7 w 95"/>
                  <a:gd name="T15" fmla="*/ 30 h 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95" h="96">
                    <a:moveTo>
                      <a:pt x="7" y="30"/>
                    </a:moveTo>
                    <a:cubicBezTo>
                      <a:pt x="8" y="22"/>
                      <a:pt x="10" y="12"/>
                      <a:pt x="18" y="7"/>
                    </a:cubicBezTo>
                    <a:cubicBezTo>
                      <a:pt x="25" y="1"/>
                      <a:pt x="41" y="0"/>
                      <a:pt x="52" y="1"/>
                    </a:cubicBezTo>
                    <a:cubicBezTo>
                      <a:pt x="77" y="6"/>
                      <a:pt x="95" y="30"/>
                      <a:pt x="90" y="57"/>
                    </a:cubicBezTo>
                    <a:cubicBezTo>
                      <a:pt x="83" y="83"/>
                      <a:pt x="50" y="96"/>
                      <a:pt x="27" y="83"/>
                    </a:cubicBezTo>
                    <a:cubicBezTo>
                      <a:pt x="16" y="77"/>
                      <a:pt x="8" y="67"/>
                      <a:pt x="2" y="55"/>
                    </a:cubicBezTo>
                    <a:cubicBezTo>
                      <a:pt x="0" y="48"/>
                      <a:pt x="1" y="44"/>
                      <a:pt x="4" y="35"/>
                    </a:cubicBezTo>
                    <a:lnTo>
                      <a:pt x="7" y="30"/>
                    </a:lnTo>
                    <a:close/>
                  </a:path>
                </a:pathLst>
              </a:custGeom>
              <a:solidFill>
                <a:srgbClr val="21AAD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774" name="Freeform 321">
                <a:extLst>
                  <a:ext uri="{FF2B5EF4-FFF2-40B4-BE49-F238E27FC236}">
                    <a16:creationId xmlns:a16="http://schemas.microsoft.com/office/drawing/2014/main" id="{B625286A-1AA6-4F39-A559-B5DC177173A0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38" y="2073"/>
                <a:ext cx="493" cy="1320"/>
              </a:xfrm>
              <a:custGeom>
                <a:avLst/>
                <a:gdLst>
                  <a:gd name="T0" fmla="*/ 250 w 465"/>
                  <a:gd name="T1" fmla="*/ 1158 h 1247"/>
                  <a:gd name="T2" fmla="*/ 146 w 465"/>
                  <a:gd name="T3" fmla="*/ 1232 h 1247"/>
                  <a:gd name="T4" fmla="*/ 40 w 465"/>
                  <a:gd name="T5" fmla="*/ 1236 h 1247"/>
                  <a:gd name="T6" fmla="*/ 50 w 465"/>
                  <a:gd name="T7" fmla="*/ 1237 h 1247"/>
                  <a:gd name="T8" fmla="*/ 134 w 465"/>
                  <a:gd name="T9" fmla="*/ 1215 h 1247"/>
                  <a:gd name="T10" fmla="*/ 204 w 465"/>
                  <a:gd name="T11" fmla="*/ 1172 h 1247"/>
                  <a:gd name="T12" fmla="*/ 247 w 465"/>
                  <a:gd name="T13" fmla="*/ 1101 h 1247"/>
                  <a:gd name="T14" fmla="*/ 270 w 465"/>
                  <a:gd name="T15" fmla="*/ 956 h 1247"/>
                  <a:gd name="T16" fmla="*/ 245 w 465"/>
                  <a:gd name="T17" fmla="*/ 838 h 1247"/>
                  <a:gd name="T18" fmla="*/ 243 w 465"/>
                  <a:gd name="T19" fmla="*/ 837 h 1247"/>
                  <a:gd name="T20" fmla="*/ 273 w 465"/>
                  <a:gd name="T21" fmla="*/ 704 h 1247"/>
                  <a:gd name="T22" fmla="*/ 306 w 465"/>
                  <a:gd name="T23" fmla="*/ 583 h 1247"/>
                  <a:gd name="T24" fmla="*/ 323 w 465"/>
                  <a:gd name="T25" fmla="*/ 514 h 1247"/>
                  <a:gd name="T26" fmla="*/ 370 w 465"/>
                  <a:gd name="T27" fmla="*/ 453 h 1247"/>
                  <a:gd name="T28" fmla="*/ 408 w 465"/>
                  <a:gd name="T29" fmla="*/ 393 h 1247"/>
                  <a:gd name="T30" fmla="*/ 416 w 465"/>
                  <a:gd name="T31" fmla="*/ 334 h 1247"/>
                  <a:gd name="T32" fmla="*/ 413 w 465"/>
                  <a:gd name="T33" fmla="*/ 270 h 1247"/>
                  <a:gd name="T34" fmla="*/ 400 w 465"/>
                  <a:gd name="T35" fmla="*/ 215 h 1247"/>
                  <a:gd name="T36" fmla="*/ 370 w 465"/>
                  <a:gd name="T37" fmla="*/ 144 h 1247"/>
                  <a:gd name="T38" fmla="*/ 321 w 465"/>
                  <a:gd name="T39" fmla="*/ 91 h 1247"/>
                  <a:gd name="T40" fmla="*/ 304 w 465"/>
                  <a:gd name="T41" fmla="*/ 74 h 1247"/>
                  <a:gd name="T42" fmla="*/ 292 w 465"/>
                  <a:gd name="T43" fmla="*/ 80 h 1247"/>
                  <a:gd name="T44" fmla="*/ 284 w 465"/>
                  <a:gd name="T45" fmla="*/ 72 h 1247"/>
                  <a:gd name="T46" fmla="*/ 268 w 465"/>
                  <a:gd name="T47" fmla="*/ 55 h 1247"/>
                  <a:gd name="T48" fmla="*/ 260 w 465"/>
                  <a:gd name="T49" fmla="*/ 61 h 1247"/>
                  <a:gd name="T50" fmla="*/ 249 w 465"/>
                  <a:gd name="T51" fmla="*/ 81 h 1247"/>
                  <a:gd name="T52" fmla="*/ 190 w 465"/>
                  <a:gd name="T53" fmla="*/ 58 h 1247"/>
                  <a:gd name="T54" fmla="*/ 160 w 465"/>
                  <a:gd name="T55" fmla="*/ 54 h 1247"/>
                  <a:gd name="T56" fmla="*/ 168 w 465"/>
                  <a:gd name="T57" fmla="*/ 31 h 1247"/>
                  <a:gd name="T58" fmla="*/ 69 w 465"/>
                  <a:gd name="T59" fmla="*/ 42 h 1247"/>
                  <a:gd name="T60" fmla="*/ 1 w 465"/>
                  <a:gd name="T61" fmla="*/ 77 h 1247"/>
                  <a:gd name="T62" fmla="*/ 0 w 465"/>
                  <a:gd name="T63" fmla="*/ 76 h 1247"/>
                  <a:gd name="T64" fmla="*/ 66 w 465"/>
                  <a:gd name="T65" fmla="*/ 31 h 1247"/>
                  <a:gd name="T66" fmla="*/ 188 w 465"/>
                  <a:gd name="T67" fmla="*/ 4 h 1247"/>
                  <a:gd name="T68" fmla="*/ 291 w 465"/>
                  <a:gd name="T69" fmla="*/ 25 h 1247"/>
                  <a:gd name="T70" fmla="*/ 403 w 465"/>
                  <a:gd name="T71" fmla="*/ 111 h 1247"/>
                  <a:gd name="T72" fmla="*/ 458 w 465"/>
                  <a:gd name="T73" fmla="*/ 245 h 1247"/>
                  <a:gd name="T74" fmla="*/ 457 w 465"/>
                  <a:gd name="T75" fmla="*/ 356 h 1247"/>
                  <a:gd name="T76" fmla="*/ 397 w 465"/>
                  <a:gd name="T77" fmla="*/ 476 h 1247"/>
                  <a:gd name="T78" fmla="*/ 364 w 465"/>
                  <a:gd name="T79" fmla="*/ 522 h 1247"/>
                  <a:gd name="T80" fmla="*/ 347 w 465"/>
                  <a:gd name="T81" fmla="*/ 577 h 1247"/>
                  <a:gd name="T82" fmla="*/ 287 w 465"/>
                  <a:gd name="T83" fmla="*/ 850 h 1247"/>
                  <a:gd name="T84" fmla="*/ 291 w 465"/>
                  <a:gd name="T85" fmla="*/ 851 h 1247"/>
                  <a:gd name="T86" fmla="*/ 297 w 465"/>
                  <a:gd name="T87" fmla="*/ 881 h 1247"/>
                  <a:gd name="T88" fmla="*/ 310 w 465"/>
                  <a:gd name="T89" fmla="*/ 942 h 1247"/>
                  <a:gd name="T90" fmla="*/ 312 w 465"/>
                  <a:gd name="T91" fmla="*/ 994 h 1247"/>
                  <a:gd name="T92" fmla="*/ 303 w 465"/>
                  <a:gd name="T93" fmla="*/ 1059 h 1247"/>
                  <a:gd name="T94" fmla="*/ 286 w 465"/>
                  <a:gd name="T95" fmla="*/ 1100 h 1247"/>
                  <a:gd name="T96" fmla="*/ 250 w 465"/>
                  <a:gd name="T97" fmla="*/ 1158 h 12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465" h="1247">
                    <a:moveTo>
                      <a:pt x="250" y="1158"/>
                    </a:moveTo>
                    <a:cubicBezTo>
                      <a:pt x="225" y="1192"/>
                      <a:pt x="186" y="1218"/>
                      <a:pt x="146" y="1232"/>
                    </a:cubicBezTo>
                    <a:cubicBezTo>
                      <a:pt x="110" y="1247"/>
                      <a:pt x="75" y="1244"/>
                      <a:pt x="40" y="1236"/>
                    </a:cubicBezTo>
                    <a:cubicBezTo>
                      <a:pt x="43" y="1236"/>
                      <a:pt x="47" y="1237"/>
                      <a:pt x="50" y="1237"/>
                    </a:cubicBezTo>
                    <a:cubicBezTo>
                      <a:pt x="79" y="1237"/>
                      <a:pt x="108" y="1226"/>
                      <a:pt x="134" y="1215"/>
                    </a:cubicBezTo>
                    <a:cubicBezTo>
                      <a:pt x="158" y="1204"/>
                      <a:pt x="184" y="1191"/>
                      <a:pt x="204" y="1172"/>
                    </a:cubicBezTo>
                    <a:cubicBezTo>
                      <a:pt x="226" y="1154"/>
                      <a:pt x="238" y="1128"/>
                      <a:pt x="247" y="1101"/>
                    </a:cubicBezTo>
                    <a:cubicBezTo>
                      <a:pt x="263" y="1055"/>
                      <a:pt x="279" y="1004"/>
                      <a:pt x="270" y="956"/>
                    </a:cubicBezTo>
                    <a:cubicBezTo>
                      <a:pt x="264" y="917"/>
                      <a:pt x="248" y="879"/>
                      <a:pt x="245" y="838"/>
                    </a:cubicBezTo>
                    <a:cubicBezTo>
                      <a:pt x="243" y="837"/>
                      <a:pt x="243" y="837"/>
                      <a:pt x="243" y="837"/>
                    </a:cubicBezTo>
                    <a:cubicBezTo>
                      <a:pt x="254" y="793"/>
                      <a:pt x="260" y="749"/>
                      <a:pt x="273" y="704"/>
                    </a:cubicBezTo>
                    <a:cubicBezTo>
                      <a:pt x="284" y="664"/>
                      <a:pt x="295" y="622"/>
                      <a:pt x="306" y="583"/>
                    </a:cubicBezTo>
                    <a:cubicBezTo>
                      <a:pt x="310" y="560"/>
                      <a:pt x="312" y="536"/>
                      <a:pt x="323" y="514"/>
                    </a:cubicBezTo>
                    <a:cubicBezTo>
                      <a:pt x="335" y="490"/>
                      <a:pt x="355" y="472"/>
                      <a:pt x="370" y="453"/>
                    </a:cubicBezTo>
                    <a:cubicBezTo>
                      <a:pt x="385" y="436"/>
                      <a:pt x="399" y="414"/>
                      <a:pt x="408" y="393"/>
                    </a:cubicBezTo>
                    <a:cubicBezTo>
                      <a:pt x="414" y="375"/>
                      <a:pt x="414" y="352"/>
                      <a:pt x="416" y="334"/>
                    </a:cubicBezTo>
                    <a:cubicBezTo>
                      <a:pt x="415" y="314"/>
                      <a:pt x="415" y="291"/>
                      <a:pt x="413" y="270"/>
                    </a:cubicBezTo>
                    <a:cubicBezTo>
                      <a:pt x="412" y="252"/>
                      <a:pt x="405" y="233"/>
                      <a:pt x="400" y="215"/>
                    </a:cubicBezTo>
                    <a:cubicBezTo>
                      <a:pt x="393" y="191"/>
                      <a:pt x="384" y="166"/>
                      <a:pt x="370" y="144"/>
                    </a:cubicBezTo>
                    <a:cubicBezTo>
                      <a:pt x="356" y="124"/>
                      <a:pt x="340" y="107"/>
                      <a:pt x="321" y="91"/>
                    </a:cubicBezTo>
                    <a:cubicBezTo>
                      <a:pt x="304" y="74"/>
                      <a:pt x="304" y="74"/>
                      <a:pt x="304" y="74"/>
                    </a:cubicBezTo>
                    <a:cubicBezTo>
                      <a:pt x="300" y="76"/>
                      <a:pt x="295" y="78"/>
                      <a:pt x="292" y="80"/>
                    </a:cubicBezTo>
                    <a:cubicBezTo>
                      <a:pt x="284" y="72"/>
                      <a:pt x="284" y="72"/>
                      <a:pt x="284" y="72"/>
                    </a:cubicBezTo>
                    <a:cubicBezTo>
                      <a:pt x="268" y="55"/>
                      <a:pt x="268" y="55"/>
                      <a:pt x="268" y="55"/>
                    </a:cubicBezTo>
                    <a:cubicBezTo>
                      <a:pt x="265" y="57"/>
                      <a:pt x="263" y="59"/>
                      <a:pt x="260" y="61"/>
                    </a:cubicBezTo>
                    <a:cubicBezTo>
                      <a:pt x="249" y="81"/>
                      <a:pt x="249" y="81"/>
                      <a:pt x="249" y="81"/>
                    </a:cubicBezTo>
                    <a:cubicBezTo>
                      <a:pt x="230" y="71"/>
                      <a:pt x="210" y="62"/>
                      <a:pt x="190" y="58"/>
                    </a:cubicBezTo>
                    <a:cubicBezTo>
                      <a:pt x="180" y="56"/>
                      <a:pt x="170" y="54"/>
                      <a:pt x="160" y="54"/>
                    </a:cubicBezTo>
                    <a:cubicBezTo>
                      <a:pt x="168" y="31"/>
                      <a:pt x="168" y="31"/>
                      <a:pt x="168" y="31"/>
                    </a:cubicBezTo>
                    <a:cubicBezTo>
                      <a:pt x="134" y="29"/>
                      <a:pt x="102" y="31"/>
                      <a:pt x="69" y="42"/>
                    </a:cubicBezTo>
                    <a:cubicBezTo>
                      <a:pt x="46" y="51"/>
                      <a:pt x="21" y="62"/>
                      <a:pt x="1" y="77"/>
                    </a:cubicBezTo>
                    <a:cubicBezTo>
                      <a:pt x="0" y="76"/>
                      <a:pt x="0" y="76"/>
                      <a:pt x="0" y="76"/>
                    </a:cubicBezTo>
                    <a:cubicBezTo>
                      <a:pt x="21" y="60"/>
                      <a:pt x="43" y="44"/>
                      <a:pt x="66" y="31"/>
                    </a:cubicBezTo>
                    <a:cubicBezTo>
                      <a:pt x="104" y="9"/>
                      <a:pt x="143" y="0"/>
                      <a:pt x="188" y="4"/>
                    </a:cubicBezTo>
                    <a:cubicBezTo>
                      <a:pt x="222" y="5"/>
                      <a:pt x="258" y="13"/>
                      <a:pt x="291" y="25"/>
                    </a:cubicBezTo>
                    <a:cubicBezTo>
                      <a:pt x="335" y="41"/>
                      <a:pt x="375" y="74"/>
                      <a:pt x="403" y="111"/>
                    </a:cubicBezTo>
                    <a:cubicBezTo>
                      <a:pt x="433" y="152"/>
                      <a:pt x="454" y="197"/>
                      <a:pt x="458" y="245"/>
                    </a:cubicBezTo>
                    <a:cubicBezTo>
                      <a:pt x="461" y="282"/>
                      <a:pt x="465" y="321"/>
                      <a:pt x="457" y="356"/>
                    </a:cubicBezTo>
                    <a:cubicBezTo>
                      <a:pt x="450" y="401"/>
                      <a:pt x="426" y="440"/>
                      <a:pt x="397" y="476"/>
                    </a:cubicBezTo>
                    <a:cubicBezTo>
                      <a:pt x="385" y="490"/>
                      <a:pt x="374" y="505"/>
                      <a:pt x="364" y="522"/>
                    </a:cubicBezTo>
                    <a:cubicBezTo>
                      <a:pt x="355" y="540"/>
                      <a:pt x="351" y="560"/>
                      <a:pt x="347" y="577"/>
                    </a:cubicBezTo>
                    <a:cubicBezTo>
                      <a:pt x="327" y="668"/>
                      <a:pt x="305" y="759"/>
                      <a:pt x="287" y="850"/>
                    </a:cubicBezTo>
                    <a:cubicBezTo>
                      <a:pt x="291" y="851"/>
                      <a:pt x="291" y="851"/>
                      <a:pt x="291" y="851"/>
                    </a:cubicBezTo>
                    <a:cubicBezTo>
                      <a:pt x="295" y="861"/>
                      <a:pt x="296" y="872"/>
                      <a:pt x="297" y="881"/>
                    </a:cubicBezTo>
                    <a:cubicBezTo>
                      <a:pt x="302" y="902"/>
                      <a:pt x="307" y="923"/>
                      <a:pt x="310" y="942"/>
                    </a:cubicBezTo>
                    <a:cubicBezTo>
                      <a:pt x="313" y="960"/>
                      <a:pt x="311" y="976"/>
                      <a:pt x="312" y="994"/>
                    </a:cubicBezTo>
                    <a:cubicBezTo>
                      <a:pt x="310" y="1014"/>
                      <a:pt x="308" y="1037"/>
                      <a:pt x="303" y="1059"/>
                    </a:cubicBezTo>
                    <a:cubicBezTo>
                      <a:pt x="300" y="1072"/>
                      <a:pt x="294" y="1088"/>
                      <a:pt x="286" y="1100"/>
                    </a:cubicBezTo>
                    <a:cubicBezTo>
                      <a:pt x="277" y="1120"/>
                      <a:pt x="266" y="1139"/>
                      <a:pt x="250" y="1158"/>
                    </a:cubicBezTo>
                    <a:close/>
                  </a:path>
                </a:pathLst>
              </a:custGeom>
              <a:solidFill>
                <a:srgbClr val="F6B84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775" name="Freeform 322">
                <a:extLst>
                  <a:ext uri="{FF2B5EF4-FFF2-40B4-BE49-F238E27FC236}">
                    <a16:creationId xmlns:a16="http://schemas.microsoft.com/office/drawing/2014/main" id="{DB674ED0-A105-4431-A3A7-DA0519F09CA3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16" y="2103"/>
                <a:ext cx="663" cy="1279"/>
              </a:xfrm>
              <a:custGeom>
                <a:avLst/>
                <a:gdLst>
                  <a:gd name="T0" fmla="*/ 307 w 626"/>
                  <a:gd name="T1" fmla="*/ 381 h 1208"/>
                  <a:gd name="T2" fmla="*/ 316 w 626"/>
                  <a:gd name="T3" fmla="*/ 412 h 1208"/>
                  <a:gd name="T4" fmla="*/ 377 w 626"/>
                  <a:gd name="T5" fmla="*/ 361 h 1208"/>
                  <a:gd name="T6" fmla="*/ 316 w 626"/>
                  <a:gd name="T7" fmla="*/ 364 h 1208"/>
                  <a:gd name="T8" fmla="*/ 369 w 626"/>
                  <a:gd name="T9" fmla="*/ 637 h 1208"/>
                  <a:gd name="T10" fmla="*/ 326 w 626"/>
                  <a:gd name="T11" fmla="*/ 560 h 1208"/>
                  <a:gd name="T12" fmla="*/ 344 w 626"/>
                  <a:gd name="T13" fmla="*/ 641 h 1208"/>
                  <a:gd name="T14" fmla="*/ 374 w 626"/>
                  <a:gd name="T15" fmla="*/ 640 h 1208"/>
                  <a:gd name="T16" fmla="*/ 245 w 626"/>
                  <a:gd name="T17" fmla="*/ 532 h 1208"/>
                  <a:gd name="T18" fmla="*/ 225 w 626"/>
                  <a:gd name="T19" fmla="*/ 526 h 1208"/>
                  <a:gd name="T20" fmla="*/ 197 w 626"/>
                  <a:gd name="T21" fmla="*/ 732 h 1208"/>
                  <a:gd name="T22" fmla="*/ 196 w 626"/>
                  <a:gd name="T23" fmla="*/ 734 h 1208"/>
                  <a:gd name="T24" fmla="*/ 204 w 626"/>
                  <a:gd name="T25" fmla="*/ 1057 h 1208"/>
                  <a:gd name="T26" fmla="*/ 250 w 626"/>
                  <a:gd name="T27" fmla="*/ 1030 h 1208"/>
                  <a:gd name="T28" fmla="*/ 259 w 626"/>
                  <a:gd name="T29" fmla="*/ 1006 h 1208"/>
                  <a:gd name="T30" fmla="*/ 319 w 626"/>
                  <a:gd name="T31" fmla="*/ 1014 h 1208"/>
                  <a:gd name="T32" fmla="*/ 329 w 626"/>
                  <a:gd name="T33" fmla="*/ 981 h 1208"/>
                  <a:gd name="T34" fmla="*/ 306 w 626"/>
                  <a:gd name="T35" fmla="*/ 942 h 1208"/>
                  <a:gd name="T36" fmla="*/ 270 w 626"/>
                  <a:gd name="T37" fmla="*/ 934 h 1208"/>
                  <a:gd name="T38" fmla="*/ 273 w 626"/>
                  <a:gd name="T39" fmla="*/ 864 h 1208"/>
                  <a:gd name="T40" fmla="*/ 217 w 626"/>
                  <a:gd name="T41" fmla="*/ 852 h 1208"/>
                  <a:gd name="T42" fmla="*/ 210 w 626"/>
                  <a:gd name="T43" fmla="*/ 876 h 1208"/>
                  <a:gd name="T44" fmla="*/ 196 w 626"/>
                  <a:gd name="T45" fmla="*/ 906 h 1208"/>
                  <a:gd name="T46" fmla="*/ 153 w 626"/>
                  <a:gd name="T47" fmla="*/ 900 h 1208"/>
                  <a:gd name="T48" fmla="*/ 134 w 626"/>
                  <a:gd name="T49" fmla="*/ 962 h 1208"/>
                  <a:gd name="T50" fmla="*/ 182 w 626"/>
                  <a:gd name="T51" fmla="*/ 976 h 1208"/>
                  <a:gd name="T52" fmla="*/ 189 w 626"/>
                  <a:gd name="T53" fmla="*/ 978 h 1208"/>
                  <a:gd name="T54" fmla="*/ 183 w 626"/>
                  <a:gd name="T55" fmla="*/ 1014 h 1208"/>
                  <a:gd name="T56" fmla="*/ 204 w 626"/>
                  <a:gd name="T57" fmla="*/ 1057 h 1208"/>
                  <a:gd name="T58" fmla="*/ 174 w 626"/>
                  <a:gd name="T59" fmla="*/ 1184 h 1208"/>
                  <a:gd name="T60" fmla="*/ 4 w 626"/>
                  <a:gd name="T61" fmla="*/ 1000 h 1208"/>
                  <a:gd name="T62" fmla="*/ 5 w 626"/>
                  <a:gd name="T63" fmla="*/ 904 h 1208"/>
                  <a:gd name="T64" fmla="*/ 94 w 626"/>
                  <a:gd name="T65" fmla="*/ 456 h 1208"/>
                  <a:gd name="T66" fmla="*/ 182 w 626"/>
                  <a:gd name="T67" fmla="*/ 77 h 1208"/>
                  <a:gd name="T68" fmla="*/ 279 w 626"/>
                  <a:gd name="T69" fmla="*/ 13 h 1208"/>
                  <a:gd name="T70" fmla="*/ 370 w 626"/>
                  <a:gd name="T71" fmla="*/ 25 h 1208"/>
                  <a:gd name="T72" fmla="*/ 459 w 626"/>
                  <a:gd name="T73" fmla="*/ 52 h 1208"/>
                  <a:gd name="T74" fmla="*/ 478 w 626"/>
                  <a:gd name="T75" fmla="*/ 26 h 1208"/>
                  <a:gd name="T76" fmla="*/ 502 w 626"/>
                  <a:gd name="T77" fmla="*/ 51 h 1208"/>
                  <a:gd name="T78" fmla="*/ 531 w 626"/>
                  <a:gd name="T79" fmla="*/ 62 h 1208"/>
                  <a:gd name="T80" fmla="*/ 610 w 626"/>
                  <a:gd name="T81" fmla="*/ 186 h 1208"/>
                  <a:gd name="T82" fmla="*/ 626 w 626"/>
                  <a:gd name="T83" fmla="*/ 305 h 1208"/>
                  <a:gd name="T84" fmla="*/ 580 w 626"/>
                  <a:gd name="T85" fmla="*/ 424 h 1208"/>
                  <a:gd name="T86" fmla="*/ 516 w 626"/>
                  <a:gd name="T87" fmla="*/ 554 h 1208"/>
                  <a:gd name="T88" fmla="*/ 453 w 626"/>
                  <a:gd name="T89" fmla="*/ 808 h 1208"/>
                  <a:gd name="T90" fmla="*/ 480 w 626"/>
                  <a:gd name="T91" fmla="*/ 927 h 1208"/>
                  <a:gd name="T92" fmla="*/ 414 w 626"/>
                  <a:gd name="T93" fmla="*/ 1143 h 1208"/>
                  <a:gd name="T94" fmla="*/ 260 w 626"/>
                  <a:gd name="T95" fmla="*/ 1208 h 1208"/>
                  <a:gd name="T96" fmla="*/ 423 w 626"/>
                  <a:gd name="T97" fmla="*/ 118 h 1208"/>
                  <a:gd name="T98" fmla="*/ 348 w 626"/>
                  <a:gd name="T99" fmla="*/ 143 h 1208"/>
                  <a:gd name="T100" fmla="*/ 377 w 626"/>
                  <a:gd name="T101" fmla="*/ 200 h 1208"/>
                  <a:gd name="T102" fmla="*/ 432 w 626"/>
                  <a:gd name="T103" fmla="*/ 169 h 1208"/>
                  <a:gd name="T104" fmla="*/ 423 w 626"/>
                  <a:gd name="T105" fmla="*/ 118 h 1208"/>
                  <a:gd name="T106" fmla="*/ 465 w 626"/>
                  <a:gd name="T107" fmla="*/ 249 h 1208"/>
                  <a:gd name="T108" fmla="*/ 414 w 626"/>
                  <a:gd name="T109" fmla="*/ 287 h 1208"/>
                  <a:gd name="T110" fmla="*/ 411 w 626"/>
                  <a:gd name="T111" fmla="*/ 319 h 1208"/>
                  <a:gd name="T112" fmla="*/ 480 w 626"/>
                  <a:gd name="T113" fmla="*/ 337 h 1208"/>
                  <a:gd name="T114" fmla="*/ 496 w 626"/>
                  <a:gd name="T115" fmla="*/ 279 h 1208"/>
                  <a:gd name="T116" fmla="*/ 293 w 626"/>
                  <a:gd name="T117" fmla="*/ 194 h 1208"/>
                  <a:gd name="T118" fmla="*/ 248 w 626"/>
                  <a:gd name="T119" fmla="*/ 223 h 1208"/>
                  <a:gd name="T120" fmla="*/ 243 w 626"/>
                  <a:gd name="T121" fmla="*/ 248 h 1208"/>
                  <a:gd name="T122" fmla="*/ 331 w 626"/>
                  <a:gd name="T123" fmla="*/ 250 h 12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626" h="1208">
                    <a:moveTo>
                      <a:pt x="316" y="364"/>
                    </a:moveTo>
                    <a:cubicBezTo>
                      <a:pt x="307" y="381"/>
                      <a:pt x="307" y="381"/>
                      <a:pt x="307" y="381"/>
                    </a:cubicBezTo>
                    <a:cubicBezTo>
                      <a:pt x="306" y="382"/>
                      <a:pt x="306" y="382"/>
                      <a:pt x="305" y="384"/>
                    </a:cubicBezTo>
                    <a:cubicBezTo>
                      <a:pt x="302" y="392"/>
                      <a:pt x="310" y="404"/>
                      <a:pt x="316" y="412"/>
                    </a:cubicBezTo>
                    <a:cubicBezTo>
                      <a:pt x="332" y="432"/>
                      <a:pt x="361" y="432"/>
                      <a:pt x="377" y="409"/>
                    </a:cubicBezTo>
                    <a:cubicBezTo>
                      <a:pt x="386" y="394"/>
                      <a:pt x="387" y="376"/>
                      <a:pt x="377" y="361"/>
                    </a:cubicBezTo>
                    <a:cubicBezTo>
                      <a:pt x="369" y="349"/>
                      <a:pt x="356" y="345"/>
                      <a:pt x="345" y="344"/>
                    </a:cubicBezTo>
                    <a:cubicBezTo>
                      <a:pt x="329" y="345"/>
                      <a:pt x="321" y="353"/>
                      <a:pt x="316" y="364"/>
                    </a:cubicBezTo>
                    <a:close/>
                    <a:moveTo>
                      <a:pt x="374" y="640"/>
                    </a:moveTo>
                    <a:cubicBezTo>
                      <a:pt x="369" y="637"/>
                      <a:pt x="369" y="637"/>
                      <a:pt x="369" y="637"/>
                    </a:cubicBezTo>
                    <a:cubicBezTo>
                      <a:pt x="366" y="619"/>
                      <a:pt x="357" y="600"/>
                      <a:pt x="347" y="583"/>
                    </a:cubicBezTo>
                    <a:cubicBezTo>
                      <a:pt x="343" y="576"/>
                      <a:pt x="336" y="559"/>
                      <a:pt x="326" y="560"/>
                    </a:cubicBezTo>
                    <a:cubicBezTo>
                      <a:pt x="318" y="560"/>
                      <a:pt x="318" y="576"/>
                      <a:pt x="318" y="580"/>
                    </a:cubicBezTo>
                    <a:cubicBezTo>
                      <a:pt x="323" y="601"/>
                      <a:pt x="332" y="624"/>
                      <a:pt x="344" y="641"/>
                    </a:cubicBezTo>
                    <a:cubicBezTo>
                      <a:pt x="350" y="651"/>
                      <a:pt x="362" y="664"/>
                      <a:pt x="370" y="649"/>
                    </a:cubicBezTo>
                    <a:cubicBezTo>
                      <a:pt x="372" y="646"/>
                      <a:pt x="373" y="643"/>
                      <a:pt x="374" y="640"/>
                    </a:cubicBezTo>
                    <a:close/>
                    <a:moveTo>
                      <a:pt x="239" y="544"/>
                    </a:moveTo>
                    <a:cubicBezTo>
                      <a:pt x="243" y="541"/>
                      <a:pt x="245" y="538"/>
                      <a:pt x="245" y="532"/>
                    </a:cubicBezTo>
                    <a:cubicBezTo>
                      <a:pt x="243" y="530"/>
                      <a:pt x="244" y="525"/>
                      <a:pt x="239" y="523"/>
                    </a:cubicBezTo>
                    <a:cubicBezTo>
                      <a:pt x="235" y="520"/>
                      <a:pt x="228" y="521"/>
                      <a:pt x="225" y="526"/>
                    </a:cubicBezTo>
                    <a:cubicBezTo>
                      <a:pt x="219" y="535"/>
                      <a:pt x="231" y="545"/>
                      <a:pt x="239" y="544"/>
                    </a:cubicBezTo>
                    <a:close/>
                    <a:moveTo>
                      <a:pt x="197" y="732"/>
                    </a:moveTo>
                    <a:cubicBezTo>
                      <a:pt x="208" y="731"/>
                      <a:pt x="216" y="716"/>
                      <a:pt x="203" y="710"/>
                    </a:cubicBezTo>
                    <a:cubicBezTo>
                      <a:pt x="189" y="704"/>
                      <a:pt x="185" y="731"/>
                      <a:pt x="196" y="734"/>
                    </a:cubicBezTo>
                    <a:lnTo>
                      <a:pt x="197" y="732"/>
                    </a:lnTo>
                    <a:close/>
                    <a:moveTo>
                      <a:pt x="204" y="1057"/>
                    </a:moveTo>
                    <a:cubicBezTo>
                      <a:pt x="213" y="1058"/>
                      <a:pt x="226" y="1066"/>
                      <a:pt x="235" y="1062"/>
                    </a:cubicBezTo>
                    <a:cubicBezTo>
                      <a:pt x="245" y="1059"/>
                      <a:pt x="249" y="1039"/>
                      <a:pt x="250" y="1030"/>
                    </a:cubicBezTo>
                    <a:cubicBezTo>
                      <a:pt x="253" y="1022"/>
                      <a:pt x="256" y="1014"/>
                      <a:pt x="258" y="1005"/>
                    </a:cubicBezTo>
                    <a:cubicBezTo>
                      <a:pt x="259" y="1006"/>
                      <a:pt x="259" y="1006"/>
                      <a:pt x="259" y="1006"/>
                    </a:cubicBezTo>
                    <a:cubicBezTo>
                      <a:pt x="273" y="1002"/>
                      <a:pt x="290" y="1013"/>
                      <a:pt x="303" y="1017"/>
                    </a:cubicBezTo>
                    <a:cubicBezTo>
                      <a:pt x="308" y="1017"/>
                      <a:pt x="315" y="1018"/>
                      <a:pt x="319" y="1014"/>
                    </a:cubicBezTo>
                    <a:cubicBezTo>
                      <a:pt x="322" y="1012"/>
                      <a:pt x="325" y="1003"/>
                      <a:pt x="325" y="998"/>
                    </a:cubicBezTo>
                    <a:cubicBezTo>
                      <a:pt x="328" y="992"/>
                      <a:pt x="329" y="987"/>
                      <a:pt x="329" y="981"/>
                    </a:cubicBezTo>
                    <a:cubicBezTo>
                      <a:pt x="328" y="971"/>
                      <a:pt x="329" y="962"/>
                      <a:pt x="330" y="956"/>
                    </a:cubicBezTo>
                    <a:cubicBezTo>
                      <a:pt x="326" y="944"/>
                      <a:pt x="315" y="943"/>
                      <a:pt x="306" y="942"/>
                    </a:cubicBezTo>
                    <a:cubicBezTo>
                      <a:pt x="297" y="941"/>
                      <a:pt x="286" y="940"/>
                      <a:pt x="275" y="937"/>
                    </a:cubicBezTo>
                    <a:cubicBezTo>
                      <a:pt x="270" y="934"/>
                      <a:pt x="270" y="934"/>
                      <a:pt x="270" y="934"/>
                    </a:cubicBezTo>
                    <a:cubicBezTo>
                      <a:pt x="279" y="917"/>
                      <a:pt x="276" y="898"/>
                      <a:pt x="282" y="881"/>
                    </a:cubicBezTo>
                    <a:cubicBezTo>
                      <a:pt x="283" y="872"/>
                      <a:pt x="281" y="867"/>
                      <a:pt x="273" y="864"/>
                    </a:cubicBezTo>
                    <a:cubicBezTo>
                      <a:pt x="264" y="859"/>
                      <a:pt x="255" y="855"/>
                      <a:pt x="246" y="852"/>
                    </a:cubicBezTo>
                    <a:cubicBezTo>
                      <a:pt x="240" y="849"/>
                      <a:pt x="223" y="841"/>
                      <a:pt x="217" y="852"/>
                    </a:cubicBezTo>
                    <a:cubicBezTo>
                      <a:pt x="217" y="856"/>
                      <a:pt x="216" y="861"/>
                      <a:pt x="213" y="865"/>
                    </a:cubicBezTo>
                    <a:cubicBezTo>
                      <a:pt x="213" y="867"/>
                      <a:pt x="210" y="872"/>
                      <a:pt x="210" y="876"/>
                    </a:cubicBezTo>
                    <a:cubicBezTo>
                      <a:pt x="207" y="883"/>
                      <a:pt x="211" y="894"/>
                      <a:pt x="205" y="903"/>
                    </a:cubicBezTo>
                    <a:cubicBezTo>
                      <a:pt x="205" y="903"/>
                      <a:pt x="198" y="909"/>
                      <a:pt x="196" y="906"/>
                    </a:cubicBezTo>
                    <a:cubicBezTo>
                      <a:pt x="196" y="907"/>
                      <a:pt x="196" y="907"/>
                      <a:pt x="196" y="907"/>
                    </a:cubicBezTo>
                    <a:cubicBezTo>
                      <a:pt x="180" y="907"/>
                      <a:pt x="167" y="902"/>
                      <a:pt x="153" y="900"/>
                    </a:cubicBezTo>
                    <a:cubicBezTo>
                      <a:pt x="131" y="898"/>
                      <a:pt x="131" y="921"/>
                      <a:pt x="129" y="937"/>
                    </a:cubicBezTo>
                    <a:cubicBezTo>
                      <a:pt x="129" y="946"/>
                      <a:pt x="128" y="954"/>
                      <a:pt x="134" y="962"/>
                    </a:cubicBezTo>
                    <a:cubicBezTo>
                      <a:pt x="140" y="967"/>
                      <a:pt x="147" y="965"/>
                      <a:pt x="154" y="966"/>
                    </a:cubicBezTo>
                    <a:cubicBezTo>
                      <a:pt x="163" y="969"/>
                      <a:pt x="174" y="970"/>
                      <a:pt x="182" y="976"/>
                    </a:cubicBezTo>
                    <a:cubicBezTo>
                      <a:pt x="186" y="976"/>
                      <a:pt x="188" y="976"/>
                      <a:pt x="189" y="979"/>
                    </a:cubicBezTo>
                    <a:cubicBezTo>
                      <a:pt x="189" y="978"/>
                      <a:pt x="189" y="978"/>
                      <a:pt x="189" y="978"/>
                    </a:cubicBezTo>
                    <a:cubicBezTo>
                      <a:pt x="191" y="983"/>
                      <a:pt x="191" y="984"/>
                      <a:pt x="188" y="990"/>
                    </a:cubicBezTo>
                    <a:cubicBezTo>
                      <a:pt x="187" y="996"/>
                      <a:pt x="186" y="1006"/>
                      <a:pt x="183" y="1014"/>
                    </a:cubicBezTo>
                    <a:cubicBezTo>
                      <a:pt x="183" y="1021"/>
                      <a:pt x="179" y="1032"/>
                      <a:pt x="181" y="1041"/>
                    </a:cubicBezTo>
                    <a:cubicBezTo>
                      <a:pt x="184" y="1051"/>
                      <a:pt x="198" y="1054"/>
                      <a:pt x="204" y="1057"/>
                    </a:cubicBezTo>
                    <a:close/>
                    <a:moveTo>
                      <a:pt x="250" y="1207"/>
                    </a:moveTo>
                    <a:cubicBezTo>
                      <a:pt x="224" y="1204"/>
                      <a:pt x="197" y="1194"/>
                      <a:pt x="174" y="1184"/>
                    </a:cubicBezTo>
                    <a:cubicBezTo>
                      <a:pt x="141" y="1169"/>
                      <a:pt x="108" y="1155"/>
                      <a:pt x="81" y="1129"/>
                    </a:cubicBezTo>
                    <a:cubicBezTo>
                      <a:pt x="44" y="1094"/>
                      <a:pt x="24" y="1045"/>
                      <a:pt x="4" y="1000"/>
                    </a:cubicBezTo>
                    <a:cubicBezTo>
                      <a:pt x="5" y="1000"/>
                      <a:pt x="5" y="1000"/>
                      <a:pt x="5" y="1000"/>
                    </a:cubicBezTo>
                    <a:cubicBezTo>
                      <a:pt x="2" y="967"/>
                      <a:pt x="0" y="935"/>
                      <a:pt x="5" y="904"/>
                    </a:cubicBezTo>
                    <a:cubicBezTo>
                      <a:pt x="12" y="859"/>
                      <a:pt x="19" y="812"/>
                      <a:pt x="27" y="768"/>
                    </a:cubicBezTo>
                    <a:cubicBezTo>
                      <a:pt x="47" y="663"/>
                      <a:pt x="74" y="561"/>
                      <a:pt x="94" y="456"/>
                    </a:cubicBezTo>
                    <a:cubicBezTo>
                      <a:pt x="114" y="361"/>
                      <a:pt x="126" y="262"/>
                      <a:pt x="149" y="167"/>
                    </a:cubicBezTo>
                    <a:cubicBezTo>
                      <a:pt x="156" y="136"/>
                      <a:pt x="164" y="102"/>
                      <a:pt x="182" y="77"/>
                    </a:cubicBezTo>
                    <a:cubicBezTo>
                      <a:pt x="190" y="66"/>
                      <a:pt x="200" y="56"/>
                      <a:pt x="211" y="48"/>
                    </a:cubicBezTo>
                    <a:cubicBezTo>
                      <a:pt x="231" y="33"/>
                      <a:pt x="256" y="22"/>
                      <a:pt x="279" y="13"/>
                    </a:cubicBezTo>
                    <a:cubicBezTo>
                      <a:pt x="312" y="2"/>
                      <a:pt x="344" y="0"/>
                      <a:pt x="378" y="2"/>
                    </a:cubicBezTo>
                    <a:cubicBezTo>
                      <a:pt x="370" y="25"/>
                      <a:pt x="370" y="25"/>
                      <a:pt x="370" y="25"/>
                    </a:cubicBezTo>
                    <a:cubicBezTo>
                      <a:pt x="380" y="25"/>
                      <a:pt x="390" y="27"/>
                      <a:pt x="400" y="29"/>
                    </a:cubicBezTo>
                    <a:cubicBezTo>
                      <a:pt x="420" y="33"/>
                      <a:pt x="440" y="42"/>
                      <a:pt x="459" y="52"/>
                    </a:cubicBezTo>
                    <a:cubicBezTo>
                      <a:pt x="470" y="32"/>
                      <a:pt x="470" y="32"/>
                      <a:pt x="470" y="32"/>
                    </a:cubicBezTo>
                    <a:cubicBezTo>
                      <a:pt x="473" y="30"/>
                      <a:pt x="475" y="28"/>
                      <a:pt x="478" y="26"/>
                    </a:cubicBezTo>
                    <a:cubicBezTo>
                      <a:pt x="494" y="43"/>
                      <a:pt x="494" y="43"/>
                      <a:pt x="494" y="43"/>
                    </a:cubicBezTo>
                    <a:cubicBezTo>
                      <a:pt x="502" y="51"/>
                      <a:pt x="502" y="51"/>
                      <a:pt x="502" y="51"/>
                    </a:cubicBezTo>
                    <a:cubicBezTo>
                      <a:pt x="505" y="49"/>
                      <a:pt x="510" y="47"/>
                      <a:pt x="514" y="45"/>
                    </a:cubicBezTo>
                    <a:cubicBezTo>
                      <a:pt x="531" y="62"/>
                      <a:pt x="531" y="62"/>
                      <a:pt x="531" y="62"/>
                    </a:cubicBezTo>
                    <a:cubicBezTo>
                      <a:pt x="550" y="78"/>
                      <a:pt x="566" y="95"/>
                      <a:pt x="580" y="115"/>
                    </a:cubicBezTo>
                    <a:cubicBezTo>
                      <a:pt x="594" y="137"/>
                      <a:pt x="603" y="162"/>
                      <a:pt x="610" y="186"/>
                    </a:cubicBezTo>
                    <a:cubicBezTo>
                      <a:pt x="615" y="204"/>
                      <a:pt x="622" y="223"/>
                      <a:pt x="623" y="241"/>
                    </a:cubicBezTo>
                    <a:cubicBezTo>
                      <a:pt x="625" y="262"/>
                      <a:pt x="625" y="285"/>
                      <a:pt x="626" y="305"/>
                    </a:cubicBezTo>
                    <a:cubicBezTo>
                      <a:pt x="624" y="323"/>
                      <a:pt x="624" y="346"/>
                      <a:pt x="618" y="364"/>
                    </a:cubicBezTo>
                    <a:cubicBezTo>
                      <a:pt x="609" y="385"/>
                      <a:pt x="595" y="407"/>
                      <a:pt x="580" y="424"/>
                    </a:cubicBezTo>
                    <a:cubicBezTo>
                      <a:pt x="565" y="443"/>
                      <a:pt x="545" y="461"/>
                      <a:pt x="533" y="485"/>
                    </a:cubicBezTo>
                    <a:cubicBezTo>
                      <a:pt x="522" y="507"/>
                      <a:pt x="520" y="531"/>
                      <a:pt x="516" y="554"/>
                    </a:cubicBezTo>
                    <a:cubicBezTo>
                      <a:pt x="505" y="593"/>
                      <a:pt x="494" y="635"/>
                      <a:pt x="483" y="675"/>
                    </a:cubicBezTo>
                    <a:cubicBezTo>
                      <a:pt x="470" y="720"/>
                      <a:pt x="464" y="764"/>
                      <a:pt x="453" y="808"/>
                    </a:cubicBezTo>
                    <a:cubicBezTo>
                      <a:pt x="455" y="809"/>
                      <a:pt x="455" y="809"/>
                      <a:pt x="455" y="809"/>
                    </a:cubicBezTo>
                    <a:cubicBezTo>
                      <a:pt x="458" y="850"/>
                      <a:pt x="474" y="888"/>
                      <a:pt x="480" y="927"/>
                    </a:cubicBezTo>
                    <a:cubicBezTo>
                      <a:pt x="489" y="975"/>
                      <a:pt x="473" y="1026"/>
                      <a:pt x="457" y="1072"/>
                    </a:cubicBezTo>
                    <a:cubicBezTo>
                      <a:pt x="448" y="1099"/>
                      <a:pt x="436" y="1125"/>
                      <a:pt x="414" y="1143"/>
                    </a:cubicBezTo>
                    <a:cubicBezTo>
                      <a:pt x="394" y="1162"/>
                      <a:pt x="368" y="1175"/>
                      <a:pt x="344" y="1186"/>
                    </a:cubicBezTo>
                    <a:cubicBezTo>
                      <a:pt x="318" y="1197"/>
                      <a:pt x="289" y="1208"/>
                      <a:pt x="260" y="1208"/>
                    </a:cubicBezTo>
                    <a:cubicBezTo>
                      <a:pt x="257" y="1208"/>
                      <a:pt x="253" y="1207"/>
                      <a:pt x="250" y="1207"/>
                    </a:cubicBezTo>
                    <a:close/>
                    <a:moveTo>
                      <a:pt x="423" y="118"/>
                    </a:moveTo>
                    <a:cubicBezTo>
                      <a:pt x="415" y="110"/>
                      <a:pt x="404" y="112"/>
                      <a:pt x="392" y="110"/>
                    </a:cubicBezTo>
                    <a:cubicBezTo>
                      <a:pt x="372" y="113"/>
                      <a:pt x="359" y="125"/>
                      <a:pt x="348" y="143"/>
                    </a:cubicBezTo>
                    <a:cubicBezTo>
                      <a:pt x="348" y="149"/>
                      <a:pt x="348" y="149"/>
                      <a:pt x="348" y="149"/>
                    </a:cubicBezTo>
                    <a:cubicBezTo>
                      <a:pt x="348" y="170"/>
                      <a:pt x="358" y="189"/>
                      <a:pt x="377" y="200"/>
                    </a:cubicBezTo>
                    <a:cubicBezTo>
                      <a:pt x="385" y="205"/>
                      <a:pt x="399" y="204"/>
                      <a:pt x="411" y="201"/>
                    </a:cubicBezTo>
                    <a:cubicBezTo>
                      <a:pt x="425" y="195"/>
                      <a:pt x="431" y="182"/>
                      <a:pt x="432" y="169"/>
                    </a:cubicBezTo>
                    <a:cubicBezTo>
                      <a:pt x="435" y="160"/>
                      <a:pt x="439" y="149"/>
                      <a:pt x="437" y="140"/>
                    </a:cubicBezTo>
                    <a:cubicBezTo>
                      <a:pt x="436" y="131"/>
                      <a:pt x="430" y="123"/>
                      <a:pt x="423" y="118"/>
                    </a:cubicBezTo>
                    <a:close/>
                    <a:moveTo>
                      <a:pt x="496" y="279"/>
                    </a:moveTo>
                    <a:cubicBezTo>
                      <a:pt x="491" y="265"/>
                      <a:pt x="479" y="253"/>
                      <a:pt x="465" y="249"/>
                    </a:cubicBezTo>
                    <a:cubicBezTo>
                      <a:pt x="454" y="246"/>
                      <a:pt x="440" y="251"/>
                      <a:pt x="430" y="257"/>
                    </a:cubicBezTo>
                    <a:cubicBezTo>
                      <a:pt x="420" y="264"/>
                      <a:pt x="416" y="275"/>
                      <a:pt x="414" y="287"/>
                    </a:cubicBezTo>
                    <a:cubicBezTo>
                      <a:pt x="414" y="287"/>
                      <a:pt x="414" y="287"/>
                      <a:pt x="414" y="287"/>
                    </a:cubicBezTo>
                    <a:cubicBezTo>
                      <a:pt x="411" y="296"/>
                      <a:pt x="407" y="309"/>
                      <a:pt x="411" y="319"/>
                    </a:cubicBezTo>
                    <a:cubicBezTo>
                      <a:pt x="417" y="331"/>
                      <a:pt x="431" y="341"/>
                      <a:pt x="443" y="342"/>
                    </a:cubicBezTo>
                    <a:cubicBezTo>
                      <a:pt x="456" y="346"/>
                      <a:pt x="470" y="343"/>
                      <a:pt x="480" y="337"/>
                    </a:cubicBezTo>
                    <a:cubicBezTo>
                      <a:pt x="492" y="329"/>
                      <a:pt x="497" y="320"/>
                      <a:pt x="498" y="307"/>
                    </a:cubicBezTo>
                    <a:cubicBezTo>
                      <a:pt x="499" y="298"/>
                      <a:pt x="500" y="289"/>
                      <a:pt x="496" y="279"/>
                    </a:cubicBezTo>
                    <a:close/>
                    <a:moveTo>
                      <a:pt x="331" y="250"/>
                    </a:moveTo>
                    <a:cubicBezTo>
                      <a:pt x="336" y="223"/>
                      <a:pt x="318" y="199"/>
                      <a:pt x="293" y="194"/>
                    </a:cubicBezTo>
                    <a:cubicBezTo>
                      <a:pt x="282" y="193"/>
                      <a:pt x="266" y="194"/>
                      <a:pt x="259" y="200"/>
                    </a:cubicBezTo>
                    <a:cubicBezTo>
                      <a:pt x="251" y="205"/>
                      <a:pt x="249" y="215"/>
                      <a:pt x="248" y="223"/>
                    </a:cubicBezTo>
                    <a:cubicBezTo>
                      <a:pt x="245" y="228"/>
                      <a:pt x="245" y="228"/>
                      <a:pt x="245" y="228"/>
                    </a:cubicBezTo>
                    <a:cubicBezTo>
                      <a:pt x="242" y="237"/>
                      <a:pt x="241" y="241"/>
                      <a:pt x="243" y="248"/>
                    </a:cubicBezTo>
                    <a:cubicBezTo>
                      <a:pt x="249" y="260"/>
                      <a:pt x="257" y="270"/>
                      <a:pt x="268" y="276"/>
                    </a:cubicBezTo>
                    <a:cubicBezTo>
                      <a:pt x="291" y="289"/>
                      <a:pt x="324" y="276"/>
                      <a:pt x="331" y="250"/>
                    </a:cubicBezTo>
                    <a:close/>
                  </a:path>
                </a:pathLst>
              </a:custGeom>
              <a:solidFill>
                <a:srgbClr val="F6B84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776" name="Freeform 323">
                <a:extLst>
                  <a:ext uri="{FF2B5EF4-FFF2-40B4-BE49-F238E27FC236}">
                    <a16:creationId xmlns:a16="http://schemas.microsoft.com/office/drawing/2014/main" id="{820D197B-C988-4F07-86B7-E421DD909A7F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323" y="2825"/>
                <a:ext cx="52" cy="104"/>
              </a:xfrm>
              <a:custGeom>
                <a:avLst/>
                <a:gdLst>
                  <a:gd name="T0" fmla="*/ 44 w 49"/>
                  <a:gd name="T1" fmla="*/ 89 h 98"/>
                  <a:gd name="T2" fmla="*/ 28 w 49"/>
                  <a:gd name="T3" fmla="*/ 50 h 98"/>
                  <a:gd name="T4" fmla="*/ 16 w 49"/>
                  <a:gd name="T5" fmla="*/ 18 h 98"/>
                  <a:gd name="T6" fmla="*/ 10 w 49"/>
                  <a:gd name="T7" fmla="*/ 20 h 98"/>
                  <a:gd name="T8" fmla="*/ 22 w 49"/>
                  <a:gd name="T9" fmla="*/ 51 h 98"/>
                  <a:gd name="T10" fmla="*/ 35 w 49"/>
                  <a:gd name="T11" fmla="*/ 86 h 98"/>
                  <a:gd name="T12" fmla="*/ 46 w 49"/>
                  <a:gd name="T13" fmla="*/ 83 h 98"/>
                  <a:gd name="T14" fmla="*/ 20 w 49"/>
                  <a:gd name="T15" fmla="*/ 8 h 98"/>
                  <a:gd name="T16" fmla="*/ 8 w 49"/>
                  <a:gd name="T17" fmla="*/ 14 h 98"/>
                  <a:gd name="T18" fmla="*/ 36 w 49"/>
                  <a:gd name="T19" fmla="*/ 87 h 98"/>
                  <a:gd name="T20" fmla="*/ 46 w 49"/>
                  <a:gd name="T21" fmla="*/ 83 h 98"/>
                  <a:gd name="T22" fmla="*/ 27 w 49"/>
                  <a:gd name="T23" fmla="*/ 29 h 98"/>
                  <a:gd name="T24" fmla="*/ 13 w 49"/>
                  <a:gd name="T25" fmla="*/ 10 h 98"/>
                  <a:gd name="T26" fmla="*/ 7 w 49"/>
                  <a:gd name="T27" fmla="*/ 12 h 98"/>
                  <a:gd name="T28" fmla="*/ 18 w 49"/>
                  <a:gd name="T29" fmla="*/ 55 h 98"/>
                  <a:gd name="T30" fmla="*/ 40 w 49"/>
                  <a:gd name="T31" fmla="*/ 96 h 98"/>
                  <a:gd name="T32" fmla="*/ 44 w 49"/>
                  <a:gd name="T33" fmla="*/ 89 h 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49" h="98">
                    <a:moveTo>
                      <a:pt x="44" y="89"/>
                    </a:moveTo>
                    <a:cubicBezTo>
                      <a:pt x="34" y="80"/>
                      <a:pt x="32" y="63"/>
                      <a:pt x="28" y="50"/>
                    </a:cubicBezTo>
                    <a:cubicBezTo>
                      <a:pt x="26" y="45"/>
                      <a:pt x="13" y="22"/>
                      <a:pt x="16" y="18"/>
                    </a:cubicBezTo>
                    <a:cubicBezTo>
                      <a:pt x="14" y="18"/>
                      <a:pt x="12" y="19"/>
                      <a:pt x="10" y="20"/>
                    </a:cubicBezTo>
                    <a:cubicBezTo>
                      <a:pt x="17" y="23"/>
                      <a:pt x="20" y="45"/>
                      <a:pt x="22" y="51"/>
                    </a:cubicBezTo>
                    <a:cubicBezTo>
                      <a:pt x="26" y="63"/>
                      <a:pt x="31" y="75"/>
                      <a:pt x="35" y="86"/>
                    </a:cubicBezTo>
                    <a:cubicBezTo>
                      <a:pt x="39" y="85"/>
                      <a:pt x="43" y="84"/>
                      <a:pt x="46" y="83"/>
                    </a:cubicBezTo>
                    <a:cubicBezTo>
                      <a:pt x="35" y="58"/>
                      <a:pt x="32" y="31"/>
                      <a:pt x="20" y="8"/>
                    </a:cubicBezTo>
                    <a:cubicBezTo>
                      <a:pt x="16" y="0"/>
                      <a:pt x="4" y="6"/>
                      <a:pt x="8" y="14"/>
                    </a:cubicBezTo>
                    <a:cubicBezTo>
                      <a:pt x="21" y="37"/>
                      <a:pt x="25" y="64"/>
                      <a:pt x="36" y="87"/>
                    </a:cubicBezTo>
                    <a:cubicBezTo>
                      <a:pt x="39" y="93"/>
                      <a:pt x="49" y="89"/>
                      <a:pt x="46" y="83"/>
                    </a:cubicBezTo>
                    <a:cubicBezTo>
                      <a:pt x="39" y="65"/>
                      <a:pt x="32" y="47"/>
                      <a:pt x="27" y="29"/>
                    </a:cubicBezTo>
                    <a:cubicBezTo>
                      <a:pt x="24" y="21"/>
                      <a:pt x="22" y="13"/>
                      <a:pt x="13" y="10"/>
                    </a:cubicBezTo>
                    <a:cubicBezTo>
                      <a:pt x="11" y="9"/>
                      <a:pt x="8" y="10"/>
                      <a:pt x="7" y="12"/>
                    </a:cubicBezTo>
                    <a:cubicBezTo>
                      <a:pt x="0" y="23"/>
                      <a:pt x="15" y="45"/>
                      <a:pt x="18" y="55"/>
                    </a:cubicBezTo>
                    <a:cubicBezTo>
                      <a:pt x="23" y="69"/>
                      <a:pt x="26" y="88"/>
                      <a:pt x="40" y="96"/>
                    </a:cubicBezTo>
                    <a:cubicBezTo>
                      <a:pt x="44" y="98"/>
                      <a:pt x="47" y="92"/>
                      <a:pt x="44" y="89"/>
                    </a:cubicBezTo>
                    <a:close/>
                  </a:path>
                </a:pathLst>
              </a:custGeom>
              <a:solidFill>
                <a:srgbClr val="E840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777" name="Freeform 324">
                <a:extLst>
                  <a:ext uri="{FF2B5EF4-FFF2-40B4-BE49-F238E27FC236}">
                    <a16:creationId xmlns:a16="http://schemas.microsoft.com/office/drawing/2014/main" id="{5F357EB6-1303-434F-B5F8-E60EE109861D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36" y="2757"/>
                <a:ext cx="21" cy="16"/>
              </a:xfrm>
              <a:custGeom>
                <a:avLst/>
                <a:gdLst>
                  <a:gd name="T0" fmla="*/ 9 w 20"/>
                  <a:gd name="T1" fmla="*/ 5 h 16"/>
                  <a:gd name="T2" fmla="*/ 8 w 20"/>
                  <a:gd name="T3" fmla="*/ 5 h 16"/>
                  <a:gd name="T4" fmla="*/ 11 w 20"/>
                  <a:gd name="T5" fmla="*/ 6 h 16"/>
                  <a:gd name="T6" fmla="*/ 11 w 20"/>
                  <a:gd name="T7" fmla="*/ 5 h 16"/>
                  <a:gd name="T8" fmla="*/ 3 w 20"/>
                  <a:gd name="T9" fmla="*/ 3 h 16"/>
                  <a:gd name="T10" fmla="*/ 3 w 20"/>
                  <a:gd name="T11" fmla="*/ 11 h 16"/>
                  <a:gd name="T12" fmla="*/ 14 w 20"/>
                  <a:gd name="T13" fmla="*/ 13 h 16"/>
                  <a:gd name="T14" fmla="*/ 8 w 20"/>
                  <a:gd name="T15" fmla="*/ 4 h 16"/>
                  <a:gd name="T16" fmla="*/ 11 w 20"/>
                  <a:gd name="T17" fmla="*/ 3 h 16"/>
                  <a:gd name="T18" fmla="*/ 12 w 20"/>
                  <a:gd name="T19" fmla="*/ 3 h 16"/>
                  <a:gd name="T20" fmla="*/ 11 w 20"/>
                  <a:gd name="T21" fmla="*/ 3 h 16"/>
                  <a:gd name="T22" fmla="*/ 4 w 20"/>
                  <a:gd name="T23" fmla="*/ 5 h 16"/>
                  <a:gd name="T24" fmla="*/ 5 w 20"/>
                  <a:gd name="T25" fmla="*/ 13 h 16"/>
                  <a:gd name="T26" fmla="*/ 5 w 20"/>
                  <a:gd name="T27" fmla="*/ 13 h 16"/>
                  <a:gd name="T28" fmla="*/ 6 w 20"/>
                  <a:gd name="T29" fmla="*/ 14 h 16"/>
                  <a:gd name="T30" fmla="*/ 8 w 20"/>
                  <a:gd name="T31" fmla="*/ 15 h 16"/>
                  <a:gd name="T32" fmla="*/ 15 w 20"/>
                  <a:gd name="T33" fmla="*/ 12 h 16"/>
                  <a:gd name="T34" fmla="*/ 14 w 20"/>
                  <a:gd name="T35" fmla="*/ 5 h 16"/>
                  <a:gd name="T36" fmla="*/ 10 w 20"/>
                  <a:gd name="T37" fmla="*/ 2 h 16"/>
                  <a:gd name="T38" fmla="*/ 6 w 20"/>
                  <a:gd name="T39" fmla="*/ 14 h 16"/>
                  <a:gd name="T40" fmla="*/ 17 w 20"/>
                  <a:gd name="T41" fmla="*/ 10 h 16"/>
                  <a:gd name="T42" fmla="*/ 10 w 20"/>
                  <a:gd name="T43" fmla="*/ 2 h 16"/>
                  <a:gd name="T44" fmla="*/ 9 w 20"/>
                  <a:gd name="T45" fmla="*/ 2 h 16"/>
                  <a:gd name="T46" fmla="*/ 9 w 20"/>
                  <a:gd name="T47" fmla="*/ 2 h 16"/>
                  <a:gd name="T48" fmla="*/ 7 w 20"/>
                  <a:gd name="T49" fmla="*/ 2 h 16"/>
                  <a:gd name="T50" fmla="*/ 3 w 20"/>
                  <a:gd name="T51" fmla="*/ 11 h 16"/>
                  <a:gd name="T52" fmla="*/ 9 w 20"/>
                  <a:gd name="T53" fmla="*/ 10 h 16"/>
                  <a:gd name="T54" fmla="*/ 7 w 20"/>
                  <a:gd name="T55" fmla="*/ 11 h 16"/>
                  <a:gd name="T56" fmla="*/ 12 w 20"/>
                  <a:gd name="T57" fmla="*/ 7 h 16"/>
                  <a:gd name="T58" fmla="*/ 9 w 20"/>
                  <a:gd name="T59" fmla="*/ 5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0" h="16">
                    <a:moveTo>
                      <a:pt x="9" y="5"/>
                    </a:moveTo>
                    <a:cubicBezTo>
                      <a:pt x="8" y="5"/>
                      <a:pt x="8" y="5"/>
                      <a:pt x="8" y="5"/>
                    </a:cubicBezTo>
                    <a:cubicBezTo>
                      <a:pt x="9" y="5"/>
                      <a:pt x="10" y="6"/>
                      <a:pt x="11" y="6"/>
                    </a:cubicBezTo>
                    <a:cubicBezTo>
                      <a:pt x="11" y="6"/>
                      <a:pt x="11" y="5"/>
                      <a:pt x="11" y="5"/>
                    </a:cubicBezTo>
                    <a:cubicBezTo>
                      <a:pt x="9" y="2"/>
                      <a:pt x="5" y="1"/>
                      <a:pt x="3" y="3"/>
                    </a:cubicBezTo>
                    <a:cubicBezTo>
                      <a:pt x="0" y="5"/>
                      <a:pt x="0" y="9"/>
                      <a:pt x="3" y="11"/>
                    </a:cubicBezTo>
                    <a:cubicBezTo>
                      <a:pt x="6" y="13"/>
                      <a:pt x="10" y="14"/>
                      <a:pt x="14" y="13"/>
                    </a:cubicBezTo>
                    <a:cubicBezTo>
                      <a:pt x="12" y="10"/>
                      <a:pt x="10" y="7"/>
                      <a:pt x="8" y="4"/>
                    </a:cubicBezTo>
                    <a:cubicBezTo>
                      <a:pt x="9" y="3"/>
                      <a:pt x="10" y="3"/>
                      <a:pt x="11" y="3"/>
                    </a:cubicBezTo>
                    <a:cubicBezTo>
                      <a:pt x="12" y="3"/>
                      <a:pt x="12" y="3"/>
                      <a:pt x="12" y="3"/>
                    </a:cubicBezTo>
                    <a:cubicBezTo>
                      <a:pt x="11" y="3"/>
                      <a:pt x="11" y="3"/>
                      <a:pt x="11" y="3"/>
                    </a:cubicBezTo>
                    <a:cubicBezTo>
                      <a:pt x="9" y="1"/>
                      <a:pt x="5" y="3"/>
                      <a:pt x="4" y="5"/>
                    </a:cubicBezTo>
                    <a:cubicBezTo>
                      <a:pt x="2" y="8"/>
                      <a:pt x="3" y="11"/>
                      <a:pt x="5" y="13"/>
                    </a:cubicBezTo>
                    <a:cubicBezTo>
                      <a:pt x="4" y="12"/>
                      <a:pt x="4" y="12"/>
                      <a:pt x="5" y="13"/>
                    </a:cubicBezTo>
                    <a:cubicBezTo>
                      <a:pt x="6" y="14"/>
                      <a:pt x="6" y="14"/>
                      <a:pt x="6" y="14"/>
                    </a:cubicBezTo>
                    <a:cubicBezTo>
                      <a:pt x="7" y="14"/>
                      <a:pt x="7" y="14"/>
                      <a:pt x="8" y="15"/>
                    </a:cubicBezTo>
                    <a:cubicBezTo>
                      <a:pt x="11" y="16"/>
                      <a:pt x="14" y="15"/>
                      <a:pt x="15" y="12"/>
                    </a:cubicBezTo>
                    <a:cubicBezTo>
                      <a:pt x="17" y="10"/>
                      <a:pt x="17" y="6"/>
                      <a:pt x="14" y="5"/>
                    </a:cubicBezTo>
                    <a:cubicBezTo>
                      <a:pt x="13" y="3"/>
                      <a:pt x="12" y="3"/>
                      <a:pt x="10" y="2"/>
                    </a:cubicBezTo>
                    <a:cubicBezTo>
                      <a:pt x="9" y="6"/>
                      <a:pt x="8" y="10"/>
                      <a:pt x="6" y="14"/>
                    </a:cubicBezTo>
                    <a:cubicBezTo>
                      <a:pt x="11" y="16"/>
                      <a:pt x="15" y="14"/>
                      <a:pt x="17" y="10"/>
                    </a:cubicBezTo>
                    <a:cubicBezTo>
                      <a:pt x="20" y="6"/>
                      <a:pt x="15" y="0"/>
                      <a:pt x="10" y="2"/>
                    </a:cubicBezTo>
                    <a:cubicBezTo>
                      <a:pt x="10" y="2"/>
                      <a:pt x="9" y="2"/>
                      <a:pt x="9" y="2"/>
                    </a:cubicBezTo>
                    <a:cubicBezTo>
                      <a:pt x="8" y="2"/>
                      <a:pt x="10" y="2"/>
                      <a:pt x="9" y="2"/>
                    </a:cubicBezTo>
                    <a:cubicBezTo>
                      <a:pt x="8" y="2"/>
                      <a:pt x="7" y="2"/>
                      <a:pt x="7" y="2"/>
                    </a:cubicBezTo>
                    <a:cubicBezTo>
                      <a:pt x="6" y="5"/>
                      <a:pt x="4" y="8"/>
                      <a:pt x="3" y="11"/>
                    </a:cubicBezTo>
                    <a:cubicBezTo>
                      <a:pt x="5" y="12"/>
                      <a:pt x="7" y="12"/>
                      <a:pt x="9" y="10"/>
                    </a:cubicBezTo>
                    <a:cubicBezTo>
                      <a:pt x="8" y="10"/>
                      <a:pt x="8" y="11"/>
                      <a:pt x="7" y="11"/>
                    </a:cubicBezTo>
                    <a:cubicBezTo>
                      <a:pt x="10" y="11"/>
                      <a:pt x="12" y="9"/>
                      <a:pt x="12" y="7"/>
                    </a:cubicBezTo>
                    <a:cubicBezTo>
                      <a:pt x="13" y="5"/>
                      <a:pt x="10" y="3"/>
                      <a:pt x="9" y="5"/>
                    </a:cubicBezTo>
                    <a:close/>
                  </a:path>
                </a:pathLst>
              </a:custGeom>
              <a:solidFill>
                <a:srgbClr val="E840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778" name="Freeform 325">
                <a:extLst>
                  <a:ext uri="{FF2B5EF4-FFF2-40B4-BE49-F238E27FC236}">
                    <a16:creationId xmlns:a16="http://schemas.microsoft.com/office/drawing/2014/main" id="{5D07A847-4E6C-40B0-AF3E-B5DC90335916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51" y="2651"/>
                <a:ext cx="22" cy="28"/>
              </a:xfrm>
              <a:custGeom>
                <a:avLst/>
                <a:gdLst>
                  <a:gd name="T0" fmla="*/ 2 w 21"/>
                  <a:gd name="T1" fmla="*/ 12 h 27"/>
                  <a:gd name="T2" fmla="*/ 10 w 21"/>
                  <a:gd name="T3" fmla="*/ 18 h 27"/>
                  <a:gd name="T4" fmla="*/ 14 w 21"/>
                  <a:gd name="T5" fmla="*/ 18 h 27"/>
                  <a:gd name="T6" fmla="*/ 10 w 21"/>
                  <a:gd name="T7" fmla="*/ 0 h 27"/>
                  <a:gd name="T8" fmla="*/ 3 w 21"/>
                  <a:gd name="T9" fmla="*/ 8 h 27"/>
                  <a:gd name="T10" fmla="*/ 9 w 21"/>
                  <a:gd name="T11" fmla="*/ 20 h 27"/>
                  <a:gd name="T12" fmla="*/ 16 w 21"/>
                  <a:gd name="T13" fmla="*/ 10 h 27"/>
                  <a:gd name="T14" fmla="*/ 6 w 21"/>
                  <a:gd name="T15" fmla="*/ 11 h 27"/>
                  <a:gd name="T16" fmla="*/ 4 w 21"/>
                  <a:gd name="T17" fmla="*/ 24 h 27"/>
                  <a:gd name="T18" fmla="*/ 8 w 21"/>
                  <a:gd name="T19" fmla="*/ 26 h 27"/>
                  <a:gd name="T20" fmla="*/ 15 w 21"/>
                  <a:gd name="T21" fmla="*/ 25 h 27"/>
                  <a:gd name="T22" fmla="*/ 18 w 21"/>
                  <a:gd name="T23" fmla="*/ 19 h 27"/>
                  <a:gd name="T24" fmla="*/ 13 w 21"/>
                  <a:gd name="T25" fmla="*/ 13 h 27"/>
                  <a:gd name="T26" fmla="*/ 11 w 21"/>
                  <a:gd name="T27" fmla="*/ 12 h 27"/>
                  <a:gd name="T28" fmla="*/ 10 w 21"/>
                  <a:gd name="T29" fmla="*/ 24 h 27"/>
                  <a:gd name="T30" fmla="*/ 13 w 21"/>
                  <a:gd name="T31" fmla="*/ 22 h 27"/>
                  <a:gd name="T32" fmla="*/ 20 w 21"/>
                  <a:gd name="T33" fmla="*/ 17 h 27"/>
                  <a:gd name="T34" fmla="*/ 16 w 21"/>
                  <a:gd name="T35" fmla="*/ 10 h 27"/>
                  <a:gd name="T36" fmla="*/ 13 w 21"/>
                  <a:gd name="T37" fmla="*/ 8 h 27"/>
                  <a:gd name="T38" fmla="*/ 13 w 21"/>
                  <a:gd name="T39" fmla="*/ 8 h 27"/>
                  <a:gd name="T40" fmla="*/ 13 w 21"/>
                  <a:gd name="T41" fmla="*/ 9 h 27"/>
                  <a:gd name="T42" fmla="*/ 10 w 21"/>
                  <a:gd name="T43" fmla="*/ 10 h 27"/>
                  <a:gd name="T44" fmla="*/ 9 w 21"/>
                  <a:gd name="T45" fmla="*/ 9 h 27"/>
                  <a:gd name="T46" fmla="*/ 10 w 21"/>
                  <a:gd name="T47" fmla="*/ 10 h 27"/>
                  <a:gd name="T48" fmla="*/ 10 w 21"/>
                  <a:gd name="T49" fmla="*/ 10 h 27"/>
                  <a:gd name="T50" fmla="*/ 9 w 21"/>
                  <a:gd name="T51" fmla="*/ 13 h 27"/>
                  <a:gd name="T52" fmla="*/ 13 w 21"/>
                  <a:gd name="T53" fmla="*/ 12 h 27"/>
                  <a:gd name="T54" fmla="*/ 5 w 21"/>
                  <a:gd name="T55" fmla="*/ 9 h 27"/>
                  <a:gd name="T56" fmla="*/ 2 w 21"/>
                  <a:gd name="T57" fmla="*/ 12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21" h="27">
                    <a:moveTo>
                      <a:pt x="2" y="12"/>
                    </a:moveTo>
                    <a:cubicBezTo>
                      <a:pt x="5" y="14"/>
                      <a:pt x="7" y="16"/>
                      <a:pt x="10" y="18"/>
                    </a:cubicBezTo>
                    <a:cubicBezTo>
                      <a:pt x="11" y="19"/>
                      <a:pt x="13" y="19"/>
                      <a:pt x="14" y="18"/>
                    </a:cubicBezTo>
                    <a:cubicBezTo>
                      <a:pt x="21" y="14"/>
                      <a:pt x="19" y="0"/>
                      <a:pt x="10" y="0"/>
                    </a:cubicBezTo>
                    <a:cubicBezTo>
                      <a:pt x="6" y="1"/>
                      <a:pt x="3" y="4"/>
                      <a:pt x="3" y="8"/>
                    </a:cubicBezTo>
                    <a:cubicBezTo>
                      <a:pt x="3" y="13"/>
                      <a:pt x="6" y="16"/>
                      <a:pt x="9" y="20"/>
                    </a:cubicBezTo>
                    <a:cubicBezTo>
                      <a:pt x="11" y="17"/>
                      <a:pt x="14" y="13"/>
                      <a:pt x="16" y="10"/>
                    </a:cubicBezTo>
                    <a:cubicBezTo>
                      <a:pt x="12" y="9"/>
                      <a:pt x="9" y="10"/>
                      <a:pt x="6" y="11"/>
                    </a:cubicBezTo>
                    <a:cubicBezTo>
                      <a:pt x="0" y="13"/>
                      <a:pt x="0" y="21"/>
                      <a:pt x="4" y="24"/>
                    </a:cubicBezTo>
                    <a:cubicBezTo>
                      <a:pt x="6" y="25"/>
                      <a:pt x="7" y="25"/>
                      <a:pt x="8" y="26"/>
                    </a:cubicBezTo>
                    <a:cubicBezTo>
                      <a:pt x="10" y="27"/>
                      <a:pt x="13" y="27"/>
                      <a:pt x="15" y="25"/>
                    </a:cubicBezTo>
                    <a:cubicBezTo>
                      <a:pt x="17" y="24"/>
                      <a:pt x="18" y="22"/>
                      <a:pt x="18" y="19"/>
                    </a:cubicBezTo>
                    <a:cubicBezTo>
                      <a:pt x="18" y="18"/>
                      <a:pt x="14" y="13"/>
                      <a:pt x="13" y="13"/>
                    </a:cubicBezTo>
                    <a:cubicBezTo>
                      <a:pt x="12" y="12"/>
                      <a:pt x="12" y="12"/>
                      <a:pt x="11" y="12"/>
                    </a:cubicBezTo>
                    <a:cubicBezTo>
                      <a:pt x="11" y="16"/>
                      <a:pt x="10" y="20"/>
                      <a:pt x="10" y="24"/>
                    </a:cubicBezTo>
                    <a:cubicBezTo>
                      <a:pt x="8" y="25"/>
                      <a:pt x="15" y="22"/>
                      <a:pt x="13" y="22"/>
                    </a:cubicBezTo>
                    <a:cubicBezTo>
                      <a:pt x="16" y="23"/>
                      <a:pt x="19" y="20"/>
                      <a:pt x="20" y="17"/>
                    </a:cubicBezTo>
                    <a:cubicBezTo>
                      <a:pt x="20" y="15"/>
                      <a:pt x="19" y="11"/>
                      <a:pt x="16" y="10"/>
                    </a:cubicBezTo>
                    <a:cubicBezTo>
                      <a:pt x="14" y="9"/>
                      <a:pt x="14" y="9"/>
                      <a:pt x="13" y="8"/>
                    </a:cubicBezTo>
                    <a:cubicBezTo>
                      <a:pt x="13" y="7"/>
                      <a:pt x="13" y="7"/>
                      <a:pt x="13" y="8"/>
                    </a:cubicBezTo>
                    <a:cubicBezTo>
                      <a:pt x="13" y="8"/>
                      <a:pt x="13" y="8"/>
                      <a:pt x="13" y="9"/>
                    </a:cubicBezTo>
                    <a:cubicBezTo>
                      <a:pt x="12" y="10"/>
                      <a:pt x="11" y="10"/>
                      <a:pt x="10" y="10"/>
                    </a:cubicBezTo>
                    <a:cubicBezTo>
                      <a:pt x="9" y="9"/>
                      <a:pt x="9" y="9"/>
                      <a:pt x="9" y="9"/>
                    </a:cubicBezTo>
                    <a:cubicBezTo>
                      <a:pt x="9" y="9"/>
                      <a:pt x="9" y="9"/>
                      <a:pt x="10" y="10"/>
                    </a:cubicBezTo>
                    <a:cubicBezTo>
                      <a:pt x="9" y="9"/>
                      <a:pt x="10" y="11"/>
                      <a:pt x="10" y="10"/>
                    </a:cubicBezTo>
                    <a:cubicBezTo>
                      <a:pt x="10" y="11"/>
                      <a:pt x="9" y="12"/>
                      <a:pt x="9" y="13"/>
                    </a:cubicBezTo>
                    <a:cubicBezTo>
                      <a:pt x="10" y="12"/>
                      <a:pt x="12" y="12"/>
                      <a:pt x="13" y="12"/>
                    </a:cubicBezTo>
                    <a:cubicBezTo>
                      <a:pt x="10" y="11"/>
                      <a:pt x="8" y="10"/>
                      <a:pt x="5" y="9"/>
                    </a:cubicBezTo>
                    <a:cubicBezTo>
                      <a:pt x="3" y="8"/>
                      <a:pt x="0" y="11"/>
                      <a:pt x="2" y="12"/>
                    </a:cubicBezTo>
                    <a:close/>
                  </a:path>
                </a:pathLst>
              </a:custGeom>
              <a:solidFill>
                <a:srgbClr val="E840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779" name="Freeform 326">
                <a:extLst>
                  <a:ext uri="{FF2B5EF4-FFF2-40B4-BE49-F238E27FC236}">
                    <a16:creationId xmlns:a16="http://schemas.microsoft.com/office/drawing/2014/main" id="{2A8275B5-B728-41F5-B593-EA908A179566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347" y="2686"/>
                <a:ext cx="64" cy="132"/>
              </a:xfrm>
              <a:custGeom>
                <a:avLst/>
                <a:gdLst>
                  <a:gd name="T0" fmla="*/ 52 w 60"/>
                  <a:gd name="T1" fmla="*/ 88 h 125"/>
                  <a:gd name="T2" fmla="*/ 20 w 60"/>
                  <a:gd name="T3" fmla="*/ 26 h 125"/>
                  <a:gd name="T4" fmla="*/ 13 w 60"/>
                  <a:gd name="T5" fmla="*/ 31 h 125"/>
                  <a:gd name="T6" fmla="*/ 25 w 60"/>
                  <a:gd name="T7" fmla="*/ 51 h 125"/>
                  <a:gd name="T8" fmla="*/ 43 w 60"/>
                  <a:gd name="T9" fmla="*/ 85 h 125"/>
                  <a:gd name="T10" fmla="*/ 56 w 60"/>
                  <a:gd name="T11" fmla="*/ 80 h 125"/>
                  <a:gd name="T12" fmla="*/ 33 w 60"/>
                  <a:gd name="T13" fmla="*/ 42 h 125"/>
                  <a:gd name="T14" fmla="*/ 20 w 60"/>
                  <a:gd name="T15" fmla="*/ 49 h 125"/>
                  <a:gd name="T16" fmla="*/ 34 w 60"/>
                  <a:gd name="T17" fmla="*/ 81 h 125"/>
                  <a:gd name="T18" fmla="*/ 47 w 60"/>
                  <a:gd name="T19" fmla="*/ 75 h 125"/>
                  <a:gd name="T20" fmla="*/ 26 w 60"/>
                  <a:gd name="T21" fmla="*/ 10 h 125"/>
                  <a:gd name="T22" fmla="*/ 11 w 60"/>
                  <a:gd name="T23" fmla="*/ 13 h 125"/>
                  <a:gd name="T24" fmla="*/ 32 w 60"/>
                  <a:gd name="T25" fmla="*/ 78 h 125"/>
                  <a:gd name="T26" fmla="*/ 45 w 60"/>
                  <a:gd name="T27" fmla="*/ 72 h 125"/>
                  <a:gd name="T28" fmla="*/ 34 w 60"/>
                  <a:gd name="T29" fmla="*/ 44 h 125"/>
                  <a:gd name="T30" fmla="*/ 21 w 60"/>
                  <a:gd name="T31" fmla="*/ 51 h 125"/>
                  <a:gd name="T32" fmla="*/ 43 w 60"/>
                  <a:gd name="T33" fmla="*/ 84 h 125"/>
                  <a:gd name="T34" fmla="*/ 55 w 60"/>
                  <a:gd name="T35" fmla="*/ 78 h 125"/>
                  <a:gd name="T36" fmla="*/ 33 w 60"/>
                  <a:gd name="T37" fmla="*/ 38 h 125"/>
                  <a:gd name="T38" fmla="*/ 14 w 60"/>
                  <a:gd name="T39" fmla="*/ 17 h 125"/>
                  <a:gd name="T40" fmla="*/ 7 w 60"/>
                  <a:gd name="T41" fmla="*/ 22 h 125"/>
                  <a:gd name="T42" fmla="*/ 58 w 60"/>
                  <a:gd name="T43" fmla="*/ 94 h 125"/>
                  <a:gd name="T44" fmla="*/ 52 w 60"/>
                  <a:gd name="T45" fmla="*/ 88 h 1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60" h="125">
                    <a:moveTo>
                      <a:pt x="52" y="88"/>
                    </a:moveTo>
                    <a:cubicBezTo>
                      <a:pt x="39" y="98"/>
                      <a:pt x="17" y="35"/>
                      <a:pt x="20" y="26"/>
                    </a:cubicBezTo>
                    <a:cubicBezTo>
                      <a:pt x="18" y="28"/>
                      <a:pt x="16" y="29"/>
                      <a:pt x="13" y="31"/>
                    </a:cubicBezTo>
                    <a:cubicBezTo>
                      <a:pt x="18" y="31"/>
                      <a:pt x="23" y="48"/>
                      <a:pt x="25" y="51"/>
                    </a:cubicBezTo>
                    <a:cubicBezTo>
                      <a:pt x="30" y="63"/>
                      <a:pt x="35" y="75"/>
                      <a:pt x="43" y="85"/>
                    </a:cubicBezTo>
                    <a:cubicBezTo>
                      <a:pt x="48" y="92"/>
                      <a:pt x="58" y="88"/>
                      <a:pt x="56" y="80"/>
                    </a:cubicBezTo>
                    <a:cubicBezTo>
                      <a:pt x="52" y="66"/>
                      <a:pt x="41" y="54"/>
                      <a:pt x="33" y="42"/>
                    </a:cubicBezTo>
                    <a:cubicBezTo>
                      <a:pt x="28" y="35"/>
                      <a:pt x="18" y="42"/>
                      <a:pt x="20" y="49"/>
                    </a:cubicBezTo>
                    <a:cubicBezTo>
                      <a:pt x="24" y="61"/>
                      <a:pt x="27" y="71"/>
                      <a:pt x="34" y="81"/>
                    </a:cubicBezTo>
                    <a:cubicBezTo>
                      <a:pt x="38" y="88"/>
                      <a:pt x="48" y="82"/>
                      <a:pt x="47" y="75"/>
                    </a:cubicBezTo>
                    <a:cubicBezTo>
                      <a:pt x="42" y="53"/>
                      <a:pt x="32" y="32"/>
                      <a:pt x="26" y="10"/>
                    </a:cubicBezTo>
                    <a:cubicBezTo>
                      <a:pt x="23" y="0"/>
                      <a:pt x="8" y="3"/>
                      <a:pt x="11" y="13"/>
                    </a:cubicBezTo>
                    <a:cubicBezTo>
                      <a:pt x="17" y="34"/>
                      <a:pt x="27" y="56"/>
                      <a:pt x="32" y="78"/>
                    </a:cubicBezTo>
                    <a:cubicBezTo>
                      <a:pt x="36" y="76"/>
                      <a:pt x="41" y="74"/>
                      <a:pt x="45" y="72"/>
                    </a:cubicBezTo>
                    <a:cubicBezTo>
                      <a:pt x="40" y="63"/>
                      <a:pt x="37" y="54"/>
                      <a:pt x="34" y="44"/>
                    </a:cubicBezTo>
                    <a:cubicBezTo>
                      <a:pt x="30" y="46"/>
                      <a:pt x="25" y="49"/>
                      <a:pt x="21" y="51"/>
                    </a:cubicBezTo>
                    <a:cubicBezTo>
                      <a:pt x="29" y="61"/>
                      <a:pt x="40" y="72"/>
                      <a:pt x="43" y="84"/>
                    </a:cubicBezTo>
                    <a:cubicBezTo>
                      <a:pt x="47" y="82"/>
                      <a:pt x="51" y="80"/>
                      <a:pt x="55" y="78"/>
                    </a:cubicBezTo>
                    <a:cubicBezTo>
                      <a:pt x="46" y="66"/>
                      <a:pt x="40" y="52"/>
                      <a:pt x="33" y="38"/>
                    </a:cubicBezTo>
                    <a:cubicBezTo>
                      <a:pt x="29" y="29"/>
                      <a:pt x="25" y="19"/>
                      <a:pt x="14" y="17"/>
                    </a:cubicBezTo>
                    <a:cubicBezTo>
                      <a:pt x="11" y="17"/>
                      <a:pt x="8" y="20"/>
                      <a:pt x="7" y="22"/>
                    </a:cubicBezTo>
                    <a:cubicBezTo>
                      <a:pt x="0" y="42"/>
                      <a:pt x="39" y="125"/>
                      <a:pt x="58" y="94"/>
                    </a:cubicBezTo>
                    <a:cubicBezTo>
                      <a:pt x="60" y="90"/>
                      <a:pt x="55" y="85"/>
                      <a:pt x="52" y="88"/>
                    </a:cubicBezTo>
                    <a:close/>
                  </a:path>
                </a:pathLst>
              </a:custGeom>
              <a:solidFill>
                <a:srgbClr val="E840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780" name="Freeform 327">
                <a:extLst>
                  <a:ext uri="{FF2B5EF4-FFF2-40B4-BE49-F238E27FC236}">
                    <a16:creationId xmlns:a16="http://schemas.microsoft.com/office/drawing/2014/main" id="{359EB9D9-DAAF-45D7-9143-05C1B3BEE18D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16" y="2852"/>
                <a:ext cx="21" cy="27"/>
              </a:xfrm>
              <a:custGeom>
                <a:avLst/>
                <a:gdLst>
                  <a:gd name="T0" fmla="*/ 11 w 20"/>
                  <a:gd name="T1" fmla="*/ 20 h 26"/>
                  <a:gd name="T2" fmla="*/ 9 w 20"/>
                  <a:gd name="T3" fmla="*/ 12 h 26"/>
                  <a:gd name="T4" fmla="*/ 10 w 20"/>
                  <a:gd name="T5" fmla="*/ 10 h 26"/>
                  <a:gd name="T6" fmla="*/ 10 w 20"/>
                  <a:gd name="T7" fmla="*/ 10 h 26"/>
                  <a:gd name="T8" fmla="*/ 7 w 20"/>
                  <a:gd name="T9" fmla="*/ 11 h 26"/>
                  <a:gd name="T10" fmla="*/ 5 w 20"/>
                  <a:gd name="T11" fmla="*/ 10 h 26"/>
                  <a:gd name="T12" fmla="*/ 5 w 20"/>
                  <a:gd name="T13" fmla="*/ 10 h 26"/>
                  <a:gd name="T14" fmla="*/ 6 w 20"/>
                  <a:gd name="T15" fmla="*/ 11 h 26"/>
                  <a:gd name="T16" fmla="*/ 6 w 20"/>
                  <a:gd name="T17" fmla="*/ 12 h 26"/>
                  <a:gd name="T18" fmla="*/ 6 w 20"/>
                  <a:gd name="T19" fmla="*/ 12 h 26"/>
                  <a:gd name="T20" fmla="*/ 6 w 20"/>
                  <a:gd name="T21" fmla="*/ 13 h 26"/>
                  <a:gd name="T22" fmla="*/ 6 w 20"/>
                  <a:gd name="T23" fmla="*/ 13 h 26"/>
                  <a:gd name="T24" fmla="*/ 6 w 20"/>
                  <a:gd name="T25" fmla="*/ 13 h 26"/>
                  <a:gd name="T26" fmla="*/ 16 w 20"/>
                  <a:gd name="T27" fmla="*/ 10 h 26"/>
                  <a:gd name="T28" fmla="*/ 14 w 20"/>
                  <a:gd name="T29" fmla="*/ 9 h 26"/>
                  <a:gd name="T30" fmla="*/ 15 w 20"/>
                  <a:gd name="T31" fmla="*/ 12 h 26"/>
                  <a:gd name="T32" fmla="*/ 15 w 20"/>
                  <a:gd name="T33" fmla="*/ 13 h 26"/>
                  <a:gd name="T34" fmla="*/ 5 w 20"/>
                  <a:gd name="T35" fmla="*/ 16 h 26"/>
                  <a:gd name="T36" fmla="*/ 6 w 20"/>
                  <a:gd name="T37" fmla="*/ 16 h 26"/>
                  <a:gd name="T38" fmla="*/ 6 w 20"/>
                  <a:gd name="T39" fmla="*/ 16 h 26"/>
                  <a:gd name="T40" fmla="*/ 6 w 20"/>
                  <a:gd name="T41" fmla="*/ 17 h 26"/>
                  <a:gd name="T42" fmla="*/ 6 w 20"/>
                  <a:gd name="T43" fmla="*/ 18 h 26"/>
                  <a:gd name="T44" fmla="*/ 16 w 20"/>
                  <a:gd name="T45" fmla="*/ 12 h 26"/>
                  <a:gd name="T46" fmla="*/ 13 w 20"/>
                  <a:gd name="T47" fmla="*/ 11 h 26"/>
                  <a:gd name="T48" fmla="*/ 6 w 20"/>
                  <a:gd name="T49" fmla="*/ 15 h 26"/>
                  <a:gd name="T50" fmla="*/ 8 w 20"/>
                  <a:gd name="T51" fmla="*/ 23 h 26"/>
                  <a:gd name="T52" fmla="*/ 9 w 20"/>
                  <a:gd name="T53" fmla="*/ 24 h 26"/>
                  <a:gd name="T54" fmla="*/ 19 w 20"/>
                  <a:gd name="T55" fmla="*/ 18 h 26"/>
                  <a:gd name="T56" fmla="*/ 17 w 20"/>
                  <a:gd name="T57" fmla="*/ 9 h 26"/>
                  <a:gd name="T58" fmla="*/ 11 w 20"/>
                  <a:gd name="T59" fmla="*/ 5 h 26"/>
                  <a:gd name="T60" fmla="*/ 3 w 20"/>
                  <a:gd name="T61" fmla="*/ 9 h 26"/>
                  <a:gd name="T62" fmla="*/ 9 w 20"/>
                  <a:gd name="T63" fmla="*/ 21 h 26"/>
                  <a:gd name="T64" fmla="*/ 18 w 20"/>
                  <a:gd name="T65" fmla="*/ 17 h 26"/>
                  <a:gd name="T66" fmla="*/ 8 w 20"/>
                  <a:gd name="T67" fmla="*/ 0 h 26"/>
                  <a:gd name="T68" fmla="*/ 0 w 20"/>
                  <a:gd name="T69" fmla="*/ 9 h 26"/>
                  <a:gd name="T70" fmla="*/ 7 w 20"/>
                  <a:gd name="T71" fmla="*/ 22 h 26"/>
                  <a:gd name="T72" fmla="*/ 11 w 20"/>
                  <a:gd name="T73" fmla="*/ 20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20" h="26">
                    <a:moveTo>
                      <a:pt x="11" y="20"/>
                    </a:moveTo>
                    <a:cubicBezTo>
                      <a:pt x="9" y="18"/>
                      <a:pt x="9" y="15"/>
                      <a:pt x="9" y="12"/>
                    </a:cubicBezTo>
                    <a:cubicBezTo>
                      <a:pt x="9" y="11"/>
                      <a:pt x="10" y="11"/>
                      <a:pt x="10" y="10"/>
                    </a:cubicBezTo>
                    <a:cubicBezTo>
                      <a:pt x="10" y="10"/>
                      <a:pt x="10" y="10"/>
                      <a:pt x="10" y="10"/>
                    </a:cubicBezTo>
                    <a:cubicBezTo>
                      <a:pt x="9" y="10"/>
                      <a:pt x="8" y="11"/>
                      <a:pt x="7" y="11"/>
                    </a:cubicBezTo>
                    <a:cubicBezTo>
                      <a:pt x="6" y="11"/>
                      <a:pt x="6" y="11"/>
                      <a:pt x="5" y="10"/>
                    </a:cubicBezTo>
                    <a:cubicBezTo>
                      <a:pt x="5" y="10"/>
                      <a:pt x="5" y="11"/>
                      <a:pt x="5" y="10"/>
                    </a:cubicBezTo>
                    <a:cubicBezTo>
                      <a:pt x="5" y="10"/>
                      <a:pt x="5" y="11"/>
                      <a:pt x="6" y="11"/>
                    </a:cubicBezTo>
                    <a:cubicBezTo>
                      <a:pt x="5" y="10"/>
                      <a:pt x="6" y="12"/>
                      <a:pt x="6" y="12"/>
                    </a:cubicBezTo>
                    <a:cubicBezTo>
                      <a:pt x="6" y="13"/>
                      <a:pt x="6" y="11"/>
                      <a:pt x="6" y="12"/>
                    </a:cubicBezTo>
                    <a:cubicBezTo>
                      <a:pt x="6" y="13"/>
                      <a:pt x="6" y="13"/>
                      <a:pt x="6" y="13"/>
                    </a:cubicBezTo>
                    <a:cubicBezTo>
                      <a:pt x="6" y="13"/>
                      <a:pt x="6" y="12"/>
                      <a:pt x="6" y="13"/>
                    </a:cubicBezTo>
                    <a:cubicBezTo>
                      <a:pt x="6" y="14"/>
                      <a:pt x="7" y="11"/>
                      <a:pt x="6" y="13"/>
                    </a:cubicBezTo>
                    <a:cubicBezTo>
                      <a:pt x="9" y="12"/>
                      <a:pt x="12" y="11"/>
                      <a:pt x="16" y="10"/>
                    </a:cubicBezTo>
                    <a:cubicBezTo>
                      <a:pt x="15" y="10"/>
                      <a:pt x="14" y="9"/>
                      <a:pt x="14" y="9"/>
                    </a:cubicBezTo>
                    <a:cubicBezTo>
                      <a:pt x="14" y="10"/>
                      <a:pt x="15" y="11"/>
                      <a:pt x="15" y="12"/>
                    </a:cubicBezTo>
                    <a:cubicBezTo>
                      <a:pt x="15" y="12"/>
                      <a:pt x="15" y="13"/>
                      <a:pt x="15" y="13"/>
                    </a:cubicBezTo>
                    <a:cubicBezTo>
                      <a:pt x="12" y="14"/>
                      <a:pt x="8" y="15"/>
                      <a:pt x="5" y="16"/>
                    </a:cubicBezTo>
                    <a:cubicBezTo>
                      <a:pt x="6" y="16"/>
                      <a:pt x="6" y="16"/>
                      <a:pt x="6" y="16"/>
                    </a:cubicBezTo>
                    <a:cubicBezTo>
                      <a:pt x="7" y="17"/>
                      <a:pt x="5" y="17"/>
                      <a:pt x="6" y="16"/>
                    </a:cubicBezTo>
                    <a:cubicBezTo>
                      <a:pt x="6" y="17"/>
                      <a:pt x="6" y="17"/>
                      <a:pt x="6" y="17"/>
                    </a:cubicBezTo>
                    <a:cubicBezTo>
                      <a:pt x="6" y="16"/>
                      <a:pt x="6" y="18"/>
                      <a:pt x="6" y="18"/>
                    </a:cubicBezTo>
                    <a:cubicBezTo>
                      <a:pt x="9" y="16"/>
                      <a:pt x="13" y="14"/>
                      <a:pt x="16" y="12"/>
                    </a:cubicBezTo>
                    <a:cubicBezTo>
                      <a:pt x="15" y="12"/>
                      <a:pt x="14" y="11"/>
                      <a:pt x="13" y="11"/>
                    </a:cubicBezTo>
                    <a:cubicBezTo>
                      <a:pt x="10" y="10"/>
                      <a:pt x="7" y="12"/>
                      <a:pt x="6" y="15"/>
                    </a:cubicBezTo>
                    <a:cubicBezTo>
                      <a:pt x="4" y="18"/>
                      <a:pt x="5" y="21"/>
                      <a:pt x="8" y="23"/>
                    </a:cubicBezTo>
                    <a:cubicBezTo>
                      <a:pt x="5" y="20"/>
                      <a:pt x="8" y="23"/>
                      <a:pt x="9" y="24"/>
                    </a:cubicBezTo>
                    <a:cubicBezTo>
                      <a:pt x="14" y="26"/>
                      <a:pt x="19" y="23"/>
                      <a:pt x="19" y="18"/>
                    </a:cubicBezTo>
                    <a:cubicBezTo>
                      <a:pt x="20" y="15"/>
                      <a:pt x="19" y="11"/>
                      <a:pt x="17" y="9"/>
                    </a:cubicBezTo>
                    <a:cubicBezTo>
                      <a:pt x="15" y="7"/>
                      <a:pt x="13" y="6"/>
                      <a:pt x="11" y="5"/>
                    </a:cubicBezTo>
                    <a:cubicBezTo>
                      <a:pt x="8" y="3"/>
                      <a:pt x="4" y="6"/>
                      <a:pt x="3" y="9"/>
                    </a:cubicBezTo>
                    <a:cubicBezTo>
                      <a:pt x="1" y="14"/>
                      <a:pt x="5" y="18"/>
                      <a:pt x="9" y="21"/>
                    </a:cubicBezTo>
                    <a:cubicBezTo>
                      <a:pt x="12" y="22"/>
                      <a:pt x="16" y="20"/>
                      <a:pt x="18" y="17"/>
                    </a:cubicBezTo>
                    <a:cubicBezTo>
                      <a:pt x="20" y="11"/>
                      <a:pt x="15" y="0"/>
                      <a:pt x="8" y="0"/>
                    </a:cubicBezTo>
                    <a:cubicBezTo>
                      <a:pt x="3" y="0"/>
                      <a:pt x="0" y="5"/>
                      <a:pt x="0" y="9"/>
                    </a:cubicBezTo>
                    <a:cubicBezTo>
                      <a:pt x="1" y="15"/>
                      <a:pt x="3" y="19"/>
                      <a:pt x="7" y="22"/>
                    </a:cubicBezTo>
                    <a:cubicBezTo>
                      <a:pt x="9" y="24"/>
                      <a:pt x="11" y="22"/>
                      <a:pt x="11" y="20"/>
                    </a:cubicBezTo>
                    <a:close/>
                  </a:path>
                </a:pathLst>
              </a:custGeom>
              <a:solidFill>
                <a:srgbClr val="E840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781" name="Freeform 328">
                <a:extLst>
                  <a:ext uri="{FF2B5EF4-FFF2-40B4-BE49-F238E27FC236}">
                    <a16:creationId xmlns:a16="http://schemas.microsoft.com/office/drawing/2014/main" id="{256735D9-557A-4C87-A7A0-EA28B10D3177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76" y="2171"/>
                <a:ext cx="202" cy="806"/>
              </a:xfrm>
              <a:custGeom>
                <a:avLst/>
                <a:gdLst>
                  <a:gd name="T0" fmla="*/ 83 w 191"/>
                  <a:gd name="T1" fmla="*/ 3 h 761"/>
                  <a:gd name="T2" fmla="*/ 145 w 191"/>
                  <a:gd name="T3" fmla="*/ 81 h 761"/>
                  <a:gd name="T4" fmla="*/ 172 w 191"/>
                  <a:gd name="T5" fmla="*/ 189 h 761"/>
                  <a:gd name="T6" fmla="*/ 170 w 191"/>
                  <a:gd name="T7" fmla="*/ 289 h 761"/>
                  <a:gd name="T8" fmla="*/ 111 w 191"/>
                  <a:gd name="T9" fmla="*/ 381 h 761"/>
                  <a:gd name="T10" fmla="*/ 72 w 191"/>
                  <a:gd name="T11" fmla="*/ 451 h 761"/>
                  <a:gd name="T12" fmla="*/ 50 w 191"/>
                  <a:gd name="T13" fmla="*/ 545 h 761"/>
                  <a:gd name="T14" fmla="*/ 1 w 191"/>
                  <a:gd name="T15" fmla="*/ 751 h 761"/>
                  <a:gd name="T16" fmla="*/ 11 w 191"/>
                  <a:gd name="T17" fmla="*/ 754 h 761"/>
                  <a:gd name="T18" fmla="*/ 35 w 191"/>
                  <a:gd name="T19" fmla="*/ 646 h 761"/>
                  <a:gd name="T20" fmla="*/ 63 w 191"/>
                  <a:gd name="T21" fmla="*/ 538 h 761"/>
                  <a:gd name="T22" fmla="*/ 77 w 191"/>
                  <a:gd name="T23" fmla="*/ 482 h 761"/>
                  <a:gd name="T24" fmla="*/ 87 w 191"/>
                  <a:gd name="T25" fmla="*/ 438 h 761"/>
                  <a:gd name="T26" fmla="*/ 154 w 191"/>
                  <a:gd name="T27" fmla="*/ 347 h 761"/>
                  <a:gd name="T28" fmla="*/ 179 w 191"/>
                  <a:gd name="T29" fmla="*/ 167 h 761"/>
                  <a:gd name="T30" fmla="*/ 145 w 191"/>
                  <a:gd name="T31" fmla="*/ 69 h 761"/>
                  <a:gd name="T32" fmla="*/ 85 w 191"/>
                  <a:gd name="T33" fmla="*/ 1 h 761"/>
                  <a:gd name="T34" fmla="*/ 83 w 191"/>
                  <a:gd name="T35" fmla="*/ 3 h 7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91" h="761">
                    <a:moveTo>
                      <a:pt x="83" y="3"/>
                    </a:moveTo>
                    <a:cubicBezTo>
                      <a:pt x="109" y="25"/>
                      <a:pt x="131" y="50"/>
                      <a:pt x="145" y="81"/>
                    </a:cubicBezTo>
                    <a:cubicBezTo>
                      <a:pt x="159" y="114"/>
                      <a:pt x="170" y="153"/>
                      <a:pt x="172" y="189"/>
                    </a:cubicBezTo>
                    <a:cubicBezTo>
                      <a:pt x="174" y="222"/>
                      <a:pt x="177" y="257"/>
                      <a:pt x="170" y="289"/>
                    </a:cubicBezTo>
                    <a:cubicBezTo>
                      <a:pt x="162" y="326"/>
                      <a:pt x="135" y="354"/>
                      <a:pt x="111" y="381"/>
                    </a:cubicBezTo>
                    <a:cubicBezTo>
                      <a:pt x="93" y="402"/>
                      <a:pt x="79" y="424"/>
                      <a:pt x="72" y="451"/>
                    </a:cubicBezTo>
                    <a:cubicBezTo>
                      <a:pt x="64" y="482"/>
                      <a:pt x="58" y="514"/>
                      <a:pt x="50" y="545"/>
                    </a:cubicBezTo>
                    <a:cubicBezTo>
                      <a:pt x="32" y="614"/>
                      <a:pt x="15" y="682"/>
                      <a:pt x="1" y="751"/>
                    </a:cubicBezTo>
                    <a:cubicBezTo>
                      <a:pt x="0" y="758"/>
                      <a:pt x="9" y="761"/>
                      <a:pt x="11" y="754"/>
                    </a:cubicBezTo>
                    <a:cubicBezTo>
                      <a:pt x="20" y="718"/>
                      <a:pt x="26" y="682"/>
                      <a:pt x="35" y="646"/>
                    </a:cubicBezTo>
                    <a:cubicBezTo>
                      <a:pt x="44" y="609"/>
                      <a:pt x="54" y="574"/>
                      <a:pt x="63" y="538"/>
                    </a:cubicBezTo>
                    <a:cubicBezTo>
                      <a:pt x="68" y="519"/>
                      <a:pt x="73" y="501"/>
                      <a:pt x="77" y="482"/>
                    </a:cubicBezTo>
                    <a:cubicBezTo>
                      <a:pt x="80" y="467"/>
                      <a:pt x="82" y="452"/>
                      <a:pt x="87" y="438"/>
                    </a:cubicBezTo>
                    <a:cubicBezTo>
                      <a:pt x="101" y="402"/>
                      <a:pt x="133" y="378"/>
                      <a:pt x="154" y="347"/>
                    </a:cubicBezTo>
                    <a:cubicBezTo>
                      <a:pt x="190" y="295"/>
                      <a:pt x="191" y="227"/>
                      <a:pt x="179" y="167"/>
                    </a:cubicBezTo>
                    <a:cubicBezTo>
                      <a:pt x="173" y="134"/>
                      <a:pt x="161" y="98"/>
                      <a:pt x="145" y="69"/>
                    </a:cubicBezTo>
                    <a:cubicBezTo>
                      <a:pt x="131" y="42"/>
                      <a:pt x="109" y="20"/>
                      <a:pt x="85" y="1"/>
                    </a:cubicBezTo>
                    <a:cubicBezTo>
                      <a:pt x="84" y="0"/>
                      <a:pt x="82" y="2"/>
                      <a:pt x="83" y="3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782" name="Freeform 329">
                <a:extLst>
                  <a:ext uri="{FF2B5EF4-FFF2-40B4-BE49-F238E27FC236}">
                    <a16:creationId xmlns:a16="http://schemas.microsoft.com/office/drawing/2014/main" id="{9D3B1102-C7AB-4752-9E7C-8000D7206B44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0" y="2961"/>
                <a:ext cx="519" cy="436"/>
              </a:xfrm>
              <a:custGeom>
                <a:avLst/>
                <a:gdLst>
                  <a:gd name="T0" fmla="*/ 455 w 490"/>
                  <a:gd name="T1" fmla="*/ 3 h 412"/>
                  <a:gd name="T2" fmla="*/ 474 w 490"/>
                  <a:gd name="T3" fmla="*/ 94 h 412"/>
                  <a:gd name="T4" fmla="*/ 472 w 490"/>
                  <a:gd name="T5" fmla="*/ 215 h 412"/>
                  <a:gd name="T6" fmla="*/ 435 w 490"/>
                  <a:gd name="T7" fmla="*/ 311 h 412"/>
                  <a:gd name="T8" fmla="*/ 350 w 490"/>
                  <a:gd name="T9" fmla="*/ 375 h 412"/>
                  <a:gd name="T10" fmla="*/ 230 w 490"/>
                  <a:gd name="T11" fmla="*/ 393 h 412"/>
                  <a:gd name="T12" fmla="*/ 136 w 490"/>
                  <a:gd name="T13" fmla="*/ 353 h 412"/>
                  <a:gd name="T14" fmla="*/ 56 w 490"/>
                  <a:gd name="T15" fmla="*/ 281 h 412"/>
                  <a:gd name="T16" fmla="*/ 9 w 490"/>
                  <a:gd name="T17" fmla="*/ 191 h 412"/>
                  <a:gd name="T18" fmla="*/ 2 w 490"/>
                  <a:gd name="T19" fmla="*/ 195 h 412"/>
                  <a:gd name="T20" fmla="*/ 89 w 490"/>
                  <a:gd name="T21" fmla="*/ 333 h 412"/>
                  <a:gd name="T22" fmla="*/ 162 w 490"/>
                  <a:gd name="T23" fmla="*/ 376 h 412"/>
                  <a:gd name="T24" fmla="*/ 242 w 490"/>
                  <a:gd name="T25" fmla="*/ 403 h 412"/>
                  <a:gd name="T26" fmla="*/ 401 w 490"/>
                  <a:gd name="T27" fmla="*/ 353 h 412"/>
                  <a:gd name="T28" fmla="*/ 480 w 490"/>
                  <a:gd name="T29" fmla="*/ 209 h 412"/>
                  <a:gd name="T30" fmla="*/ 484 w 490"/>
                  <a:gd name="T31" fmla="*/ 107 h 412"/>
                  <a:gd name="T32" fmla="*/ 460 w 490"/>
                  <a:gd name="T33" fmla="*/ 2 h 412"/>
                  <a:gd name="T34" fmla="*/ 455 w 490"/>
                  <a:gd name="T35" fmla="*/ 3 h 4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490" h="412">
                    <a:moveTo>
                      <a:pt x="455" y="3"/>
                    </a:moveTo>
                    <a:cubicBezTo>
                      <a:pt x="456" y="34"/>
                      <a:pt x="467" y="64"/>
                      <a:pt x="474" y="94"/>
                    </a:cubicBezTo>
                    <a:cubicBezTo>
                      <a:pt x="484" y="136"/>
                      <a:pt x="483" y="174"/>
                      <a:pt x="472" y="215"/>
                    </a:cubicBezTo>
                    <a:cubicBezTo>
                      <a:pt x="463" y="248"/>
                      <a:pt x="454" y="283"/>
                      <a:pt x="435" y="311"/>
                    </a:cubicBezTo>
                    <a:cubicBezTo>
                      <a:pt x="415" y="341"/>
                      <a:pt x="382" y="360"/>
                      <a:pt x="350" y="375"/>
                    </a:cubicBezTo>
                    <a:cubicBezTo>
                      <a:pt x="312" y="392"/>
                      <a:pt x="272" y="403"/>
                      <a:pt x="230" y="393"/>
                    </a:cubicBezTo>
                    <a:cubicBezTo>
                      <a:pt x="197" y="384"/>
                      <a:pt x="166" y="369"/>
                      <a:pt x="136" y="353"/>
                    </a:cubicBezTo>
                    <a:cubicBezTo>
                      <a:pt x="103" y="336"/>
                      <a:pt x="76" y="313"/>
                      <a:pt x="56" y="281"/>
                    </a:cubicBezTo>
                    <a:cubicBezTo>
                      <a:pt x="37" y="253"/>
                      <a:pt x="26" y="221"/>
                      <a:pt x="9" y="191"/>
                    </a:cubicBezTo>
                    <a:cubicBezTo>
                      <a:pt x="7" y="187"/>
                      <a:pt x="0" y="190"/>
                      <a:pt x="2" y="195"/>
                    </a:cubicBezTo>
                    <a:cubicBezTo>
                      <a:pt x="20" y="244"/>
                      <a:pt x="48" y="299"/>
                      <a:pt x="89" y="333"/>
                    </a:cubicBezTo>
                    <a:cubicBezTo>
                      <a:pt x="111" y="352"/>
                      <a:pt x="136" y="364"/>
                      <a:pt x="162" y="376"/>
                    </a:cubicBezTo>
                    <a:cubicBezTo>
                      <a:pt x="188" y="387"/>
                      <a:pt x="214" y="399"/>
                      <a:pt x="242" y="403"/>
                    </a:cubicBezTo>
                    <a:cubicBezTo>
                      <a:pt x="297" y="412"/>
                      <a:pt x="357" y="384"/>
                      <a:pt x="401" y="353"/>
                    </a:cubicBezTo>
                    <a:cubicBezTo>
                      <a:pt x="449" y="320"/>
                      <a:pt x="467" y="264"/>
                      <a:pt x="480" y="209"/>
                    </a:cubicBezTo>
                    <a:cubicBezTo>
                      <a:pt x="489" y="175"/>
                      <a:pt x="490" y="142"/>
                      <a:pt x="484" y="107"/>
                    </a:cubicBezTo>
                    <a:cubicBezTo>
                      <a:pt x="477" y="72"/>
                      <a:pt x="466" y="38"/>
                      <a:pt x="460" y="2"/>
                    </a:cubicBezTo>
                    <a:cubicBezTo>
                      <a:pt x="459" y="0"/>
                      <a:pt x="455" y="0"/>
                      <a:pt x="455" y="3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783" name="Freeform 330">
                <a:extLst>
                  <a:ext uri="{FF2B5EF4-FFF2-40B4-BE49-F238E27FC236}">
                    <a16:creationId xmlns:a16="http://schemas.microsoft.com/office/drawing/2014/main" id="{27836188-7C08-4685-9723-1ADAD8CA1EBF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31" y="2151"/>
                <a:ext cx="21" cy="14"/>
              </a:xfrm>
              <a:custGeom>
                <a:avLst/>
                <a:gdLst>
                  <a:gd name="T0" fmla="*/ 6 w 20"/>
                  <a:gd name="T1" fmla="*/ 11 h 13"/>
                  <a:gd name="T2" fmla="*/ 17 w 20"/>
                  <a:gd name="T3" fmla="*/ 6 h 13"/>
                  <a:gd name="T4" fmla="*/ 15 w 20"/>
                  <a:gd name="T5" fmla="*/ 1 h 13"/>
                  <a:gd name="T6" fmla="*/ 3 w 20"/>
                  <a:gd name="T7" fmla="*/ 7 h 13"/>
                  <a:gd name="T8" fmla="*/ 6 w 20"/>
                  <a:gd name="T9" fmla="*/ 11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0" h="13">
                    <a:moveTo>
                      <a:pt x="6" y="11"/>
                    </a:moveTo>
                    <a:cubicBezTo>
                      <a:pt x="9" y="9"/>
                      <a:pt x="13" y="7"/>
                      <a:pt x="17" y="6"/>
                    </a:cubicBezTo>
                    <a:cubicBezTo>
                      <a:pt x="20" y="5"/>
                      <a:pt x="18" y="0"/>
                      <a:pt x="15" y="1"/>
                    </a:cubicBezTo>
                    <a:cubicBezTo>
                      <a:pt x="11" y="3"/>
                      <a:pt x="6" y="5"/>
                      <a:pt x="3" y="7"/>
                    </a:cubicBezTo>
                    <a:cubicBezTo>
                      <a:pt x="0" y="9"/>
                      <a:pt x="3" y="13"/>
                      <a:pt x="6" y="11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784" name="Freeform 331">
                <a:extLst>
                  <a:ext uri="{FF2B5EF4-FFF2-40B4-BE49-F238E27FC236}">
                    <a16:creationId xmlns:a16="http://schemas.microsoft.com/office/drawing/2014/main" id="{F381D61F-D284-4A02-A5CF-59AB6B593C9D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21" y="2141"/>
                <a:ext cx="17" cy="16"/>
              </a:xfrm>
              <a:custGeom>
                <a:avLst/>
                <a:gdLst>
                  <a:gd name="T0" fmla="*/ 7 w 16"/>
                  <a:gd name="T1" fmla="*/ 12 h 15"/>
                  <a:gd name="T2" fmla="*/ 11 w 16"/>
                  <a:gd name="T3" fmla="*/ 9 h 15"/>
                  <a:gd name="T4" fmla="*/ 14 w 16"/>
                  <a:gd name="T5" fmla="*/ 7 h 15"/>
                  <a:gd name="T6" fmla="*/ 11 w 16"/>
                  <a:gd name="T7" fmla="*/ 2 h 15"/>
                  <a:gd name="T8" fmla="*/ 2 w 16"/>
                  <a:gd name="T9" fmla="*/ 9 h 15"/>
                  <a:gd name="T10" fmla="*/ 7 w 16"/>
                  <a:gd name="T11" fmla="*/ 12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6" h="15">
                    <a:moveTo>
                      <a:pt x="7" y="12"/>
                    </a:moveTo>
                    <a:cubicBezTo>
                      <a:pt x="8" y="11"/>
                      <a:pt x="9" y="10"/>
                      <a:pt x="11" y="9"/>
                    </a:cubicBezTo>
                    <a:cubicBezTo>
                      <a:pt x="12" y="8"/>
                      <a:pt x="13" y="8"/>
                      <a:pt x="14" y="7"/>
                    </a:cubicBezTo>
                    <a:cubicBezTo>
                      <a:pt x="16" y="4"/>
                      <a:pt x="14" y="0"/>
                      <a:pt x="11" y="2"/>
                    </a:cubicBezTo>
                    <a:cubicBezTo>
                      <a:pt x="7" y="4"/>
                      <a:pt x="4" y="6"/>
                      <a:pt x="2" y="9"/>
                    </a:cubicBezTo>
                    <a:cubicBezTo>
                      <a:pt x="0" y="12"/>
                      <a:pt x="5" y="15"/>
                      <a:pt x="7" y="12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785" name="Freeform 332">
                <a:extLst>
                  <a:ext uri="{FF2B5EF4-FFF2-40B4-BE49-F238E27FC236}">
                    <a16:creationId xmlns:a16="http://schemas.microsoft.com/office/drawing/2014/main" id="{1CF31BC0-784E-4719-BDB5-CA6AD302EB0A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98" y="2132"/>
                <a:ext cx="13" cy="12"/>
              </a:xfrm>
              <a:custGeom>
                <a:avLst/>
                <a:gdLst>
                  <a:gd name="T0" fmla="*/ 4 w 12"/>
                  <a:gd name="T1" fmla="*/ 10 h 11"/>
                  <a:gd name="T2" fmla="*/ 11 w 12"/>
                  <a:gd name="T3" fmla="*/ 3 h 11"/>
                  <a:gd name="T4" fmla="*/ 10 w 12"/>
                  <a:gd name="T5" fmla="*/ 1 h 11"/>
                  <a:gd name="T6" fmla="*/ 2 w 12"/>
                  <a:gd name="T7" fmla="*/ 7 h 11"/>
                  <a:gd name="T8" fmla="*/ 4 w 12"/>
                  <a:gd name="T9" fmla="*/ 10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" h="11">
                    <a:moveTo>
                      <a:pt x="4" y="10"/>
                    </a:moveTo>
                    <a:cubicBezTo>
                      <a:pt x="6" y="7"/>
                      <a:pt x="9" y="5"/>
                      <a:pt x="11" y="3"/>
                    </a:cubicBezTo>
                    <a:cubicBezTo>
                      <a:pt x="12" y="2"/>
                      <a:pt x="11" y="0"/>
                      <a:pt x="10" y="1"/>
                    </a:cubicBezTo>
                    <a:cubicBezTo>
                      <a:pt x="7" y="3"/>
                      <a:pt x="4" y="5"/>
                      <a:pt x="2" y="7"/>
                    </a:cubicBezTo>
                    <a:cubicBezTo>
                      <a:pt x="0" y="8"/>
                      <a:pt x="2" y="11"/>
                      <a:pt x="4" y="10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786" name="Freeform 333">
                <a:extLst>
                  <a:ext uri="{FF2B5EF4-FFF2-40B4-BE49-F238E27FC236}">
                    <a16:creationId xmlns:a16="http://schemas.microsoft.com/office/drawing/2014/main" id="{FD5D8ED7-0D75-437A-A7AA-9536B8D958FE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-2" y="2098"/>
                <a:ext cx="486" cy="1074"/>
              </a:xfrm>
              <a:custGeom>
                <a:avLst/>
                <a:gdLst>
                  <a:gd name="T0" fmla="*/ 458 w 459"/>
                  <a:gd name="T1" fmla="*/ 27 h 1014"/>
                  <a:gd name="T2" fmla="*/ 357 w 459"/>
                  <a:gd name="T3" fmla="*/ 7 h 1014"/>
                  <a:gd name="T4" fmla="*/ 248 w 459"/>
                  <a:gd name="T5" fmla="*/ 33 h 1014"/>
                  <a:gd name="T6" fmla="*/ 177 w 459"/>
                  <a:gd name="T7" fmla="*/ 94 h 1014"/>
                  <a:gd name="T8" fmla="*/ 144 w 459"/>
                  <a:gd name="T9" fmla="*/ 200 h 1014"/>
                  <a:gd name="T10" fmla="*/ 96 w 459"/>
                  <a:gd name="T11" fmla="*/ 457 h 1014"/>
                  <a:gd name="T12" fmla="*/ 38 w 459"/>
                  <a:gd name="T13" fmla="*/ 722 h 1014"/>
                  <a:gd name="T14" fmla="*/ 12 w 459"/>
                  <a:gd name="T15" fmla="*/ 867 h 1014"/>
                  <a:gd name="T16" fmla="*/ 6 w 459"/>
                  <a:gd name="T17" fmla="*/ 1008 h 1014"/>
                  <a:gd name="T18" fmla="*/ 15 w 459"/>
                  <a:gd name="T19" fmla="*/ 1008 h 1014"/>
                  <a:gd name="T20" fmla="*/ 40 w 459"/>
                  <a:gd name="T21" fmla="*/ 758 h 1014"/>
                  <a:gd name="T22" fmla="*/ 94 w 459"/>
                  <a:gd name="T23" fmla="*/ 512 h 1014"/>
                  <a:gd name="T24" fmla="*/ 137 w 459"/>
                  <a:gd name="T25" fmla="*/ 273 h 1014"/>
                  <a:gd name="T26" fmla="*/ 162 w 459"/>
                  <a:gd name="T27" fmla="*/ 158 h 1014"/>
                  <a:gd name="T28" fmla="*/ 218 w 459"/>
                  <a:gd name="T29" fmla="*/ 60 h 1014"/>
                  <a:gd name="T30" fmla="*/ 458 w 459"/>
                  <a:gd name="T31" fmla="*/ 28 h 1014"/>
                  <a:gd name="T32" fmla="*/ 458 w 459"/>
                  <a:gd name="T33" fmla="*/ 27 h 10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459" h="1014">
                    <a:moveTo>
                      <a:pt x="458" y="27"/>
                    </a:moveTo>
                    <a:cubicBezTo>
                      <a:pt x="429" y="9"/>
                      <a:pt x="390" y="7"/>
                      <a:pt x="357" y="7"/>
                    </a:cubicBezTo>
                    <a:cubicBezTo>
                      <a:pt x="319" y="6"/>
                      <a:pt x="283" y="16"/>
                      <a:pt x="248" y="33"/>
                    </a:cubicBezTo>
                    <a:cubicBezTo>
                      <a:pt x="220" y="46"/>
                      <a:pt x="193" y="66"/>
                      <a:pt x="177" y="94"/>
                    </a:cubicBezTo>
                    <a:cubicBezTo>
                      <a:pt x="158" y="126"/>
                      <a:pt x="151" y="164"/>
                      <a:pt x="144" y="200"/>
                    </a:cubicBezTo>
                    <a:cubicBezTo>
                      <a:pt x="125" y="285"/>
                      <a:pt x="113" y="371"/>
                      <a:pt x="96" y="457"/>
                    </a:cubicBezTo>
                    <a:cubicBezTo>
                      <a:pt x="78" y="545"/>
                      <a:pt x="57" y="633"/>
                      <a:pt x="38" y="722"/>
                    </a:cubicBezTo>
                    <a:cubicBezTo>
                      <a:pt x="28" y="770"/>
                      <a:pt x="20" y="818"/>
                      <a:pt x="12" y="867"/>
                    </a:cubicBezTo>
                    <a:cubicBezTo>
                      <a:pt x="5" y="915"/>
                      <a:pt x="0" y="960"/>
                      <a:pt x="6" y="1008"/>
                    </a:cubicBezTo>
                    <a:cubicBezTo>
                      <a:pt x="6" y="1014"/>
                      <a:pt x="15" y="1014"/>
                      <a:pt x="15" y="1008"/>
                    </a:cubicBezTo>
                    <a:cubicBezTo>
                      <a:pt x="5" y="925"/>
                      <a:pt x="24" y="840"/>
                      <a:pt x="40" y="758"/>
                    </a:cubicBezTo>
                    <a:cubicBezTo>
                      <a:pt x="56" y="676"/>
                      <a:pt x="77" y="594"/>
                      <a:pt x="94" y="512"/>
                    </a:cubicBezTo>
                    <a:cubicBezTo>
                      <a:pt x="110" y="433"/>
                      <a:pt x="123" y="353"/>
                      <a:pt x="137" y="273"/>
                    </a:cubicBezTo>
                    <a:cubicBezTo>
                      <a:pt x="144" y="234"/>
                      <a:pt x="152" y="196"/>
                      <a:pt x="162" y="158"/>
                    </a:cubicBezTo>
                    <a:cubicBezTo>
                      <a:pt x="172" y="119"/>
                      <a:pt x="185" y="85"/>
                      <a:pt x="218" y="60"/>
                    </a:cubicBezTo>
                    <a:cubicBezTo>
                      <a:pt x="284" y="10"/>
                      <a:pt x="381" y="0"/>
                      <a:pt x="458" y="28"/>
                    </a:cubicBezTo>
                    <a:cubicBezTo>
                      <a:pt x="459" y="29"/>
                      <a:pt x="459" y="27"/>
                      <a:pt x="458" y="27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787" name="Freeform 334">
                <a:extLst>
                  <a:ext uri="{FF2B5EF4-FFF2-40B4-BE49-F238E27FC236}">
                    <a16:creationId xmlns:a16="http://schemas.microsoft.com/office/drawing/2014/main" id="{036FC005-0EB5-4032-AC30-A063FCF06CEB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12" y="2072"/>
                <a:ext cx="517" cy="911"/>
              </a:xfrm>
              <a:custGeom>
                <a:avLst/>
                <a:gdLst>
                  <a:gd name="T0" fmla="*/ 1 w 488"/>
                  <a:gd name="T1" fmla="*/ 90 h 861"/>
                  <a:gd name="T2" fmla="*/ 104 w 488"/>
                  <a:gd name="T3" fmla="*/ 27 h 861"/>
                  <a:gd name="T4" fmla="*/ 218 w 488"/>
                  <a:gd name="T5" fmla="*/ 14 h 861"/>
                  <a:gd name="T6" fmla="*/ 424 w 488"/>
                  <a:gd name="T7" fmla="*/ 134 h 861"/>
                  <a:gd name="T8" fmla="*/ 464 w 488"/>
                  <a:gd name="T9" fmla="*/ 371 h 861"/>
                  <a:gd name="T10" fmla="*/ 403 w 488"/>
                  <a:gd name="T11" fmla="*/ 483 h 861"/>
                  <a:gd name="T12" fmla="*/ 359 w 488"/>
                  <a:gd name="T13" fmla="*/ 569 h 861"/>
                  <a:gd name="T14" fmla="*/ 296 w 488"/>
                  <a:gd name="T15" fmla="*/ 855 h 861"/>
                  <a:gd name="T16" fmla="*/ 303 w 488"/>
                  <a:gd name="T17" fmla="*/ 856 h 861"/>
                  <a:gd name="T18" fmla="*/ 365 w 488"/>
                  <a:gd name="T19" fmla="*/ 577 h 861"/>
                  <a:gd name="T20" fmla="*/ 388 w 488"/>
                  <a:gd name="T21" fmla="*/ 515 h 861"/>
                  <a:gd name="T22" fmla="*/ 426 w 488"/>
                  <a:gd name="T23" fmla="*/ 466 h 861"/>
                  <a:gd name="T24" fmla="*/ 472 w 488"/>
                  <a:gd name="T25" fmla="*/ 365 h 861"/>
                  <a:gd name="T26" fmla="*/ 431 w 488"/>
                  <a:gd name="T27" fmla="*/ 131 h 861"/>
                  <a:gd name="T28" fmla="*/ 247 w 488"/>
                  <a:gd name="T29" fmla="*/ 10 h 861"/>
                  <a:gd name="T30" fmla="*/ 121 w 488"/>
                  <a:gd name="T31" fmla="*/ 13 h 861"/>
                  <a:gd name="T32" fmla="*/ 0 w 488"/>
                  <a:gd name="T33" fmla="*/ 89 h 861"/>
                  <a:gd name="T34" fmla="*/ 1 w 488"/>
                  <a:gd name="T35" fmla="*/ 90 h 8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488" h="861">
                    <a:moveTo>
                      <a:pt x="1" y="90"/>
                    </a:moveTo>
                    <a:cubicBezTo>
                      <a:pt x="37" y="72"/>
                      <a:pt x="66" y="43"/>
                      <a:pt x="104" y="27"/>
                    </a:cubicBezTo>
                    <a:cubicBezTo>
                      <a:pt x="141" y="12"/>
                      <a:pt x="179" y="10"/>
                      <a:pt x="218" y="14"/>
                    </a:cubicBezTo>
                    <a:cubicBezTo>
                      <a:pt x="302" y="22"/>
                      <a:pt x="378" y="63"/>
                      <a:pt x="424" y="134"/>
                    </a:cubicBezTo>
                    <a:cubicBezTo>
                      <a:pt x="468" y="204"/>
                      <a:pt x="480" y="290"/>
                      <a:pt x="464" y="371"/>
                    </a:cubicBezTo>
                    <a:cubicBezTo>
                      <a:pt x="455" y="413"/>
                      <a:pt x="430" y="450"/>
                      <a:pt x="403" y="483"/>
                    </a:cubicBezTo>
                    <a:cubicBezTo>
                      <a:pt x="381" y="510"/>
                      <a:pt x="367" y="535"/>
                      <a:pt x="359" y="569"/>
                    </a:cubicBezTo>
                    <a:cubicBezTo>
                      <a:pt x="337" y="664"/>
                      <a:pt x="315" y="759"/>
                      <a:pt x="296" y="855"/>
                    </a:cubicBezTo>
                    <a:cubicBezTo>
                      <a:pt x="295" y="860"/>
                      <a:pt x="302" y="861"/>
                      <a:pt x="303" y="856"/>
                    </a:cubicBezTo>
                    <a:cubicBezTo>
                      <a:pt x="322" y="762"/>
                      <a:pt x="344" y="670"/>
                      <a:pt x="365" y="577"/>
                    </a:cubicBezTo>
                    <a:cubicBezTo>
                      <a:pt x="370" y="554"/>
                      <a:pt x="375" y="534"/>
                      <a:pt x="388" y="515"/>
                    </a:cubicBezTo>
                    <a:cubicBezTo>
                      <a:pt x="400" y="498"/>
                      <a:pt x="413" y="483"/>
                      <a:pt x="426" y="466"/>
                    </a:cubicBezTo>
                    <a:cubicBezTo>
                      <a:pt x="448" y="435"/>
                      <a:pt x="465" y="402"/>
                      <a:pt x="472" y="365"/>
                    </a:cubicBezTo>
                    <a:cubicBezTo>
                      <a:pt x="488" y="285"/>
                      <a:pt x="476" y="199"/>
                      <a:pt x="431" y="131"/>
                    </a:cubicBezTo>
                    <a:cubicBezTo>
                      <a:pt x="389" y="65"/>
                      <a:pt x="324" y="24"/>
                      <a:pt x="247" y="10"/>
                    </a:cubicBezTo>
                    <a:cubicBezTo>
                      <a:pt x="206" y="2"/>
                      <a:pt x="161" y="0"/>
                      <a:pt x="121" y="13"/>
                    </a:cubicBezTo>
                    <a:cubicBezTo>
                      <a:pt x="78" y="26"/>
                      <a:pt x="31" y="56"/>
                      <a:pt x="0" y="89"/>
                    </a:cubicBezTo>
                    <a:cubicBezTo>
                      <a:pt x="0" y="89"/>
                      <a:pt x="0" y="90"/>
                      <a:pt x="1" y="90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788" name="Freeform 335">
                <a:extLst>
                  <a:ext uri="{FF2B5EF4-FFF2-40B4-BE49-F238E27FC236}">
                    <a16:creationId xmlns:a16="http://schemas.microsoft.com/office/drawing/2014/main" id="{7D7B8A32-B4B5-4570-867C-81F64C072440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33" y="2973"/>
                <a:ext cx="330" cy="429"/>
              </a:xfrm>
              <a:custGeom>
                <a:avLst/>
                <a:gdLst>
                  <a:gd name="T0" fmla="*/ 281 w 311"/>
                  <a:gd name="T1" fmla="*/ 6 h 406"/>
                  <a:gd name="T2" fmla="*/ 299 w 311"/>
                  <a:gd name="T3" fmla="*/ 147 h 406"/>
                  <a:gd name="T4" fmla="*/ 288 w 311"/>
                  <a:gd name="T5" fmla="*/ 222 h 406"/>
                  <a:gd name="T6" fmla="*/ 259 w 311"/>
                  <a:gd name="T7" fmla="*/ 281 h 406"/>
                  <a:gd name="T8" fmla="*/ 155 w 311"/>
                  <a:gd name="T9" fmla="*/ 374 h 406"/>
                  <a:gd name="T10" fmla="*/ 82 w 311"/>
                  <a:gd name="T11" fmla="*/ 392 h 406"/>
                  <a:gd name="T12" fmla="*/ 6 w 311"/>
                  <a:gd name="T13" fmla="*/ 379 h 406"/>
                  <a:gd name="T14" fmla="*/ 4 w 311"/>
                  <a:gd name="T15" fmla="*/ 385 h 406"/>
                  <a:gd name="T16" fmla="*/ 155 w 311"/>
                  <a:gd name="T17" fmla="*/ 384 h 406"/>
                  <a:gd name="T18" fmla="*/ 263 w 311"/>
                  <a:gd name="T19" fmla="*/ 292 h 406"/>
                  <a:gd name="T20" fmla="*/ 295 w 311"/>
                  <a:gd name="T21" fmla="*/ 229 h 406"/>
                  <a:gd name="T22" fmla="*/ 308 w 311"/>
                  <a:gd name="T23" fmla="*/ 155 h 406"/>
                  <a:gd name="T24" fmla="*/ 304 w 311"/>
                  <a:gd name="T25" fmla="*/ 76 h 406"/>
                  <a:gd name="T26" fmla="*/ 287 w 311"/>
                  <a:gd name="T27" fmla="*/ 4 h 406"/>
                  <a:gd name="T28" fmla="*/ 281 w 311"/>
                  <a:gd name="T29" fmla="*/ 6 h 4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311" h="406">
                    <a:moveTo>
                      <a:pt x="281" y="6"/>
                    </a:moveTo>
                    <a:cubicBezTo>
                      <a:pt x="288" y="53"/>
                      <a:pt x="301" y="98"/>
                      <a:pt x="299" y="147"/>
                    </a:cubicBezTo>
                    <a:cubicBezTo>
                      <a:pt x="298" y="172"/>
                      <a:pt x="296" y="199"/>
                      <a:pt x="288" y="222"/>
                    </a:cubicBezTo>
                    <a:cubicBezTo>
                      <a:pt x="281" y="243"/>
                      <a:pt x="270" y="263"/>
                      <a:pt x="259" y="281"/>
                    </a:cubicBezTo>
                    <a:cubicBezTo>
                      <a:pt x="235" y="322"/>
                      <a:pt x="198" y="355"/>
                      <a:pt x="155" y="374"/>
                    </a:cubicBezTo>
                    <a:cubicBezTo>
                      <a:pt x="132" y="385"/>
                      <a:pt x="108" y="392"/>
                      <a:pt x="82" y="392"/>
                    </a:cubicBezTo>
                    <a:cubicBezTo>
                      <a:pt x="55" y="392"/>
                      <a:pt x="31" y="384"/>
                      <a:pt x="6" y="379"/>
                    </a:cubicBezTo>
                    <a:cubicBezTo>
                      <a:pt x="2" y="378"/>
                      <a:pt x="0" y="384"/>
                      <a:pt x="4" y="385"/>
                    </a:cubicBezTo>
                    <a:cubicBezTo>
                      <a:pt x="53" y="405"/>
                      <a:pt x="106" y="406"/>
                      <a:pt x="155" y="384"/>
                    </a:cubicBezTo>
                    <a:cubicBezTo>
                      <a:pt x="200" y="365"/>
                      <a:pt x="237" y="333"/>
                      <a:pt x="263" y="292"/>
                    </a:cubicBezTo>
                    <a:cubicBezTo>
                      <a:pt x="276" y="273"/>
                      <a:pt x="288" y="251"/>
                      <a:pt x="295" y="229"/>
                    </a:cubicBezTo>
                    <a:cubicBezTo>
                      <a:pt x="304" y="206"/>
                      <a:pt x="306" y="180"/>
                      <a:pt x="308" y="155"/>
                    </a:cubicBezTo>
                    <a:cubicBezTo>
                      <a:pt x="311" y="129"/>
                      <a:pt x="309" y="102"/>
                      <a:pt x="304" y="76"/>
                    </a:cubicBezTo>
                    <a:cubicBezTo>
                      <a:pt x="299" y="53"/>
                      <a:pt x="297" y="24"/>
                      <a:pt x="287" y="4"/>
                    </a:cubicBezTo>
                    <a:cubicBezTo>
                      <a:pt x="285" y="0"/>
                      <a:pt x="281" y="2"/>
                      <a:pt x="281" y="6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789" name="Freeform 336">
                <a:extLst>
                  <a:ext uri="{FF2B5EF4-FFF2-40B4-BE49-F238E27FC236}">
                    <a16:creationId xmlns:a16="http://schemas.microsoft.com/office/drawing/2014/main" id="{63226B1E-958B-47E8-8134-1A2F66EA5102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31" y="3049"/>
                <a:ext cx="85" cy="100"/>
              </a:xfrm>
              <a:custGeom>
                <a:avLst/>
                <a:gdLst>
                  <a:gd name="T0" fmla="*/ 70 w 80"/>
                  <a:gd name="T1" fmla="*/ 92 h 95"/>
                  <a:gd name="T2" fmla="*/ 53 w 80"/>
                  <a:gd name="T3" fmla="*/ 79 h 95"/>
                  <a:gd name="T4" fmla="*/ 33 w 80"/>
                  <a:gd name="T5" fmla="*/ 73 h 95"/>
                  <a:gd name="T6" fmla="*/ 12 w 80"/>
                  <a:gd name="T7" fmla="*/ 54 h 95"/>
                  <a:gd name="T8" fmla="*/ 22 w 80"/>
                  <a:gd name="T9" fmla="*/ 18 h 95"/>
                  <a:gd name="T10" fmla="*/ 75 w 80"/>
                  <a:gd name="T11" fmla="*/ 22 h 95"/>
                  <a:gd name="T12" fmla="*/ 75 w 80"/>
                  <a:gd name="T13" fmla="*/ 13 h 95"/>
                  <a:gd name="T14" fmla="*/ 16 w 80"/>
                  <a:gd name="T15" fmla="*/ 10 h 95"/>
                  <a:gd name="T16" fmla="*/ 5 w 80"/>
                  <a:gd name="T17" fmla="*/ 39 h 95"/>
                  <a:gd name="T18" fmla="*/ 14 w 80"/>
                  <a:gd name="T19" fmla="*/ 78 h 95"/>
                  <a:gd name="T20" fmla="*/ 36 w 80"/>
                  <a:gd name="T21" fmla="*/ 82 h 95"/>
                  <a:gd name="T22" fmla="*/ 65 w 80"/>
                  <a:gd name="T23" fmla="*/ 92 h 95"/>
                  <a:gd name="T24" fmla="*/ 70 w 80"/>
                  <a:gd name="T25" fmla="*/ 92 h 9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80" h="95">
                    <a:moveTo>
                      <a:pt x="70" y="92"/>
                    </a:moveTo>
                    <a:cubicBezTo>
                      <a:pt x="70" y="83"/>
                      <a:pt x="61" y="81"/>
                      <a:pt x="53" y="79"/>
                    </a:cubicBezTo>
                    <a:cubicBezTo>
                      <a:pt x="47" y="76"/>
                      <a:pt x="39" y="74"/>
                      <a:pt x="33" y="73"/>
                    </a:cubicBezTo>
                    <a:cubicBezTo>
                      <a:pt x="20" y="71"/>
                      <a:pt x="12" y="71"/>
                      <a:pt x="12" y="54"/>
                    </a:cubicBezTo>
                    <a:cubicBezTo>
                      <a:pt x="12" y="43"/>
                      <a:pt x="12" y="24"/>
                      <a:pt x="22" y="18"/>
                    </a:cubicBezTo>
                    <a:cubicBezTo>
                      <a:pt x="35" y="9"/>
                      <a:pt x="59" y="22"/>
                      <a:pt x="75" y="22"/>
                    </a:cubicBezTo>
                    <a:cubicBezTo>
                      <a:pt x="80" y="21"/>
                      <a:pt x="80" y="13"/>
                      <a:pt x="75" y="13"/>
                    </a:cubicBezTo>
                    <a:cubicBezTo>
                      <a:pt x="59" y="12"/>
                      <a:pt x="31" y="0"/>
                      <a:pt x="16" y="10"/>
                    </a:cubicBezTo>
                    <a:cubicBezTo>
                      <a:pt x="7" y="16"/>
                      <a:pt x="6" y="29"/>
                      <a:pt x="5" y="39"/>
                    </a:cubicBezTo>
                    <a:cubicBezTo>
                      <a:pt x="3" y="52"/>
                      <a:pt x="0" y="71"/>
                      <a:pt x="14" y="78"/>
                    </a:cubicBezTo>
                    <a:cubicBezTo>
                      <a:pt x="21" y="82"/>
                      <a:pt x="29" y="80"/>
                      <a:pt x="36" y="82"/>
                    </a:cubicBezTo>
                    <a:cubicBezTo>
                      <a:pt x="40" y="83"/>
                      <a:pt x="64" y="87"/>
                      <a:pt x="65" y="92"/>
                    </a:cubicBezTo>
                    <a:cubicBezTo>
                      <a:pt x="66" y="95"/>
                      <a:pt x="70" y="95"/>
                      <a:pt x="70" y="92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790" name="Freeform 337">
                <a:extLst>
                  <a:ext uri="{FF2B5EF4-FFF2-40B4-BE49-F238E27FC236}">
                    <a16:creationId xmlns:a16="http://schemas.microsoft.com/office/drawing/2014/main" id="{1C8DF1E1-2E3C-43EC-BDF9-5769CB971CB1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08" y="2997"/>
                <a:ext cx="100" cy="106"/>
              </a:xfrm>
              <a:custGeom>
                <a:avLst/>
                <a:gdLst>
                  <a:gd name="T0" fmla="*/ 0 w 95"/>
                  <a:gd name="T1" fmla="*/ 64 h 100"/>
                  <a:gd name="T2" fmla="*/ 0 w 95"/>
                  <a:gd name="T3" fmla="*/ 67 h 100"/>
                  <a:gd name="T4" fmla="*/ 2 w 95"/>
                  <a:gd name="T5" fmla="*/ 69 h 100"/>
                  <a:gd name="T6" fmla="*/ 15 w 95"/>
                  <a:gd name="T7" fmla="*/ 64 h 100"/>
                  <a:gd name="T8" fmla="*/ 19 w 95"/>
                  <a:gd name="T9" fmla="*/ 48 h 100"/>
                  <a:gd name="T10" fmla="*/ 26 w 95"/>
                  <a:gd name="T11" fmla="*/ 21 h 100"/>
                  <a:gd name="T12" fmla="*/ 48 w 95"/>
                  <a:gd name="T13" fmla="*/ 14 h 100"/>
                  <a:gd name="T14" fmla="*/ 72 w 95"/>
                  <a:gd name="T15" fmla="*/ 24 h 100"/>
                  <a:gd name="T16" fmla="*/ 81 w 95"/>
                  <a:gd name="T17" fmla="*/ 55 h 100"/>
                  <a:gd name="T18" fmla="*/ 73 w 95"/>
                  <a:gd name="T19" fmla="*/ 93 h 100"/>
                  <a:gd name="T20" fmla="*/ 81 w 95"/>
                  <a:gd name="T21" fmla="*/ 95 h 100"/>
                  <a:gd name="T22" fmla="*/ 90 w 95"/>
                  <a:gd name="T23" fmla="*/ 53 h 100"/>
                  <a:gd name="T24" fmla="*/ 91 w 95"/>
                  <a:gd name="T25" fmla="*/ 28 h 100"/>
                  <a:gd name="T26" fmla="*/ 49 w 95"/>
                  <a:gd name="T27" fmla="*/ 6 h 100"/>
                  <a:gd name="T28" fmla="*/ 20 w 95"/>
                  <a:gd name="T29" fmla="*/ 10 h 100"/>
                  <a:gd name="T30" fmla="*/ 13 w 95"/>
                  <a:gd name="T31" fmla="*/ 35 h 100"/>
                  <a:gd name="T32" fmla="*/ 12 w 95"/>
                  <a:gd name="T33" fmla="*/ 44 h 100"/>
                  <a:gd name="T34" fmla="*/ 9 w 95"/>
                  <a:gd name="T35" fmla="*/ 60 h 100"/>
                  <a:gd name="T36" fmla="*/ 5 w 95"/>
                  <a:gd name="T37" fmla="*/ 63 h 100"/>
                  <a:gd name="T38" fmla="*/ 0 w 95"/>
                  <a:gd name="T39" fmla="*/ 64 h 1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95" h="100">
                    <a:moveTo>
                      <a:pt x="0" y="64"/>
                    </a:moveTo>
                    <a:cubicBezTo>
                      <a:pt x="0" y="65"/>
                      <a:pt x="0" y="66"/>
                      <a:pt x="0" y="67"/>
                    </a:cubicBezTo>
                    <a:cubicBezTo>
                      <a:pt x="0" y="68"/>
                      <a:pt x="1" y="69"/>
                      <a:pt x="2" y="69"/>
                    </a:cubicBezTo>
                    <a:cubicBezTo>
                      <a:pt x="7" y="71"/>
                      <a:pt x="12" y="68"/>
                      <a:pt x="15" y="64"/>
                    </a:cubicBezTo>
                    <a:cubicBezTo>
                      <a:pt x="18" y="60"/>
                      <a:pt x="18" y="53"/>
                      <a:pt x="19" y="48"/>
                    </a:cubicBezTo>
                    <a:cubicBezTo>
                      <a:pt x="20" y="39"/>
                      <a:pt x="21" y="30"/>
                      <a:pt x="26" y="21"/>
                    </a:cubicBezTo>
                    <a:cubicBezTo>
                      <a:pt x="31" y="10"/>
                      <a:pt x="36" y="9"/>
                      <a:pt x="48" y="14"/>
                    </a:cubicBezTo>
                    <a:cubicBezTo>
                      <a:pt x="56" y="17"/>
                      <a:pt x="65" y="19"/>
                      <a:pt x="72" y="24"/>
                    </a:cubicBezTo>
                    <a:cubicBezTo>
                      <a:pt x="83" y="31"/>
                      <a:pt x="84" y="43"/>
                      <a:pt x="81" y="55"/>
                    </a:cubicBezTo>
                    <a:cubicBezTo>
                      <a:pt x="79" y="68"/>
                      <a:pt x="78" y="80"/>
                      <a:pt x="73" y="93"/>
                    </a:cubicBezTo>
                    <a:cubicBezTo>
                      <a:pt x="71" y="98"/>
                      <a:pt x="79" y="100"/>
                      <a:pt x="81" y="95"/>
                    </a:cubicBezTo>
                    <a:cubicBezTo>
                      <a:pt x="87" y="81"/>
                      <a:pt x="87" y="67"/>
                      <a:pt x="90" y="53"/>
                    </a:cubicBezTo>
                    <a:cubicBezTo>
                      <a:pt x="91" y="45"/>
                      <a:pt x="95" y="36"/>
                      <a:pt x="91" y="28"/>
                    </a:cubicBezTo>
                    <a:cubicBezTo>
                      <a:pt x="85" y="16"/>
                      <a:pt x="61" y="11"/>
                      <a:pt x="49" y="6"/>
                    </a:cubicBezTo>
                    <a:cubicBezTo>
                      <a:pt x="39" y="2"/>
                      <a:pt x="27" y="0"/>
                      <a:pt x="20" y="10"/>
                    </a:cubicBezTo>
                    <a:cubicBezTo>
                      <a:pt x="17" y="15"/>
                      <a:pt x="15" y="29"/>
                      <a:pt x="13" y="35"/>
                    </a:cubicBezTo>
                    <a:cubicBezTo>
                      <a:pt x="13" y="38"/>
                      <a:pt x="12" y="41"/>
                      <a:pt x="12" y="44"/>
                    </a:cubicBezTo>
                    <a:cubicBezTo>
                      <a:pt x="12" y="50"/>
                      <a:pt x="12" y="55"/>
                      <a:pt x="9" y="60"/>
                    </a:cubicBezTo>
                    <a:cubicBezTo>
                      <a:pt x="8" y="61"/>
                      <a:pt x="7" y="62"/>
                      <a:pt x="5" y="63"/>
                    </a:cubicBezTo>
                    <a:cubicBezTo>
                      <a:pt x="4" y="60"/>
                      <a:pt x="0" y="62"/>
                      <a:pt x="0" y="64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791" name="Freeform 338">
                <a:extLst>
                  <a:ext uri="{FF2B5EF4-FFF2-40B4-BE49-F238E27FC236}">
                    <a16:creationId xmlns:a16="http://schemas.microsoft.com/office/drawing/2014/main" id="{891A8639-D66C-49AA-93FF-A80C36C831F0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79" y="3139"/>
                <a:ext cx="103" cy="103"/>
              </a:xfrm>
              <a:custGeom>
                <a:avLst/>
                <a:gdLst>
                  <a:gd name="T0" fmla="*/ 21 w 97"/>
                  <a:gd name="T1" fmla="*/ 2 h 98"/>
                  <a:gd name="T2" fmla="*/ 10 w 97"/>
                  <a:gd name="T3" fmla="*/ 62 h 98"/>
                  <a:gd name="T4" fmla="*/ 37 w 97"/>
                  <a:gd name="T5" fmla="*/ 86 h 98"/>
                  <a:gd name="T6" fmla="*/ 77 w 97"/>
                  <a:gd name="T7" fmla="*/ 86 h 98"/>
                  <a:gd name="T8" fmla="*/ 87 w 97"/>
                  <a:gd name="T9" fmla="*/ 63 h 98"/>
                  <a:gd name="T10" fmla="*/ 97 w 97"/>
                  <a:gd name="T11" fmla="*/ 30 h 98"/>
                  <a:gd name="T12" fmla="*/ 90 w 97"/>
                  <a:gd name="T13" fmla="*/ 28 h 98"/>
                  <a:gd name="T14" fmla="*/ 77 w 97"/>
                  <a:gd name="T15" fmla="*/ 67 h 98"/>
                  <a:gd name="T16" fmla="*/ 52 w 97"/>
                  <a:gd name="T17" fmla="*/ 83 h 98"/>
                  <a:gd name="T18" fmla="*/ 33 w 97"/>
                  <a:gd name="T19" fmla="*/ 77 h 98"/>
                  <a:gd name="T20" fmla="*/ 24 w 97"/>
                  <a:gd name="T21" fmla="*/ 1 h 98"/>
                  <a:gd name="T22" fmla="*/ 21 w 97"/>
                  <a:gd name="T23" fmla="*/ 2 h 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97" h="98">
                    <a:moveTo>
                      <a:pt x="21" y="2"/>
                    </a:moveTo>
                    <a:cubicBezTo>
                      <a:pt x="21" y="22"/>
                      <a:pt x="9" y="41"/>
                      <a:pt x="10" y="62"/>
                    </a:cubicBezTo>
                    <a:cubicBezTo>
                      <a:pt x="11" y="76"/>
                      <a:pt x="24" y="82"/>
                      <a:pt x="37" y="86"/>
                    </a:cubicBezTo>
                    <a:cubicBezTo>
                      <a:pt x="49" y="90"/>
                      <a:pt x="67" y="98"/>
                      <a:pt x="77" y="86"/>
                    </a:cubicBezTo>
                    <a:cubicBezTo>
                      <a:pt x="83" y="80"/>
                      <a:pt x="85" y="71"/>
                      <a:pt x="87" y="63"/>
                    </a:cubicBezTo>
                    <a:cubicBezTo>
                      <a:pt x="89" y="52"/>
                      <a:pt x="94" y="41"/>
                      <a:pt x="97" y="30"/>
                    </a:cubicBezTo>
                    <a:cubicBezTo>
                      <a:pt x="97" y="25"/>
                      <a:pt x="91" y="24"/>
                      <a:pt x="90" y="28"/>
                    </a:cubicBezTo>
                    <a:cubicBezTo>
                      <a:pt x="84" y="40"/>
                      <a:pt x="81" y="53"/>
                      <a:pt x="77" y="67"/>
                    </a:cubicBezTo>
                    <a:cubicBezTo>
                      <a:pt x="74" y="80"/>
                      <a:pt x="66" y="87"/>
                      <a:pt x="52" y="83"/>
                    </a:cubicBezTo>
                    <a:cubicBezTo>
                      <a:pt x="46" y="81"/>
                      <a:pt x="39" y="79"/>
                      <a:pt x="33" y="77"/>
                    </a:cubicBezTo>
                    <a:cubicBezTo>
                      <a:pt x="0" y="63"/>
                      <a:pt x="36" y="25"/>
                      <a:pt x="24" y="1"/>
                    </a:cubicBezTo>
                    <a:cubicBezTo>
                      <a:pt x="24" y="0"/>
                      <a:pt x="21" y="0"/>
                      <a:pt x="21" y="2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792" name="Freeform 339">
                <a:extLst>
                  <a:ext uri="{FF2B5EF4-FFF2-40B4-BE49-F238E27FC236}">
                    <a16:creationId xmlns:a16="http://schemas.microsoft.com/office/drawing/2014/main" id="{B560AB52-26D5-4F4A-AD38-625D4F98B204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74" y="3094"/>
                <a:ext cx="84" cy="100"/>
              </a:xfrm>
              <a:custGeom>
                <a:avLst/>
                <a:gdLst>
                  <a:gd name="T0" fmla="*/ 3 w 79"/>
                  <a:gd name="T1" fmla="*/ 75 h 94"/>
                  <a:gd name="T2" fmla="*/ 60 w 79"/>
                  <a:gd name="T3" fmla="*/ 87 h 94"/>
                  <a:gd name="T4" fmla="*/ 77 w 79"/>
                  <a:gd name="T5" fmla="*/ 54 h 94"/>
                  <a:gd name="T6" fmla="*/ 78 w 79"/>
                  <a:gd name="T7" fmla="*/ 24 h 94"/>
                  <a:gd name="T8" fmla="*/ 70 w 79"/>
                  <a:gd name="T9" fmla="*/ 10 h 94"/>
                  <a:gd name="T10" fmla="*/ 54 w 79"/>
                  <a:gd name="T11" fmla="*/ 5 h 94"/>
                  <a:gd name="T12" fmla="*/ 19 w 79"/>
                  <a:gd name="T13" fmla="*/ 0 h 94"/>
                  <a:gd name="T14" fmla="*/ 17 w 79"/>
                  <a:gd name="T15" fmla="*/ 8 h 94"/>
                  <a:gd name="T16" fmla="*/ 52 w 79"/>
                  <a:gd name="T17" fmla="*/ 15 h 94"/>
                  <a:gd name="T18" fmla="*/ 68 w 79"/>
                  <a:gd name="T19" fmla="*/ 32 h 94"/>
                  <a:gd name="T20" fmla="*/ 68 w 79"/>
                  <a:gd name="T21" fmla="*/ 54 h 94"/>
                  <a:gd name="T22" fmla="*/ 63 w 79"/>
                  <a:gd name="T23" fmla="*/ 73 h 94"/>
                  <a:gd name="T24" fmla="*/ 37 w 79"/>
                  <a:gd name="T25" fmla="*/ 78 h 94"/>
                  <a:gd name="T26" fmla="*/ 2 w 79"/>
                  <a:gd name="T27" fmla="*/ 71 h 94"/>
                  <a:gd name="T28" fmla="*/ 3 w 79"/>
                  <a:gd name="T29" fmla="*/ 75 h 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79" h="94">
                    <a:moveTo>
                      <a:pt x="3" y="75"/>
                    </a:moveTo>
                    <a:cubicBezTo>
                      <a:pt x="22" y="74"/>
                      <a:pt x="41" y="94"/>
                      <a:pt x="60" y="87"/>
                    </a:cubicBezTo>
                    <a:cubicBezTo>
                      <a:pt x="72" y="83"/>
                      <a:pt x="76" y="65"/>
                      <a:pt x="77" y="54"/>
                    </a:cubicBezTo>
                    <a:cubicBezTo>
                      <a:pt x="79" y="45"/>
                      <a:pt x="79" y="33"/>
                      <a:pt x="78" y="24"/>
                    </a:cubicBezTo>
                    <a:cubicBezTo>
                      <a:pt x="77" y="18"/>
                      <a:pt x="74" y="14"/>
                      <a:pt x="70" y="10"/>
                    </a:cubicBezTo>
                    <a:cubicBezTo>
                      <a:pt x="65" y="7"/>
                      <a:pt x="59" y="6"/>
                      <a:pt x="54" y="5"/>
                    </a:cubicBezTo>
                    <a:cubicBezTo>
                      <a:pt x="42" y="4"/>
                      <a:pt x="30" y="2"/>
                      <a:pt x="19" y="0"/>
                    </a:cubicBezTo>
                    <a:cubicBezTo>
                      <a:pt x="14" y="0"/>
                      <a:pt x="13" y="7"/>
                      <a:pt x="17" y="8"/>
                    </a:cubicBezTo>
                    <a:cubicBezTo>
                      <a:pt x="29" y="13"/>
                      <a:pt x="40" y="13"/>
                      <a:pt x="52" y="15"/>
                    </a:cubicBezTo>
                    <a:cubicBezTo>
                      <a:pt x="63" y="16"/>
                      <a:pt x="67" y="21"/>
                      <a:pt x="68" y="32"/>
                    </a:cubicBezTo>
                    <a:cubicBezTo>
                      <a:pt x="69" y="38"/>
                      <a:pt x="69" y="48"/>
                      <a:pt x="68" y="54"/>
                    </a:cubicBezTo>
                    <a:cubicBezTo>
                      <a:pt x="67" y="59"/>
                      <a:pt x="66" y="69"/>
                      <a:pt x="63" y="73"/>
                    </a:cubicBezTo>
                    <a:cubicBezTo>
                      <a:pt x="57" y="83"/>
                      <a:pt x="46" y="81"/>
                      <a:pt x="37" y="78"/>
                    </a:cubicBezTo>
                    <a:cubicBezTo>
                      <a:pt x="26" y="73"/>
                      <a:pt x="15" y="69"/>
                      <a:pt x="2" y="71"/>
                    </a:cubicBezTo>
                    <a:cubicBezTo>
                      <a:pt x="0" y="72"/>
                      <a:pt x="1" y="75"/>
                      <a:pt x="3" y="75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793" name="Freeform 340">
                <a:extLst>
                  <a:ext uri="{FF2B5EF4-FFF2-40B4-BE49-F238E27FC236}">
                    <a16:creationId xmlns:a16="http://schemas.microsoft.com/office/drawing/2014/main" id="{0B8E7980-E39B-443D-9A94-9178902B79DA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18" y="3119"/>
                <a:ext cx="55" cy="28"/>
              </a:xfrm>
              <a:custGeom>
                <a:avLst/>
                <a:gdLst>
                  <a:gd name="T0" fmla="*/ 6 w 52"/>
                  <a:gd name="T1" fmla="*/ 2 h 27"/>
                  <a:gd name="T2" fmla="*/ 42 w 52"/>
                  <a:gd name="T3" fmla="*/ 3 h 27"/>
                  <a:gd name="T4" fmla="*/ 38 w 52"/>
                  <a:gd name="T5" fmla="*/ 4 h 27"/>
                  <a:gd name="T6" fmla="*/ 24 w 52"/>
                  <a:gd name="T7" fmla="*/ 15 h 27"/>
                  <a:gd name="T8" fmla="*/ 10 w 52"/>
                  <a:gd name="T9" fmla="*/ 3 h 27"/>
                  <a:gd name="T10" fmla="*/ 6 w 52"/>
                  <a:gd name="T11" fmla="*/ 2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52" h="27">
                    <a:moveTo>
                      <a:pt x="6" y="2"/>
                    </a:moveTo>
                    <a:cubicBezTo>
                      <a:pt x="0" y="27"/>
                      <a:pt x="52" y="26"/>
                      <a:pt x="42" y="3"/>
                    </a:cubicBezTo>
                    <a:cubicBezTo>
                      <a:pt x="41" y="1"/>
                      <a:pt x="38" y="1"/>
                      <a:pt x="38" y="4"/>
                    </a:cubicBezTo>
                    <a:cubicBezTo>
                      <a:pt x="38" y="12"/>
                      <a:pt x="32" y="15"/>
                      <a:pt x="24" y="15"/>
                    </a:cubicBezTo>
                    <a:cubicBezTo>
                      <a:pt x="17" y="14"/>
                      <a:pt x="9" y="10"/>
                      <a:pt x="10" y="3"/>
                    </a:cubicBezTo>
                    <a:cubicBezTo>
                      <a:pt x="10" y="1"/>
                      <a:pt x="7" y="0"/>
                      <a:pt x="6" y="2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794" name="Freeform 341">
                <a:extLst>
                  <a:ext uri="{FF2B5EF4-FFF2-40B4-BE49-F238E27FC236}">
                    <a16:creationId xmlns:a16="http://schemas.microsoft.com/office/drawing/2014/main" id="{E46CF60C-A8FB-4CB3-B48F-95DB6B8DBC2D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9" y="3070"/>
                <a:ext cx="264" cy="203"/>
              </a:xfrm>
              <a:custGeom>
                <a:avLst/>
                <a:gdLst>
                  <a:gd name="T0" fmla="*/ 35 w 249"/>
                  <a:gd name="T1" fmla="*/ 1 h 192"/>
                  <a:gd name="T2" fmla="*/ 79 w 249"/>
                  <a:gd name="T3" fmla="*/ 148 h 192"/>
                  <a:gd name="T4" fmla="*/ 156 w 249"/>
                  <a:gd name="T5" fmla="*/ 183 h 192"/>
                  <a:gd name="T6" fmla="*/ 249 w 249"/>
                  <a:gd name="T7" fmla="*/ 167 h 192"/>
                  <a:gd name="T8" fmla="*/ 249 w 249"/>
                  <a:gd name="T9" fmla="*/ 167 h 192"/>
                  <a:gd name="T10" fmla="*/ 206 w 249"/>
                  <a:gd name="T11" fmla="*/ 184 h 192"/>
                  <a:gd name="T12" fmla="*/ 151 w 249"/>
                  <a:gd name="T13" fmla="*/ 176 h 192"/>
                  <a:gd name="T14" fmla="*/ 83 w 249"/>
                  <a:gd name="T15" fmla="*/ 144 h 192"/>
                  <a:gd name="T16" fmla="*/ 37 w 249"/>
                  <a:gd name="T17" fmla="*/ 2 h 192"/>
                  <a:gd name="T18" fmla="*/ 35 w 249"/>
                  <a:gd name="T19" fmla="*/ 1 h 1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49" h="192">
                    <a:moveTo>
                      <a:pt x="35" y="1"/>
                    </a:moveTo>
                    <a:cubicBezTo>
                      <a:pt x="0" y="44"/>
                      <a:pt x="46" y="118"/>
                      <a:pt x="79" y="148"/>
                    </a:cubicBezTo>
                    <a:cubicBezTo>
                      <a:pt x="99" y="167"/>
                      <a:pt x="130" y="175"/>
                      <a:pt x="156" y="183"/>
                    </a:cubicBezTo>
                    <a:cubicBezTo>
                      <a:pt x="191" y="192"/>
                      <a:pt x="219" y="187"/>
                      <a:pt x="249" y="167"/>
                    </a:cubicBezTo>
                    <a:cubicBezTo>
                      <a:pt x="249" y="167"/>
                      <a:pt x="249" y="167"/>
                      <a:pt x="249" y="167"/>
                    </a:cubicBezTo>
                    <a:cubicBezTo>
                      <a:pt x="236" y="175"/>
                      <a:pt x="222" y="182"/>
                      <a:pt x="206" y="184"/>
                    </a:cubicBezTo>
                    <a:cubicBezTo>
                      <a:pt x="187" y="187"/>
                      <a:pt x="169" y="182"/>
                      <a:pt x="151" y="176"/>
                    </a:cubicBezTo>
                    <a:cubicBezTo>
                      <a:pt x="128" y="169"/>
                      <a:pt x="102" y="161"/>
                      <a:pt x="83" y="144"/>
                    </a:cubicBezTo>
                    <a:cubicBezTo>
                      <a:pt x="47" y="110"/>
                      <a:pt x="16" y="51"/>
                      <a:pt x="37" y="2"/>
                    </a:cubicBezTo>
                    <a:cubicBezTo>
                      <a:pt x="37" y="1"/>
                      <a:pt x="35" y="0"/>
                      <a:pt x="35" y="1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795" name="Freeform 342">
                <a:extLst>
                  <a:ext uri="{FF2B5EF4-FFF2-40B4-BE49-F238E27FC236}">
                    <a16:creationId xmlns:a16="http://schemas.microsoft.com/office/drawing/2014/main" id="{C7D22984-933D-4F54-B854-270D1D78A317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376" y="3177"/>
                <a:ext cx="31" cy="17"/>
              </a:xfrm>
              <a:custGeom>
                <a:avLst/>
                <a:gdLst>
                  <a:gd name="T0" fmla="*/ 3 w 29"/>
                  <a:gd name="T1" fmla="*/ 15 h 16"/>
                  <a:gd name="T2" fmla="*/ 28 w 29"/>
                  <a:gd name="T3" fmla="*/ 4 h 16"/>
                  <a:gd name="T4" fmla="*/ 25 w 29"/>
                  <a:gd name="T5" fmla="*/ 1 h 16"/>
                  <a:gd name="T6" fmla="*/ 2 w 29"/>
                  <a:gd name="T7" fmla="*/ 12 h 16"/>
                  <a:gd name="T8" fmla="*/ 3 w 29"/>
                  <a:gd name="T9" fmla="*/ 15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9" h="16">
                    <a:moveTo>
                      <a:pt x="3" y="15"/>
                    </a:moveTo>
                    <a:cubicBezTo>
                      <a:pt x="12" y="14"/>
                      <a:pt x="21" y="10"/>
                      <a:pt x="28" y="4"/>
                    </a:cubicBezTo>
                    <a:cubicBezTo>
                      <a:pt x="29" y="2"/>
                      <a:pt x="27" y="0"/>
                      <a:pt x="25" y="1"/>
                    </a:cubicBezTo>
                    <a:cubicBezTo>
                      <a:pt x="18" y="5"/>
                      <a:pt x="11" y="10"/>
                      <a:pt x="2" y="12"/>
                    </a:cubicBezTo>
                    <a:cubicBezTo>
                      <a:pt x="0" y="12"/>
                      <a:pt x="1" y="16"/>
                      <a:pt x="3" y="15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796" name="Freeform 343">
                <a:extLst>
                  <a:ext uri="{FF2B5EF4-FFF2-40B4-BE49-F238E27FC236}">
                    <a16:creationId xmlns:a16="http://schemas.microsoft.com/office/drawing/2014/main" id="{EB7B31E6-1A07-428F-8D78-E00DA0012563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395" y="3150"/>
                <a:ext cx="14" cy="13"/>
              </a:xfrm>
              <a:custGeom>
                <a:avLst/>
                <a:gdLst>
                  <a:gd name="T0" fmla="*/ 5 w 13"/>
                  <a:gd name="T1" fmla="*/ 10 h 12"/>
                  <a:gd name="T2" fmla="*/ 12 w 13"/>
                  <a:gd name="T3" fmla="*/ 4 h 12"/>
                  <a:gd name="T4" fmla="*/ 10 w 13"/>
                  <a:gd name="T5" fmla="*/ 1 h 12"/>
                  <a:gd name="T6" fmla="*/ 2 w 13"/>
                  <a:gd name="T7" fmla="*/ 7 h 12"/>
                  <a:gd name="T8" fmla="*/ 5 w 13"/>
                  <a:gd name="T9" fmla="*/ 10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3" h="12">
                    <a:moveTo>
                      <a:pt x="5" y="10"/>
                    </a:moveTo>
                    <a:cubicBezTo>
                      <a:pt x="7" y="8"/>
                      <a:pt x="10" y="6"/>
                      <a:pt x="12" y="4"/>
                    </a:cubicBezTo>
                    <a:cubicBezTo>
                      <a:pt x="13" y="2"/>
                      <a:pt x="12" y="0"/>
                      <a:pt x="10" y="1"/>
                    </a:cubicBezTo>
                    <a:cubicBezTo>
                      <a:pt x="7" y="3"/>
                      <a:pt x="5" y="5"/>
                      <a:pt x="2" y="7"/>
                    </a:cubicBezTo>
                    <a:cubicBezTo>
                      <a:pt x="0" y="9"/>
                      <a:pt x="3" y="12"/>
                      <a:pt x="5" y="10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797" name="Freeform 344">
                <a:extLst>
                  <a:ext uri="{FF2B5EF4-FFF2-40B4-BE49-F238E27FC236}">
                    <a16:creationId xmlns:a16="http://schemas.microsoft.com/office/drawing/2014/main" id="{9DD05CB2-DF7B-4816-9C8B-B1C0CB41508D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05" y="2956"/>
                <a:ext cx="306" cy="159"/>
              </a:xfrm>
              <a:custGeom>
                <a:avLst/>
                <a:gdLst>
                  <a:gd name="T0" fmla="*/ 278 w 289"/>
                  <a:gd name="T1" fmla="*/ 150 h 151"/>
                  <a:gd name="T2" fmla="*/ 167 w 289"/>
                  <a:gd name="T3" fmla="*/ 11 h 151"/>
                  <a:gd name="T4" fmla="*/ 71 w 289"/>
                  <a:gd name="T5" fmla="*/ 13 h 151"/>
                  <a:gd name="T6" fmla="*/ 2 w 289"/>
                  <a:gd name="T7" fmla="*/ 79 h 151"/>
                  <a:gd name="T8" fmla="*/ 7 w 289"/>
                  <a:gd name="T9" fmla="*/ 82 h 151"/>
                  <a:gd name="T10" fmla="*/ 70 w 289"/>
                  <a:gd name="T11" fmla="*/ 20 h 151"/>
                  <a:gd name="T12" fmla="*/ 178 w 289"/>
                  <a:gd name="T13" fmla="*/ 22 h 151"/>
                  <a:gd name="T14" fmla="*/ 275 w 289"/>
                  <a:gd name="T15" fmla="*/ 149 h 151"/>
                  <a:gd name="T16" fmla="*/ 278 w 289"/>
                  <a:gd name="T17" fmla="*/ 150 h 1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89" h="151">
                    <a:moveTo>
                      <a:pt x="278" y="150"/>
                    </a:moveTo>
                    <a:cubicBezTo>
                      <a:pt x="289" y="79"/>
                      <a:pt x="226" y="32"/>
                      <a:pt x="167" y="11"/>
                    </a:cubicBezTo>
                    <a:cubicBezTo>
                      <a:pt x="135" y="0"/>
                      <a:pt x="102" y="1"/>
                      <a:pt x="71" y="13"/>
                    </a:cubicBezTo>
                    <a:cubicBezTo>
                      <a:pt x="39" y="25"/>
                      <a:pt x="20" y="50"/>
                      <a:pt x="2" y="79"/>
                    </a:cubicBezTo>
                    <a:cubicBezTo>
                      <a:pt x="0" y="82"/>
                      <a:pt x="4" y="85"/>
                      <a:pt x="7" y="82"/>
                    </a:cubicBezTo>
                    <a:cubicBezTo>
                      <a:pt x="26" y="58"/>
                      <a:pt x="40" y="33"/>
                      <a:pt x="70" y="20"/>
                    </a:cubicBezTo>
                    <a:cubicBezTo>
                      <a:pt x="106" y="5"/>
                      <a:pt x="142" y="8"/>
                      <a:pt x="178" y="22"/>
                    </a:cubicBezTo>
                    <a:cubicBezTo>
                      <a:pt x="231" y="43"/>
                      <a:pt x="283" y="86"/>
                      <a:pt x="275" y="149"/>
                    </a:cubicBezTo>
                    <a:cubicBezTo>
                      <a:pt x="275" y="151"/>
                      <a:pt x="278" y="151"/>
                      <a:pt x="278" y="150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798" name="Freeform 345">
                <a:extLst>
                  <a:ext uri="{FF2B5EF4-FFF2-40B4-BE49-F238E27FC236}">
                    <a16:creationId xmlns:a16="http://schemas.microsoft.com/office/drawing/2014/main" id="{9DB9CEF8-2B82-457F-B71E-10C887096ABD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69" y="2271"/>
                <a:ext cx="119" cy="334"/>
              </a:xfrm>
              <a:custGeom>
                <a:avLst/>
                <a:gdLst>
                  <a:gd name="T0" fmla="*/ 19 w 112"/>
                  <a:gd name="T1" fmla="*/ 1 h 316"/>
                  <a:gd name="T2" fmla="*/ 4 w 112"/>
                  <a:gd name="T3" fmla="*/ 54 h 316"/>
                  <a:gd name="T4" fmla="*/ 1 w 112"/>
                  <a:gd name="T5" fmla="*/ 96 h 316"/>
                  <a:gd name="T6" fmla="*/ 14 w 112"/>
                  <a:gd name="T7" fmla="*/ 184 h 316"/>
                  <a:gd name="T8" fmla="*/ 109 w 112"/>
                  <a:gd name="T9" fmla="*/ 315 h 316"/>
                  <a:gd name="T10" fmla="*/ 111 w 112"/>
                  <a:gd name="T11" fmla="*/ 313 h 316"/>
                  <a:gd name="T12" fmla="*/ 16 w 112"/>
                  <a:gd name="T13" fmla="*/ 177 h 316"/>
                  <a:gd name="T14" fmla="*/ 5 w 112"/>
                  <a:gd name="T15" fmla="*/ 89 h 316"/>
                  <a:gd name="T16" fmla="*/ 10 w 112"/>
                  <a:gd name="T17" fmla="*/ 42 h 316"/>
                  <a:gd name="T18" fmla="*/ 21 w 112"/>
                  <a:gd name="T19" fmla="*/ 2 h 316"/>
                  <a:gd name="T20" fmla="*/ 19 w 112"/>
                  <a:gd name="T21" fmla="*/ 1 h 3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12" h="316">
                    <a:moveTo>
                      <a:pt x="19" y="1"/>
                    </a:moveTo>
                    <a:cubicBezTo>
                      <a:pt x="14" y="19"/>
                      <a:pt x="6" y="35"/>
                      <a:pt x="4" y="54"/>
                    </a:cubicBezTo>
                    <a:cubicBezTo>
                      <a:pt x="1" y="68"/>
                      <a:pt x="1" y="82"/>
                      <a:pt x="1" y="96"/>
                    </a:cubicBezTo>
                    <a:cubicBezTo>
                      <a:pt x="0" y="126"/>
                      <a:pt x="6" y="155"/>
                      <a:pt x="14" y="184"/>
                    </a:cubicBezTo>
                    <a:cubicBezTo>
                      <a:pt x="27" y="235"/>
                      <a:pt x="64" y="288"/>
                      <a:pt x="109" y="315"/>
                    </a:cubicBezTo>
                    <a:cubicBezTo>
                      <a:pt x="111" y="316"/>
                      <a:pt x="112" y="314"/>
                      <a:pt x="111" y="313"/>
                    </a:cubicBezTo>
                    <a:cubicBezTo>
                      <a:pt x="64" y="283"/>
                      <a:pt x="29" y="230"/>
                      <a:pt x="16" y="177"/>
                    </a:cubicBezTo>
                    <a:cubicBezTo>
                      <a:pt x="9" y="148"/>
                      <a:pt x="4" y="119"/>
                      <a:pt x="5" y="89"/>
                    </a:cubicBezTo>
                    <a:cubicBezTo>
                      <a:pt x="6" y="73"/>
                      <a:pt x="7" y="57"/>
                      <a:pt x="10" y="42"/>
                    </a:cubicBezTo>
                    <a:cubicBezTo>
                      <a:pt x="13" y="28"/>
                      <a:pt x="18" y="15"/>
                      <a:pt x="21" y="2"/>
                    </a:cubicBezTo>
                    <a:cubicBezTo>
                      <a:pt x="21" y="0"/>
                      <a:pt x="19" y="0"/>
                      <a:pt x="19" y="1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799" name="Freeform 346">
                <a:extLst>
                  <a:ext uri="{FF2B5EF4-FFF2-40B4-BE49-F238E27FC236}">
                    <a16:creationId xmlns:a16="http://schemas.microsoft.com/office/drawing/2014/main" id="{96C3871B-57CD-4DE3-8D7D-27B5242B0199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13" y="2610"/>
                <a:ext cx="111" cy="33"/>
              </a:xfrm>
              <a:custGeom>
                <a:avLst/>
                <a:gdLst>
                  <a:gd name="T0" fmla="*/ 1 w 105"/>
                  <a:gd name="T1" fmla="*/ 31 h 31"/>
                  <a:gd name="T2" fmla="*/ 63 w 105"/>
                  <a:gd name="T3" fmla="*/ 21 h 31"/>
                  <a:gd name="T4" fmla="*/ 104 w 105"/>
                  <a:gd name="T5" fmla="*/ 1 h 31"/>
                  <a:gd name="T6" fmla="*/ 104 w 105"/>
                  <a:gd name="T7" fmla="*/ 1 h 31"/>
                  <a:gd name="T8" fmla="*/ 54 w 105"/>
                  <a:gd name="T9" fmla="*/ 20 h 31"/>
                  <a:gd name="T10" fmla="*/ 1 w 105"/>
                  <a:gd name="T11" fmla="*/ 29 h 31"/>
                  <a:gd name="T12" fmla="*/ 1 w 105"/>
                  <a:gd name="T13" fmla="*/ 31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05" h="31">
                    <a:moveTo>
                      <a:pt x="1" y="31"/>
                    </a:moveTo>
                    <a:cubicBezTo>
                      <a:pt x="22" y="28"/>
                      <a:pt x="43" y="26"/>
                      <a:pt x="63" y="21"/>
                    </a:cubicBezTo>
                    <a:cubicBezTo>
                      <a:pt x="78" y="17"/>
                      <a:pt x="90" y="7"/>
                      <a:pt x="104" y="1"/>
                    </a:cubicBezTo>
                    <a:cubicBezTo>
                      <a:pt x="105" y="1"/>
                      <a:pt x="104" y="0"/>
                      <a:pt x="104" y="1"/>
                    </a:cubicBezTo>
                    <a:cubicBezTo>
                      <a:pt x="87" y="7"/>
                      <a:pt x="72" y="16"/>
                      <a:pt x="54" y="20"/>
                    </a:cubicBezTo>
                    <a:cubicBezTo>
                      <a:pt x="37" y="23"/>
                      <a:pt x="19" y="26"/>
                      <a:pt x="1" y="29"/>
                    </a:cubicBezTo>
                    <a:cubicBezTo>
                      <a:pt x="0" y="29"/>
                      <a:pt x="0" y="31"/>
                      <a:pt x="1" y="31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00" name="Freeform 347">
                <a:extLst>
                  <a:ext uri="{FF2B5EF4-FFF2-40B4-BE49-F238E27FC236}">
                    <a16:creationId xmlns:a16="http://schemas.microsoft.com/office/drawing/2014/main" id="{BFA63135-7DEA-41A3-9DAB-6B93B1C5A9A3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26" y="2458"/>
                <a:ext cx="11" cy="29"/>
              </a:xfrm>
              <a:custGeom>
                <a:avLst/>
                <a:gdLst>
                  <a:gd name="T0" fmla="*/ 1 w 10"/>
                  <a:gd name="T1" fmla="*/ 27 h 27"/>
                  <a:gd name="T2" fmla="*/ 10 w 10"/>
                  <a:gd name="T3" fmla="*/ 1 h 27"/>
                  <a:gd name="T4" fmla="*/ 9 w 10"/>
                  <a:gd name="T5" fmla="*/ 1 h 27"/>
                  <a:gd name="T6" fmla="*/ 0 w 10"/>
                  <a:gd name="T7" fmla="*/ 27 h 27"/>
                  <a:gd name="T8" fmla="*/ 1 w 10"/>
                  <a:gd name="T9" fmla="*/ 27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" h="27">
                    <a:moveTo>
                      <a:pt x="1" y="27"/>
                    </a:moveTo>
                    <a:cubicBezTo>
                      <a:pt x="4" y="18"/>
                      <a:pt x="9" y="10"/>
                      <a:pt x="10" y="1"/>
                    </a:cubicBezTo>
                    <a:cubicBezTo>
                      <a:pt x="10" y="0"/>
                      <a:pt x="10" y="0"/>
                      <a:pt x="9" y="1"/>
                    </a:cubicBezTo>
                    <a:cubicBezTo>
                      <a:pt x="8" y="10"/>
                      <a:pt x="4" y="18"/>
                      <a:pt x="0" y="27"/>
                    </a:cubicBezTo>
                    <a:lnTo>
                      <a:pt x="1" y="27"/>
                    </a:ln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01" name="Freeform 348">
                <a:extLst>
                  <a:ext uri="{FF2B5EF4-FFF2-40B4-BE49-F238E27FC236}">
                    <a16:creationId xmlns:a16="http://schemas.microsoft.com/office/drawing/2014/main" id="{C9CF679A-B298-4C1D-B463-620727A68901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35" y="2318"/>
                <a:ext cx="9" cy="33"/>
              </a:xfrm>
              <a:custGeom>
                <a:avLst/>
                <a:gdLst>
                  <a:gd name="T0" fmla="*/ 9 w 9"/>
                  <a:gd name="T1" fmla="*/ 31 h 31"/>
                  <a:gd name="T2" fmla="*/ 1 w 9"/>
                  <a:gd name="T3" fmla="*/ 1 h 31"/>
                  <a:gd name="T4" fmla="*/ 0 w 9"/>
                  <a:gd name="T5" fmla="*/ 1 h 31"/>
                  <a:gd name="T6" fmla="*/ 9 w 9"/>
                  <a:gd name="T7" fmla="*/ 31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9" h="31">
                    <a:moveTo>
                      <a:pt x="9" y="31"/>
                    </a:moveTo>
                    <a:cubicBezTo>
                      <a:pt x="8" y="21"/>
                      <a:pt x="5" y="11"/>
                      <a:pt x="1" y="1"/>
                    </a:cubicBezTo>
                    <a:cubicBezTo>
                      <a:pt x="1" y="0"/>
                      <a:pt x="0" y="1"/>
                      <a:pt x="0" y="1"/>
                    </a:cubicBezTo>
                    <a:cubicBezTo>
                      <a:pt x="4" y="11"/>
                      <a:pt x="8" y="21"/>
                      <a:pt x="9" y="31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02" name="Freeform 349">
                <a:extLst>
                  <a:ext uri="{FF2B5EF4-FFF2-40B4-BE49-F238E27FC236}">
                    <a16:creationId xmlns:a16="http://schemas.microsoft.com/office/drawing/2014/main" id="{5EF520BA-6D26-49D7-9189-6EE85A27BDBE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25" y="2132"/>
                <a:ext cx="333" cy="80"/>
              </a:xfrm>
              <a:custGeom>
                <a:avLst/>
                <a:gdLst>
                  <a:gd name="T0" fmla="*/ 314 w 315"/>
                  <a:gd name="T1" fmla="*/ 74 h 76"/>
                  <a:gd name="T2" fmla="*/ 158 w 315"/>
                  <a:gd name="T3" fmla="*/ 0 h 76"/>
                  <a:gd name="T4" fmla="*/ 65 w 315"/>
                  <a:gd name="T5" fmla="*/ 22 h 76"/>
                  <a:gd name="T6" fmla="*/ 2 w 315"/>
                  <a:gd name="T7" fmla="*/ 71 h 76"/>
                  <a:gd name="T8" fmla="*/ 4 w 315"/>
                  <a:gd name="T9" fmla="*/ 73 h 76"/>
                  <a:gd name="T10" fmla="*/ 70 w 315"/>
                  <a:gd name="T11" fmla="*/ 25 h 76"/>
                  <a:gd name="T12" fmla="*/ 154 w 315"/>
                  <a:gd name="T13" fmla="*/ 4 h 76"/>
                  <a:gd name="T14" fmla="*/ 313 w 315"/>
                  <a:gd name="T15" fmla="*/ 75 h 76"/>
                  <a:gd name="T16" fmla="*/ 314 w 315"/>
                  <a:gd name="T17" fmla="*/ 74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15" h="76">
                    <a:moveTo>
                      <a:pt x="314" y="74"/>
                    </a:moveTo>
                    <a:cubicBezTo>
                      <a:pt x="272" y="35"/>
                      <a:pt x="218" y="0"/>
                      <a:pt x="158" y="0"/>
                    </a:cubicBezTo>
                    <a:cubicBezTo>
                      <a:pt x="126" y="0"/>
                      <a:pt x="94" y="12"/>
                      <a:pt x="65" y="22"/>
                    </a:cubicBezTo>
                    <a:cubicBezTo>
                      <a:pt x="39" y="32"/>
                      <a:pt x="20" y="51"/>
                      <a:pt x="2" y="71"/>
                    </a:cubicBezTo>
                    <a:cubicBezTo>
                      <a:pt x="0" y="73"/>
                      <a:pt x="2" y="75"/>
                      <a:pt x="4" y="73"/>
                    </a:cubicBezTo>
                    <a:cubicBezTo>
                      <a:pt x="24" y="54"/>
                      <a:pt x="42" y="35"/>
                      <a:pt x="70" y="25"/>
                    </a:cubicBezTo>
                    <a:cubicBezTo>
                      <a:pt x="97" y="16"/>
                      <a:pt x="126" y="5"/>
                      <a:pt x="154" y="4"/>
                    </a:cubicBezTo>
                    <a:cubicBezTo>
                      <a:pt x="212" y="3"/>
                      <a:pt x="270" y="40"/>
                      <a:pt x="313" y="75"/>
                    </a:cubicBezTo>
                    <a:cubicBezTo>
                      <a:pt x="314" y="76"/>
                      <a:pt x="315" y="75"/>
                      <a:pt x="314" y="74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03" name="Freeform 350">
                <a:extLst>
                  <a:ext uri="{FF2B5EF4-FFF2-40B4-BE49-F238E27FC236}">
                    <a16:creationId xmlns:a16="http://schemas.microsoft.com/office/drawing/2014/main" id="{E1019535-788D-4C17-8E03-AF252C856B41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38" y="2307"/>
                <a:ext cx="122" cy="126"/>
              </a:xfrm>
              <a:custGeom>
                <a:avLst/>
                <a:gdLst>
                  <a:gd name="T0" fmla="*/ 21 w 115"/>
                  <a:gd name="T1" fmla="*/ 39 h 119"/>
                  <a:gd name="T2" fmla="*/ 113 w 115"/>
                  <a:gd name="T3" fmla="*/ 57 h 119"/>
                  <a:gd name="T4" fmla="*/ 67 w 115"/>
                  <a:gd name="T5" fmla="*/ 2 h 119"/>
                  <a:gd name="T6" fmla="*/ 21 w 115"/>
                  <a:gd name="T7" fmla="*/ 40 h 119"/>
                  <a:gd name="T8" fmla="*/ 28 w 115"/>
                  <a:gd name="T9" fmla="*/ 41 h 119"/>
                  <a:gd name="T10" fmla="*/ 58 w 115"/>
                  <a:gd name="T11" fmla="*/ 9 h 119"/>
                  <a:gd name="T12" fmla="*/ 105 w 115"/>
                  <a:gd name="T13" fmla="*/ 41 h 119"/>
                  <a:gd name="T14" fmla="*/ 75 w 115"/>
                  <a:gd name="T15" fmla="*/ 89 h 119"/>
                  <a:gd name="T16" fmla="*/ 24 w 115"/>
                  <a:gd name="T17" fmla="*/ 40 h 119"/>
                  <a:gd name="T18" fmla="*/ 21 w 115"/>
                  <a:gd name="T19" fmla="*/ 39 h 1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15" h="119">
                    <a:moveTo>
                      <a:pt x="21" y="39"/>
                    </a:moveTo>
                    <a:cubicBezTo>
                      <a:pt x="0" y="97"/>
                      <a:pt x="106" y="119"/>
                      <a:pt x="113" y="57"/>
                    </a:cubicBezTo>
                    <a:cubicBezTo>
                      <a:pt x="115" y="30"/>
                      <a:pt x="94" y="4"/>
                      <a:pt x="67" y="2"/>
                    </a:cubicBezTo>
                    <a:cubicBezTo>
                      <a:pt x="40" y="0"/>
                      <a:pt x="21" y="12"/>
                      <a:pt x="21" y="40"/>
                    </a:cubicBezTo>
                    <a:cubicBezTo>
                      <a:pt x="22" y="44"/>
                      <a:pt x="27" y="44"/>
                      <a:pt x="28" y="41"/>
                    </a:cubicBezTo>
                    <a:cubicBezTo>
                      <a:pt x="32" y="23"/>
                      <a:pt x="37" y="11"/>
                      <a:pt x="58" y="9"/>
                    </a:cubicBezTo>
                    <a:cubicBezTo>
                      <a:pt x="79" y="7"/>
                      <a:pt x="99" y="20"/>
                      <a:pt x="105" y="41"/>
                    </a:cubicBezTo>
                    <a:cubicBezTo>
                      <a:pt x="112" y="63"/>
                      <a:pt x="97" y="85"/>
                      <a:pt x="75" y="89"/>
                    </a:cubicBezTo>
                    <a:cubicBezTo>
                      <a:pt x="47" y="95"/>
                      <a:pt x="16" y="69"/>
                      <a:pt x="24" y="40"/>
                    </a:cubicBezTo>
                    <a:cubicBezTo>
                      <a:pt x="24" y="38"/>
                      <a:pt x="22" y="38"/>
                      <a:pt x="21" y="39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04" name="Freeform 351">
                <a:extLst>
                  <a:ext uri="{FF2B5EF4-FFF2-40B4-BE49-F238E27FC236}">
                    <a16:creationId xmlns:a16="http://schemas.microsoft.com/office/drawing/2014/main" id="{1FBB65BF-597D-4DD3-B42F-3EC4901D584E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320" y="2462"/>
                <a:ext cx="100" cy="105"/>
              </a:xfrm>
              <a:custGeom>
                <a:avLst/>
                <a:gdLst>
                  <a:gd name="T0" fmla="*/ 15 w 94"/>
                  <a:gd name="T1" fmla="*/ 37 h 99"/>
                  <a:gd name="T2" fmla="*/ 3 w 94"/>
                  <a:gd name="T3" fmla="*/ 60 h 99"/>
                  <a:gd name="T4" fmla="*/ 22 w 94"/>
                  <a:gd name="T5" fmla="*/ 86 h 99"/>
                  <a:gd name="T6" fmla="*/ 79 w 94"/>
                  <a:gd name="T7" fmla="*/ 77 h 99"/>
                  <a:gd name="T8" fmla="*/ 68 w 94"/>
                  <a:gd name="T9" fmla="*/ 12 h 99"/>
                  <a:gd name="T10" fmla="*/ 14 w 94"/>
                  <a:gd name="T11" fmla="*/ 27 h 99"/>
                  <a:gd name="T12" fmla="*/ 19 w 94"/>
                  <a:gd name="T13" fmla="*/ 30 h 99"/>
                  <a:gd name="T14" fmla="*/ 68 w 94"/>
                  <a:gd name="T15" fmla="*/ 20 h 99"/>
                  <a:gd name="T16" fmla="*/ 65 w 94"/>
                  <a:gd name="T17" fmla="*/ 82 h 99"/>
                  <a:gd name="T18" fmla="*/ 24 w 94"/>
                  <a:gd name="T19" fmla="*/ 79 h 99"/>
                  <a:gd name="T20" fmla="*/ 9 w 94"/>
                  <a:gd name="T21" fmla="*/ 58 h 99"/>
                  <a:gd name="T22" fmla="*/ 17 w 94"/>
                  <a:gd name="T23" fmla="*/ 39 h 99"/>
                  <a:gd name="T24" fmla="*/ 15 w 94"/>
                  <a:gd name="T25" fmla="*/ 37 h 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94" h="99">
                    <a:moveTo>
                      <a:pt x="15" y="37"/>
                    </a:moveTo>
                    <a:cubicBezTo>
                      <a:pt x="7" y="45"/>
                      <a:pt x="0" y="47"/>
                      <a:pt x="3" y="60"/>
                    </a:cubicBezTo>
                    <a:cubicBezTo>
                      <a:pt x="6" y="70"/>
                      <a:pt x="14" y="80"/>
                      <a:pt x="22" y="86"/>
                    </a:cubicBezTo>
                    <a:cubicBezTo>
                      <a:pt x="41" y="99"/>
                      <a:pt x="66" y="95"/>
                      <a:pt x="79" y="77"/>
                    </a:cubicBezTo>
                    <a:cubicBezTo>
                      <a:pt x="94" y="57"/>
                      <a:pt x="91" y="25"/>
                      <a:pt x="68" y="12"/>
                    </a:cubicBezTo>
                    <a:cubicBezTo>
                      <a:pt x="48" y="0"/>
                      <a:pt x="23" y="5"/>
                      <a:pt x="14" y="27"/>
                    </a:cubicBezTo>
                    <a:cubicBezTo>
                      <a:pt x="12" y="31"/>
                      <a:pt x="17" y="34"/>
                      <a:pt x="19" y="30"/>
                    </a:cubicBezTo>
                    <a:cubicBezTo>
                      <a:pt x="30" y="14"/>
                      <a:pt x="50" y="7"/>
                      <a:pt x="68" y="20"/>
                    </a:cubicBezTo>
                    <a:cubicBezTo>
                      <a:pt x="87" y="34"/>
                      <a:pt x="85" y="68"/>
                      <a:pt x="65" y="82"/>
                    </a:cubicBezTo>
                    <a:cubicBezTo>
                      <a:pt x="52" y="91"/>
                      <a:pt x="36" y="89"/>
                      <a:pt x="24" y="79"/>
                    </a:cubicBezTo>
                    <a:cubicBezTo>
                      <a:pt x="18" y="74"/>
                      <a:pt x="11" y="66"/>
                      <a:pt x="9" y="58"/>
                    </a:cubicBezTo>
                    <a:cubicBezTo>
                      <a:pt x="7" y="48"/>
                      <a:pt x="12" y="46"/>
                      <a:pt x="17" y="39"/>
                    </a:cubicBezTo>
                    <a:cubicBezTo>
                      <a:pt x="18" y="37"/>
                      <a:pt x="16" y="35"/>
                      <a:pt x="15" y="37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05" name="Freeform 352">
                <a:extLst>
                  <a:ext uri="{FF2B5EF4-FFF2-40B4-BE49-F238E27FC236}">
                    <a16:creationId xmlns:a16="http://schemas.microsoft.com/office/drawing/2014/main" id="{85CFE859-FAA1-420A-976F-0CFE57D1F8EB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23" y="2359"/>
                <a:ext cx="117" cy="128"/>
              </a:xfrm>
              <a:custGeom>
                <a:avLst/>
                <a:gdLst>
                  <a:gd name="T0" fmla="*/ 16 w 111"/>
                  <a:gd name="T1" fmla="*/ 49 h 121"/>
                  <a:gd name="T2" fmla="*/ 15 w 111"/>
                  <a:gd name="T3" fmla="*/ 87 h 121"/>
                  <a:gd name="T4" fmla="*/ 46 w 111"/>
                  <a:gd name="T5" fmla="*/ 108 h 121"/>
                  <a:gd name="T6" fmla="*/ 105 w 111"/>
                  <a:gd name="T7" fmla="*/ 75 h 121"/>
                  <a:gd name="T8" fmla="*/ 70 w 111"/>
                  <a:gd name="T9" fmla="*/ 8 h 121"/>
                  <a:gd name="T10" fmla="*/ 14 w 111"/>
                  <a:gd name="T11" fmla="*/ 57 h 121"/>
                  <a:gd name="T12" fmla="*/ 20 w 111"/>
                  <a:gd name="T13" fmla="*/ 58 h 121"/>
                  <a:gd name="T14" fmla="*/ 54 w 111"/>
                  <a:gd name="T15" fmla="*/ 15 h 121"/>
                  <a:gd name="T16" fmla="*/ 99 w 111"/>
                  <a:gd name="T17" fmla="*/ 59 h 121"/>
                  <a:gd name="T18" fmla="*/ 19 w 111"/>
                  <a:gd name="T19" fmla="*/ 51 h 121"/>
                  <a:gd name="T20" fmla="*/ 16 w 111"/>
                  <a:gd name="T21" fmla="*/ 49 h 1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11" h="121">
                    <a:moveTo>
                      <a:pt x="16" y="49"/>
                    </a:moveTo>
                    <a:cubicBezTo>
                      <a:pt x="12" y="62"/>
                      <a:pt x="7" y="76"/>
                      <a:pt x="15" y="87"/>
                    </a:cubicBezTo>
                    <a:cubicBezTo>
                      <a:pt x="21" y="99"/>
                      <a:pt x="34" y="106"/>
                      <a:pt x="46" y="108"/>
                    </a:cubicBezTo>
                    <a:cubicBezTo>
                      <a:pt x="71" y="114"/>
                      <a:pt x="100" y="102"/>
                      <a:pt x="105" y="75"/>
                    </a:cubicBezTo>
                    <a:cubicBezTo>
                      <a:pt x="111" y="48"/>
                      <a:pt x="99" y="15"/>
                      <a:pt x="70" y="8"/>
                    </a:cubicBezTo>
                    <a:cubicBezTo>
                      <a:pt x="38" y="0"/>
                      <a:pt x="15" y="28"/>
                      <a:pt x="14" y="57"/>
                    </a:cubicBezTo>
                    <a:cubicBezTo>
                      <a:pt x="14" y="60"/>
                      <a:pt x="19" y="61"/>
                      <a:pt x="20" y="58"/>
                    </a:cubicBezTo>
                    <a:cubicBezTo>
                      <a:pt x="24" y="37"/>
                      <a:pt x="31" y="20"/>
                      <a:pt x="54" y="15"/>
                    </a:cubicBezTo>
                    <a:cubicBezTo>
                      <a:pt x="80" y="10"/>
                      <a:pt x="98" y="36"/>
                      <a:pt x="99" y="59"/>
                    </a:cubicBezTo>
                    <a:cubicBezTo>
                      <a:pt x="100" y="121"/>
                      <a:pt x="0" y="113"/>
                      <a:pt x="19" y="51"/>
                    </a:cubicBezTo>
                    <a:cubicBezTo>
                      <a:pt x="20" y="49"/>
                      <a:pt x="17" y="48"/>
                      <a:pt x="16" y="49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06" name="Freeform 353">
                <a:extLst>
                  <a:ext uri="{FF2B5EF4-FFF2-40B4-BE49-F238E27FC236}">
                    <a16:creationId xmlns:a16="http://schemas.microsoft.com/office/drawing/2014/main" id="{80B7906C-0568-40AC-99E4-A078BD1E338E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367" y="2218"/>
                <a:ext cx="107" cy="110"/>
              </a:xfrm>
              <a:custGeom>
                <a:avLst/>
                <a:gdLst>
                  <a:gd name="T0" fmla="*/ 3 w 101"/>
                  <a:gd name="T1" fmla="*/ 45 h 104"/>
                  <a:gd name="T2" fmla="*/ 46 w 101"/>
                  <a:gd name="T3" fmla="*/ 101 h 104"/>
                  <a:gd name="T4" fmla="*/ 94 w 101"/>
                  <a:gd name="T5" fmla="*/ 60 h 104"/>
                  <a:gd name="T6" fmla="*/ 64 w 101"/>
                  <a:gd name="T7" fmla="*/ 4 h 104"/>
                  <a:gd name="T8" fmla="*/ 2 w 101"/>
                  <a:gd name="T9" fmla="*/ 37 h 104"/>
                  <a:gd name="T10" fmla="*/ 8 w 101"/>
                  <a:gd name="T11" fmla="*/ 40 h 104"/>
                  <a:gd name="T12" fmla="*/ 45 w 101"/>
                  <a:gd name="T13" fmla="*/ 11 h 104"/>
                  <a:gd name="T14" fmla="*/ 81 w 101"/>
                  <a:gd name="T15" fmla="*/ 20 h 104"/>
                  <a:gd name="T16" fmla="*/ 87 w 101"/>
                  <a:gd name="T17" fmla="*/ 58 h 104"/>
                  <a:gd name="T18" fmla="*/ 79 w 101"/>
                  <a:gd name="T19" fmla="*/ 84 h 104"/>
                  <a:gd name="T20" fmla="*/ 35 w 101"/>
                  <a:gd name="T21" fmla="*/ 94 h 104"/>
                  <a:gd name="T22" fmla="*/ 6 w 101"/>
                  <a:gd name="T23" fmla="*/ 45 h 104"/>
                  <a:gd name="T24" fmla="*/ 3 w 101"/>
                  <a:gd name="T25" fmla="*/ 45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01" h="104">
                    <a:moveTo>
                      <a:pt x="3" y="45"/>
                    </a:moveTo>
                    <a:cubicBezTo>
                      <a:pt x="4" y="70"/>
                      <a:pt x="19" y="99"/>
                      <a:pt x="46" y="101"/>
                    </a:cubicBezTo>
                    <a:cubicBezTo>
                      <a:pt x="77" y="104"/>
                      <a:pt x="87" y="85"/>
                      <a:pt x="94" y="60"/>
                    </a:cubicBezTo>
                    <a:cubicBezTo>
                      <a:pt x="101" y="34"/>
                      <a:pt x="93" y="8"/>
                      <a:pt x="64" y="4"/>
                    </a:cubicBezTo>
                    <a:cubicBezTo>
                      <a:pt x="36" y="0"/>
                      <a:pt x="15" y="13"/>
                      <a:pt x="2" y="37"/>
                    </a:cubicBezTo>
                    <a:cubicBezTo>
                      <a:pt x="0" y="40"/>
                      <a:pt x="5" y="44"/>
                      <a:pt x="8" y="40"/>
                    </a:cubicBezTo>
                    <a:cubicBezTo>
                      <a:pt x="18" y="27"/>
                      <a:pt x="28" y="14"/>
                      <a:pt x="45" y="11"/>
                    </a:cubicBezTo>
                    <a:cubicBezTo>
                      <a:pt x="57" y="8"/>
                      <a:pt x="72" y="11"/>
                      <a:pt x="81" y="20"/>
                    </a:cubicBezTo>
                    <a:cubicBezTo>
                      <a:pt x="92" y="30"/>
                      <a:pt x="91" y="44"/>
                      <a:pt x="87" y="58"/>
                    </a:cubicBezTo>
                    <a:cubicBezTo>
                      <a:pt x="85" y="67"/>
                      <a:pt x="84" y="76"/>
                      <a:pt x="79" y="84"/>
                    </a:cubicBezTo>
                    <a:cubicBezTo>
                      <a:pt x="70" y="97"/>
                      <a:pt x="49" y="100"/>
                      <a:pt x="35" y="94"/>
                    </a:cubicBezTo>
                    <a:cubicBezTo>
                      <a:pt x="16" y="86"/>
                      <a:pt x="7" y="63"/>
                      <a:pt x="6" y="45"/>
                    </a:cubicBezTo>
                    <a:cubicBezTo>
                      <a:pt x="6" y="43"/>
                      <a:pt x="3" y="44"/>
                      <a:pt x="3" y="45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07" name="Freeform 354">
                <a:extLst>
                  <a:ext uri="{FF2B5EF4-FFF2-40B4-BE49-F238E27FC236}">
                    <a16:creationId xmlns:a16="http://schemas.microsoft.com/office/drawing/2014/main" id="{1C2EB0F0-6525-46AE-AFD2-029F1A1A36C6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334" y="2692"/>
                <a:ext cx="72" cy="113"/>
              </a:xfrm>
              <a:custGeom>
                <a:avLst/>
                <a:gdLst>
                  <a:gd name="T0" fmla="*/ 65 w 68"/>
                  <a:gd name="T1" fmla="*/ 82 h 107"/>
                  <a:gd name="T2" fmla="*/ 58 w 68"/>
                  <a:gd name="T3" fmla="*/ 91 h 107"/>
                  <a:gd name="T4" fmla="*/ 33 w 68"/>
                  <a:gd name="T5" fmla="*/ 85 h 107"/>
                  <a:gd name="T6" fmla="*/ 12 w 68"/>
                  <a:gd name="T7" fmla="*/ 37 h 107"/>
                  <a:gd name="T8" fmla="*/ 10 w 68"/>
                  <a:gd name="T9" fmla="*/ 17 h 107"/>
                  <a:gd name="T10" fmla="*/ 27 w 68"/>
                  <a:gd name="T11" fmla="*/ 22 h 107"/>
                  <a:gd name="T12" fmla="*/ 31 w 68"/>
                  <a:gd name="T13" fmla="*/ 29 h 107"/>
                  <a:gd name="T14" fmla="*/ 53 w 68"/>
                  <a:gd name="T15" fmla="*/ 85 h 107"/>
                  <a:gd name="T16" fmla="*/ 60 w 68"/>
                  <a:gd name="T17" fmla="*/ 85 h 107"/>
                  <a:gd name="T18" fmla="*/ 27 w 68"/>
                  <a:gd name="T19" fmla="*/ 13 h 107"/>
                  <a:gd name="T20" fmla="*/ 3 w 68"/>
                  <a:gd name="T21" fmla="*/ 21 h 107"/>
                  <a:gd name="T22" fmla="*/ 31 w 68"/>
                  <a:gd name="T23" fmla="*/ 94 h 107"/>
                  <a:gd name="T24" fmla="*/ 49 w 68"/>
                  <a:gd name="T25" fmla="*/ 106 h 107"/>
                  <a:gd name="T26" fmla="*/ 67 w 68"/>
                  <a:gd name="T27" fmla="*/ 84 h 107"/>
                  <a:gd name="T28" fmla="*/ 65 w 68"/>
                  <a:gd name="T29" fmla="*/ 82 h 10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68" h="107">
                    <a:moveTo>
                      <a:pt x="65" y="82"/>
                    </a:moveTo>
                    <a:cubicBezTo>
                      <a:pt x="62" y="85"/>
                      <a:pt x="61" y="89"/>
                      <a:pt x="58" y="91"/>
                    </a:cubicBezTo>
                    <a:cubicBezTo>
                      <a:pt x="46" y="102"/>
                      <a:pt x="40" y="96"/>
                      <a:pt x="33" y="85"/>
                    </a:cubicBezTo>
                    <a:cubicBezTo>
                      <a:pt x="23" y="71"/>
                      <a:pt x="16" y="54"/>
                      <a:pt x="12" y="37"/>
                    </a:cubicBezTo>
                    <a:cubicBezTo>
                      <a:pt x="10" y="33"/>
                      <a:pt x="6" y="21"/>
                      <a:pt x="10" y="17"/>
                    </a:cubicBezTo>
                    <a:cubicBezTo>
                      <a:pt x="14" y="11"/>
                      <a:pt x="25" y="18"/>
                      <a:pt x="27" y="22"/>
                    </a:cubicBezTo>
                    <a:cubicBezTo>
                      <a:pt x="29" y="25"/>
                      <a:pt x="30" y="27"/>
                      <a:pt x="31" y="29"/>
                    </a:cubicBezTo>
                    <a:cubicBezTo>
                      <a:pt x="41" y="47"/>
                      <a:pt x="50" y="64"/>
                      <a:pt x="53" y="85"/>
                    </a:cubicBezTo>
                    <a:cubicBezTo>
                      <a:pt x="54" y="89"/>
                      <a:pt x="61" y="89"/>
                      <a:pt x="60" y="85"/>
                    </a:cubicBezTo>
                    <a:cubicBezTo>
                      <a:pt x="56" y="61"/>
                      <a:pt x="43" y="31"/>
                      <a:pt x="27" y="13"/>
                    </a:cubicBezTo>
                    <a:cubicBezTo>
                      <a:pt x="17" y="0"/>
                      <a:pt x="5" y="5"/>
                      <a:pt x="3" y="21"/>
                    </a:cubicBezTo>
                    <a:cubicBezTo>
                      <a:pt x="0" y="44"/>
                      <a:pt x="17" y="77"/>
                      <a:pt x="31" y="94"/>
                    </a:cubicBezTo>
                    <a:cubicBezTo>
                      <a:pt x="35" y="100"/>
                      <a:pt x="42" y="107"/>
                      <a:pt x="49" y="106"/>
                    </a:cubicBezTo>
                    <a:cubicBezTo>
                      <a:pt x="60" y="105"/>
                      <a:pt x="62" y="91"/>
                      <a:pt x="67" y="84"/>
                    </a:cubicBezTo>
                    <a:cubicBezTo>
                      <a:pt x="68" y="83"/>
                      <a:pt x="66" y="81"/>
                      <a:pt x="65" y="82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08" name="Freeform 355">
                <a:extLst>
                  <a:ext uri="{FF2B5EF4-FFF2-40B4-BE49-F238E27FC236}">
                    <a16:creationId xmlns:a16="http://schemas.microsoft.com/office/drawing/2014/main" id="{F1BB43B5-2EA5-4130-833E-C521D589B316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309" y="2822"/>
                <a:ext cx="67" cy="124"/>
              </a:xfrm>
              <a:custGeom>
                <a:avLst/>
                <a:gdLst>
                  <a:gd name="T0" fmla="*/ 52 w 63"/>
                  <a:gd name="T1" fmla="*/ 91 h 117"/>
                  <a:gd name="T2" fmla="*/ 34 w 63"/>
                  <a:gd name="T3" fmla="*/ 96 h 117"/>
                  <a:gd name="T4" fmla="*/ 27 w 63"/>
                  <a:gd name="T5" fmla="*/ 84 h 117"/>
                  <a:gd name="T6" fmla="*/ 20 w 63"/>
                  <a:gd name="T7" fmla="*/ 64 h 117"/>
                  <a:gd name="T8" fmla="*/ 14 w 63"/>
                  <a:gd name="T9" fmla="*/ 45 h 117"/>
                  <a:gd name="T10" fmla="*/ 6 w 63"/>
                  <a:gd name="T11" fmla="*/ 19 h 117"/>
                  <a:gd name="T12" fmla="*/ 33 w 63"/>
                  <a:gd name="T13" fmla="*/ 47 h 117"/>
                  <a:gd name="T14" fmla="*/ 45 w 63"/>
                  <a:gd name="T15" fmla="*/ 90 h 117"/>
                  <a:gd name="T16" fmla="*/ 53 w 63"/>
                  <a:gd name="T17" fmla="*/ 91 h 117"/>
                  <a:gd name="T18" fmla="*/ 42 w 63"/>
                  <a:gd name="T19" fmla="*/ 50 h 117"/>
                  <a:gd name="T20" fmla="*/ 26 w 63"/>
                  <a:gd name="T21" fmla="*/ 17 h 117"/>
                  <a:gd name="T22" fmla="*/ 4 w 63"/>
                  <a:gd name="T23" fmla="*/ 23 h 117"/>
                  <a:gd name="T24" fmla="*/ 31 w 63"/>
                  <a:gd name="T25" fmla="*/ 104 h 117"/>
                  <a:gd name="T26" fmla="*/ 55 w 63"/>
                  <a:gd name="T27" fmla="*/ 90 h 117"/>
                  <a:gd name="T28" fmla="*/ 52 w 63"/>
                  <a:gd name="T29" fmla="*/ 91 h 1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63" h="117">
                    <a:moveTo>
                      <a:pt x="52" y="91"/>
                    </a:moveTo>
                    <a:cubicBezTo>
                      <a:pt x="45" y="105"/>
                      <a:pt x="39" y="107"/>
                      <a:pt x="34" y="96"/>
                    </a:cubicBezTo>
                    <a:cubicBezTo>
                      <a:pt x="31" y="92"/>
                      <a:pt x="29" y="88"/>
                      <a:pt x="27" y="84"/>
                    </a:cubicBezTo>
                    <a:cubicBezTo>
                      <a:pt x="24" y="78"/>
                      <a:pt x="22" y="71"/>
                      <a:pt x="20" y="64"/>
                    </a:cubicBezTo>
                    <a:cubicBezTo>
                      <a:pt x="18" y="58"/>
                      <a:pt x="16" y="51"/>
                      <a:pt x="14" y="45"/>
                    </a:cubicBezTo>
                    <a:cubicBezTo>
                      <a:pt x="13" y="41"/>
                      <a:pt x="5" y="21"/>
                      <a:pt x="6" y="19"/>
                    </a:cubicBezTo>
                    <a:cubicBezTo>
                      <a:pt x="16" y="0"/>
                      <a:pt x="31" y="40"/>
                      <a:pt x="33" y="47"/>
                    </a:cubicBezTo>
                    <a:cubicBezTo>
                      <a:pt x="39" y="61"/>
                      <a:pt x="45" y="74"/>
                      <a:pt x="45" y="90"/>
                    </a:cubicBezTo>
                    <a:cubicBezTo>
                      <a:pt x="45" y="95"/>
                      <a:pt x="53" y="96"/>
                      <a:pt x="53" y="91"/>
                    </a:cubicBezTo>
                    <a:cubicBezTo>
                      <a:pt x="54" y="76"/>
                      <a:pt x="48" y="63"/>
                      <a:pt x="42" y="50"/>
                    </a:cubicBezTo>
                    <a:cubicBezTo>
                      <a:pt x="37" y="39"/>
                      <a:pt x="34" y="26"/>
                      <a:pt x="26" y="17"/>
                    </a:cubicBezTo>
                    <a:cubicBezTo>
                      <a:pt x="17" y="6"/>
                      <a:pt x="0" y="7"/>
                      <a:pt x="4" y="23"/>
                    </a:cubicBezTo>
                    <a:cubicBezTo>
                      <a:pt x="10" y="49"/>
                      <a:pt x="12" y="85"/>
                      <a:pt x="31" y="104"/>
                    </a:cubicBezTo>
                    <a:cubicBezTo>
                      <a:pt x="43" y="117"/>
                      <a:pt x="63" y="107"/>
                      <a:pt x="55" y="90"/>
                    </a:cubicBezTo>
                    <a:cubicBezTo>
                      <a:pt x="55" y="89"/>
                      <a:pt x="52" y="90"/>
                      <a:pt x="52" y="91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09" name="Freeform 356">
                <a:extLst>
                  <a:ext uri="{FF2B5EF4-FFF2-40B4-BE49-F238E27FC236}">
                    <a16:creationId xmlns:a16="http://schemas.microsoft.com/office/drawing/2014/main" id="{E1981A08-033A-4C63-8497-09B1D3A1D79D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98" y="2853"/>
                <a:ext cx="31" cy="36"/>
              </a:xfrm>
              <a:custGeom>
                <a:avLst/>
                <a:gdLst>
                  <a:gd name="T0" fmla="*/ 15 w 29"/>
                  <a:gd name="T1" fmla="*/ 28 h 34"/>
                  <a:gd name="T2" fmla="*/ 11 w 29"/>
                  <a:gd name="T3" fmla="*/ 9 h 34"/>
                  <a:gd name="T4" fmla="*/ 24 w 29"/>
                  <a:gd name="T5" fmla="*/ 13 h 34"/>
                  <a:gd name="T6" fmla="*/ 12 w 29"/>
                  <a:gd name="T7" fmla="*/ 25 h 34"/>
                  <a:gd name="T8" fmla="*/ 12 w 29"/>
                  <a:gd name="T9" fmla="*/ 31 h 34"/>
                  <a:gd name="T10" fmla="*/ 28 w 29"/>
                  <a:gd name="T11" fmla="*/ 13 h 34"/>
                  <a:gd name="T12" fmla="*/ 10 w 29"/>
                  <a:gd name="T13" fmla="*/ 4 h 34"/>
                  <a:gd name="T14" fmla="*/ 15 w 29"/>
                  <a:gd name="T15" fmla="*/ 32 h 34"/>
                  <a:gd name="T16" fmla="*/ 15 w 29"/>
                  <a:gd name="T17" fmla="*/ 28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9" h="34">
                    <a:moveTo>
                      <a:pt x="15" y="28"/>
                    </a:moveTo>
                    <a:cubicBezTo>
                      <a:pt x="6" y="27"/>
                      <a:pt x="7" y="15"/>
                      <a:pt x="11" y="9"/>
                    </a:cubicBezTo>
                    <a:cubicBezTo>
                      <a:pt x="15" y="5"/>
                      <a:pt x="23" y="7"/>
                      <a:pt x="24" y="13"/>
                    </a:cubicBezTo>
                    <a:cubicBezTo>
                      <a:pt x="25" y="20"/>
                      <a:pt x="17" y="24"/>
                      <a:pt x="12" y="25"/>
                    </a:cubicBezTo>
                    <a:cubicBezTo>
                      <a:pt x="8" y="25"/>
                      <a:pt x="9" y="31"/>
                      <a:pt x="12" y="31"/>
                    </a:cubicBezTo>
                    <a:cubicBezTo>
                      <a:pt x="21" y="30"/>
                      <a:pt x="29" y="22"/>
                      <a:pt x="28" y="13"/>
                    </a:cubicBezTo>
                    <a:cubicBezTo>
                      <a:pt x="27" y="5"/>
                      <a:pt x="17" y="0"/>
                      <a:pt x="10" y="4"/>
                    </a:cubicBezTo>
                    <a:cubicBezTo>
                      <a:pt x="0" y="9"/>
                      <a:pt x="0" y="34"/>
                      <a:pt x="15" y="32"/>
                    </a:cubicBezTo>
                    <a:cubicBezTo>
                      <a:pt x="17" y="31"/>
                      <a:pt x="17" y="28"/>
                      <a:pt x="15" y="28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10" name="Freeform 357">
                <a:extLst>
                  <a:ext uri="{FF2B5EF4-FFF2-40B4-BE49-F238E27FC236}">
                    <a16:creationId xmlns:a16="http://schemas.microsoft.com/office/drawing/2014/main" id="{9C03E232-E9F1-4842-B7BB-857E555D5D8B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24" y="2760"/>
                <a:ext cx="26" cy="30"/>
              </a:xfrm>
              <a:custGeom>
                <a:avLst/>
                <a:gdLst>
                  <a:gd name="T0" fmla="*/ 11 w 25"/>
                  <a:gd name="T1" fmla="*/ 26 h 29"/>
                  <a:gd name="T2" fmla="*/ 4 w 25"/>
                  <a:gd name="T3" fmla="*/ 13 h 29"/>
                  <a:gd name="T4" fmla="*/ 11 w 25"/>
                  <a:gd name="T5" fmla="*/ 6 h 29"/>
                  <a:gd name="T6" fmla="*/ 19 w 25"/>
                  <a:gd name="T7" fmla="*/ 14 h 29"/>
                  <a:gd name="T8" fmla="*/ 10 w 25"/>
                  <a:gd name="T9" fmla="*/ 15 h 29"/>
                  <a:gd name="T10" fmla="*/ 7 w 25"/>
                  <a:gd name="T11" fmla="*/ 19 h 29"/>
                  <a:gd name="T12" fmla="*/ 22 w 25"/>
                  <a:gd name="T13" fmla="*/ 18 h 29"/>
                  <a:gd name="T14" fmla="*/ 17 w 25"/>
                  <a:gd name="T15" fmla="*/ 4 h 29"/>
                  <a:gd name="T16" fmla="*/ 0 w 25"/>
                  <a:gd name="T17" fmla="*/ 8 h 29"/>
                  <a:gd name="T18" fmla="*/ 1 w 25"/>
                  <a:gd name="T19" fmla="*/ 18 h 29"/>
                  <a:gd name="T20" fmla="*/ 9 w 25"/>
                  <a:gd name="T21" fmla="*/ 28 h 29"/>
                  <a:gd name="T22" fmla="*/ 11 w 25"/>
                  <a:gd name="T23" fmla="*/ 26 h 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25" h="29">
                    <a:moveTo>
                      <a:pt x="11" y="26"/>
                    </a:moveTo>
                    <a:cubicBezTo>
                      <a:pt x="8" y="22"/>
                      <a:pt x="4" y="19"/>
                      <a:pt x="4" y="13"/>
                    </a:cubicBezTo>
                    <a:cubicBezTo>
                      <a:pt x="3" y="8"/>
                      <a:pt x="6" y="5"/>
                      <a:pt x="11" y="6"/>
                    </a:cubicBezTo>
                    <a:cubicBezTo>
                      <a:pt x="15" y="7"/>
                      <a:pt x="20" y="9"/>
                      <a:pt x="19" y="14"/>
                    </a:cubicBezTo>
                    <a:cubicBezTo>
                      <a:pt x="17" y="18"/>
                      <a:pt x="13" y="16"/>
                      <a:pt x="10" y="15"/>
                    </a:cubicBezTo>
                    <a:cubicBezTo>
                      <a:pt x="8" y="15"/>
                      <a:pt x="5" y="17"/>
                      <a:pt x="7" y="19"/>
                    </a:cubicBezTo>
                    <a:cubicBezTo>
                      <a:pt x="10" y="25"/>
                      <a:pt x="19" y="24"/>
                      <a:pt x="22" y="18"/>
                    </a:cubicBezTo>
                    <a:cubicBezTo>
                      <a:pt x="25" y="13"/>
                      <a:pt x="22" y="6"/>
                      <a:pt x="17" y="4"/>
                    </a:cubicBezTo>
                    <a:cubicBezTo>
                      <a:pt x="11" y="1"/>
                      <a:pt x="2" y="0"/>
                      <a:pt x="0" y="8"/>
                    </a:cubicBezTo>
                    <a:cubicBezTo>
                      <a:pt x="0" y="11"/>
                      <a:pt x="0" y="15"/>
                      <a:pt x="1" y="18"/>
                    </a:cubicBezTo>
                    <a:cubicBezTo>
                      <a:pt x="2" y="22"/>
                      <a:pt x="6" y="24"/>
                      <a:pt x="9" y="28"/>
                    </a:cubicBezTo>
                    <a:cubicBezTo>
                      <a:pt x="11" y="29"/>
                      <a:pt x="13" y="27"/>
                      <a:pt x="11" y="26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11" name="Freeform 358">
                <a:extLst>
                  <a:ext uri="{FF2B5EF4-FFF2-40B4-BE49-F238E27FC236}">
                    <a16:creationId xmlns:a16="http://schemas.microsoft.com/office/drawing/2014/main" id="{B725D0D0-0CE8-4105-973F-9E2F9AF471BE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27" y="2652"/>
                <a:ext cx="39" cy="44"/>
              </a:xfrm>
              <a:custGeom>
                <a:avLst/>
                <a:gdLst>
                  <a:gd name="T0" fmla="*/ 29 w 37"/>
                  <a:gd name="T1" fmla="*/ 25 h 42"/>
                  <a:gd name="T2" fmla="*/ 17 w 37"/>
                  <a:gd name="T3" fmla="*/ 13 h 42"/>
                  <a:gd name="T4" fmla="*/ 24 w 37"/>
                  <a:gd name="T5" fmla="*/ 10 h 42"/>
                  <a:gd name="T6" fmla="*/ 30 w 37"/>
                  <a:gd name="T7" fmla="*/ 16 h 42"/>
                  <a:gd name="T8" fmla="*/ 30 w 37"/>
                  <a:gd name="T9" fmla="*/ 23 h 42"/>
                  <a:gd name="T10" fmla="*/ 23 w 37"/>
                  <a:gd name="T11" fmla="*/ 28 h 42"/>
                  <a:gd name="T12" fmla="*/ 25 w 37"/>
                  <a:gd name="T13" fmla="*/ 34 h 42"/>
                  <a:gd name="T14" fmla="*/ 36 w 37"/>
                  <a:gd name="T15" fmla="*/ 25 h 42"/>
                  <a:gd name="T16" fmla="*/ 37 w 37"/>
                  <a:gd name="T17" fmla="*/ 19 h 42"/>
                  <a:gd name="T18" fmla="*/ 35 w 37"/>
                  <a:gd name="T19" fmla="*/ 13 h 42"/>
                  <a:gd name="T20" fmla="*/ 13 w 37"/>
                  <a:gd name="T21" fmla="*/ 8 h 42"/>
                  <a:gd name="T22" fmla="*/ 33 w 37"/>
                  <a:gd name="T23" fmla="*/ 28 h 42"/>
                  <a:gd name="T24" fmla="*/ 29 w 37"/>
                  <a:gd name="T25" fmla="*/ 25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37" h="42">
                    <a:moveTo>
                      <a:pt x="29" y="25"/>
                    </a:moveTo>
                    <a:cubicBezTo>
                      <a:pt x="24" y="31"/>
                      <a:pt x="12" y="20"/>
                      <a:pt x="17" y="13"/>
                    </a:cubicBezTo>
                    <a:cubicBezTo>
                      <a:pt x="19" y="11"/>
                      <a:pt x="21" y="10"/>
                      <a:pt x="24" y="10"/>
                    </a:cubicBezTo>
                    <a:cubicBezTo>
                      <a:pt x="28" y="10"/>
                      <a:pt x="29" y="13"/>
                      <a:pt x="30" y="16"/>
                    </a:cubicBezTo>
                    <a:cubicBezTo>
                      <a:pt x="31" y="19"/>
                      <a:pt x="31" y="20"/>
                      <a:pt x="30" y="23"/>
                    </a:cubicBezTo>
                    <a:cubicBezTo>
                      <a:pt x="28" y="25"/>
                      <a:pt x="26" y="26"/>
                      <a:pt x="23" y="28"/>
                    </a:cubicBezTo>
                    <a:cubicBezTo>
                      <a:pt x="19" y="29"/>
                      <a:pt x="21" y="34"/>
                      <a:pt x="25" y="34"/>
                    </a:cubicBezTo>
                    <a:cubicBezTo>
                      <a:pt x="30" y="33"/>
                      <a:pt x="34" y="30"/>
                      <a:pt x="36" y="25"/>
                    </a:cubicBezTo>
                    <a:cubicBezTo>
                      <a:pt x="36" y="23"/>
                      <a:pt x="37" y="21"/>
                      <a:pt x="37" y="19"/>
                    </a:cubicBezTo>
                    <a:cubicBezTo>
                      <a:pt x="37" y="17"/>
                      <a:pt x="36" y="15"/>
                      <a:pt x="35" y="13"/>
                    </a:cubicBezTo>
                    <a:cubicBezTo>
                      <a:pt x="32" y="4"/>
                      <a:pt x="20" y="0"/>
                      <a:pt x="13" y="8"/>
                    </a:cubicBezTo>
                    <a:cubicBezTo>
                      <a:pt x="0" y="21"/>
                      <a:pt x="25" y="42"/>
                      <a:pt x="33" y="28"/>
                    </a:cubicBezTo>
                    <a:cubicBezTo>
                      <a:pt x="34" y="26"/>
                      <a:pt x="31" y="24"/>
                      <a:pt x="29" y="25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12" name="Freeform 359">
                <a:extLst>
                  <a:ext uri="{FF2B5EF4-FFF2-40B4-BE49-F238E27FC236}">
                    <a16:creationId xmlns:a16="http://schemas.microsoft.com/office/drawing/2014/main" id="{6609CDB3-55C4-48D8-9717-E7D90DB967CD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662" y="658"/>
                <a:ext cx="67" cy="465"/>
              </a:xfrm>
              <a:custGeom>
                <a:avLst/>
                <a:gdLst>
                  <a:gd name="T0" fmla="*/ 12 w 63"/>
                  <a:gd name="T1" fmla="*/ 3 h 439"/>
                  <a:gd name="T2" fmla="*/ 14 w 63"/>
                  <a:gd name="T3" fmla="*/ 28 h 439"/>
                  <a:gd name="T4" fmla="*/ 20 w 63"/>
                  <a:gd name="T5" fmla="*/ 69 h 439"/>
                  <a:gd name="T6" fmla="*/ 26 w 63"/>
                  <a:gd name="T7" fmla="*/ 104 h 439"/>
                  <a:gd name="T8" fmla="*/ 31 w 63"/>
                  <a:gd name="T9" fmla="*/ 162 h 439"/>
                  <a:gd name="T10" fmla="*/ 25 w 63"/>
                  <a:gd name="T11" fmla="*/ 208 h 439"/>
                  <a:gd name="T12" fmla="*/ 14 w 63"/>
                  <a:gd name="T13" fmla="*/ 193 h 439"/>
                  <a:gd name="T14" fmla="*/ 38 w 63"/>
                  <a:gd name="T15" fmla="*/ 207 h 439"/>
                  <a:gd name="T16" fmla="*/ 46 w 63"/>
                  <a:gd name="T17" fmla="*/ 244 h 439"/>
                  <a:gd name="T18" fmla="*/ 39 w 63"/>
                  <a:gd name="T19" fmla="*/ 262 h 439"/>
                  <a:gd name="T20" fmla="*/ 40 w 63"/>
                  <a:gd name="T21" fmla="*/ 263 h 439"/>
                  <a:gd name="T22" fmla="*/ 43 w 63"/>
                  <a:gd name="T23" fmla="*/ 269 h 439"/>
                  <a:gd name="T24" fmla="*/ 49 w 63"/>
                  <a:gd name="T25" fmla="*/ 336 h 439"/>
                  <a:gd name="T26" fmla="*/ 53 w 63"/>
                  <a:gd name="T27" fmla="*/ 387 h 439"/>
                  <a:gd name="T28" fmla="*/ 49 w 63"/>
                  <a:gd name="T29" fmla="*/ 431 h 439"/>
                  <a:gd name="T30" fmla="*/ 60 w 63"/>
                  <a:gd name="T31" fmla="*/ 432 h 439"/>
                  <a:gd name="T32" fmla="*/ 62 w 63"/>
                  <a:gd name="T33" fmla="*/ 399 h 439"/>
                  <a:gd name="T34" fmla="*/ 60 w 63"/>
                  <a:gd name="T35" fmla="*/ 375 h 439"/>
                  <a:gd name="T36" fmla="*/ 60 w 63"/>
                  <a:gd name="T37" fmla="*/ 296 h 439"/>
                  <a:gd name="T38" fmla="*/ 37 w 63"/>
                  <a:gd name="T39" fmla="*/ 246 h 439"/>
                  <a:gd name="T40" fmla="*/ 17 w 63"/>
                  <a:gd name="T41" fmla="*/ 271 h 439"/>
                  <a:gd name="T42" fmla="*/ 58 w 63"/>
                  <a:gd name="T43" fmla="*/ 255 h 439"/>
                  <a:gd name="T44" fmla="*/ 41 w 63"/>
                  <a:gd name="T45" fmla="*/ 189 h 439"/>
                  <a:gd name="T46" fmla="*/ 0 w 63"/>
                  <a:gd name="T47" fmla="*/ 197 h 439"/>
                  <a:gd name="T48" fmla="*/ 29 w 63"/>
                  <a:gd name="T49" fmla="*/ 223 h 439"/>
                  <a:gd name="T50" fmla="*/ 44 w 63"/>
                  <a:gd name="T51" fmla="*/ 178 h 439"/>
                  <a:gd name="T52" fmla="*/ 37 w 63"/>
                  <a:gd name="T53" fmla="*/ 96 h 439"/>
                  <a:gd name="T54" fmla="*/ 30 w 63"/>
                  <a:gd name="T55" fmla="*/ 67 h 439"/>
                  <a:gd name="T56" fmla="*/ 21 w 63"/>
                  <a:gd name="T57" fmla="*/ 28 h 439"/>
                  <a:gd name="T58" fmla="*/ 21 w 63"/>
                  <a:gd name="T59" fmla="*/ 18 h 439"/>
                  <a:gd name="T60" fmla="*/ 15 w 63"/>
                  <a:gd name="T61" fmla="*/ 3 h 439"/>
                  <a:gd name="T62" fmla="*/ 12 w 63"/>
                  <a:gd name="T63" fmla="*/ 3 h 4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63" h="439">
                    <a:moveTo>
                      <a:pt x="12" y="3"/>
                    </a:moveTo>
                    <a:cubicBezTo>
                      <a:pt x="11" y="11"/>
                      <a:pt x="14" y="19"/>
                      <a:pt x="14" y="28"/>
                    </a:cubicBezTo>
                    <a:cubicBezTo>
                      <a:pt x="14" y="41"/>
                      <a:pt x="17" y="56"/>
                      <a:pt x="20" y="69"/>
                    </a:cubicBezTo>
                    <a:cubicBezTo>
                      <a:pt x="22" y="81"/>
                      <a:pt x="24" y="92"/>
                      <a:pt x="26" y="104"/>
                    </a:cubicBezTo>
                    <a:cubicBezTo>
                      <a:pt x="29" y="123"/>
                      <a:pt x="31" y="142"/>
                      <a:pt x="31" y="162"/>
                    </a:cubicBezTo>
                    <a:cubicBezTo>
                      <a:pt x="32" y="174"/>
                      <a:pt x="34" y="199"/>
                      <a:pt x="25" y="208"/>
                    </a:cubicBezTo>
                    <a:cubicBezTo>
                      <a:pt x="15" y="219"/>
                      <a:pt x="10" y="198"/>
                      <a:pt x="14" y="193"/>
                    </a:cubicBezTo>
                    <a:cubicBezTo>
                      <a:pt x="20" y="186"/>
                      <a:pt x="35" y="202"/>
                      <a:pt x="38" y="207"/>
                    </a:cubicBezTo>
                    <a:cubicBezTo>
                      <a:pt x="43" y="216"/>
                      <a:pt x="47" y="233"/>
                      <a:pt x="46" y="244"/>
                    </a:cubicBezTo>
                    <a:cubicBezTo>
                      <a:pt x="46" y="252"/>
                      <a:pt x="43" y="255"/>
                      <a:pt x="39" y="262"/>
                    </a:cubicBezTo>
                    <a:cubicBezTo>
                      <a:pt x="33" y="256"/>
                      <a:pt x="33" y="256"/>
                      <a:pt x="40" y="263"/>
                    </a:cubicBezTo>
                    <a:cubicBezTo>
                      <a:pt x="41" y="265"/>
                      <a:pt x="42" y="267"/>
                      <a:pt x="43" y="269"/>
                    </a:cubicBezTo>
                    <a:cubicBezTo>
                      <a:pt x="52" y="289"/>
                      <a:pt x="48" y="314"/>
                      <a:pt x="49" y="336"/>
                    </a:cubicBezTo>
                    <a:cubicBezTo>
                      <a:pt x="49" y="353"/>
                      <a:pt x="51" y="369"/>
                      <a:pt x="53" y="387"/>
                    </a:cubicBezTo>
                    <a:cubicBezTo>
                      <a:pt x="54" y="402"/>
                      <a:pt x="50" y="416"/>
                      <a:pt x="49" y="431"/>
                    </a:cubicBezTo>
                    <a:cubicBezTo>
                      <a:pt x="47" y="439"/>
                      <a:pt x="61" y="439"/>
                      <a:pt x="60" y="432"/>
                    </a:cubicBezTo>
                    <a:cubicBezTo>
                      <a:pt x="58" y="420"/>
                      <a:pt x="61" y="410"/>
                      <a:pt x="62" y="399"/>
                    </a:cubicBezTo>
                    <a:cubicBezTo>
                      <a:pt x="63" y="390"/>
                      <a:pt x="61" y="383"/>
                      <a:pt x="60" y="375"/>
                    </a:cubicBezTo>
                    <a:cubicBezTo>
                      <a:pt x="57" y="349"/>
                      <a:pt x="61" y="322"/>
                      <a:pt x="60" y="296"/>
                    </a:cubicBezTo>
                    <a:cubicBezTo>
                      <a:pt x="59" y="280"/>
                      <a:pt x="56" y="252"/>
                      <a:pt x="37" y="246"/>
                    </a:cubicBezTo>
                    <a:cubicBezTo>
                      <a:pt x="23" y="242"/>
                      <a:pt x="8" y="257"/>
                      <a:pt x="17" y="271"/>
                    </a:cubicBezTo>
                    <a:cubicBezTo>
                      <a:pt x="29" y="291"/>
                      <a:pt x="54" y="270"/>
                      <a:pt x="58" y="255"/>
                    </a:cubicBezTo>
                    <a:cubicBezTo>
                      <a:pt x="63" y="235"/>
                      <a:pt x="56" y="202"/>
                      <a:pt x="41" y="189"/>
                    </a:cubicBezTo>
                    <a:cubicBezTo>
                      <a:pt x="25" y="177"/>
                      <a:pt x="1" y="168"/>
                      <a:pt x="0" y="197"/>
                    </a:cubicBezTo>
                    <a:cubicBezTo>
                      <a:pt x="0" y="212"/>
                      <a:pt x="10" y="234"/>
                      <a:pt x="29" y="223"/>
                    </a:cubicBezTo>
                    <a:cubicBezTo>
                      <a:pt x="43" y="214"/>
                      <a:pt x="44" y="192"/>
                      <a:pt x="44" y="178"/>
                    </a:cubicBezTo>
                    <a:cubicBezTo>
                      <a:pt x="45" y="151"/>
                      <a:pt x="42" y="123"/>
                      <a:pt x="37" y="96"/>
                    </a:cubicBezTo>
                    <a:cubicBezTo>
                      <a:pt x="35" y="86"/>
                      <a:pt x="33" y="77"/>
                      <a:pt x="30" y="67"/>
                    </a:cubicBezTo>
                    <a:cubicBezTo>
                      <a:pt x="27" y="54"/>
                      <a:pt x="23" y="41"/>
                      <a:pt x="21" y="28"/>
                    </a:cubicBezTo>
                    <a:cubicBezTo>
                      <a:pt x="21" y="24"/>
                      <a:pt x="21" y="21"/>
                      <a:pt x="21" y="18"/>
                    </a:cubicBezTo>
                    <a:cubicBezTo>
                      <a:pt x="20" y="13"/>
                      <a:pt x="15" y="6"/>
                      <a:pt x="15" y="3"/>
                    </a:cubicBezTo>
                    <a:cubicBezTo>
                      <a:pt x="15" y="0"/>
                      <a:pt x="12" y="0"/>
                      <a:pt x="12" y="3"/>
                    </a:cubicBezTo>
                    <a:close/>
                  </a:path>
                </a:pathLst>
              </a:custGeom>
              <a:solidFill>
                <a:srgbClr val="04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13" name="Freeform 360">
                <a:extLst>
                  <a:ext uri="{FF2B5EF4-FFF2-40B4-BE49-F238E27FC236}">
                    <a16:creationId xmlns:a16="http://schemas.microsoft.com/office/drawing/2014/main" id="{AB58B9F0-23D4-490D-9B9B-F88726A3B19A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417" y="1536"/>
                <a:ext cx="76" cy="39"/>
              </a:xfrm>
              <a:custGeom>
                <a:avLst/>
                <a:gdLst>
                  <a:gd name="T0" fmla="*/ 29 w 72"/>
                  <a:gd name="T1" fmla="*/ 30 h 37"/>
                  <a:gd name="T2" fmla="*/ 7 w 72"/>
                  <a:gd name="T3" fmla="*/ 37 h 37"/>
                  <a:gd name="T4" fmla="*/ 6 w 72"/>
                  <a:gd name="T5" fmla="*/ 35 h 37"/>
                  <a:gd name="T6" fmla="*/ 10 w 72"/>
                  <a:gd name="T7" fmla="*/ 17 h 37"/>
                  <a:gd name="T8" fmla="*/ 29 w 72"/>
                  <a:gd name="T9" fmla="*/ 3 h 37"/>
                  <a:gd name="T10" fmla="*/ 55 w 72"/>
                  <a:gd name="T11" fmla="*/ 1 h 37"/>
                  <a:gd name="T12" fmla="*/ 71 w 72"/>
                  <a:gd name="T13" fmla="*/ 17 h 37"/>
                  <a:gd name="T14" fmla="*/ 29 w 72"/>
                  <a:gd name="T15" fmla="*/ 30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72" h="37">
                    <a:moveTo>
                      <a:pt x="29" y="30"/>
                    </a:moveTo>
                    <a:cubicBezTo>
                      <a:pt x="21" y="32"/>
                      <a:pt x="14" y="34"/>
                      <a:pt x="7" y="37"/>
                    </a:cubicBezTo>
                    <a:cubicBezTo>
                      <a:pt x="6" y="35"/>
                      <a:pt x="6" y="35"/>
                      <a:pt x="6" y="35"/>
                    </a:cubicBezTo>
                    <a:cubicBezTo>
                      <a:pt x="0" y="31"/>
                      <a:pt x="5" y="20"/>
                      <a:pt x="10" y="17"/>
                    </a:cubicBezTo>
                    <a:cubicBezTo>
                      <a:pt x="13" y="11"/>
                      <a:pt x="22" y="7"/>
                      <a:pt x="29" y="3"/>
                    </a:cubicBezTo>
                    <a:cubicBezTo>
                      <a:pt x="38" y="1"/>
                      <a:pt x="45" y="0"/>
                      <a:pt x="55" y="1"/>
                    </a:cubicBezTo>
                    <a:cubicBezTo>
                      <a:pt x="63" y="2"/>
                      <a:pt x="72" y="10"/>
                      <a:pt x="71" y="17"/>
                    </a:cubicBezTo>
                    <a:cubicBezTo>
                      <a:pt x="69" y="32"/>
                      <a:pt x="39" y="28"/>
                      <a:pt x="29" y="30"/>
                    </a:cubicBezTo>
                    <a:close/>
                  </a:path>
                </a:pathLst>
              </a:custGeom>
              <a:solidFill>
                <a:srgbClr val="F6B84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14" name="Freeform 361">
                <a:extLst>
                  <a:ext uri="{FF2B5EF4-FFF2-40B4-BE49-F238E27FC236}">
                    <a16:creationId xmlns:a16="http://schemas.microsoft.com/office/drawing/2014/main" id="{DE4F04CA-2975-43DF-802D-E29CD8160319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452" y="1825"/>
                <a:ext cx="106" cy="110"/>
              </a:xfrm>
              <a:custGeom>
                <a:avLst/>
                <a:gdLst>
                  <a:gd name="T0" fmla="*/ 56 w 100"/>
                  <a:gd name="T1" fmla="*/ 0 h 104"/>
                  <a:gd name="T2" fmla="*/ 57 w 100"/>
                  <a:gd name="T3" fmla="*/ 7 h 104"/>
                  <a:gd name="T4" fmla="*/ 91 w 100"/>
                  <a:gd name="T5" fmla="*/ 27 h 104"/>
                  <a:gd name="T6" fmla="*/ 100 w 100"/>
                  <a:gd name="T7" fmla="*/ 60 h 104"/>
                  <a:gd name="T8" fmla="*/ 33 w 100"/>
                  <a:gd name="T9" fmla="*/ 97 h 104"/>
                  <a:gd name="T10" fmla="*/ 6 w 100"/>
                  <a:gd name="T11" fmla="*/ 44 h 104"/>
                  <a:gd name="T12" fmla="*/ 48 w 100"/>
                  <a:gd name="T13" fmla="*/ 9 h 104"/>
                  <a:gd name="T14" fmla="*/ 47 w 100"/>
                  <a:gd name="T15" fmla="*/ 2 h 104"/>
                  <a:gd name="T16" fmla="*/ 56 w 100"/>
                  <a:gd name="T17" fmla="*/ 0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00" h="104">
                    <a:moveTo>
                      <a:pt x="56" y="0"/>
                    </a:moveTo>
                    <a:cubicBezTo>
                      <a:pt x="57" y="7"/>
                      <a:pt x="57" y="7"/>
                      <a:pt x="57" y="7"/>
                    </a:cubicBezTo>
                    <a:cubicBezTo>
                      <a:pt x="68" y="12"/>
                      <a:pt x="86" y="14"/>
                      <a:pt x="91" y="27"/>
                    </a:cubicBezTo>
                    <a:cubicBezTo>
                      <a:pt x="93" y="37"/>
                      <a:pt x="100" y="50"/>
                      <a:pt x="100" y="60"/>
                    </a:cubicBezTo>
                    <a:cubicBezTo>
                      <a:pt x="96" y="92"/>
                      <a:pt x="59" y="104"/>
                      <a:pt x="33" y="97"/>
                    </a:cubicBezTo>
                    <a:cubicBezTo>
                      <a:pt x="8" y="92"/>
                      <a:pt x="0" y="65"/>
                      <a:pt x="6" y="44"/>
                    </a:cubicBezTo>
                    <a:cubicBezTo>
                      <a:pt x="14" y="23"/>
                      <a:pt x="29" y="13"/>
                      <a:pt x="48" y="9"/>
                    </a:cubicBezTo>
                    <a:cubicBezTo>
                      <a:pt x="47" y="2"/>
                      <a:pt x="47" y="2"/>
                      <a:pt x="47" y="2"/>
                    </a:cubicBezTo>
                    <a:cubicBezTo>
                      <a:pt x="50" y="1"/>
                      <a:pt x="53" y="0"/>
                      <a:pt x="56" y="0"/>
                    </a:cubicBezTo>
                    <a:close/>
                  </a:path>
                </a:pathLst>
              </a:custGeom>
              <a:solidFill>
                <a:srgbClr val="F6B84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15" name="Freeform 362">
                <a:extLst>
                  <a:ext uri="{FF2B5EF4-FFF2-40B4-BE49-F238E27FC236}">
                    <a16:creationId xmlns:a16="http://schemas.microsoft.com/office/drawing/2014/main" id="{45C27DD4-078B-4859-9E3E-32D9D9F5E2BE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594" y="1677"/>
                <a:ext cx="97" cy="107"/>
              </a:xfrm>
              <a:custGeom>
                <a:avLst/>
                <a:gdLst>
                  <a:gd name="T0" fmla="*/ 7 w 92"/>
                  <a:gd name="T1" fmla="*/ 35 h 101"/>
                  <a:gd name="T2" fmla="*/ 32 w 92"/>
                  <a:gd name="T3" fmla="*/ 3 h 101"/>
                  <a:gd name="T4" fmla="*/ 43 w 92"/>
                  <a:gd name="T5" fmla="*/ 4 h 101"/>
                  <a:gd name="T6" fmla="*/ 43 w 92"/>
                  <a:gd name="T7" fmla="*/ 0 h 101"/>
                  <a:gd name="T8" fmla="*/ 71 w 92"/>
                  <a:gd name="T9" fmla="*/ 15 h 101"/>
                  <a:gd name="T10" fmla="*/ 87 w 92"/>
                  <a:gd name="T11" fmla="*/ 44 h 101"/>
                  <a:gd name="T12" fmla="*/ 85 w 92"/>
                  <a:gd name="T13" fmla="*/ 84 h 101"/>
                  <a:gd name="T14" fmla="*/ 44 w 92"/>
                  <a:gd name="T15" fmla="*/ 99 h 101"/>
                  <a:gd name="T16" fmla="*/ 7 w 92"/>
                  <a:gd name="T17" fmla="*/ 35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92" h="101">
                    <a:moveTo>
                      <a:pt x="7" y="35"/>
                    </a:moveTo>
                    <a:cubicBezTo>
                      <a:pt x="9" y="23"/>
                      <a:pt x="18" y="6"/>
                      <a:pt x="32" y="3"/>
                    </a:cubicBezTo>
                    <a:cubicBezTo>
                      <a:pt x="36" y="2"/>
                      <a:pt x="39" y="4"/>
                      <a:pt x="43" y="4"/>
                    </a:cubicBezTo>
                    <a:cubicBezTo>
                      <a:pt x="43" y="0"/>
                      <a:pt x="43" y="0"/>
                      <a:pt x="43" y="0"/>
                    </a:cubicBezTo>
                    <a:cubicBezTo>
                      <a:pt x="54" y="1"/>
                      <a:pt x="63" y="8"/>
                      <a:pt x="71" y="15"/>
                    </a:cubicBezTo>
                    <a:cubicBezTo>
                      <a:pt x="80" y="23"/>
                      <a:pt x="84" y="32"/>
                      <a:pt x="87" y="44"/>
                    </a:cubicBezTo>
                    <a:cubicBezTo>
                      <a:pt x="89" y="56"/>
                      <a:pt x="92" y="72"/>
                      <a:pt x="85" y="84"/>
                    </a:cubicBezTo>
                    <a:cubicBezTo>
                      <a:pt x="78" y="97"/>
                      <a:pt x="59" y="101"/>
                      <a:pt x="44" y="99"/>
                    </a:cubicBezTo>
                    <a:cubicBezTo>
                      <a:pt x="18" y="94"/>
                      <a:pt x="0" y="61"/>
                      <a:pt x="7" y="35"/>
                    </a:cubicBezTo>
                    <a:close/>
                  </a:path>
                </a:pathLst>
              </a:custGeom>
              <a:solidFill>
                <a:srgbClr val="E840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16" name="Freeform 363">
                <a:extLst>
                  <a:ext uri="{FF2B5EF4-FFF2-40B4-BE49-F238E27FC236}">
                    <a16:creationId xmlns:a16="http://schemas.microsoft.com/office/drawing/2014/main" id="{AD84A901-BE77-4BFA-A85D-E8BF053F36D9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683" y="1571"/>
                <a:ext cx="92" cy="105"/>
              </a:xfrm>
              <a:custGeom>
                <a:avLst/>
                <a:gdLst>
                  <a:gd name="T0" fmla="*/ 36 w 87"/>
                  <a:gd name="T1" fmla="*/ 1 h 99"/>
                  <a:gd name="T2" fmla="*/ 82 w 87"/>
                  <a:gd name="T3" fmla="*/ 48 h 99"/>
                  <a:gd name="T4" fmla="*/ 75 w 87"/>
                  <a:gd name="T5" fmla="*/ 86 h 99"/>
                  <a:gd name="T6" fmla="*/ 34 w 87"/>
                  <a:gd name="T7" fmla="*/ 94 h 99"/>
                  <a:gd name="T8" fmla="*/ 11 w 87"/>
                  <a:gd name="T9" fmla="*/ 72 h 99"/>
                  <a:gd name="T10" fmla="*/ 2 w 87"/>
                  <a:gd name="T11" fmla="*/ 29 h 99"/>
                  <a:gd name="T12" fmla="*/ 36 w 87"/>
                  <a:gd name="T13" fmla="*/ 1 h 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7" h="99">
                    <a:moveTo>
                      <a:pt x="36" y="1"/>
                    </a:moveTo>
                    <a:cubicBezTo>
                      <a:pt x="65" y="0"/>
                      <a:pt x="77" y="22"/>
                      <a:pt x="82" y="48"/>
                    </a:cubicBezTo>
                    <a:cubicBezTo>
                      <a:pt x="87" y="62"/>
                      <a:pt x="87" y="76"/>
                      <a:pt x="75" y="86"/>
                    </a:cubicBezTo>
                    <a:cubicBezTo>
                      <a:pt x="64" y="95"/>
                      <a:pt x="48" y="99"/>
                      <a:pt x="34" y="94"/>
                    </a:cubicBezTo>
                    <a:cubicBezTo>
                      <a:pt x="22" y="91"/>
                      <a:pt x="15" y="81"/>
                      <a:pt x="11" y="72"/>
                    </a:cubicBezTo>
                    <a:cubicBezTo>
                      <a:pt x="5" y="58"/>
                      <a:pt x="0" y="42"/>
                      <a:pt x="2" y="29"/>
                    </a:cubicBezTo>
                    <a:cubicBezTo>
                      <a:pt x="4" y="14"/>
                      <a:pt x="19" y="1"/>
                      <a:pt x="36" y="1"/>
                    </a:cubicBezTo>
                    <a:close/>
                  </a:path>
                </a:pathLst>
              </a:custGeom>
              <a:solidFill>
                <a:srgbClr val="E840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17" name="Freeform 364">
                <a:extLst>
                  <a:ext uri="{FF2B5EF4-FFF2-40B4-BE49-F238E27FC236}">
                    <a16:creationId xmlns:a16="http://schemas.microsoft.com/office/drawing/2014/main" id="{BBF48BE6-B2AB-42A6-86D3-0D77F7F55492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764" y="1486"/>
                <a:ext cx="102" cy="107"/>
              </a:xfrm>
              <a:custGeom>
                <a:avLst/>
                <a:gdLst>
                  <a:gd name="T0" fmla="*/ 54 w 96"/>
                  <a:gd name="T1" fmla="*/ 0 h 101"/>
                  <a:gd name="T2" fmla="*/ 88 w 96"/>
                  <a:gd name="T3" fmla="*/ 28 h 101"/>
                  <a:gd name="T4" fmla="*/ 94 w 96"/>
                  <a:gd name="T5" fmla="*/ 69 h 101"/>
                  <a:gd name="T6" fmla="*/ 67 w 96"/>
                  <a:gd name="T7" fmla="*/ 98 h 101"/>
                  <a:gd name="T8" fmla="*/ 30 w 96"/>
                  <a:gd name="T9" fmla="*/ 84 h 101"/>
                  <a:gd name="T10" fmla="*/ 26 w 96"/>
                  <a:gd name="T11" fmla="*/ 9 h 101"/>
                  <a:gd name="T12" fmla="*/ 44 w 96"/>
                  <a:gd name="T13" fmla="*/ 3 h 101"/>
                  <a:gd name="T14" fmla="*/ 53 w 96"/>
                  <a:gd name="T15" fmla="*/ 1 h 101"/>
                  <a:gd name="T16" fmla="*/ 54 w 96"/>
                  <a:gd name="T17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96" h="101">
                    <a:moveTo>
                      <a:pt x="54" y="0"/>
                    </a:moveTo>
                    <a:cubicBezTo>
                      <a:pt x="68" y="7"/>
                      <a:pt x="81" y="14"/>
                      <a:pt x="88" y="28"/>
                    </a:cubicBezTo>
                    <a:cubicBezTo>
                      <a:pt x="93" y="40"/>
                      <a:pt x="96" y="56"/>
                      <a:pt x="94" y="69"/>
                    </a:cubicBezTo>
                    <a:cubicBezTo>
                      <a:pt x="91" y="82"/>
                      <a:pt x="82" y="96"/>
                      <a:pt x="67" y="98"/>
                    </a:cubicBezTo>
                    <a:cubicBezTo>
                      <a:pt x="53" y="101"/>
                      <a:pt x="37" y="95"/>
                      <a:pt x="30" y="84"/>
                    </a:cubicBezTo>
                    <a:cubicBezTo>
                      <a:pt x="14" y="62"/>
                      <a:pt x="0" y="28"/>
                      <a:pt x="26" y="9"/>
                    </a:cubicBezTo>
                    <a:cubicBezTo>
                      <a:pt x="30" y="6"/>
                      <a:pt x="37" y="4"/>
                      <a:pt x="44" y="3"/>
                    </a:cubicBezTo>
                    <a:cubicBezTo>
                      <a:pt x="46" y="2"/>
                      <a:pt x="50" y="7"/>
                      <a:pt x="53" y="1"/>
                    </a:cubicBezTo>
                    <a:lnTo>
                      <a:pt x="54" y="0"/>
                    </a:lnTo>
                    <a:close/>
                  </a:path>
                </a:pathLst>
              </a:custGeom>
              <a:solidFill>
                <a:srgbClr val="E840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18" name="Freeform 365">
                <a:extLst>
                  <a:ext uri="{FF2B5EF4-FFF2-40B4-BE49-F238E27FC236}">
                    <a16:creationId xmlns:a16="http://schemas.microsoft.com/office/drawing/2014/main" id="{A933ADC0-CBB3-4955-8219-F7125B3E88E8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026" y="1655"/>
                <a:ext cx="82" cy="86"/>
              </a:xfrm>
              <a:custGeom>
                <a:avLst/>
                <a:gdLst>
                  <a:gd name="T0" fmla="*/ 48 w 78"/>
                  <a:gd name="T1" fmla="*/ 6 h 82"/>
                  <a:gd name="T2" fmla="*/ 76 w 78"/>
                  <a:gd name="T3" fmla="*/ 45 h 82"/>
                  <a:gd name="T4" fmla="*/ 58 w 78"/>
                  <a:gd name="T5" fmla="*/ 68 h 82"/>
                  <a:gd name="T6" fmla="*/ 24 w 78"/>
                  <a:gd name="T7" fmla="*/ 82 h 82"/>
                  <a:gd name="T8" fmla="*/ 4 w 78"/>
                  <a:gd name="T9" fmla="*/ 27 h 82"/>
                  <a:gd name="T10" fmla="*/ 2 w 78"/>
                  <a:gd name="T11" fmla="*/ 25 h 82"/>
                  <a:gd name="T12" fmla="*/ 48 w 78"/>
                  <a:gd name="T13" fmla="*/ 6 h 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78" h="82">
                    <a:moveTo>
                      <a:pt x="48" y="6"/>
                    </a:moveTo>
                    <a:cubicBezTo>
                      <a:pt x="66" y="10"/>
                      <a:pt x="75" y="30"/>
                      <a:pt x="76" y="45"/>
                    </a:cubicBezTo>
                    <a:cubicBezTo>
                      <a:pt x="78" y="59"/>
                      <a:pt x="69" y="63"/>
                      <a:pt x="58" y="68"/>
                    </a:cubicBezTo>
                    <a:cubicBezTo>
                      <a:pt x="47" y="72"/>
                      <a:pt x="36" y="82"/>
                      <a:pt x="24" y="82"/>
                    </a:cubicBezTo>
                    <a:cubicBezTo>
                      <a:pt x="0" y="82"/>
                      <a:pt x="0" y="45"/>
                      <a:pt x="4" y="27"/>
                    </a:cubicBezTo>
                    <a:cubicBezTo>
                      <a:pt x="2" y="25"/>
                      <a:pt x="2" y="25"/>
                      <a:pt x="2" y="25"/>
                    </a:cubicBezTo>
                    <a:cubicBezTo>
                      <a:pt x="15" y="15"/>
                      <a:pt x="34" y="0"/>
                      <a:pt x="48" y="6"/>
                    </a:cubicBezTo>
                    <a:close/>
                  </a:path>
                </a:pathLst>
              </a:custGeom>
              <a:solidFill>
                <a:srgbClr val="21AAD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19" name="Freeform 366">
                <a:extLst>
                  <a:ext uri="{FF2B5EF4-FFF2-40B4-BE49-F238E27FC236}">
                    <a16:creationId xmlns:a16="http://schemas.microsoft.com/office/drawing/2014/main" id="{5B984316-1574-42A8-B3BC-1A818842948C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134" y="1716"/>
                <a:ext cx="72" cy="94"/>
              </a:xfrm>
              <a:custGeom>
                <a:avLst/>
                <a:gdLst>
                  <a:gd name="T0" fmla="*/ 28 w 68"/>
                  <a:gd name="T1" fmla="*/ 1 h 89"/>
                  <a:gd name="T2" fmla="*/ 38 w 68"/>
                  <a:gd name="T3" fmla="*/ 1 h 89"/>
                  <a:gd name="T4" fmla="*/ 57 w 68"/>
                  <a:gd name="T5" fmla="*/ 24 h 89"/>
                  <a:gd name="T6" fmla="*/ 64 w 68"/>
                  <a:gd name="T7" fmla="*/ 50 h 89"/>
                  <a:gd name="T8" fmla="*/ 59 w 68"/>
                  <a:gd name="T9" fmla="*/ 75 h 89"/>
                  <a:gd name="T10" fmla="*/ 31 w 68"/>
                  <a:gd name="T11" fmla="*/ 86 h 89"/>
                  <a:gd name="T12" fmla="*/ 25 w 68"/>
                  <a:gd name="T13" fmla="*/ 87 h 89"/>
                  <a:gd name="T14" fmla="*/ 2 w 68"/>
                  <a:gd name="T15" fmla="*/ 72 h 89"/>
                  <a:gd name="T16" fmla="*/ 3 w 68"/>
                  <a:gd name="T17" fmla="*/ 37 h 89"/>
                  <a:gd name="T18" fmla="*/ 3 w 68"/>
                  <a:gd name="T19" fmla="*/ 13 h 89"/>
                  <a:gd name="T20" fmla="*/ 4 w 68"/>
                  <a:gd name="T21" fmla="*/ 8 h 89"/>
                  <a:gd name="T22" fmla="*/ 28 w 68"/>
                  <a:gd name="T23" fmla="*/ 1 h 8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68" h="89">
                    <a:moveTo>
                      <a:pt x="28" y="1"/>
                    </a:moveTo>
                    <a:cubicBezTo>
                      <a:pt x="32" y="0"/>
                      <a:pt x="35" y="0"/>
                      <a:pt x="38" y="1"/>
                    </a:cubicBezTo>
                    <a:cubicBezTo>
                      <a:pt x="48" y="4"/>
                      <a:pt x="53" y="14"/>
                      <a:pt x="57" y="24"/>
                    </a:cubicBezTo>
                    <a:cubicBezTo>
                      <a:pt x="61" y="31"/>
                      <a:pt x="62" y="40"/>
                      <a:pt x="64" y="50"/>
                    </a:cubicBezTo>
                    <a:cubicBezTo>
                      <a:pt x="68" y="59"/>
                      <a:pt x="68" y="69"/>
                      <a:pt x="59" y="75"/>
                    </a:cubicBezTo>
                    <a:cubicBezTo>
                      <a:pt x="52" y="81"/>
                      <a:pt x="40" y="84"/>
                      <a:pt x="31" y="86"/>
                    </a:cubicBezTo>
                    <a:cubicBezTo>
                      <a:pt x="29" y="86"/>
                      <a:pt x="27" y="87"/>
                      <a:pt x="25" y="87"/>
                    </a:cubicBezTo>
                    <a:cubicBezTo>
                      <a:pt x="13" y="89"/>
                      <a:pt x="5" y="83"/>
                      <a:pt x="2" y="72"/>
                    </a:cubicBezTo>
                    <a:cubicBezTo>
                      <a:pt x="0" y="60"/>
                      <a:pt x="3" y="50"/>
                      <a:pt x="3" y="37"/>
                    </a:cubicBezTo>
                    <a:cubicBezTo>
                      <a:pt x="4" y="30"/>
                      <a:pt x="2" y="20"/>
                      <a:pt x="3" y="13"/>
                    </a:cubicBezTo>
                    <a:cubicBezTo>
                      <a:pt x="4" y="8"/>
                      <a:pt x="4" y="8"/>
                      <a:pt x="4" y="8"/>
                    </a:cubicBezTo>
                    <a:cubicBezTo>
                      <a:pt x="13" y="8"/>
                      <a:pt x="19" y="2"/>
                      <a:pt x="28" y="1"/>
                    </a:cubicBezTo>
                    <a:close/>
                  </a:path>
                </a:pathLst>
              </a:custGeom>
              <a:solidFill>
                <a:srgbClr val="21AAD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20" name="Freeform 367">
                <a:extLst>
                  <a:ext uri="{FF2B5EF4-FFF2-40B4-BE49-F238E27FC236}">
                    <a16:creationId xmlns:a16="http://schemas.microsoft.com/office/drawing/2014/main" id="{6F75188E-ADF0-4C09-9C2B-CC1895FA96B6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182" y="1635"/>
                <a:ext cx="92" cy="69"/>
              </a:xfrm>
              <a:custGeom>
                <a:avLst/>
                <a:gdLst>
                  <a:gd name="T0" fmla="*/ 82 w 86"/>
                  <a:gd name="T1" fmla="*/ 49 h 65"/>
                  <a:gd name="T2" fmla="*/ 68 w 86"/>
                  <a:gd name="T3" fmla="*/ 57 h 65"/>
                  <a:gd name="T4" fmla="*/ 43 w 86"/>
                  <a:gd name="T5" fmla="*/ 62 h 65"/>
                  <a:gd name="T6" fmla="*/ 21 w 86"/>
                  <a:gd name="T7" fmla="*/ 64 h 65"/>
                  <a:gd name="T8" fmla="*/ 12 w 86"/>
                  <a:gd name="T9" fmla="*/ 56 h 65"/>
                  <a:gd name="T10" fmla="*/ 11 w 86"/>
                  <a:gd name="T11" fmla="*/ 54 h 65"/>
                  <a:gd name="T12" fmla="*/ 4 w 86"/>
                  <a:gd name="T13" fmla="*/ 28 h 65"/>
                  <a:gd name="T14" fmla="*/ 23 w 86"/>
                  <a:gd name="T15" fmla="*/ 15 h 65"/>
                  <a:gd name="T16" fmla="*/ 48 w 86"/>
                  <a:gd name="T17" fmla="*/ 5 h 65"/>
                  <a:gd name="T18" fmla="*/ 82 w 86"/>
                  <a:gd name="T19" fmla="*/ 13 h 65"/>
                  <a:gd name="T20" fmla="*/ 82 w 86"/>
                  <a:gd name="T21" fmla="*/ 49 h 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86" h="65">
                    <a:moveTo>
                      <a:pt x="82" y="49"/>
                    </a:moveTo>
                    <a:cubicBezTo>
                      <a:pt x="78" y="54"/>
                      <a:pt x="72" y="57"/>
                      <a:pt x="68" y="57"/>
                    </a:cubicBezTo>
                    <a:cubicBezTo>
                      <a:pt x="60" y="62"/>
                      <a:pt x="50" y="63"/>
                      <a:pt x="43" y="62"/>
                    </a:cubicBezTo>
                    <a:cubicBezTo>
                      <a:pt x="37" y="63"/>
                      <a:pt x="28" y="65"/>
                      <a:pt x="21" y="64"/>
                    </a:cubicBezTo>
                    <a:cubicBezTo>
                      <a:pt x="17" y="63"/>
                      <a:pt x="13" y="61"/>
                      <a:pt x="12" y="56"/>
                    </a:cubicBezTo>
                    <a:cubicBezTo>
                      <a:pt x="11" y="54"/>
                      <a:pt x="11" y="54"/>
                      <a:pt x="11" y="54"/>
                    </a:cubicBezTo>
                    <a:cubicBezTo>
                      <a:pt x="5" y="48"/>
                      <a:pt x="0" y="34"/>
                      <a:pt x="4" y="28"/>
                    </a:cubicBezTo>
                    <a:cubicBezTo>
                      <a:pt x="7" y="20"/>
                      <a:pt x="16" y="16"/>
                      <a:pt x="23" y="15"/>
                    </a:cubicBezTo>
                    <a:cubicBezTo>
                      <a:pt x="32" y="11"/>
                      <a:pt x="39" y="7"/>
                      <a:pt x="48" y="5"/>
                    </a:cubicBezTo>
                    <a:cubicBezTo>
                      <a:pt x="63" y="2"/>
                      <a:pt x="72" y="0"/>
                      <a:pt x="82" y="13"/>
                    </a:cubicBezTo>
                    <a:cubicBezTo>
                      <a:pt x="86" y="22"/>
                      <a:pt x="84" y="37"/>
                      <a:pt x="82" y="49"/>
                    </a:cubicBezTo>
                    <a:close/>
                  </a:path>
                </a:pathLst>
              </a:custGeom>
              <a:solidFill>
                <a:srgbClr val="21AAD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21" name="Freeform 368">
                <a:extLst>
                  <a:ext uri="{FF2B5EF4-FFF2-40B4-BE49-F238E27FC236}">
                    <a16:creationId xmlns:a16="http://schemas.microsoft.com/office/drawing/2014/main" id="{66187E71-D4B2-453C-8C43-82AFB7CA8313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095" y="1548"/>
                <a:ext cx="84" cy="98"/>
              </a:xfrm>
              <a:custGeom>
                <a:avLst/>
                <a:gdLst>
                  <a:gd name="T0" fmla="*/ 49 w 80"/>
                  <a:gd name="T1" fmla="*/ 4 h 93"/>
                  <a:gd name="T2" fmla="*/ 70 w 80"/>
                  <a:gd name="T3" fmla="*/ 39 h 93"/>
                  <a:gd name="T4" fmla="*/ 76 w 80"/>
                  <a:gd name="T5" fmla="*/ 67 h 93"/>
                  <a:gd name="T6" fmla="*/ 79 w 80"/>
                  <a:gd name="T7" fmla="*/ 81 h 93"/>
                  <a:gd name="T8" fmla="*/ 49 w 80"/>
                  <a:gd name="T9" fmla="*/ 92 h 93"/>
                  <a:gd name="T10" fmla="*/ 24 w 80"/>
                  <a:gd name="T11" fmla="*/ 87 h 93"/>
                  <a:gd name="T12" fmla="*/ 21 w 80"/>
                  <a:gd name="T13" fmla="*/ 88 h 93"/>
                  <a:gd name="T14" fmla="*/ 17 w 80"/>
                  <a:gd name="T15" fmla="*/ 76 h 93"/>
                  <a:gd name="T16" fmla="*/ 8 w 80"/>
                  <a:gd name="T17" fmla="*/ 44 h 93"/>
                  <a:gd name="T18" fmla="*/ 49 w 80"/>
                  <a:gd name="T19" fmla="*/ 4 h 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80" h="93">
                    <a:moveTo>
                      <a:pt x="49" y="4"/>
                    </a:moveTo>
                    <a:cubicBezTo>
                      <a:pt x="68" y="0"/>
                      <a:pt x="68" y="27"/>
                      <a:pt x="70" y="39"/>
                    </a:cubicBezTo>
                    <a:cubicBezTo>
                      <a:pt x="72" y="48"/>
                      <a:pt x="74" y="58"/>
                      <a:pt x="76" y="67"/>
                    </a:cubicBezTo>
                    <a:cubicBezTo>
                      <a:pt x="77" y="72"/>
                      <a:pt x="80" y="76"/>
                      <a:pt x="79" y="81"/>
                    </a:cubicBezTo>
                    <a:cubicBezTo>
                      <a:pt x="75" y="89"/>
                      <a:pt x="56" y="90"/>
                      <a:pt x="49" y="92"/>
                    </a:cubicBezTo>
                    <a:cubicBezTo>
                      <a:pt x="41" y="91"/>
                      <a:pt x="32" y="93"/>
                      <a:pt x="24" y="87"/>
                    </a:cubicBezTo>
                    <a:cubicBezTo>
                      <a:pt x="21" y="88"/>
                      <a:pt x="21" y="88"/>
                      <a:pt x="21" y="88"/>
                    </a:cubicBezTo>
                    <a:cubicBezTo>
                      <a:pt x="20" y="84"/>
                      <a:pt x="17" y="80"/>
                      <a:pt x="17" y="76"/>
                    </a:cubicBezTo>
                    <a:cubicBezTo>
                      <a:pt x="12" y="67"/>
                      <a:pt x="10" y="55"/>
                      <a:pt x="8" y="44"/>
                    </a:cubicBezTo>
                    <a:cubicBezTo>
                      <a:pt x="0" y="18"/>
                      <a:pt x="30" y="7"/>
                      <a:pt x="49" y="4"/>
                    </a:cubicBezTo>
                    <a:close/>
                  </a:path>
                </a:pathLst>
              </a:custGeom>
              <a:solidFill>
                <a:srgbClr val="21AAD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22" name="Freeform 369">
                <a:extLst>
                  <a:ext uri="{FF2B5EF4-FFF2-40B4-BE49-F238E27FC236}">
                    <a16:creationId xmlns:a16="http://schemas.microsoft.com/office/drawing/2014/main" id="{EE1F88F1-D81D-4D18-B522-E2A3C8C76227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602" y="1465"/>
                <a:ext cx="71" cy="86"/>
              </a:xfrm>
              <a:custGeom>
                <a:avLst/>
                <a:gdLst>
                  <a:gd name="T0" fmla="*/ 29 w 67"/>
                  <a:gd name="T1" fmla="*/ 4 h 81"/>
                  <a:gd name="T2" fmla="*/ 58 w 67"/>
                  <a:gd name="T3" fmla="*/ 13 h 81"/>
                  <a:gd name="T4" fmla="*/ 65 w 67"/>
                  <a:gd name="T5" fmla="*/ 49 h 81"/>
                  <a:gd name="T6" fmla="*/ 32 w 67"/>
                  <a:gd name="T7" fmla="*/ 80 h 81"/>
                  <a:gd name="T8" fmla="*/ 2 w 67"/>
                  <a:gd name="T9" fmla="*/ 39 h 81"/>
                  <a:gd name="T10" fmla="*/ 27 w 67"/>
                  <a:gd name="T11" fmla="*/ 0 h 81"/>
                  <a:gd name="T12" fmla="*/ 29 w 67"/>
                  <a:gd name="T13" fmla="*/ 4 h 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7" h="81">
                    <a:moveTo>
                      <a:pt x="29" y="4"/>
                    </a:moveTo>
                    <a:cubicBezTo>
                      <a:pt x="39" y="5"/>
                      <a:pt x="51" y="5"/>
                      <a:pt x="58" y="13"/>
                    </a:cubicBezTo>
                    <a:cubicBezTo>
                      <a:pt x="62" y="22"/>
                      <a:pt x="67" y="36"/>
                      <a:pt x="65" y="49"/>
                    </a:cubicBezTo>
                    <a:cubicBezTo>
                      <a:pt x="64" y="68"/>
                      <a:pt x="51" y="76"/>
                      <a:pt x="32" y="80"/>
                    </a:cubicBezTo>
                    <a:cubicBezTo>
                      <a:pt x="13" y="81"/>
                      <a:pt x="0" y="54"/>
                      <a:pt x="2" y="39"/>
                    </a:cubicBezTo>
                    <a:cubicBezTo>
                      <a:pt x="3" y="20"/>
                      <a:pt x="10" y="8"/>
                      <a:pt x="27" y="0"/>
                    </a:cubicBezTo>
                    <a:lnTo>
                      <a:pt x="29" y="4"/>
                    </a:lnTo>
                    <a:close/>
                  </a:path>
                </a:pathLst>
              </a:custGeom>
              <a:solidFill>
                <a:srgbClr val="21AAD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23" name="Freeform 370">
                <a:extLst>
                  <a:ext uri="{FF2B5EF4-FFF2-40B4-BE49-F238E27FC236}">
                    <a16:creationId xmlns:a16="http://schemas.microsoft.com/office/drawing/2014/main" id="{58659266-05AC-4466-8571-C1DF5EA2E1FD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526" y="1551"/>
                <a:ext cx="76" cy="84"/>
              </a:xfrm>
              <a:custGeom>
                <a:avLst/>
                <a:gdLst>
                  <a:gd name="T0" fmla="*/ 41 w 72"/>
                  <a:gd name="T1" fmla="*/ 3 h 80"/>
                  <a:gd name="T2" fmla="*/ 72 w 72"/>
                  <a:gd name="T3" fmla="*/ 37 h 80"/>
                  <a:gd name="T4" fmla="*/ 57 w 72"/>
                  <a:gd name="T5" fmla="*/ 71 h 80"/>
                  <a:gd name="T6" fmla="*/ 29 w 72"/>
                  <a:gd name="T7" fmla="*/ 77 h 80"/>
                  <a:gd name="T8" fmla="*/ 10 w 72"/>
                  <a:gd name="T9" fmla="*/ 58 h 80"/>
                  <a:gd name="T10" fmla="*/ 20 w 72"/>
                  <a:gd name="T11" fmla="*/ 5 h 80"/>
                  <a:gd name="T12" fmla="*/ 41 w 72"/>
                  <a:gd name="T13" fmla="*/ 3 h 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72" h="80">
                    <a:moveTo>
                      <a:pt x="41" y="3"/>
                    </a:moveTo>
                    <a:cubicBezTo>
                      <a:pt x="54" y="1"/>
                      <a:pt x="70" y="25"/>
                      <a:pt x="72" y="37"/>
                    </a:cubicBezTo>
                    <a:cubicBezTo>
                      <a:pt x="72" y="49"/>
                      <a:pt x="68" y="64"/>
                      <a:pt x="57" y="71"/>
                    </a:cubicBezTo>
                    <a:cubicBezTo>
                      <a:pt x="48" y="78"/>
                      <a:pt x="39" y="80"/>
                      <a:pt x="29" y="77"/>
                    </a:cubicBezTo>
                    <a:cubicBezTo>
                      <a:pt x="10" y="58"/>
                      <a:pt x="10" y="58"/>
                      <a:pt x="10" y="58"/>
                    </a:cubicBezTo>
                    <a:cubicBezTo>
                      <a:pt x="0" y="41"/>
                      <a:pt x="3" y="18"/>
                      <a:pt x="20" y="5"/>
                    </a:cubicBezTo>
                    <a:cubicBezTo>
                      <a:pt x="26" y="2"/>
                      <a:pt x="35" y="0"/>
                      <a:pt x="41" y="3"/>
                    </a:cubicBezTo>
                    <a:close/>
                  </a:path>
                </a:pathLst>
              </a:custGeom>
              <a:solidFill>
                <a:srgbClr val="21AAD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24" name="Freeform 371">
                <a:extLst>
                  <a:ext uri="{FF2B5EF4-FFF2-40B4-BE49-F238E27FC236}">
                    <a16:creationId xmlns:a16="http://schemas.microsoft.com/office/drawing/2014/main" id="{6B7AB4F1-728F-4C91-BCF4-E3DD8B572CE8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686" y="1390"/>
                <a:ext cx="75" cy="94"/>
              </a:xfrm>
              <a:custGeom>
                <a:avLst/>
                <a:gdLst>
                  <a:gd name="T0" fmla="*/ 65 w 71"/>
                  <a:gd name="T1" fmla="*/ 23 h 89"/>
                  <a:gd name="T2" fmla="*/ 46 w 71"/>
                  <a:gd name="T3" fmla="*/ 78 h 89"/>
                  <a:gd name="T4" fmla="*/ 1 w 71"/>
                  <a:gd name="T5" fmla="*/ 36 h 89"/>
                  <a:gd name="T6" fmla="*/ 7 w 71"/>
                  <a:gd name="T7" fmla="*/ 13 h 89"/>
                  <a:gd name="T8" fmla="*/ 15 w 71"/>
                  <a:gd name="T9" fmla="*/ 6 h 89"/>
                  <a:gd name="T10" fmla="*/ 65 w 71"/>
                  <a:gd name="T11" fmla="*/ 23 h 8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71" h="89">
                    <a:moveTo>
                      <a:pt x="65" y="23"/>
                    </a:moveTo>
                    <a:cubicBezTo>
                      <a:pt x="71" y="44"/>
                      <a:pt x="67" y="70"/>
                      <a:pt x="46" y="78"/>
                    </a:cubicBezTo>
                    <a:cubicBezTo>
                      <a:pt x="17" y="89"/>
                      <a:pt x="1" y="58"/>
                      <a:pt x="1" y="36"/>
                    </a:cubicBezTo>
                    <a:cubicBezTo>
                      <a:pt x="0" y="29"/>
                      <a:pt x="0" y="19"/>
                      <a:pt x="7" y="13"/>
                    </a:cubicBezTo>
                    <a:cubicBezTo>
                      <a:pt x="9" y="10"/>
                      <a:pt x="11" y="9"/>
                      <a:pt x="15" y="6"/>
                    </a:cubicBezTo>
                    <a:cubicBezTo>
                      <a:pt x="33" y="0"/>
                      <a:pt x="56" y="1"/>
                      <a:pt x="65" y="23"/>
                    </a:cubicBezTo>
                    <a:close/>
                  </a:path>
                </a:pathLst>
              </a:custGeom>
              <a:solidFill>
                <a:srgbClr val="21AAD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25" name="Freeform 372">
                <a:extLst>
                  <a:ext uri="{FF2B5EF4-FFF2-40B4-BE49-F238E27FC236}">
                    <a16:creationId xmlns:a16="http://schemas.microsoft.com/office/drawing/2014/main" id="{8D091577-63E7-4105-9EFB-99221F48273B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167" y="1675"/>
                <a:ext cx="140" cy="167"/>
              </a:xfrm>
              <a:custGeom>
                <a:avLst/>
                <a:gdLst>
                  <a:gd name="T0" fmla="*/ 0 w 133"/>
                  <a:gd name="T1" fmla="*/ 125 h 158"/>
                  <a:gd name="T2" fmla="*/ 28 w 133"/>
                  <a:gd name="T3" fmla="*/ 114 h 158"/>
                  <a:gd name="T4" fmla="*/ 33 w 133"/>
                  <a:gd name="T5" fmla="*/ 89 h 158"/>
                  <a:gd name="T6" fmla="*/ 26 w 133"/>
                  <a:gd name="T7" fmla="*/ 63 h 158"/>
                  <a:gd name="T8" fmla="*/ 7 w 133"/>
                  <a:gd name="T9" fmla="*/ 40 h 158"/>
                  <a:gd name="T10" fmla="*/ 36 w 133"/>
                  <a:gd name="T11" fmla="*/ 27 h 158"/>
                  <a:gd name="T12" fmla="*/ 58 w 133"/>
                  <a:gd name="T13" fmla="*/ 25 h 158"/>
                  <a:gd name="T14" fmla="*/ 83 w 133"/>
                  <a:gd name="T15" fmla="*/ 20 h 158"/>
                  <a:gd name="T16" fmla="*/ 97 w 133"/>
                  <a:gd name="T17" fmla="*/ 12 h 158"/>
                  <a:gd name="T18" fmla="*/ 99 w 133"/>
                  <a:gd name="T19" fmla="*/ 10 h 158"/>
                  <a:gd name="T20" fmla="*/ 124 w 133"/>
                  <a:gd name="T21" fmla="*/ 0 h 158"/>
                  <a:gd name="T22" fmla="*/ 100 w 133"/>
                  <a:gd name="T23" fmla="*/ 103 h 158"/>
                  <a:gd name="T24" fmla="*/ 62 w 133"/>
                  <a:gd name="T25" fmla="*/ 137 h 158"/>
                  <a:gd name="T26" fmla="*/ 38 w 133"/>
                  <a:gd name="T27" fmla="*/ 149 h 158"/>
                  <a:gd name="T28" fmla="*/ 5 w 133"/>
                  <a:gd name="T29" fmla="*/ 158 h 158"/>
                  <a:gd name="T30" fmla="*/ 0 w 133"/>
                  <a:gd name="T31" fmla="*/ 125 h 1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133" h="158">
                    <a:moveTo>
                      <a:pt x="0" y="125"/>
                    </a:moveTo>
                    <a:cubicBezTo>
                      <a:pt x="9" y="123"/>
                      <a:pt x="21" y="120"/>
                      <a:pt x="28" y="114"/>
                    </a:cubicBezTo>
                    <a:cubicBezTo>
                      <a:pt x="37" y="108"/>
                      <a:pt x="37" y="98"/>
                      <a:pt x="33" y="89"/>
                    </a:cubicBezTo>
                    <a:cubicBezTo>
                      <a:pt x="31" y="79"/>
                      <a:pt x="30" y="70"/>
                      <a:pt x="26" y="63"/>
                    </a:cubicBezTo>
                    <a:cubicBezTo>
                      <a:pt x="22" y="53"/>
                      <a:pt x="17" y="43"/>
                      <a:pt x="7" y="40"/>
                    </a:cubicBezTo>
                    <a:cubicBezTo>
                      <a:pt x="36" y="27"/>
                      <a:pt x="36" y="27"/>
                      <a:pt x="36" y="27"/>
                    </a:cubicBezTo>
                    <a:cubicBezTo>
                      <a:pt x="43" y="28"/>
                      <a:pt x="52" y="26"/>
                      <a:pt x="58" y="25"/>
                    </a:cubicBezTo>
                    <a:cubicBezTo>
                      <a:pt x="65" y="26"/>
                      <a:pt x="75" y="25"/>
                      <a:pt x="83" y="20"/>
                    </a:cubicBezTo>
                    <a:cubicBezTo>
                      <a:pt x="87" y="20"/>
                      <a:pt x="93" y="17"/>
                      <a:pt x="97" y="12"/>
                    </a:cubicBezTo>
                    <a:cubicBezTo>
                      <a:pt x="97" y="12"/>
                      <a:pt x="98" y="11"/>
                      <a:pt x="99" y="10"/>
                    </a:cubicBezTo>
                    <a:cubicBezTo>
                      <a:pt x="124" y="0"/>
                      <a:pt x="124" y="0"/>
                      <a:pt x="124" y="0"/>
                    </a:cubicBezTo>
                    <a:cubicBezTo>
                      <a:pt x="133" y="35"/>
                      <a:pt x="119" y="75"/>
                      <a:pt x="100" y="103"/>
                    </a:cubicBezTo>
                    <a:cubicBezTo>
                      <a:pt x="90" y="117"/>
                      <a:pt x="78" y="129"/>
                      <a:pt x="62" y="137"/>
                    </a:cubicBezTo>
                    <a:cubicBezTo>
                      <a:pt x="56" y="143"/>
                      <a:pt x="47" y="145"/>
                      <a:pt x="38" y="149"/>
                    </a:cubicBezTo>
                    <a:cubicBezTo>
                      <a:pt x="29" y="153"/>
                      <a:pt x="15" y="158"/>
                      <a:pt x="5" y="158"/>
                    </a:cubicBezTo>
                    <a:lnTo>
                      <a:pt x="0" y="125"/>
                    </a:lnTo>
                    <a:close/>
                  </a:path>
                </a:pathLst>
              </a:custGeom>
              <a:solidFill>
                <a:srgbClr val="3C3C3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26" name="Freeform 373">
                <a:extLst>
                  <a:ext uri="{FF2B5EF4-FFF2-40B4-BE49-F238E27FC236}">
                    <a16:creationId xmlns:a16="http://schemas.microsoft.com/office/drawing/2014/main" id="{2A0AF78D-6CA7-4A09-B1AF-FBF20A9427D4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856" y="1258"/>
                <a:ext cx="1364" cy="1207"/>
              </a:xfrm>
              <a:custGeom>
                <a:avLst/>
                <a:gdLst>
                  <a:gd name="T0" fmla="*/ 736 w 1287"/>
                  <a:gd name="T1" fmla="*/ 276 h 1141"/>
                  <a:gd name="T2" fmla="*/ 733 w 1287"/>
                  <a:gd name="T3" fmla="*/ 200 h 1141"/>
                  <a:gd name="T4" fmla="*/ 558 w 1287"/>
                  <a:gd name="T5" fmla="*/ 293 h 1141"/>
                  <a:gd name="T6" fmla="*/ 558 w 1287"/>
                  <a:gd name="T7" fmla="*/ 266 h 1141"/>
                  <a:gd name="T8" fmla="*/ 536 w 1287"/>
                  <a:gd name="T9" fmla="*/ 300 h 1141"/>
                  <a:gd name="T10" fmla="*/ 703 w 1287"/>
                  <a:gd name="T11" fmla="*/ 431 h 1141"/>
                  <a:gd name="T12" fmla="*/ 783 w 1287"/>
                  <a:gd name="T13" fmla="*/ 440 h 1141"/>
                  <a:gd name="T14" fmla="*/ 739 w 1287"/>
                  <a:gd name="T15" fmla="*/ 400 h 1141"/>
                  <a:gd name="T16" fmla="*/ 618 w 1287"/>
                  <a:gd name="T17" fmla="*/ 536 h 1141"/>
                  <a:gd name="T18" fmla="*/ 568 w 1287"/>
                  <a:gd name="T19" fmla="*/ 580 h 1141"/>
                  <a:gd name="T20" fmla="*/ 653 w 1287"/>
                  <a:gd name="T21" fmla="*/ 563 h 1141"/>
                  <a:gd name="T22" fmla="*/ 314 w 1287"/>
                  <a:gd name="T23" fmla="*/ 671 h 1141"/>
                  <a:gd name="T24" fmla="*/ 72 w 1287"/>
                  <a:gd name="T25" fmla="*/ 1110 h 1141"/>
                  <a:gd name="T26" fmla="*/ 48 w 1287"/>
                  <a:gd name="T27" fmla="*/ 523 h 1141"/>
                  <a:gd name="T28" fmla="*/ 546 w 1287"/>
                  <a:gd name="T29" fmla="*/ 7 h 1141"/>
                  <a:gd name="T30" fmla="*/ 896 w 1287"/>
                  <a:gd name="T31" fmla="*/ 105 h 1141"/>
                  <a:gd name="T32" fmla="*/ 1243 w 1287"/>
                  <a:gd name="T33" fmla="*/ 678 h 1141"/>
                  <a:gd name="T34" fmla="*/ 1194 w 1287"/>
                  <a:gd name="T35" fmla="*/ 930 h 1141"/>
                  <a:gd name="T36" fmla="*/ 905 w 1287"/>
                  <a:gd name="T37" fmla="*/ 576 h 1141"/>
                  <a:gd name="T38" fmla="*/ 765 w 1287"/>
                  <a:gd name="T39" fmla="*/ 700 h 1141"/>
                  <a:gd name="T40" fmla="*/ 448 w 1287"/>
                  <a:gd name="T41" fmla="*/ 743 h 1141"/>
                  <a:gd name="T42" fmla="*/ 265 w 1287"/>
                  <a:gd name="T43" fmla="*/ 446 h 1141"/>
                  <a:gd name="T44" fmla="*/ 287 w 1287"/>
                  <a:gd name="T45" fmla="*/ 520 h 1141"/>
                  <a:gd name="T46" fmla="*/ 331 w 1287"/>
                  <a:gd name="T47" fmla="*/ 543 h 1141"/>
                  <a:gd name="T48" fmla="*/ 417 w 1287"/>
                  <a:gd name="T49" fmla="*/ 394 h 1141"/>
                  <a:gd name="T50" fmla="*/ 390 w 1287"/>
                  <a:gd name="T51" fmla="*/ 370 h 1141"/>
                  <a:gd name="T52" fmla="*/ 312 w 1287"/>
                  <a:gd name="T53" fmla="*/ 385 h 1141"/>
                  <a:gd name="T54" fmla="*/ 329 w 1287"/>
                  <a:gd name="T55" fmla="*/ 421 h 1141"/>
                  <a:gd name="T56" fmla="*/ 266 w 1287"/>
                  <a:gd name="T57" fmla="*/ 441 h 1141"/>
                  <a:gd name="T58" fmla="*/ 242 w 1287"/>
                  <a:gd name="T59" fmla="*/ 350 h 1141"/>
                  <a:gd name="T60" fmla="*/ 274 w 1287"/>
                  <a:gd name="T61" fmla="*/ 366 h 1141"/>
                  <a:gd name="T62" fmla="*/ 295 w 1287"/>
                  <a:gd name="T63" fmla="*/ 313 h 1141"/>
                  <a:gd name="T64" fmla="*/ 184 w 1287"/>
                  <a:gd name="T65" fmla="*/ 457 h 1141"/>
                  <a:gd name="T66" fmla="*/ 208 w 1287"/>
                  <a:gd name="T67" fmla="*/ 381 h 1141"/>
                  <a:gd name="T68" fmla="*/ 911 w 1287"/>
                  <a:gd name="T69" fmla="*/ 216 h 1141"/>
                  <a:gd name="T70" fmla="*/ 883 w 1287"/>
                  <a:gd name="T71" fmla="*/ 225 h 1141"/>
                  <a:gd name="T72" fmla="*/ 951 w 1287"/>
                  <a:gd name="T73" fmla="*/ 285 h 1141"/>
                  <a:gd name="T74" fmla="*/ 829 w 1287"/>
                  <a:gd name="T75" fmla="*/ 203 h 1141"/>
                  <a:gd name="T76" fmla="*/ 790 w 1287"/>
                  <a:gd name="T77" fmla="*/ 138 h 1141"/>
                  <a:gd name="T78" fmla="*/ 862 w 1287"/>
                  <a:gd name="T79" fmla="*/ 344 h 1141"/>
                  <a:gd name="T80" fmla="*/ 791 w 1287"/>
                  <a:gd name="T81" fmla="*/ 368 h 1141"/>
                  <a:gd name="T82" fmla="*/ 862 w 1287"/>
                  <a:gd name="T83" fmla="*/ 344 h 1141"/>
                  <a:gd name="T84" fmla="*/ 652 w 1287"/>
                  <a:gd name="T85" fmla="*/ 282 h 1141"/>
                  <a:gd name="T86" fmla="*/ 689 w 1287"/>
                  <a:gd name="T87" fmla="*/ 348 h 11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1287" h="1141">
                    <a:moveTo>
                      <a:pt x="731" y="196"/>
                    </a:moveTo>
                    <a:cubicBezTo>
                      <a:pt x="714" y="204"/>
                      <a:pt x="707" y="216"/>
                      <a:pt x="706" y="235"/>
                    </a:cubicBezTo>
                    <a:cubicBezTo>
                      <a:pt x="704" y="250"/>
                      <a:pt x="717" y="277"/>
                      <a:pt x="736" y="276"/>
                    </a:cubicBezTo>
                    <a:cubicBezTo>
                      <a:pt x="755" y="272"/>
                      <a:pt x="768" y="264"/>
                      <a:pt x="769" y="245"/>
                    </a:cubicBezTo>
                    <a:cubicBezTo>
                      <a:pt x="771" y="232"/>
                      <a:pt x="766" y="218"/>
                      <a:pt x="762" y="209"/>
                    </a:cubicBezTo>
                    <a:cubicBezTo>
                      <a:pt x="755" y="201"/>
                      <a:pt x="743" y="201"/>
                      <a:pt x="733" y="200"/>
                    </a:cubicBezTo>
                    <a:lnTo>
                      <a:pt x="731" y="196"/>
                    </a:lnTo>
                    <a:close/>
                    <a:moveTo>
                      <a:pt x="536" y="300"/>
                    </a:moveTo>
                    <a:cubicBezTo>
                      <a:pt x="543" y="297"/>
                      <a:pt x="550" y="295"/>
                      <a:pt x="558" y="293"/>
                    </a:cubicBezTo>
                    <a:cubicBezTo>
                      <a:pt x="568" y="291"/>
                      <a:pt x="598" y="295"/>
                      <a:pt x="600" y="280"/>
                    </a:cubicBezTo>
                    <a:cubicBezTo>
                      <a:pt x="601" y="273"/>
                      <a:pt x="592" y="265"/>
                      <a:pt x="584" y="264"/>
                    </a:cubicBezTo>
                    <a:cubicBezTo>
                      <a:pt x="574" y="263"/>
                      <a:pt x="567" y="264"/>
                      <a:pt x="558" y="266"/>
                    </a:cubicBezTo>
                    <a:cubicBezTo>
                      <a:pt x="551" y="270"/>
                      <a:pt x="542" y="274"/>
                      <a:pt x="539" y="280"/>
                    </a:cubicBezTo>
                    <a:cubicBezTo>
                      <a:pt x="534" y="283"/>
                      <a:pt x="529" y="294"/>
                      <a:pt x="535" y="298"/>
                    </a:cubicBezTo>
                    <a:lnTo>
                      <a:pt x="536" y="300"/>
                    </a:lnTo>
                    <a:close/>
                    <a:moveTo>
                      <a:pt x="739" y="400"/>
                    </a:moveTo>
                    <a:cubicBezTo>
                      <a:pt x="735" y="400"/>
                      <a:pt x="732" y="398"/>
                      <a:pt x="728" y="399"/>
                    </a:cubicBezTo>
                    <a:cubicBezTo>
                      <a:pt x="714" y="402"/>
                      <a:pt x="705" y="419"/>
                      <a:pt x="703" y="431"/>
                    </a:cubicBezTo>
                    <a:cubicBezTo>
                      <a:pt x="696" y="457"/>
                      <a:pt x="714" y="490"/>
                      <a:pt x="740" y="495"/>
                    </a:cubicBezTo>
                    <a:cubicBezTo>
                      <a:pt x="755" y="497"/>
                      <a:pt x="774" y="493"/>
                      <a:pt x="781" y="480"/>
                    </a:cubicBezTo>
                    <a:cubicBezTo>
                      <a:pt x="788" y="468"/>
                      <a:pt x="785" y="452"/>
                      <a:pt x="783" y="440"/>
                    </a:cubicBezTo>
                    <a:cubicBezTo>
                      <a:pt x="780" y="428"/>
                      <a:pt x="776" y="419"/>
                      <a:pt x="767" y="411"/>
                    </a:cubicBezTo>
                    <a:cubicBezTo>
                      <a:pt x="759" y="404"/>
                      <a:pt x="750" y="397"/>
                      <a:pt x="739" y="396"/>
                    </a:cubicBezTo>
                    <a:lnTo>
                      <a:pt x="739" y="400"/>
                    </a:lnTo>
                    <a:close/>
                    <a:moveTo>
                      <a:pt x="653" y="563"/>
                    </a:moveTo>
                    <a:cubicBezTo>
                      <a:pt x="648" y="550"/>
                      <a:pt x="630" y="548"/>
                      <a:pt x="619" y="543"/>
                    </a:cubicBezTo>
                    <a:cubicBezTo>
                      <a:pt x="618" y="536"/>
                      <a:pt x="618" y="536"/>
                      <a:pt x="618" y="536"/>
                    </a:cubicBezTo>
                    <a:cubicBezTo>
                      <a:pt x="615" y="536"/>
                      <a:pt x="612" y="537"/>
                      <a:pt x="609" y="538"/>
                    </a:cubicBezTo>
                    <a:cubicBezTo>
                      <a:pt x="610" y="545"/>
                      <a:pt x="610" y="545"/>
                      <a:pt x="610" y="545"/>
                    </a:cubicBezTo>
                    <a:cubicBezTo>
                      <a:pt x="591" y="549"/>
                      <a:pt x="576" y="559"/>
                      <a:pt x="568" y="580"/>
                    </a:cubicBezTo>
                    <a:cubicBezTo>
                      <a:pt x="562" y="601"/>
                      <a:pt x="570" y="628"/>
                      <a:pt x="595" y="633"/>
                    </a:cubicBezTo>
                    <a:cubicBezTo>
                      <a:pt x="621" y="640"/>
                      <a:pt x="658" y="628"/>
                      <a:pt x="662" y="596"/>
                    </a:cubicBezTo>
                    <a:cubicBezTo>
                      <a:pt x="662" y="586"/>
                      <a:pt x="655" y="573"/>
                      <a:pt x="653" y="563"/>
                    </a:cubicBezTo>
                    <a:close/>
                    <a:moveTo>
                      <a:pt x="356" y="697"/>
                    </a:moveTo>
                    <a:cubicBezTo>
                      <a:pt x="342" y="688"/>
                      <a:pt x="329" y="678"/>
                      <a:pt x="316" y="669"/>
                    </a:cubicBezTo>
                    <a:cubicBezTo>
                      <a:pt x="314" y="671"/>
                      <a:pt x="314" y="671"/>
                      <a:pt x="314" y="671"/>
                    </a:cubicBezTo>
                    <a:cubicBezTo>
                      <a:pt x="305" y="737"/>
                      <a:pt x="293" y="802"/>
                      <a:pt x="276" y="865"/>
                    </a:cubicBezTo>
                    <a:cubicBezTo>
                      <a:pt x="256" y="939"/>
                      <a:pt x="233" y="1020"/>
                      <a:pt x="183" y="1078"/>
                    </a:cubicBezTo>
                    <a:cubicBezTo>
                      <a:pt x="156" y="1113"/>
                      <a:pt x="112" y="1141"/>
                      <a:pt x="72" y="1110"/>
                    </a:cubicBezTo>
                    <a:cubicBezTo>
                      <a:pt x="28" y="1074"/>
                      <a:pt x="15" y="1004"/>
                      <a:pt x="9" y="951"/>
                    </a:cubicBezTo>
                    <a:cubicBezTo>
                      <a:pt x="0" y="879"/>
                      <a:pt x="6" y="810"/>
                      <a:pt x="16" y="737"/>
                    </a:cubicBezTo>
                    <a:cubicBezTo>
                      <a:pt x="25" y="667"/>
                      <a:pt x="35" y="594"/>
                      <a:pt x="48" y="523"/>
                    </a:cubicBezTo>
                    <a:cubicBezTo>
                      <a:pt x="62" y="444"/>
                      <a:pt x="83" y="366"/>
                      <a:pt x="121" y="296"/>
                    </a:cubicBezTo>
                    <a:cubicBezTo>
                      <a:pt x="158" y="225"/>
                      <a:pt x="212" y="163"/>
                      <a:pt x="279" y="115"/>
                    </a:cubicBezTo>
                    <a:cubicBezTo>
                      <a:pt x="358" y="58"/>
                      <a:pt x="452" y="25"/>
                      <a:pt x="546" y="7"/>
                    </a:cubicBezTo>
                    <a:cubicBezTo>
                      <a:pt x="546" y="5"/>
                      <a:pt x="546" y="5"/>
                      <a:pt x="546" y="5"/>
                    </a:cubicBezTo>
                    <a:cubicBezTo>
                      <a:pt x="592" y="0"/>
                      <a:pt x="636" y="1"/>
                      <a:pt x="682" y="12"/>
                    </a:cubicBezTo>
                    <a:cubicBezTo>
                      <a:pt x="759" y="29"/>
                      <a:pt x="831" y="61"/>
                      <a:pt x="896" y="105"/>
                    </a:cubicBezTo>
                    <a:cubicBezTo>
                      <a:pt x="950" y="143"/>
                      <a:pt x="998" y="190"/>
                      <a:pt x="1035" y="244"/>
                    </a:cubicBezTo>
                    <a:cubicBezTo>
                      <a:pt x="1066" y="287"/>
                      <a:pt x="1092" y="331"/>
                      <a:pt x="1118" y="377"/>
                    </a:cubicBezTo>
                    <a:cubicBezTo>
                      <a:pt x="1171" y="472"/>
                      <a:pt x="1204" y="578"/>
                      <a:pt x="1243" y="678"/>
                    </a:cubicBezTo>
                    <a:cubicBezTo>
                      <a:pt x="1263" y="733"/>
                      <a:pt x="1287" y="792"/>
                      <a:pt x="1284" y="851"/>
                    </a:cubicBezTo>
                    <a:cubicBezTo>
                      <a:pt x="1281" y="873"/>
                      <a:pt x="1276" y="899"/>
                      <a:pt x="1257" y="915"/>
                    </a:cubicBezTo>
                    <a:cubicBezTo>
                      <a:pt x="1241" y="933"/>
                      <a:pt x="1217" y="935"/>
                      <a:pt x="1194" y="930"/>
                    </a:cubicBezTo>
                    <a:cubicBezTo>
                      <a:pt x="1158" y="920"/>
                      <a:pt x="1126" y="894"/>
                      <a:pt x="1097" y="870"/>
                    </a:cubicBezTo>
                    <a:cubicBezTo>
                      <a:pt x="1064" y="838"/>
                      <a:pt x="1035" y="802"/>
                      <a:pt x="1010" y="763"/>
                    </a:cubicBezTo>
                    <a:cubicBezTo>
                      <a:pt x="969" y="703"/>
                      <a:pt x="935" y="640"/>
                      <a:pt x="905" y="576"/>
                    </a:cubicBezTo>
                    <a:cubicBezTo>
                      <a:pt x="902" y="583"/>
                      <a:pt x="899" y="590"/>
                      <a:pt x="894" y="597"/>
                    </a:cubicBezTo>
                    <a:cubicBezTo>
                      <a:pt x="877" y="625"/>
                      <a:pt x="857" y="646"/>
                      <a:pt x="834" y="663"/>
                    </a:cubicBezTo>
                    <a:cubicBezTo>
                      <a:pt x="812" y="677"/>
                      <a:pt x="787" y="689"/>
                      <a:pt x="765" y="700"/>
                    </a:cubicBezTo>
                    <a:cubicBezTo>
                      <a:pt x="745" y="709"/>
                      <a:pt x="727" y="718"/>
                      <a:pt x="706" y="722"/>
                    </a:cubicBezTo>
                    <a:cubicBezTo>
                      <a:pt x="664" y="735"/>
                      <a:pt x="622" y="743"/>
                      <a:pt x="581" y="746"/>
                    </a:cubicBezTo>
                    <a:cubicBezTo>
                      <a:pt x="535" y="750"/>
                      <a:pt x="492" y="756"/>
                      <a:pt x="448" y="743"/>
                    </a:cubicBezTo>
                    <a:cubicBezTo>
                      <a:pt x="417" y="732"/>
                      <a:pt x="384" y="716"/>
                      <a:pt x="356" y="697"/>
                    </a:cubicBezTo>
                    <a:close/>
                    <a:moveTo>
                      <a:pt x="266" y="441"/>
                    </a:moveTo>
                    <a:cubicBezTo>
                      <a:pt x="265" y="446"/>
                      <a:pt x="265" y="446"/>
                      <a:pt x="265" y="446"/>
                    </a:cubicBezTo>
                    <a:cubicBezTo>
                      <a:pt x="264" y="453"/>
                      <a:pt x="266" y="463"/>
                      <a:pt x="265" y="470"/>
                    </a:cubicBezTo>
                    <a:cubicBezTo>
                      <a:pt x="265" y="483"/>
                      <a:pt x="262" y="493"/>
                      <a:pt x="264" y="505"/>
                    </a:cubicBezTo>
                    <a:cubicBezTo>
                      <a:pt x="267" y="516"/>
                      <a:pt x="275" y="522"/>
                      <a:pt x="287" y="520"/>
                    </a:cubicBezTo>
                    <a:cubicBezTo>
                      <a:pt x="289" y="520"/>
                      <a:pt x="291" y="519"/>
                      <a:pt x="293" y="519"/>
                    </a:cubicBezTo>
                    <a:cubicBezTo>
                      <a:pt x="298" y="552"/>
                      <a:pt x="298" y="552"/>
                      <a:pt x="298" y="552"/>
                    </a:cubicBezTo>
                    <a:cubicBezTo>
                      <a:pt x="308" y="552"/>
                      <a:pt x="322" y="547"/>
                      <a:pt x="331" y="543"/>
                    </a:cubicBezTo>
                    <a:cubicBezTo>
                      <a:pt x="340" y="539"/>
                      <a:pt x="349" y="537"/>
                      <a:pt x="355" y="531"/>
                    </a:cubicBezTo>
                    <a:cubicBezTo>
                      <a:pt x="371" y="523"/>
                      <a:pt x="383" y="511"/>
                      <a:pt x="393" y="497"/>
                    </a:cubicBezTo>
                    <a:cubicBezTo>
                      <a:pt x="412" y="469"/>
                      <a:pt x="426" y="429"/>
                      <a:pt x="417" y="394"/>
                    </a:cubicBezTo>
                    <a:cubicBezTo>
                      <a:pt x="392" y="404"/>
                      <a:pt x="392" y="404"/>
                      <a:pt x="392" y="404"/>
                    </a:cubicBezTo>
                    <a:cubicBezTo>
                      <a:pt x="391" y="405"/>
                      <a:pt x="390" y="406"/>
                      <a:pt x="390" y="406"/>
                    </a:cubicBezTo>
                    <a:cubicBezTo>
                      <a:pt x="392" y="394"/>
                      <a:pt x="394" y="379"/>
                      <a:pt x="390" y="370"/>
                    </a:cubicBezTo>
                    <a:cubicBezTo>
                      <a:pt x="380" y="357"/>
                      <a:pt x="371" y="359"/>
                      <a:pt x="356" y="362"/>
                    </a:cubicBezTo>
                    <a:cubicBezTo>
                      <a:pt x="347" y="364"/>
                      <a:pt x="340" y="368"/>
                      <a:pt x="331" y="372"/>
                    </a:cubicBezTo>
                    <a:cubicBezTo>
                      <a:pt x="324" y="373"/>
                      <a:pt x="315" y="377"/>
                      <a:pt x="312" y="385"/>
                    </a:cubicBezTo>
                    <a:cubicBezTo>
                      <a:pt x="308" y="391"/>
                      <a:pt x="313" y="405"/>
                      <a:pt x="319" y="411"/>
                    </a:cubicBezTo>
                    <a:cubicBezTo>
                      <a:pt x="320" y="413"/>
                      <a:pt x="320" y="413"/>
                      <a:pt x="320" y="413"/>
                    </a:cubicBezTo>
                    <a:cubicBezTo>
                      <a:pt x="321" y="418"/>
                      <a:pt x="325" y="420"/>
                      <a:pt x="329" y="421"/>
                    </a:cubicBezTo>
                    <a:cubicBezTo>
                      <a:pt x="300" y="434"/>
                      <a:pt x="300" y="434"/>
                      <a:pt x="300" y="434"/>
                    </a:cubicBezTo>
                    <a:cubicBezTo>
                      <a:pt x="297" y="433"/>
                      <a:pt x="294" y="433"/>
                      <a:pt x="290" y="434"/>
                    </a:cubicBezTo>
                    <a:cubicBezTo>
                      <a:pt x="281" y="435"/>
                      <a:pt x="275" y="441"/>
                      <a:pt x="266" y="441"/>
                    </a:cubicBezTo>
                    <a:close/>
                    <a:moveTo>
                      <a:pt x="274" y="278"/>
                    </a:moveTo>
                    <a:cubicBezTo>
                      <a:pt x="255" y="281"/>
                      <a:pt x="225" y="292"/>
                      <a:pt x="233" y="318"/>
                    </a:cubicBezTo>
                    <a:cubicBezTo>
                      <a:pt x="235" y="329"/>
                      <a:pt x="237" y="341"/>
                      <a:pt x="242" y="350"/>
                    </a:cubicBezTo>
                    <a:cubicBezTo>
                      <a:pt x="242" y="354"/>
                      <a:pt x="245" y="358"/>
                      <a:pt x="246" y="362"/>
                    </a:cubicBezTo>
                    <a:cubicBezTo>
                      <a:pt x="249" y="361"/>
                      <a:pt x="249" y="361"/>
                      <a:pt x="249" y="361"/>
                    </a:cubicBezTo>
                    <a:cubicBezTo>
                      <a:pt x="257" y="367"/>
                      <a:pt x="266" y="365"/>
                      <a:pt x="274" y="366"/>
                    </a:cubicBezTo>
                    <a:cubicBezTo>
                      <a:pt x="281" y="364"/>
                      <a:pt x="300" y="363"/>
                      <a:pt x="304" y="355"/>
                    </a:cubicBezTo>
                    <a:cubicBezTo>
                      <a:pt x="305" y="350"/>
                      <a:pt x="302" y="346"/>
                      <a:pt x="301" y="341"/>
                    </a:cubicBezTo>
                    <a:cubicBezTo>
                      <a:pt x="299" y="332"/>
                      <a:pt x="297" y="322"/>
                      <a:pt x="295" y="313"/>
                    </a:cubicBezTo>
                    <a:cubicBezTo>
                      <a:pt x="293" y="301"/>
                      <a:pt x="293" y="274"/>
                      <a:pt x="274" y="278"/>
                    </a:cubicBezTo>
                    <a:close/>
                    <a:moveTo>
                      <a:pt x="164" y="402"/>
                    </a:moveTo>
                    <a:cubicBezTo>
                      <a:pt x="160" y="420"/>
                      <a:pt x="160" y="457"/>
                      <a:pt x="184" y="457"/>
                    </a:cubicBezTo>
                    <a:cubicBezTo>
                      <a:pt x="196" y="457"/>
                      <a:pt x="207" y="447"/>
                      <a:pt x="218" y="443"/>
                    </a:cubicBezTo>
                    <a:cubicBezTo>
                      <a:pt x="229" y="438"/>
                      <a:pt x="238" y="434"/>
                      <a:pt x="236" y="420"/>
                    </a:cubicBezTo>
                    <a:cubicBezTo>
                      <a:pt x="235" y="405"/>
                      <a:pt x="226" y="385"/>
                      <a:pt x="208" y="381"/>
                    </a:cubicBezTo>
                    <a:cubicBezTo>
                      <a:pt x="194" y="375"/>
                      <a:pt x="175" y="390"/>
                      <a:pt x="162" y="400"/>
                    </a:cubicBezTo>
                    <a:lnTo>
                      <a:pt x="164" y="402"/>
                    </a:lnTo>
                    <a:close/>
                    <a:moveTo>
                      <a:pt x="911" y="216"/>
                    </a:moveTo>
                    <a:cubicBezTo>
                      <a:pt x="910" y="217"/>
                      <a:pt x="910" y="217"/>
                      <a:pt x="910" y="217"/>
                    </a:cubicBezTo>
                    <a:cubicBezTo>
                      <a:pt x="907" y="223"/>
                      <a:pt x="903" y="218"/>
                      <a:pt x="901" y="219"/>
                    </a:cubicBezTo>
                    <a:cubicBezTo>
                      <a:pt x="894" y="220"/>
                      <a:pt x="887" y="222"/>
                      <a:pt x="883" y="225"/>
                    </a:cubicBezTo>
                    <a:cubicBezTo>
                      <a:pt x="857" y="244"/>
                      <a:pt x="871" y="278"/>
                      <a:pt x="887" y="300"/>
                    </a:cubicBezTo>
                    <a:cubicBezTo>
                      <a:pt x="894" y="311"/>
                      <a:pt x="910" y="317"/>
                      <a:pt x="924" y="314"/>
                    </a:cubicBezTo>
                    <a:cubicBezTo>
                      <a:pt x="939" y="312"/>
                      <a:pt x="948" y="298"/>
                      <a:pt x="951" y="285"/>
                    </a:cubicBezTo>
                    <a:cubicBezTo>
                      <a:pt x="953" y="272"/>
                      <a:pt x="950" y="256"/>
                      <a:pt x="945" y="244"/>
                    </a:cubicBezTo>
                    <a:cubicBezTo>
                      <a:pt x="938" y="230"/>
                      <a:pt x="925" y="223"/>
                      <a:pt x="911" y="216"/>
                    </a:cubicBezTo>
                    <a:close/>
                    <a:moveTo>
                      <a:pt x="829" y="203"/>
                    </a:moveTo>
                    <a:cubicBezTo>
                      <a:pt x="850" y="195"/>
                      <a:pt x="854" y="169"/>
                      <a:pt x="848" y="148"/>
                    </a:cubicBezTo>
                    <a:cubicBezTo>
                      <a:pt x="839" y="126"/>
                      <a:pt x="816" y="125"/>
                      <a:pt x="798" y="131"/>
                    </a:cubicBezTo>
                    <a:cubicBezTo>
                      <a:pt x="794" y="134"/>
                      <a:pt x="792" y="135"/>
                      <a:pt x="790" y="138"/>
                    </a:cubicBezTo>
                    <a:cubicBezTo>
                      <a:pt x="783" y="144"/>
                      <a:pt x="783" y="154"/>
                      <a:pt x="784" y="161"/>
                    </a:cubicBezTo>
                    <a:cubicBezTo>
                      <a:pt x="784" y="183"/>
                      <a:pt x="800" y="214"/>
                      <a:pt x="829" y="203"/>
                    </a:cubicBezTo>
                    <a:close/>
                    <a:moveTo>
                      <a:pt x="862" y="344"/>
                    </a:moveTo>
                    <a:cubicBezTo>
                      <a:pt x="857" y="318"/>
                      <a:pt x="845" y="296"/>
                      <a:pt x="816" y="297"/>
                    </a:cubicBezTo>
                    <a:cubicBezTo>
                      <a:pt x="799" y="297"/>
                      <a:pt x="784" y="310"/>
                      <a:pt x="782" y="325"/>
                    </a:cubicBezTo>
                    <a:cubicBezTo>
                      <a:pt x="780" y="338"/>
                      <a:pt x="785" y="354"/>
                      <a:pt x="791" y="368"/>
                    </a:cubicBezTo>
                    <a:cubicBezTo>
                      <a:pt x="795" y="377"/>
                      <a:pt x="802" y="387"/>
                      <a:pt x="814" y="390"/>
                    </a:cubicBezTo>
                    <a:cubicBezTo>
                      <a:pt x="828" y="395"/>
                      <a:pt x="844" y="391"/>
                      <a:pt x="855" y="382"/>
                    </a:cubicBezTo>
                    <a:cubicBezTo>
                      <a:pt x="867" y="372"/>
                      <a:pt x="867" y="358"/>
                      <a:pt x="862" y="344"/>
                    </a:cubicBezTo>
                    <a:close/>
                    <a:moveTo>
                      <a:pt x="704" y="314"/>
                    </a:moveTo>
                    <a:cubicBezTo>
                      <a:pt x="702" y="302"/>
                      <a:pt x="686" y="278"/>
                      <a:pt x="673" y="280"/>
                    </a:cubicBezTo>
                    <a:cubicBezTo>
                      <a:pt x="667" y="277"/>
                      <a:pt x="658" y="279"/>
                      <a:pt x="652" y="282"/>
                    </a:cubicBezTo>
                    <a:cubicBezTo>
                      <a:pt x="635" y="295"/>
                      <a:pt x="632" y="318"/>
                      <a:pt x="642" y="335"/>
                    </a:cubicBezTo>
                    <a:cubicBezTo>
                      <a:pt x="661" y="354"/>
                      <a:pt x="661" y="354"/>
                      <a:pt x="661" y="354"/>
                    </a:cubicBezTo>
                    <a:cubicBezTo>
                      <a:pt x="671" y="357"/>
                      <a:pt x="680" y="355"/>
                      <a:pt x="689" y="348"/>
                    </a:cubicBezTo>
                    <a:cubicBezTo>
                      <a:pt x="700" y="341"/>
                      <a:pt x="704" y="326"/>
                      <a:pt x="704" y="314"/>
                    </a:cubicBezTo>
                    <a:close/>
                  </a:path>
                </a:pathLst>
              </a:custGeom>
              <a:solidFill>
                <a:srgbClr val="3C3C3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27" name="Freeform 374">
                <a:extLst>
                  <a:ext uri="{FF2B5EF4-FFF2-40B4-BE49-F238E27FC236}">
                    <a16:creationId xmlns:a16="http://schemas.microsoft.com/office/drawing/2014/main" id="{144D3D2C-2C92-4019-8E79-FE48CBEDFAC9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431" y="1253"/>
                <a:ext cx="811" cy="1024"/>
              </a:xfrm>
              <a:custGeom>
                <a:avLst/>
                <a:gdLst>
                  <a:gd name="T0" fmla="*/ 2 w 765"/>
                  <a:gd name="T1" fmla="*/ 19 h 967"/>
                  <a:gd name="T2" fmla="*/ 82 w 765"/>
                  <a:gd name="T3" fmla="*/ 16 h 967"/>
                  <a:gd name="T4" fmla="*/ 186 w 765"/>
                  <a:gd name="T5" fmla="*/ 35 h 967"/>
                  <a:gd name="T6" fmla="*/ 342 w 765"/>
                  <a:gd name="T7" fmla="*/ 104 h 967"/>
                  <a:gd name="T8" fmla="*/ 571 w 765"/>
                  <a:gd name="T9" fmla="*/ 363 h 967"/>
                  <a:gd name="T10" fmla="*/ 709 w 765"/>
                  <a:gd name="T11" fmla="*/ 683 h 967"/>
                  <a:gd name="T12" fmla="*/ 751 w 765"/>
                  <a:gd name="T13" fmla="*/ 867 h 967"/>
                  <a:gd name="T14" fmla="*/ 700 w 765"/>
                  <a:gd name="T15" fmla="*/ 938 h 967"/>
                  <a:gd name="T16" fmla="*/ 609 w 765"/>
                  <a:gd name="T17" fmla="*/ 907 h 967"/>
                  <a:gd name="T18" fmla="*/ 485 w 765"/>
                  <a:gd name="T19" fmla="*/ 771 h 967"/>
                  <a:gd name="T20" fmla="*/ 380 w 765"/>
                  <a:gd name="T21" fmla="*/ 582 h 967"/>
                  <a:gd name="T22" fmla="*/ 373 w 765"/>
                  <a:gd name="T23" fmla="*/ 585 h 967"/>
                  <a:gd name="T24" fmla="*/ 469 w 765"/>
                  <a:gd name="T25" fmla="*/ 759 h 967"/>
                  <a:gd name="T26" fmla="*/ 585 w 765"/>
                  <a:gd name="T27" fmla="*/ 898 h 967"/>
                  <a:gd name="T28" fmla="*/ 722 w 765"/>
                  <a:gd name="T29" fmla="*/ 937 h 967"/>
                  <a:gd name="T30" fmla="*/ 755 w 765"/>
                  <a:gd name="T31" fmla="*/ 802 h 967"/>
                  <a:gd name="T32" fmla="*/ 692 w 765"/>
                  <a:gd name="T33" fmla="*/ 616 h 967"/>
                  <a:gd name="T34" fmla="*/ 617 w 765"/>
                  <a:gd name="T35" fmla="*/ 431 h 967"/>
                  <a:gd name="T36" fmla="*/ 395 w 765"/>
                  <a:gd name="T37" fmla="*/ 131 h 967"/>
                  <a:gd name="T38" fmla="*/ 215 w 765"/>
                  <a:gd name="T39" fmla="*/ 35 h 967"/>
                  <a:gd name="T40" fmla="*/ 1 w 765"/>
                  <a:gd name="T41" fmla="*/ 17 h 967"/>
                  <a:gd name="T42" fmla="*/ 2 w 765"/>
                  <a:gd name="T43" fmla="*/ 19 h 9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765" h="967">
                    <a:moveTo>
                      <a:pt x="2" y="19"/>
                    </a:moveTo>
                    <a:cubicBezTo>
                      <a:pt x="28" y="18"/>
                      <a:pt x="55" y="15"/>
                      <a:pt x="82" y="16"/>
                    </a:cubicBezTo>
                    <a:cubicBezTo>
                      <a:pt x="117" y="18"/>
                      <a:pt x="152" y="25"/>
                      <a:pt x="186" y="35"/>
                    </a:cubicBezTo>
                    <a:cubicBezTo>
                      <a:pt x="241" y="50"/>
                      <a:pt x="294" y="74"/>
                      <a:pt x="342" y="104"/>
                    </a:cubicBezTo>
                    <a:cubicBezTo>
                      <a:pt x="445" y="166"/>
                      <a:pt x="512" y="261"/>
                      <a:pt x="571" y="363"/>
                    </a:cubicBezTo>
                    <a:cubicBezTo>
                      <a:pt x="630" y="464"/>
                      <a:pt x="667" y="574"/>
                      <a:pt x="709" y="683"/>
                    </a:cubicBezTo>
                    <a:cubicBezTo>
                      <a:pt x="730" y="740"/>
                      <a:pt x="759" y="804"/>
                      <a:pt x="751" y="867"/>
                    </a:cubicBezTo>
                    <a:cubicBezTo>
                      <a:pt x="748" y="897"/>
                      <a:pt x="733" y="931"/>
                      <a:pt x="700" y="938"/>
                    </a:cubicBezTo>
                    <a:cubicBezTo>
                      <a:pt x="667" y="944"/>
                      <a:pt x="634" y="925"/>
                      <a:pt x="609" y="907"/>
                    </a:cubicBezTo>
                    <a:cubicBezTo>
                      <a:pt x="557" y="871"/>
                      <a:pt x="519" y="823"/>
                      <a:pt x="485" y="771"/>
                    </a:cubicBezTo>
                    <a:cubicBezTo>
                      <a:pt x="445" y="711"/>
                      <a:pt x="410" y="648"/>
                      <a:pt x="380" y="582"/>
                    </a:cubicBezTo>
                    <a:cubicBezTo>
                      <a:pt x="378" y="578"/>
                      <a:pt x="371" y="580"/>
                      <a:pt x="373" y="585"/>
                    </a:cubicBezTo>
                    <a:cubicBezTo>
                      <a:pt x="401" y="645"/>
                      <a:pt x="432" y="704"/>
                      <a:pt x="469" y="759"/>
                    </a:cubicBezTo>
                    <a:cubicBezTo>
                      <a:pt x="502" y="810"/>
                      <a:pt x="537" y="860"/>
                      <a:pt x="585" y="898"/>
                    </a:cubicBezTo>
                    <a:cubicBezTo>
                      <a:pt x="620" y="926"/>
                      <a:pt x="677" y="967"/>
                      <a:pt x="722" y="937"/>
                    </a:cubicBezTo>
                    <a:cubicBezTo>
                      <a:pt x="765" y="907"/>
                      <a:pt x="764" y="847"/>
                      <a:pt x="755" y="802"/>
                    </a:cubicBezTo>
                    <a:cubicBezTo>
                      <a:pt x="743" y="738"/>
                      <a:pt x="714" y="677"/>
                      <a:pt x="692" y="616"/>
                    </a:cubicBezTo>
                    <a:cubicBezTo>
                      <a:pt x="669" y="554"/>
                      <a:pt x="646" y="491"/>
                      <a:pt x="617" y="431"/>
                    </a:cubicBezTo>
                    <a:cubicBezTo>
                      <a:pt x="563" y="319"/>
                      <a:pt x="493" y="208"/>
                      <a:pt x="395" y="131"/>
                    </a:cubicBezTo>
                    <a:cubicBezTo>
                      <a:pt x="341" y="89"/>
                      <a:pt x="279" y="57"/>
                      <a:pt x="215" y="35"/>
                    </a:cubicBezTo>
                    <a:cubicBezTo>
                      <a:pt x="147" y="13"/>
                      <a:pt x="72" y="0"/>
                      <a:pt x="1" y="17"/>
                    </a:cubicBezTo>
                    <a:cubicBezTo>
                      <a:pt x="0" y="17"/>
                      <a:pt x="0" y="19"/>
                      <a:pt x="2" y="19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28" name="Freeform 375">
                <a:extLst>
                  <a:ext uri="{FF2B5EF4-FFF2-40B4-BE49-F238E27FC236}">
                    <a16:creationId xmlns:a16="http://schemas.microsoft.com/office/drawing/2014/main" id="{8E041671-A28D-43D0-A925-5274477DB032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869" y="1267"/>
                <a:ext cx="588" cy="1221"/>
              </a:xfrm>
              <a:custGeom>
                <a:avLst/>
                <a:gdLst>
                  <a:gd name="T0" fmla="*/ 549 w 555"/>
                  <a:gd name="T1" fmla="*/ 1 h 1153"/>
                  <a:gd name="T2" fmla="*/ 202 w 555"/>
                  <a:gd name="T3" fmla="*/ 176 h 1153"/>
                  <a:gd name="T4" fmla="*/ 45 w 555"/>
                  <a:gd name="T5" fmla="*/ 524 h 1153"/>
                  <a:gd name="T6" fmla="*/ 12 w 555"/>
                  <a:gd name="T7" fmla="*/ 750 h 1153"/>
                  <a:gd name="T8" fmla="*/ 8 w 555"/>
                  <a:gd name="T9" fmla="*/ 959 h 1153"/>
                  <a:gd name="T10" fmla="*/ 60 w 555"/>
                  <a:gd name="T11" fmla="*/ 1099 h 1153"/>
                  <a:gd name="T12" fmla="*/ 182 w 555"/>
                  <a:gd name="T13" fmla="*/ 1089 h 1153"/>
                  <a:gd name="T14" fmla="*/ 272 w 555"/>
                  <a:gd name="T15" fmla="*/ 907 h 1153"/>
                  <a:gd name="T16" fmla="*/ 322 w 555"/>
                  <a:gd name="T17" fmla="*/ 670 h 1153"/>
                  <a:gd name="T18" fmla="*/ 313 w 555"/>
                  <a:gd name="T19" fmla="*/ 668 h 1153"/>
                  <a:gd name="T20" fmla="*/ 275 w 555"/>
                  <a:gd name="T21" fmla="*/ 861 h 1153"/>
                  <a:gd name="T22" fmla="*/ 215 w 555"/>
                  <a:gd name="T23" fmla="*/ 1026 h 1153"/>
                  <a:gd name="T24" fmla="*/ 70 w 555"/>
                  <a:gd name="T25" fmla="*/ 1097 h 1153"/>
                  <a:gd name="T26" fmla="*/ 18 w 555"/>
                  <a:gd name="T27" fmla="*/ 953 h 1153"/>
                  <a:gd name="T28" fmla="*/ 22 w 555"/>
                  <a:gd name="T29" fmla="*/ 750 h 1153"/>
                  <a:gd name="T30" fmla="*/ 51 w 555"/>
                  <a:gd name="T31" fmla="*/ 551 h 1153"/>
                  <a:gd name="T32" fmla="*/ 194 w 555"/>
                  <a:gd name="T33" fmla="*/ 199 h 1153"/>
                  <a:gd name="T34" fmla="*/ 550 w 555"/>
                  <a:gd name="T35" fmla="*/ 8 h 1153"/>
                  <a:gd name="T36" fmla="*/ 549 w 555"/>
                  <a:gd name="T37" fmla="*/ 1 h 11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555" h="1153">
                    <a:moveTo>
                      <a:pt x="549" y="1"/>
                    </a:moveTo>
                    <a:cubicBezTo>
                      <a:pt x="419" y="24"/>
                      <a:pt x="294" y="78"/>
                      <a:pt x="202" y="176"/>
                    </a:cubicBezTo>
                    <a:cubicBezTo>
                      <a:pt x="111" y="272"/>
                      <a:pt x="68" y="396"/>
                      <a:pt x="45" y="524"/>
                    </a:cubicBezTo>
                    <a:cubicBezTo>
                      <a:pt x="31" y="599"/>
                      <a:pt x="22" y="674"/>
                      <a:pt x="12" y="750"/>
                    </a:cubicBezTo>
                    <a:cubicBezTo>
                      <a:pt x="3" y="820"/>
                      <a:pt x="0" y="889"/>
                      <a:pt x="8" y="959"/>
                    </a:cubicBezTo>
                    <a:cubicBezTo>
                      <a:pt x="14" y="1008"/>
                      <a:pt x="26" y="1062"/>
                      <a:pt x="60" y="1099"/>
                    </a:cubicBezTo>
                    <a:cubicBezTo>
                      <a:pt x="98" y="1140"/>
                      <a:pt x="147" y="1126"/>
                      <a:pt x="182" y="1089"/>
                    </a:cubicBezTo>
                    <a:cubicBezTo>
                      <a:pt x="228" y="1038"/>
                      <a:pt x="253" y="972"/>
                      <a:pt x="272" y="907"/>
                    </a:cubicBezTo>
                    <a:cubicBezTo>
                      <a:pt x="294" y="829"/>
                      <a:pt x="310" y="750"/>
                      <a:pt x="322" y="670"/>
                    </a:cubicBezTo>
                    <a:cubicBezTo>
                      <a:pt x="323" y="664"/>
                      <a:pt x="313" y="662"/>
                      <a:pt x="313" y="668"/>
                    </a:cubicBezTo>
                    <a:cubicBezTo>
                      <a:pt x="303" y="733"/>
                      <a:pt x="292" y="798"/>
                      <a:pt x="275" y="861"/>
                    </a:cubicBezTo>
                    <a:cubicBezTo>
                      <a:pt x="260" y="918"/>
                      <a:pt x="244" y="975"/>
                      <a:pt x="215" y="1026"/>
                    </a:cubicBezTo>
                    <a:cubicBezTo>
                      <a:pt x="189" y="1073"/>
                      <a:pt x="127" y="1153"/>
                      <a:pt x="70" y="1097"/>
                    </a:cubicBezTo>
                    <a:cubicBezTo>
                      <a:pt x="34" y="1060"/>
                      <a:pt x="24" y="1002"/>
                      <a:pt x="18" y="953"/>
                    </a:cubicBezTo>
                    <a:cubicBezTo>
                      <a:pt x="10" y="885"/>
                      <a:pt x="14" y="818"/>
                      <a:pt x="22" y="750"/>
                    </a:cubicBezTo>
                    <a:cubicBezTo>
                      <a:pt x="31" y="684"/>
                      <a:pt x="39" y="617"/>
                      <a:pt x="51" y="551"/>
                    </a:cubicBezTo>
                    <a:cubicBezTo>
                      <a:pt x="72" y="424"/>
                      <a:pt x="108" y="299"/>
                      <a:pt x="194" y="199"/>
                    </a:cubicBezTo>
                    <a:cubicBezTo>
                      <a:pt x="286" y="93"/>
                      <a:pt x="415" y="37"/>
                      <a:pt x="550" y="8"/>
                    </a:cubicBezTo>
                    <a:cubicBezTo>
                      <a:pt x="555" y="7"/>
                      <a:pt x="554" y="0"/>
                      <a:pt x="549" y="1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29" name="Freeform 376">
                <a:extLst>
                  <a:ext uri="{FF2B5EF4-FFF2-40B4-BE49-F238E27FC236}">
                    <a16:creationId xmlns:a16="http://schemas.microsoft.com/office/drawing/2014/main" id="{1A9CF617-1714-4C19-9186-3AA565B5AEA7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683" y="1779"/>
                <a:ext cx="302" cy="177"/>
              </a:xfrm>
              <a:custGeom>
                <a:avLst/>
                <a:gdLst>
                  <a:gd name="T0" fmla="*/ 282 w 285"/>
                  <a:gd name="T1" fmla="*/ 0 h 167"/>
                  <a:gd name="T2" fmla="*/ 147 w 285"/>
                  <a:gd name="T3" fmla="*/ 55 h 167"/>
                  <a:gd name="T4" fmla="*/ 70 w 285"/>
                  <a:gd name="T5" fmla="*/ 112 h 167"/>
                  <a:gd name="T6" fmla="*/ 2 w 285"/>
                  <a:gd name="T7" fmla="*/ 163 h 167"/>
                  <a:gd name="T8" fmla="*/ 4 w 285"/>
                  <a:gd name="T9" fmla="*/ 166 h 167"/>
                  <a:gd name="T10" fmla="*/ 65 w 285"/>
                  <a:gd name="T11" fmla="*/ 122 h 167"/>
                  <a:gd name="T12" fmla="*/ 140 w 285"/>
                  <a:gd name="T13" fmla="*/ 70 h 167"/>
                  <a:gd name="T14" fmla="*/ 205 w 285"/>
                  <a:gd name="T15" fmla="*/ 27 h 167"/>
                  <a:gd name="T16" fmla="*/ 240 w 285"/>
                  <a:gd name="T17" fmla="*/ 13 h 167"/>
                  <a:gd name="T18" fmla="*/ 282 w 285"/>
                  <a:gd name="T19" fmla="*/ 4 h 167"/>
                  <a:gd name="T20" fmla="*/ 282 w 285"/>
                  <a:gd name="T21" fmla="*/ 0 h 1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285" h="167">
                    <a:moveTo>
                      <a:pt x="282" y="0"/>
                    </a:moveTo>
                    <a:cubicBezTo>
                      <a:pt x="234" y="2"/>
                      <a:pt x="184" y="23"/>
                      <a:pt x="147" y="55"/>
                    </a:cubicBezTo>
                    <a:cubicBezTo>
                      <a:pt x="123" y="76"/>
                      <a:pt x="95" y="93"/>
                      <a:pt x="70" y="112"/>
                    </a:cubicBezTo>
                    <a:cubicBezTo>
                      <a:pt x="47" y="129"/>
                      <a:pt x="24" y="146"/>
                      <a:pt x="2" y="163"/>
                    </a:cubicBezTo>
                    <a:cubicBezTo>
                      <a:pt x="0" y="164"/>
                      <a:pt x="2" y="167"/>
                      <a:pt x="4" y="166"/>
                    </a:cubicBezTo>
                    <a:cubicBezTo>
                      <a:pt x="25" y="153"/>
                      <a:pt x="45" y="137"/>
                      <a:pt x="65" y="122"/>
                    </a:cubicBezTo>
                    <a:cubicBezTo>
                      <a:pt x="90" y="104"/>
                      <a:pt x="116" y="88"/>
                      <a:pt x="140" y="70"/>
                    </a:cubicBezTo>
                    <a:cubicBezTo>
                      <a:pt x="162" y="53"/>
                      <a:pt x="180" y="38"/>
                      <a:pt x="205" y="27"/>
                    </a:cubicBezTo>
                    <a:cubicBezTo>
                      <a:pt x="217" y="22"/>
                      <a:pt x="228" y="17"/>
                      <a:pt x="240" y="13"/>
                    </a:cubicBezTo>
                    <a:cubicBezTo>
                      <a:pt x="254" y="8"/>
                      <a:pt x="269" y="9"/>
                      <a:pt x="282" y="4"/>
                    </a:cubicBezTo>
                    <a:cubicBezTo>
                      <a:pt x="285" y="3"/>
                      <a:pt x="284" y="0"/>
                      <a:pt x="282" y="0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30" name="Freeform 377">
                <a:extLst>
                  <a:ext uri="{FF2B5EF4-FFF2-40B4-BE49-F238E27FC236}">
                    <a16:creationId xmlns:a16="http://schemas.microsoft.com/office/drawing/2014/main" id="{917F77FC-75B8-4EC9-B5EC-1F62DED56C62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060" y="1921"/>
                <a:ext cx="580" cy="93"/>
              </a:xfrm>
              <a:custGeom>
                <a:avLst/>
                <a:gdLst>
                  <a:gd name="T0" fmla="*/ 546 w 548"/>
                  <a:gd name="T1" fmla="*/ 53 h 88"/>
                  <a:gd name="T2" fmla="*/ 409 w 548"/>
                  <a:gd name="T3" fmla="*/ 79 h 88"/>
                  <a:gd name="T4" fmla="*/ 334 w 548"/>
                  <a:gd name="T5" fmla="*/ 80 h 88"/>
                  <a:gd name="T6" fmla="*/ 258 w 548"/>
                  <a:gd name="T7" fmla="*/ 65 h 88"/>
                  <a:gd name="T8" fmla="*/ 128 w 548"/>
                  <a:gd name="T9" fmla="*/ 24 h 88"/>
                  <a:gd name="T10" fmla="*/ 67 w 548"/>
                  <a:gd name="T11" fmla="*/ 5 h 88"/>
                  <a:gd name="T12" fmla="*/ 3 w 548"/>
                  <a:gd name="T13" fmla="*/ 3 h 88"/>
                  <a:gd name="T14" fmla="*/ 4 w 548"/>
                  <a:gd name="T15" fmla="*/ 9 h 88"/>
                  <a:gd name="T16" fmla="*/ 81 w 548"/>
                  <a:gd name="T17" fmla="*/ 16 h 88"/>
                  <a:gd name="T18" fmla="*/ 149 w 548"/>
                  <a:gd name="T19" fmla="*/ 38 h 88"/>
                  <a:gd name="T20" fmla="*/ 278 w 548"/>
                  <a:gd name="T21" fmla="*/ 77 h 88"/>
                  <a:gd name="T22" fmla="*/ 417 w 548"/>
                  <a:gd name="T23" fmla="*/ 84 h 88"/>
                  <a:gd name="T24" fmla="*/ 547 w 548"/>
                  <a:gd name="T25" fmla="*/ 54 h 88"/>
                  <a:gd name="T26" fmla="*/ 546 w 548"/>
                  <a:gd name="T27" fmla="*/ 53 h 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548" h="88">
                    <a:moveTo>
                      <a:pt x="546" y="53"/>
                    </a:moveTo>
                    <a:cubicBezTo>
                      <a:pt x="505" y="71"/>
                      <a:pt x="454" y="76"/>
                      <a:pt x="409" y="79"/>
                    </a:cubicBezTo>
                    <a:cubicBezTo>
                      <a:pt x="385" y="80"/>
                      <a:pt x="359" y="83"/>
                      <a:pt x="334" y="80"/>
                    </a:cubicBezTo>
                    <a:cubicBezTo>
                      <a:pt x="309" y="77"/>
                      <a:pt x="283" y="72"/>
                      <a:pt x="258" y="65"/>
                    </a:cubicBezTo>
                    <a:cubicBezTo>
                      <a:pt x="214" y="53"/>
                      <a:pt x="172" y="37"/>
                      <a:pt x="128" y="24"/>
                    </a:cubicBezTo>
                    <a:cubicBezTo>
                      <a:pt x="108" y="17"/>
                      <a:pt x="88" y="9"/>
                      <a:pt x="67" y="5"/>
                    </a:cubicBezTo>
                    <a:cubicBezTo>
                      <a:pt x="46" y="0"/>
                      <a:pt x="24" y="0"/>
                      <a:pt x="3" y="3"/>
                    </a:cubicBezTo>
                    <a:cubicBezTo>
                      <a:pt x="0" y="3"/>
                      <a:pt x="0" y="9"/>
                      <a:pt x="4" y="9"/>
                    </a:cubicBezTo>
                    <a:cubicBezTo>
                      <a:pt x="30" y="9"/>
                      <a:pt x="55" y="8"/>
                      <a:pt x="81" y="16"/>
                    </a:cubicBezTo>
                    <a:cubicBezTo>
                      <a:pt x="103" y="24"/>
                      <a:pt x="126" y="30"/>
                      <a:pt x="149" y="38"/>
                    </a:cubicBezTo>
                    <a:cubicBezTo>
                      <a:pt x="192" y="53"/>
                      <a:pt x="234" y="67"/>
                      <a:pt x="278" y="77"/>
                    </a:cubicBezTo>
                    <a:cubicBezTo>
                      <a:pt x="325" y="88"/>
                      <a:pt x="369" y="88"/>
                      <a:pt x="417" y="84"/>
                    </a:cubicBezTo>
                    <a:cubicBezTo>
                      <a:pt x="459" y="80"/>
                      <a:pt x="508" y="73"/>
                      <a:pt x="547" y="54"/>
                    </a:cubicBezTo>
                    <a:cubicBezTo>
                      <a:pt x="548" y="54"/>
                      <a:pt x="547" y="53"/>
                      <a:pt x="546" y="53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31" name="Freeform 378">
                <a:extLst>
                  <a:ext uri="{FF2B5EF4-FFF2-40B4-BE49-F238E27FC236}">
                    <a16:creationId xmlns:a16="http://schemas.microsoft.com/office/drawing/2014/main" id="{B48BDB89-D4DB-4017-BC24-210A54AF5845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164" y="1843"/>
                <a:ext cx="676" cy="222"/>
              </a:xfrm>
              <a:custGeom>
                <a:avLst/>
                <a:gdLst>
                  <a:gd name="T0" fmla="*/ 634 w 638"/>
                  <a:gd name="T1" fmla="*/ 2 h 210"/>
                  <a:gd name="T2" fmla="*/ 531 w 638"/>
                  <a:gd name="T3" fmla="*/ 128 h 210"/>
                  <a:gd name="T4" fmla="*/ 348 w 638"/>
                  <a:gd name="T5" fmla="*/ 190 h 210"/>
                  <a:gd name="T6" fmla="*/ 158 w 638"/>
                  <a:gd name="T7" fmla="*/ 186 h 210"/>
                  <a:gd name="T8" fmla="*/ 8 w 638"/>
                  <a:gd name="T9" fmla="*/ 95 h 210"/>
                  <a:gd name="T10" fmla="*/ 4 w 638"/>
                  <a:gd name="T11" fmla="*/ 103 h 210"/>
                  <a:gd name="T12" fmla="*/ 165 w 638"/>
                  <a:gd name="T13" fmla="*/ 198 h 210"/>
                  <a:gd name="T14" fmla="*/ 260 w 638"/>
                  <a:gd name="T15" fmla="*/ 208 h 210"/>
                  <a:gd name="T16" fmla="*/ 357 w 638"/>
                  <a:gd name="T17" fmla="*/ 198 h 210"/>
                  <a:gd name="T18" fmla="*/ 541 w 638"/>
                  <a:gd name="T19" fmla="*/ 130 h 210"/>
                  <a:gd name="T20" fmla="*/ 638 w 638"/>
                  <a:gd name="T21" fmla="*/ 3 h 210"/>
                  <a:gd name="T22" fmla="*/ 634 w 638"/>
                  <a:gd name="T23" fmla="*/ 2 h 2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638" h="210">
                    <a:moveTo>
                      <a:pt x="634" y="2"/>
                    </a:moveTo>
                    <a:cubicBezTo>
                      <a:pt x="621" y="59"/>
                      <a:pt x="580" y="101"/>
                      <a:pt x="531" y="128"/>
                    </a:cubicBezTo>
                    <a:cubicBezTo>
                      <a:pt x="473" y="160"/>
                      <a:pt x="413" y="180"/>
                      <a:pt x="348" y="190"/>
                    </a:cubicBezTo>
                    <a:cubicBezTo>
                      <a:pt x="287" y="200"/>
                      <a:pt x="217" y="210"/>
                      <a:pt x="158" y="186"/>
                    </a:cubicBezTo>
                    <a:cubicBezTo>
                      <a:pt x="103" y="165"/>
                      <a:pt x="58" y="128"/>
                      <a:pt x="8" y="95"/>
                    </a:cubicBezTo>
                    <a:cubicBezTo>
                      <a:pt x="4" y="92"/>
                      <a:pt x="0" y="100"/>
                      <a:pt x="4" y="103"/>
                    </a:cubicBezTo>
                    <a:cubicBezTo>
                      <a:pt x="55" y="139"/>
                      <a:pt x="105" y="177"/>
                      <a:pt x="165" y="198"/>
                    </a:cubicBezTo>
                    <a:cubicBezTo>
                      <a:pt x="196" y="209"/>
                      <a:pt x="228" y="210"/>
                      <a:pt x="260" y="208"/>
                    </a:cubicBezTo>
                    <a:cubicBezTo>
                      <a:pt x="293" y="206"/>
                      <a:pt x="325" y="203"/>
                      <a:pt x="357" y="198"/>
                    </a:cubicBezTo>
                    <a:cubicBezTo>
                      <a:pt x="423" y="186"/>
                      <a:pt x="484" y="164"/>
                      <a:pt x="541" y="130"/>
                    </a:cubicBezTo>
                    <a:cubicBezTo>
                      <a:pt x="584" y="105"/>
                      <a:pt x="637" y="56"/>
                      <a:pt x="638" y="3"/>
                    </a:cubicBezTo>
                    <a:cubicBezTo>
                      <a:pt x="638" y="0"/>
                      <a:pt x="634" y="0"/>
                      <a:pt x="634" y="2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32" name="Freeform 379">
                <a:extLst>
                  <a:ext uri="{FF2B5EF4-FFF2-40B4-BE49-F238E27FC236}">
                    <a16:creationId xmlns:a16="http://schemas.microsoft.com/office/drawing/2014/main" id="{008BC21A-4A8D-42B2-8365-760D2E901F3F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982" y="2001"/>
                <a:ext cx="119" cy="326"/>
              </a:xfrm>
              <a:custGeom>
                <a:avLst/>
                <a:gdLst>
                  <a:gd name="T0" fmla="*/ 109 w 112"/>
                  <a:gd name="T1" fmla="*/ 2 h 308"/>
                  <a:gd name="T2" fmla="*/ 62 w 112"/>
                  <a:gd name="T3" fmla="*/ 137 h 308"/>
                  <a:gd name="T4" fmla="*/ 2 w 112"/>
                  <a:gd name="T5" fmla="*/ 304 h 308"/>
                  <a:gd name="T6" fmla="*/ 5 w 112"/>
                  <a:gd name="T7" fmla="*/ 306 h 308"/>
                  <a:gd name="T8" fmla="*/ 61 w 112"/>
                  <a:gd name="T9" fmla="*/ 165 h 308"/>
                  <a:gd name="T10" fmla="*/ 112 w 112"/>
                  <a:gd name="T11" fmla="*/ 3 h 308"/>
                  <a:gd name="T12" fmla="*/ 109 w 112"/>
                  <a:gd name="T13" fmla="*/ 2 h 3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12" h="308">
                    <a:moveTo>
                      <a:pt x="109" y="2"/>
                    </a:moveTo>
                    <a:cubicBezTo>
                      <a:pt x="90" y="45"/>
                      <a:pt x="71" y="91"/>
                      <a:pt x="62" y="137"/>
                    </a:cubicBezTo>
                    <a:cubicBezTo>
                      <a:pt x="49" y="196"/>
                      <a:pt x="39" y="255"/>
                      <a:pt x="2" y="304"/>
                    </a:cubicBezTo>
                    <a:cubicBezTo>
                      <a:pt x="0" y="306"/>
                      <a:pt x="3" y="308"/>
                      <a:pt x="5" y="306"/>
                    </a:cubicBezTo>
                    <a:cubicBezTo>
                      <a:pt x="39" y="266"/>
                      <a:pt x="50" y="215"/>
                      <a:pt x="61" y="165"/>
                    </a:cubicBezTo>
                    <a:cubicBezTo>
                      <a:pt x="73" y="110"/>
                      <a:pt x="90" y="55"/>
                      <a:pt x="112" y="3"/>
                    </a:cubicBezTo>
                    <a:cubicBezTo>
                      <a:pt x="112" y="1"/>
                      <a:pt x="110" y="0"/>
                      <a:pt x="109" y="2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33" name="Freeform 380">
                <a:extLst>
                  <a:ext uri="{FF2B5EF4-FFF2-40B4-BE49-F238E27FC236}">
                    <a16:creationId xmlns:a16="http://schemas.microsoft.com/office/drawing/2014/main" id="{219FD380-2FBC-4F36-B39D-CDA8C3B5BDF1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901" y="1860"/>
                <a:ext cx="178" cy="269"/>
              </a:xfrm>
              <a:custGeom>
                <a:avLst/>
                <a:gdLst>
                  <a:gd name="T0" fmla="*/ 1 w 168"/>
                  <a:gd name="T1" fmla="*/ 2 h 254"/>
                  <a:gd name="T2" fmla="*/ 65 w 168"/>
                  <a:gd name="T3" fmla="*/ 129 h 254"/>
                  <a:gd name="T4" fmla="*/ 161 w 168"/>
                  <a:gd name="T5" fmla="*/ 251 h 254"/>
                  <a:gd name="T6" fmla="*/ 166 w 168"/>
                  <a:gd name="T7" fmla="*/ 247 h 254"/>
                  <a:gd name="T8" fmla="*/ 69 w 168"/>
                  <a:gd name="T9" fmla="*/ 123 h 254"/>
                  <a:gd name="T10" fmla="*/ 4 w 168"/>
                  <a:gd name="T11" fmla="*/ 1 h 254"/>
                  <a:gd name="T12" fmla="*/ 1 w 168"/>
                  <a:gd name="T13" fmla="*/ 2 h 2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68" h="254">
                    <a:moveTo>
                      <a:pt x="1" y="2"/>
                    </a:moveTo>
                    <a:cubicBezTo>
                      <a:pt x="26" y="43"/>
                      <a:pt x="41" y="89"/>
                      <a:pt x="65" y="129"/>
                    </a:cubicBezTo>
                    <a:cubicBezTo>
                      <a:pt x="92" y="173"/>
                      <a:pt x="125" y="215"/>
                      <a:pt x="161" y="251"/>
                    </a:cubicBezTo>
                    <a:cubicBezTo>
                      <a:pt x="164" y="254"/>
                      <a:pt x="168" y="250"/>
                      <a:pt x="166" y="247"/>
                    </a:cubicBezTo>
                    <a:cubicBezTo>
                      <a:pt x="131" y="207"/>
                      <a:pt x="96" y="168"/>
                      <a:pt x="69" y="123"/>
                    </a:cubicBezTo>
                    <a:cubicBezTo>
                      <a:pt x="45" y="83"/>
                      <a:pt x="31" y="38"/>
                      <a:pt x="4" y="1"/>
                    </a:cubicBezTo>
                    <a:cubicBezTo>
                      <a:pt x="3" y="0"/>
                      <a:pt x="0" y="1"/>
                      <a:pt x="1" y="2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34" name="Freeform 381">
                <a:extLst>
                  <a:ext uri="{FF2B5EF4-FFF2-40B4-BE49-F238E27FC236}">
                    <a16:creationId xmlns:a16="http://schemas.microsoft.com/office/drawing/2014/main" id="{004D949C-BA62-4AA4-AC31-DE114E642E13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069" y="2134"/>
                <a:ext cx="31" cy="23"/>
              </a:xfrm>
              <a:custGeom>
                <a:avLst/>
                <a:gdLst>
                  <a:gd name="T0" fmla="*/ 3 w 29"/>
                  <a:gd name="T1" fmla="*/ 7 h 22"/>
                  <a:gd name="T2" fmla="*/ 24 w 29"/>
                  <a:gd name="T3" fmla="*/ 21 h 22"/>
                  <a:gd name="T4" fmla="*/ 27 w 29"/>
                  <a:gd name="T5" fmla="*/ 16 h 22"/>
                  <a:gd name="T6" fmla="*/ 6 w 29"/>
                  <a:gd name="T7" fmla="*/ 2 h 22"/>
                  <a:gd name="T8" fmla="*/ 3 w 29"/>
                  <a:gd name="T9" fmla="*/ 7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9" h="22">
                    <a:moveTo>
                      <a:pt x="3" y="7"/>
                    </a:moveTo>
                    <a:cubicBezTo>
                      <a:pt x="9" y="12"/>
                      <a:pt x="16" y="18"/>
                      <a:pt x="24" y="21"/>
                    </a:cubicBezTo>
                    <a:cubicBezTo>
                      <a:pt x="27" y="22"/>
                      <a:pt x="29" y="18"/>
                      <a:pt x="27" y="16"/>
                    </a:cubicBezTo>
                    <a:cubicBezTo>
                      <a:pt x="21" y="10"/>
                      <a:pt x="13" y="6"/>
                      <a:pt x="6" y="2"/>
                    </a:cubicBezTo>
                    <a:cubicBezTo>
                      <a:pt x="3" y="0"/>
                      <a:pt x="0" y="5"/>
                      <a:pt x="3" y="7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35" name="Freeform 382">
                <a:extLst>
                  <a:ext uri="{FF2B5EF4-FFF2-40B4-BE49-F238E27FC236}">
                    <a16:creationId xmlns:a16="http://schemas.microsoft.com/office/drawing/2014/main" id="{6F68AD0F-7107-4D6A-BC7D-E0B7123280B5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103" y="2161"/>
                <a:ext cx="17" cy="12"/>
              </a:xfrm>
              <a:custGeom>
                <a:avLst/>
                <a:gdLst>
                  <a:gd name="T0" fmla="*/ 3 w 16"/>
                  <a:gd name="T1" fmla="*/ 8 h 12"/>
                  <a:gd name="T2" fmla="*/ 10 w 16"/>
                  <a:gd name="T3" fmla="*/ 12 h 12"/>
                  <a:gd name="T4" fmla="*/ 15 w 16"/>
                  <a:gd name="T5" fmla="*/ 10 h 12"/>
                  <a:gd name="T6" fmla="*/ 12 w 16"/>
                  <a:gd name="T7" fmla="*/ 6 h 12"/>
                  <a:gd name="T8" fmla="*/ 6 w 16"/>
                  <a:gd name="T9" fmla="*/ 2 h 12"/>
                  <a:gd name="T10" fmla="*/ 3 w 16"/>
                  <a:gd name="T11" fmla="*/ 8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6" h="12">
                    <a:moveTo>
                      <a:pt x="3" y="8"/>
                    </a:moveTo>
                    <a:cubicBezTo>
                      <a:pt x="5" y="10"/>
                      <a:pt x="7" y="11"/>
                      <a:pt x="10" y="12"/>
                    </a:cubicBezTo>
                    <a:cubicBezTo>
                      <a:pt x="11" y="12"/>
                      <a:pt x="14" y="12"/>
                      <a:pt x="15" y="10"/>
                    </a:cubicBezTo>
                    <a:cubicBezTo>
                      <a:pt x="16" y="7"/>
                      <a:pt x="14" y="6"/>
                      <a:pt x="12" y="6"/>
                    </a:cubicBezTo>
                    <a:cubicBezTo>
                      <a:pt x="10" y="5"/>
                      <a:pt x="8" y="4"/>
                      <a:pt x="6" y="2"/>
                    </a:cubicBezTo>
                    <a:cubicBezTo>
                      <a:pt x="3" y="0"/>
                      <a:pt x="0" y="6"/>
                      <a:pt x="3" y="8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36" name="Freeform 383">
                <a:extLst>
                  <a:ext uri="{FF2B5EF4-FFF2-40B4-BE49-F238E27FC236}">
                    <a16:creationId xmlns:a16="http://schemas.microsoft.com/office/drawing/2014/main" id="{C0029296-ABC2-461F-9CD8-5E3BB6EA5FD3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137" y="2176"/>
                <a:ext cx="4" cy="4"/>
              </a:xfrm>
              <a:custGeom>
                <a:avLst/>
                <a:gdLst>
                  <a:gd name="T0" fmla="*/ 2 w 4"/>
                  <a:gd name="T1" fmla="*/ 3 h 3"/>
                  <a:gd name="T2" fmla="*/ 2 w 4"/>
                  <a:gd name="T3" fmla="*/ 0 h 3"/>
                  <a:gd name="T4" fmla="*/ 2 w 4"/>
                  <a:gd name="T5" fmla="*/ 3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4" h="3">
                    <a:moveTo>
                      <a:pt x="2" y="3"/>
                    </a:moveTo>
                    <a:cubicBezTo>
                      <a:pt x="3" y="3"/>
                      <a:pt x="4" y="0"/>
                      <a:pt x="2" y="0"/>
                    </a:cubicBezTo>
                    <a:cubicBezTo>
                      <a:pt x="0" y="0"/>
                      <a:pt x="0" y="3"/>
                      <a:pt x="2" y="3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37" name="Freeform 384">
                <a:extLst>
                  <a:ext uri="{FF2B5EF4-FFF2-40B4-BE49-F238E27FC236}">
                    <a16:creationId xmlns:a16="http://schemas.microsoft.com/office/drawing/2014/main" id="{13C88416-EF4F-4F09-A6F2-552055679528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789" y="1487"/>
                <a:ext cx="98" cy="121"/>
              </a:xfrm>
              <a:custGeom>
                <a:avLst/>
                <a:gdLst>
                  <a:gd name="T0" fmla="*/ 45 w 93"/>
                  <a:gd name="T1" fmla="*/ 6 h 114"/>
                  <a:gd name="T2" fmla="*/ 29 w 93"/>
                  <a:gd name="T3" fmla="*/ 7 h 114"/>
                  <a:gd name="T4" fmla="*/ 11 w 93"/>
                  <a:gd name="T5" fmla="*/ 16 h 114"/>
                  <a:gd name="T6" fmla="*/ 0 w 93"/>
                  <a:gd name="T7" fmla="*/ 47 h 114"/>
                  <a:gd name="T8" fmla="*/ 42 w 93"/>
                  <a:gd name="T9" fmla="*/ 107 h 114"/>
                  <a:gd name="T10" fmla="*/ 91 w 93"/>
                  <a:gd name="T11" fmla="*/ 69 h 114"/>
                  <a:gd name="T12" fmla="*/ 43 w 93"/>
                  <a:gd name="T13" fmla="*/ 1 h 114"/>
                  <a:gd name="T14" fmla="*/ 41 w 93"/>
                  <a:gd name="T15" fmla="*/ 8 h 114"/>
                  <a:gd name="T16" fmla="*/ 81 w 93"/>
                  <a:gd name="T17" fmla="*/ 57 h 114"/>
                  <a:gd name="T18" fmla="*/ 70 w 93"/>
                  <a:gd name="T19" fmla="*/ 94 h 114"/>
                  <a:gd name="T20" fmla="*/ 25 w 93"/>
                  <a:gd name="T21" fmla="*/ 87 h 114"/>
                  <a:gd name="T22" fmla="*/ 8 w 93"/>
                  <a:gd name="T23" fmla="*/ 35 h 114"/>
                  <a:gd name="T24" fmla="*/ 38 w 93"/>
                  <a:gd name="T25" fmla="*/ 10 h 114"/>
                  <a:gd name="T26" fmla="*/ 46 w 93"/>
                  <a:gd name="T27" fmla="*/ 7 h 114"/>
                  <a:gd name="T28" fmla="*/ 45 w 93"/>
                  <a:gd name="T29" fmla="*/ 6 h 1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93" h="114">
                    <a:moveTo>
                      <a:pt x="45" y="6"/>
                    </a:moveTo>
                    <a:cubicBezTo>
                      <a:pt x="42" y="8"/>
                      <a:pt x="33" y="7"/>
                      <a:pt x="29" y="7"/>
                    </a:cubicBezTo>
                    <a:cubicBezTo>
                      <a:pt x="22" y="8"/>
                      <a:pt x="16" y="11"/>
                      <a:pt x="11" y="16"/>
                    </a:cubicBezTo>
                    <a:cubicBezTo>
                      <a:pt x="3" y="24"/>
                      <a:pt x="0" y="35"/>
                      <a:pt x="0" y="47"/>
                    </a:cubicBezTo>
                    <a:cubicBezTo>
                      <a:pt x="2" y="70"/>
                      <a:pt x="18" y="101"/>
                      <a:pt x="42" y="107"/>
                    </a:cubicBezTo>
                    <a:cubicBezTo>
                      <a:pt x="68" y="114"/>
                      <a:pt x="89" y="94"/>
                      <a:pt x="91" y="69"/>
                    </a:cubicBezTo>
                    <a:cubicBezTo>
                      <a:pt x="93" y="36"/>
                      <a:pt x="74" y="11"/>
                      <a:pt x="43" y="1"/>
                    </a:cubicBezTo>
                    <a:cubicBezTo>
                      <a:pt x="39" y="0"/>
                      <a:pt x="38" y="6"/>
                      <a:pt x="41" y="8"/>
                    </a:cubicBezTo>
                    <a:cubicBezTo>
                      <a:pt x="63" y="20"/>
                      <a:pt x="79" y="30"/>
                      <a:pt x="81" y="57"/>
                    </a:cubicBezTo>
                    <a:cubicBezTo>
                      <a:pt x="83" y="70"/>
                      <a:pt x="81" y="85"/>
                      <a:pt x="70" y="94"/>
                    </a:cubicBezTo>
                    <a:cubicBezTo>
                      <a:pt x="56" y="106"/>
                      <a:pt x="36" y="100"/>
                      <a:pt x="25" y="87"/>
                    </a:cubicBezTo>
                    <a:cubicBezTo>
                      <a:pt x="15" y="74"/>
                      <a:pt x="4" y="53"/>
                      <a:pt x="8" y="35"/>
                    </a:cubicBezTo>
                    <a:cubicBezTo>
                      <a:pt x="11" y="18"/>
                      <a:pt x="24" y="15"/>
                      <a:pt x="38" y="10"/>
                    </a:cubicBezTo>
                    <a:cubicBezTo>
                      <a:pt x="45" y="8"/>
                      <a:pt x="40" y="13"/>
                      <a:pt x="46" y="7"/>
                    </a:cubicBezTo>
                    <a:lnTo>
                      <a:pt x="45" y="6"/>
                    </a:ln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38" name="Freeform 385">
                <a:extLst>
                  <a:ext uri="{FF2B5EF4-FFF2-40B4-BE49-F238E27FC236}">
                    <a16:creationId xmlns:a16="http://schemas.microsoft.com/office/drawing/2014/main" id="{E7A6D2AF-669C-4396-9AEB-E86E747CBF3B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671" y="1573"/>
                <a:ext cx="124" cy="123"/>
              </a:xfrm>
              <a:custGeom>
                <a:avLst/>
                <a:gdLst>
                  <a:gd name="T0" fmla="*/ 62 w 117"/>
                  <a:gd name="T1" fmla="*/ 4 h 116"/>
                  <a:gd name="T2" fmla="*/ 80 w 117"/>
                  <a:gd name="T3" fmla="*/ 103 h 116"/>
                  <a:gd name="T4" fmla="*/ 111 w 117"/>
                  <a:gd name="T5" fmla="*/ 84 h 116"/>
                  <a:gd name="T6" fmla="*/ 110 w 117"/>
                  <a:gd name="T7" fmla="*/ 46 h 116"/>
                  <a:gd name="T8" fmla="*/ 62 w 117"/>
                  <a:gd name="T9" fmla="*/ 2 h 116"/>
                  <a:gd name="T10" fmla="*/ 62 w 117"/>
                  <a:gd name="T11" fmla="*/ 8 h 116"/>
                  <a:gd name="T12" fmla="*/ 99 w 117"/>
                  <a:gd name="T13" fmla="*/ 35 h 116"/>
                  <a:gd name="T14" fmla="*/ 88 w 117"/>
                  <a:gd name="T15" fmla="*/ 94 h 116"/>
                  <a:gd name="T16" fmla="*/ 62 w 117"/>
                  <a:gd name="T17" fmla="*/ 6 h 116"/>
                  <a:gd name="T18" fmla="*/ 62 w 117"/>
                  <a:gd name="T19" fmla="*/ 4 h 1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17" h="116">
                    <a:moveTo>
                      <a:pt x="62" y="4"/>
                    </a:moveTo>
                    <a:cubicBezTo>
                      <a:pt x="0" y="7"/>
                      <a:pt x="24" y="110"/>
                      <a:pt x="80" y="103"/>
                    </a:cubicBezTo>
                    <a:cubicBezTo>
                      <a:pt x="92" y="101"/>
                      <a:pt x="105" y="95"/>
                      <a:pt x="111" y="84"/>
                    </a:cubicBezTo>
                    <a:cubicBezTo>
                      <a:pt x="117" y="72"/>
                      <a:pt x="113" y="59"/>
                      <a:pt x="110" y="46"/>
                    </a:cubicBezTo>
                    <a:cubicBezTo>
                      <a:pt x="104" y="22"/>
                      <a:pt x="90" y="0"/>
                      <a:pt x="62" y="2"/>
                    </a:cubicBezTo>
                    <a:cubicBezTo>
                      <a:pt x="58" y="2"/>
                      <a:pt x="58" y="8"/>
                      <a:pt x="62" y="8"/>
                    </a:cubicBezTo>
                    <a:cubicBezTo>
                      <a:pt x="80" y="10"/>
                      <a:pt x="92" y="18"/>
                      <a:pt x="99" y="35"/>
                    </a:cubicBezTo>
                    <a:cubicBezTo>
                      <a:pt x="108" y="56"/>
                      <a:pt x="114" y="83"/>
                      <a:pt x="88" y="94"/>
                    </a:cubicBezTo>
                    <a:cubicBezTo>
                      <a:pt x="35" y="116"/>
                      <a:pt x="5" y="17"/>
                      <a:pt x="62" y="6"/>
                    </a:cubicBezTo>
                    <a:cubicBezTo>
                      <a:pt x="64" y="6"/>
                      <a:pt x="63" y="4"/>
                      <a:pt x="62" y="4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39" name="Freeform 386">
                <a:extLst>
                  <a:ext uri="{FF2B5EF4-FFF2-40B4-BE49-F238E27FC236}">
                    <a16:creationId xmlns:a16="http://schemas.microsoft.com/office/drawing/2014/main" id="{0BE79491-F2AF-44D8-A3A4-68A5D33E6720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593" y="1679"/>
                <a:ext cx="142" cy="118"/>
              </a:xfrm>
              <a:custGeom>
                <a:avLst/>
                <a:gdLst>
                  <a:gd name="T0" fmla="*/ 61 w 134"/>
                  <a:gd name="T1" fmla="*/ 6 h 112"/>
                  <a:gd name="T2" fmla="*/ 64 w 134"/>
                  <a:gd name="T3" fmla="*/ 107 h 112"/>
                  <a:gd name="T4" fmla="*/ 55 w 134"/>
                  <a:gd name="T5" fmla="*/ 1 h 112"/>
                  <a:gd name="T6" fmla="*/ 54 w 134"/>
                  <a:gd name="T7" fmla="*/ 7 h 112"/>
                  <a:gd name="T8" fmla="*/ 100 w 134"/>
                  <a:gd name="T9" fmla="*/ 54 h 112"/>
                  <a:gd name="T10" fmla="*/ 60 w 134"/>
                  <a:gd name="T11" fmla="*/ 100 h 112"/>
                  <a:gd name="T12" fmla="*/ 25 w 134"/>
                  <a:gd name="T13" fmla="*/ 55 h 112"/>
                  <a:gd name="T14" fmla="*/ 61 w 134"/>
                  <a:gd name="T15" fmla="*/ 9 h 112"/>
                  <a:gd name="T16" fmla="*/ 61 w 134"/>
                  <a:gd name="T17" fmla="*/ 6 h 1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34" h="112">
                    <a:moveTo>
                      <a:pt x="61" y="6"/>
                    </a:moveTo>
                    <a:cubicBezTo>
                      <a:pt x="0" y="0"/>
                      <a:pt x="8" y="103"/>
                      <a:pt x="64" y="107"/>
                    </a:cubicBezTo>
                    <a:cubicBezTo>
                      <a:pt x="134" y="112"/>
                      <a:pt x="114" y="2"/>
                      <a:pt x="55" y="1"/>
                    </a:cubicBezTo>
                    <a:cubicBezTo>
                      <a:pt x="51" y="1"/>
                      <a:pt x="51" y="7"/>
                      <a:pt x="54" y="7"/>
                    </a:cubicBezTo>
                    <a:cubicBezTo>
                      <a:pt x="80" y="12"/>
                      <a:pt x="96" y="29"/>
                      <a:pt x="100" y="54"/>
                    </a:cubicBezTo>
                    <a:cubicBezTo>
                      <a:pt x="105" y="81"/>
                      <a:pt x="91" y="106"/>
                      <a:pt x="60" y="100"/>
                    </a:cubicBezTo>
                    <a:cubicBezTo>
                      <a:pt x="40" y="96"/>
                      <a:pt x="26" y="74"/>
                      <a:pt x="25" y="55"/>
                    </a:cubicBezTo>
                    <a:cubicBezTo>
                      <a:pt x="23" y="31"/>
                      <a:pt x="36" y="12"/>
                      <a:pt x="61" y="9"/>
                    </a:cubicBezTo>
                    <a:cubicBezTo>
                      <a:pt x="63" y="9"/>
                      <a:pt x="62" y="7"/>
                      <a:pt x="61" y="6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40" name="Freeform 387">
                <a:extLst>
                  <a:ext uri="{FF2B5EF4-FFF2-40B4-BE49-F238E27FC236}">
                    <a16:creationId xmlns:a16="http://schemas.microsoft.com/office/drawing/2014/main" id="{F58DEF40-5AFB-4A81-91F6-4EC4394F4C81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467" y="1834"/>
                <a:ext cx="111" cy="106"/>
              </a:xfrm>
              <a:custGeom>
                <a:avLst/>
                <a:gdLst>
                  <a:gd name="T0" fmla="*/ 48 w 104"/>
                  <a:gd name="T1" fmla="*/ 5 h 100"/>
                  <a:gd name="T2" fmla="*/ 1 w 104"/>
                  <a:gd name="T3" fmla="*/ 58 h 100"/>
                  <a:gd name="T4" fmla="*/ 48 w 104"/>
                  <a:gd name="T5" fmla="*/ 100 h 100"/>
                  <a:gd name="T6" fmla="*/ 103 w 104"/>
                  <a:gd name="T7" fmla="*/ 60 h 100"/>
                  <a:gd name="T8" fmla="*/ 92 w 104"/>
                  <a:gd name="T9" fmla="*/ 19 h 100"/>
                  <a:gd name="T10" fmla="*/ 59 w 104"/>
                  <a:gd name="T11" fmla="*/ 1 h 100"/>
                  <a:gd name="T12" fmla="*/ 56 w 104"/>
                  <a:gd name="T13" fmla="*/ 8 h 100"/>
                  <a:gd name="T14" fmla="*/ 77 w 104"/>
                  <a:gd name="T15" fmla="*/ 16 h 100"/>
                  <a:gd name="T16" fmla="*/ 94 w 104"/>
                  <a:gd name="T17" fmla="*/ 45 h 100"/>
                  <a:gd name="T18" fmla="*/ 58 w 104"/>
                  <a:gd name="T19" fmla="*/ 93 h 100"/>
                  <a:gd name="T20" fmla="*/ 7 w 104"/>
                  <a:gd name="T21" fmla="*/ 56 h 100"/>
                  <a:gd name="T22" fmla="*/ 49 w 104"/>
                  <a:gd name="T23" fmla="*/ 8 h 100"/>
                  <a:gd name="T24" fmla="*/ 48 w 104"/>
                  <a:gd name="T25" fmla="*/ 5 h 1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04" h="100">
                    <a:moveTo>
                      <a:pt x="48" y="5"/>
                    </a:moveTo>
                    <a:cubicBezTo>
                      <a:pt x="21" y="8"/>
                      <a:pt x="0" y="30"/>
                      <a:pt x="1" y="58"/>
                    </a:cubicBezTo>
                    <a:cubicBezTo>
                      <a:pt x="3" y="84"/>
                      <a:pt x="22" y="100"/>
                      <a:pt x="48" y="100"/>
                    </a:cubicBezTo>
                    <a:cubicBezTo>
                      <a:pt x="72" y="100"/>
                      <a:pt x="99" y="86"/>
                      <a:pt x="103" y="60"/>
                    </a:cubicBezTo>
                    <a:cubicBezTo>
                      <a:pt x="104" y="48"/>
                      <a:pt x="98" y="30"/>
                      <a:pt x="92" y="19"/>
                    </a:cubicBezTo>
                    <a:cubicBezTo>
                      <a:pt x="85" y="8"/>
                      <a:pt x="70" y="5"/>
                      <a:pt x="59" y="1"/>
                    </a:cubicBezTo>
                    <a:cubicBezTo>
                      <a:pt x="55" y="0"/>
                      <a:pt x="52" y="6"/>
                      <a:pt x="56" y="8"/>
                    </a:cubicBezTo>
                    <a:cubicBezTo>
                      <a:pt x="63" y="11"/>
                      <a:pt x="71" y="12"/>
                      <a:pt x="77" y="16"/>
                    </a:cubicBezTo>
                    <a:cubicBezTo>
                      <a:pt x="88" y="22"/>
                      <a:pt x="90" y="34"/>
                      <a:pt x="94" y="45"/>
                    </a:cubicBezTo>
                    <a:cubicBezTo>
                      <a:pt x="102" y="70"/>
                      <a:pt x="82" y="89"/>
                      <a:pt x="58" y="93"/>
                    </a:cubicBezTo>
                    <a:cubicBezTo>
                      <a:pt x="33" y="97"/>
                      <a:pt x="8" y="83"/>
                      <a:pt x="7" y="56"/>
                    </a:cubicBezTo>
                    <a:cubicBezTo>
                      <a:pt x="7" y="31"/>
                      <a:pt x="27" y="15"/>
                      <a:pt x="49" y="8"/>
                    </a:cubicBezTo>
                    <a:cubicBezTo>
                      <a:pt x="50" y="7"/>
                      <a:pt x="49" y="5"/>
                      <a:pt x="48" y="5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41" name="Freeform 388">
                <a:extLst>
                  <a:ext uri="{FF2B5EF4-FFF2-40B4-BE49-F238E27FC236}">
                    <a16:creationId xmlns:a16="http://schemas.microsoft.com/office/drawing/2014/main" id="{2E61BAC0-2537-4070-8C8C-3C7627C0B04C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348" y="1818"/>
                <a:ext cx="339" cy="92"/>
              </a:xfrm>
              <a:custGeom>
                <a:avLst/>
                <a:gdLst>
                  <a:gd name="T0" fmla="*/ 3 w 320"/>
                  <a:gd name="T1" fmla="*/ 86 h 87"/>
                  <a:gd name="T2" fmla="*/ 56 w 320"/>
                  <a:gd name="T3" fmla="*/ 50 h 87"/>
                  <a:gd name="T4" fmla="*/ 139 w 320"/>
                  <a:gd name="T5" fmla="*/ 22 h 87"/>
                  <a:gd name="T6" fmla="*/ 316 w 320"/>
                  <a:gd name="T7" fmla="*/ 33 h 87"/>
                  <a:gd name="T8" fmla="*/ 318 w 320"/>
                  <a:gd name="T9" fmla="*/ 29 h 87"/>
                  <a:gd name="T10" fmla="*/ 138 w 320"/>
                  <a:gd name="T11" fmla="*/ 17 h 87"/>
                  <a:gd name="T12" fmla="*/ 95 w 320"/>
                  <a:gd name="T13" fmla="*/ 28 h 87"/>
                  <a:gd name="T14" fmla="*/ 64 w 320"/>
                  <a:gd name="T15" fmla="*/ 38 h 87"/>
                  <a:gd name="T16" fmla="*/ 1 w 320"/>
                  <a:gd name="T17" fmla="*/ 84 h 87"/>
                  <a:gd name="T18" fmla="*/ 3 w 320"/>
                  <a:gd name="T19" fmla="*/ 86 h 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20" h="87">
                    <a:moveTo>
                      <a:pt x="3" y="86"/>
                    </a:moveTo>
                    <a:cubicBezTo>
                      <a:pt x="21" y="75"/>
                      <a:pt x="38" y="62"/>
                      <a:pt x="56" y="50"/>
                    </a:cubicBezTo>
                    <a:cubicBezTo>
                      <a:pt x="81" y="34"/>
                      <a:pt x="110" y="29"/>
                      <a:pt x="139" y="22"/>
                    </a:cubicBezTo>
                    <a:cubicBezTo>
                      <a:pt x="200" y="8"/>
                      <a:pt x="257" y="9"/>
                      <a:pt x="316" y="33"/>
                    </a:cubicBezTo>
                    <a:cubicBezTo>
                      <a:pt x="318" y="34"/>
                      <a:pt x="320" y="30"/>
                      <a:pt x="318" y="29"/>
                    </a:cubicBezTo>
                    <a:cubicBezTo>
                      <a:pt x="262" y="0"/>
                      <a:pt x="197" y="4"/>
                      <a:pt x="138" y="17"/>
                    </a:cubicBezTo>
                    <a:cubicBezTo>
                      <a:pt x="123" y="20"/>
                      <a:pt x="110" y="25"/>
                      <a:pt x="95" y="28"/>
                    </a:cubicBezTo>
                    <a:cubicBezTo>
                      <a:pt x="84" y="30"/>
                      <a:pt x="74" y="32"/>
                      <a:pt x="64" y="38"/>
                    </a:cubicBezTo>
                    <a:cubicBezTo>
                      <a:pt x="42" y="52"/>
                      <a:pt x="18" y="65"/>
                      <a:pt x="1" y="84"/>
                    </a:cubicBezTo>
                    <a:cubicBezTo>
                      <a:pt x="0" y="86"/>
                      <a:pt x="2" y="87"/>
                      <a:pt x="3" y="86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42" name="Freeform 389">
                <a:extLst>
                  <a:ext uri="{FF2B5EF4-FFF2-40B4-BE49-F238E27FC236}">
                    <a16:creationId xmlns:a16="http://schemas.microsoft.com/office/drawing/2014/main" id="{92B6A25C-289A-4663-BDC8-96EDC80F454B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700" y="1392"/>
                <a:ext cx="81" cy="101"/>
              </a:xfrm>
              <a:custGeom>
                <a:avLst/>
                <a:gdLst>
                  <a:gd name="T0" fmla="*/ 17 w 77"/>
                  <a:gd name="T1" fmla="*/ 10 h 95"/>
                  <a:gd name="T2" fmla="*/ 1 w 77"/>
                  <a:gd name="T3" fmla="*/ 34 h 95"/>
                  <a:gd name="T4" fmla="*/ 6 w 77"/>
                  <a:gd name="T5" fmla="*/ 66 h 95"/>
                  <a:gd name="T6" fmla="*/ 55 w 77"/>
                  <a:gd name="T7" fmla="*/ 83 h 95"/>
                  <a:gd name="T8" fmla="*/ 69 w 77"/>
                  <a:gd name="T9" fmla="*/ 25 h 95"/>
                  <a:gd name="T10" fmla="*/ 16 w 77"/>
                  <a:gd name="T11" fmla="*/ 8 h 95"/>
                  <a:gd name="T12" fmla="*/ 18 w 77"/>
                  <a:gd name="T13" fmla="*/ 13 h 95"/>
                  <a:gd name="T14" fmla="*/ 65 w 77"/>
                  <a:gd name="T15" fmla="*/ 32 h 95"/>
                  <a:gd name="T16" fmla="*/ 42 w 77"/>
                  <a:gd name="T17" fmla="*/ 82 h 95"/>
                  <a:gd name="T18" fmla="*/ 8 w 77"/>
                  <a:gd name="T19" fmla="*/ 55 h 95"/>
                  <a:gd name="T20" fmla="*/ 18 w 77"/>
                  <a:gd name="T21" fmla="*/ 11 h 95"/>
                  <a:gd name="T22" fmla="*/ 17 w 77"/>
                  <a:gd name="T23" fmla="*/ 10 h 9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77" h="95">
                    <a:moveTo>
                      <a:pt x="17" y="10"/>
                    </a:moveTo>
                    <a:cubicBezTo>
                      <a:pt x="7" y="16"/>
                      <a:pt x="1" y="22"/>
                      <a:pt x="1" y="34"/>
                    </a:cubicBezTo>
                    <a:cubicBezTo>
                      <a:pt x="0" y="44"/>
                      <a:pt x="2" y="56"/>
                      <a:pt x="6" y="66"/>
                    </a:cubicBezTo>
                    <a:cubicBezTo>
                      <a:pt x="15" y="84"/>
                      <a:pt x="36" y="95"/>
                      <a:pt x="55" y="83"/>
                    </a:cubicBezTo>
                    <a:cubicBezTo>
                      <a:pt x="73" y="71"/>
                      <a:pt x="77" y="43"/>
                      <a:pt x="69" y="25"/>
                    </a:cubicBezTo>
                    <a:cubicBezTo>
                      <a:pt x="60" y="5"/>
                      <a:pt x="35" y="0"/>
                      <a:pt x="16" y="8"/>
                    </a:cubicBezTo>
                    <a:cubicBezTo>
                      <a:pt x="14" y="10"/>
                      <a:pt x="15" y="14"/>
                      <a:pt x="18" y="13"/>
                    </a:cubicBezTo>
                    <a:cubicBezTo>
                      <a:pt x="37" y="10"/>
                      <a:pt x="59" y="9"/>
                      <a:pt x="65" y="32"/>
                    </a:cubicBezTo>
                    <a:cubicBezTo>
                      <a:pt x="70" y="51"/>
                      <a:pt x="64" y="77"/>
                      <a:pt x="42" y="82"/>
                    </a:cubicBezTo>
                    <a:cubicBezTo>
                      <a:pt x="24" y="85"/>
                      <a:pt x="12" y="70"/>
                      <a:pt x="8" y="55"/>
                    </a:cubicBezTo>
                    <a:cubicBezTo>
                      <a:pt x="3" y="38"/>
                      <a:pt x="4" y="22"/>
                      <a:pt x="18" y="11"/>
                    </a:cubicBezTo>
                    <a:cubicBezTo>
                      <a:pt x="18" y="11"/>
                      <a:pt x="18" y="10"/>
                      <a:pt x="17" y="10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43" name="Freeform 390">
                <a:extLst>
                  <a:ext uri="{FF2B5EF4-FFF2-40B4-BE49-F238E27FC236}">
                    <a16:creationId xmlns:a16="http://schemas.microsoft.com/office/drawing/2014/main" id="{65E987D5-D85E-4D8F-A32C-155516489E28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611" y="1470"/>
                <a:ext cx="80" cy="96"/>
              </a:xfrm>
              <a:custGeom>
                <a:avLst/>
                <a:gdLst>
                  <a:gd name="T0" fmla="*/ 35 w 76"/>
                  <a:gd name="T1" fmla="*/ 0 h 90"/>
                  <a:gd name="T2" fmla="*/ 8 w 76"/>
                  <a:gd name="T3" fmla="*/ 43 h 90"/>
                  <a:gd name="T4" fmla="*/ 34 w 76"/>
                  <a:gd name="T5" fmla="*/ 82 h 90"/>
                  <a:gd name="T6" fmla="*/ 74 w 76"/>
                  <a:gd name="T7" fmla="*/ 54 h 90"/>
                  <a:gd name="T8" fmla="*/ 66 w 76"/>
                  <a:gd name="T9" fmla="*/ 14 h 90"/>
                  <a:gd name="T10" fmla="*/ 37 w 76"/>
                  <a:gd name="T11" fmla="*/ 4 h 90"/>
                  <a:gd name="T12" fmla="*/ 36 w 76"/>
                  <a:gd name="T13" fmla="*/ 7 h 90"/>
                  <a:gd name="T14" fmla="*/ 67 w 76"/>
                  <a:gd name="T15" fmla="*/ 24 h 90"/>
                  <a:gd name="T16" fmla="*/ 70 w 76"/>
                  <a:gd name="T17" fmla="*/ 50 h 90"/>
                  <a:gd name="T18" fmla="*/ 21 w 76"/>
                  <a:gd name="T19" fmla="*/ 72 h 90"/>
                  <a:gd name="T20" fmla="*/ 36 w 76"/>
                  <a:gd name="T21" fmla="*/ 2 h 90"/>
                  <a:gd name="T22" fmla="*/ 35 w 76"/>
                  <a:gd name="T23" fmla="*/ 0 h 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76" h="90">
                    <a:moveTo>
                      <a:pt x="35" y="0"/>
                    </a:moveTo>
                    <a:cubicBezTo>
                      <a:pt x="17" y="9"/>
                      <a:pt x="8" y="23"/>
                      <a:pt x="8" y="43"/>
                    </a:cubicBezTo>
                    <a:cubicBezTo>
                      <a:pt x="8" y="58"/>
                      <a:pt x="17" y="79"/>
                      <a:pt x="34" y="82"/>
                    </a:cubicBezTo>
                    <a:cubicBezTo>
                      <a:pt x="52" y="85"/>
                      <a:pt x="70" y="72"/>
                      <a:pt x="74" y="54"/>
                    </a:cubicBezTo>
                    <a:cubicBezTo>
                      <a:pt x="76" y="42"/>
                      <a:pt x="74" y="24"/>
                      <a:pt x="66" y="14"/>
                    </a:cubicBezTo>
                    <a:cubicBezTo>
                      <a:pt x="59" y="5"/>
                      <a:pt x="47" y="4"/>
                      <a:pt x="37" y="4"/>
                    </a:cubicBezTo>
                    <a:cubicBezTo>
                      <a:pt x="34" y="4"/>
                      <a:pt x="34" y="7"/>
                      <a:pt x="36" y="7"/>
                    </a:cubicBezTo>
                    <a:cubicBezTo>
                      <a:pt x="50" y="9"/>
                      <a:pt x="61" y="11"/>
                      <a:pt x="67" y="24"/>
                    </a:cubicBezTo>
                    <a:cubicBezTo>
                      <a:pt x="71" y="32"/>
                      <a:pt x="71" y="41"/>
                      <a:pt x="70" y="50"/>
                    </a:cubicBezTo>
                    <a:cubicBezTo>
                      <a:pt x="68" y="71"/>
                      <a:pt x="39" y="90"/>
                      <a:pt x="21" y="72"/>
                    </a:cubicBezTo>
                    <a:cubicBezTo>
                      <a:pt x="0" y="49"/>
                      <a:pt x="10" y="15"/>
                      <a:pt x="36" y="2"/>
                    </a:cubicBezTo>
                    <a:cubicBezTo>
                      <a:pt x="37" y="1"/>
                      <a:pt x="36" y="0"/>
                      <a:pt x="35" y="0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44" name="Freeform 391">
                <a:extLst>
                  <a:ext uri="{FF2B5EF4-FFF2-40B4-BE49-F238E27FC236}">
                    <a16:creationId xmlns:a16="http://schemas.microsoft.com/office/drawing/2014/main" id="{7144A567-96EE-4942-BBAE-365EDF7D8ECD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541" y="1552"/>
                <a:ext cx="46" cy="70"/>
              </a:xfrm>
              <a:custGeom>
                <a:avLst/>
                <a:gdLst>
                  <a:gd name="T0" fmla="*/ 43 w 44"/>
                  <a:gd name="T1" fmla="*/ 8 h 66"/>
                  <a:gd name="T2" fmla="*/ 7 w 44"/>
                  <a:gd name="T3" fmla="*/ 22 h 66"/>
                  <a:gd name="T4" fmla="*/ 10 w 44"/>
                  <a:gd name="T5" fmla="*/ 65 h 66"/>
                  <a:gd name="T6" fmla="*/ 13 w 44"/>
                  <a:gd name="T7" fmla="*/ 63 h 66"/>
                  <a:gd name="T8" fmla="*/ 9 w 44"/>
                  <a:gd name="T9" fmla="*/ 32 h 66"/>
                  <a:gd name="T10" fmla="*/ 42 w 44"/>
                  <a:gd name="T11" fmla="*/ 10 h 66"/>
                  <a:gd name="T12" fmla="*/ 43 w 44"/>
                  <a:gd name="T13" fmla="*/ 8 h 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4" h="66">
                    <a:moveTo>
                      <a:pt x="43" y="8"/>
                    </a:moveTo>
                    <a:cubicBezTo>
                      <a:pt x="29" y="0"/>
                      <a:pt x="14" y="9"/>
                      <a:pt x="7" y="22"/>
                    </a:cubicBezTo>
                    <a:cubicBezTo>
                      <a:pt x="0" y="36"/>
                      <a:pt x="2" y="52"/>
                      <a:pt x="10" y="65"/>
                    </a:cubicBezTo>
                    <a:cubicBezTo>
                      <a:pt x="11" y="66"/>
                      <a:pt x="14" y="65"/>
                      <a:pt x="13" y="63"/>
                    </a:cubicBezTo>
                    <a:cubicBezTo>
                      <a:pt x="8" y="54"/>
                      <a:pt x="6" y="43"/>
                      <a:pt x="9" y="32"/>
                    </a:cubicBezTo>
                    <a:cubicBezTo>
                      <a:pt x="13" y="19"/>
                      <a:pt x="27" y="4"/>
                      <a:pt x="42" y="10"/>
                    </a:cubicBezTo>
                    <a:cubicBezTo>
                      <a:pt x="43" y="11"/>
                      <a:pt x="44" y="9"/>
                      <a:pt x="43" y="8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45" name="Freeform 392">
                <a:extLst>
                  <a:ext uri="{FF2B5EF4-FFF2-40B4-BE49-F238E27FC236}">
                    <a16:creationId xmlns:a16="http://schemas.microsoft.com/office/drawing/2014/main" id="{EFF10D6C-E9B3-4136-8385-EB08D594ECD0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572" y="1549"/>
                <a:ext cx="53" cy="97"/>
              </a:xfrm>
              <a:custGeom>
                <a:avLst/>
                <a:gdLst>
                  <a:gd name="T0" fmla="*/ 0 w 50"/>
                  <a:gd name="T1" fmla="*/ 86 h 92"/>
                  <a:gd name="T2" fmla="*/ 44 w 50"/>
                  <a:gd name="T3" fmla="*/ 45 h 92"/>
                  <a:gd name="T4" fmla="*/ 8 w 50"/>
                  <a:gd name="T5" fmla="*/ 10 h 92"/>
                  <a:gd name="T6" fmla="*/ 10 w 50"/>
                  <a:gd name="T7" fmla="*/ 15 h 92"/>
                  <a:gd name="T8" fmla="*/ 41 w 50"/>
                  <a:gd name="T9" fmla="*/ 41 h 92"/>
                  <a:gd name="T10" fmla="*/ 0 w 50"/>
                  <a:gd name="T11" fmla="*/ 85 h 92"/>
                  <a:gd name="T12" fmla="*/ 0 w 50"/>
                  <a:gd name="T13" fmla="*/ 86 h 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50" h="92">
                    <a:moveTo>
                      <a:pt x="0" y="86"/>
                    </a:moveTo>
                    <a:cubicBezTo>
                      <a:pt x="24" y="92"/>
                      <a:pt x="47" y="71"/>
                      <a:pt x="44" y="45"/>
                    </a:cubicBezTo>
                    <a:cubicBezTo>
                      <a:pt x="43" y="32"/>
                      <a:pt x="25" y="0"/>
                      <a:pt x="8" y="10"/>
                    </a:cubicBezTo>
                    <a:cubicBezTo>
                      <a:pt x="6" y="12"/>
                      <a:pt x="8" y="15"/>
                      <a:pt x="10" y="15"/>
                    </a:cubicBezTo>
                    <a:cubicBezTo>
                      <a:pt x="23" y="16"/>
                      <a:pt x="36" y="28"/>
                      <a:pt x="41" y="41"/>
                    </a:cubicBezTo>
                    <a:cubicBezTo>
                      <a:pt x="50" y="66"/>
                      <a:pt x="23" y="89"/>
                      <a:pt x="0" y="85"/>
                    </a:cubicBezTo>
                    <a:lnTo>
                      <a:pt x="0" y="86"/>
                    </a:ln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46" name="Freeform 393">
                <a:extLst>
                  <a:ext uri="{FF2B5EF4-FFF2-40B4-BE49-F238E27FC236}">
                    <a16:creationId xmlns:a16="http://schemas.microsoft.com/office/drawing/2014/main" id="{ABED0A2C-13F4-463E-A34D-8E55A43890F4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422" y="1533"/>
                <a:ext cx="94" cy="55"/>
              </a:xfrm>
              <a:custGeom>
                <a:avLst/>
                <a:gdLst>
                  <a:gd name="T0" fmla="*/ 8 w 89"/>
                  <a:gd name="T1" fmla="*/ 52 h 52"/>
                  <a:gd name="T2" fmla="*/ 48 w 89"/>
                  <a:gd name="T3" fmla="*/ 42 h 52"/>
                  <a:gd name="T4" fmla="*/ 71 w 89"/>
                  <a:gd name="T5" fmla="*/ 40 h 52"/>
                  <a:gd name="T6" fmla="*/ 78 w 89"/>
                  <a:gd name="T7" fmla="*/ 13 h 52"/>
                  <a:gd name="T8" fmla="*/ 27 w 89"/>
                  <a:gd name="T9" fmla="*/ 15 h 52"/>
                  <a:gd name="T10" fmla="*/ 14 w 89"/>
                  <a:gd name="T11" fmla="*/ 47 h 52"/>
                  <a:gd name="T12" fmla="*/ 18 w 89"/>
                  <a:gd name="T13" fmla="*/ 43 h 52"/>
                  <a:gd name="T14" fmla="*/ 50 w 89"/>
                  <a:gd name="T15" fmla="*/ 15 h 52"/>
                  <a:gd name="T16" fmla="*/ 59 w 89"/>
                  <a:gd name="T17" fmla="*/ 14 h 52"/>
                  <a:gd name="T18" fmla="*/ 67 w 89"/>
                  <a:gd name="T19" fmla="*/ 15 h 52"/>
                  <a:gd name="T20" fmla="*/ 73 w 89"/>
                  <a:gd name="T21" fmla="*/ 24 h 52"/>
                  <a:gd name="T22" fmla="*/ 69 w 89"/>
                  <a:gd name="T23" fmla="*/ 34 h 52"/>
                  <a:gd name="T24" fmla="*/ 60 w 89"/>
                  <a:gd name="T25" fmla="*/ 35 h 52"/>
                  <a:gd name="T26" fmla="*/ 41 w 89"/>
                  <a:gd name="T27" fmla="*/ 37 h 52"/>
                  <a:gd name="T28" fmla="*/ 7 w 89"/>
                  <a:gd name="T29" fmla="*/ 50 h 52"/>
                  <a:gd name="T30" fmla="*/ 8 w 89"/>
                  <a:gd name="T31" fmla="*/ 52 h 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89" h="52">
                    <a:moveTo>
                      <a:pt x="8" y="52"/>
                    </a:moveTo>
                    <a:cubicBezTo>
                      <a:pt x="21" y="47"/>
                      <a:pt x="34" y="42"/>
                      <a:pt x="48" y="42"/>
                    </a:cubicBezTo>
                    <a:cubicBezTo>
                      <a:pt x="56" y="42"/>
                      <a:pt x="64" y="42"/>
                      <a:pt x="71" y="40"/>
                    </a:cubicBezTo>
                    <a:cubicBezTo>
                      <a:pt x="84" y="36"/>
                      <a:pt x="89" y="24"/>
                      <a:pt x="78" y="13"/>
                    </a:cubicBezTo>
                    <a:cubicBezTo>
                      <a:pt x="65" y="0"/>
                      <a:pt x="40" y="7"/>
                      <a:pt x="27" y="15"/>
                    </a:cubicBezTo>
                    <a:cubicBezTo>
                      <a:pt x="19" y="20"/>
                      <a:pt x="0" y="38"/>
                      <a:pt x="14" y="47"/>
                    </a:cubicBezTo>
                    <a:cubicBezTo>
                      <a:pt x="17" y="49"/>
                      <a:pt x="20" y="45"/>
                      <a:pt x="18" y="43"/>
                    </a:cubicBezTo>
                    <a:cubicBezTo>
                      <a:pt x="12" y="27"/>
                      <a:pt x="40" y="16"/>
                      <a:pt x="50" y="15"/>
                    </a:cubicBezTo>
                    <a:cubicBezTo>
                      <a:pt x="53" y="14"/>
                      <a:pt x="56" y="14"/>
                      <a:pt x="59" y="14"/>
                    </a:cubicBezTo>
                    <a:cubicBezTo>
                      <a:pt x="62" y="13"/>
                      <a:pt x="64" y="14"/>
                      <a:pt x="67" y="15"/>
                    </a:cubicBezTo>
                    <a:cubicBezTo>
                      <a:pt x="73" y="15"/>
                      <a:pt x="75" y="18"/>
                      <a:pt x="73" y="24"/>
                    </a:cubicBezTo>
                    <a:cubicBezTo>
                      <a:pt x="74" y="34"/>
                      <a:pt x="75" y="30"/>
                      <a:pt x="69" y="34"/>
                    </a:cubicBezTo>
                    <a:cubicBezTo>
                      <a:pt x="67" y="35"/>
                      <a:pt x="62" y="35"/>
                      <a:pt x="60" y="35"/>
                    </a:cubicBezTo>
                    <a:cubicBezTo>
                      <a:pt x="53" y="36"/>
                      <a:pt x="47" y="36"/>
                      <a:pt x="41" y="37"/>
                    </a:cubicBezTo>
                    <a:cubicBezTo>
                      <a:pt x="29" y="39"/>
                      <a:pt x="18" y="45"/>
                      <a:pt x="7" y="50"/>
                    </a:cubicBezTo>
                    <a:cubicBezTo>
                      <a:pt x="6" y="50"/>
                      <a:pt x="6" y="52"/>
                      <a:pt x="8" y="52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47" name="Freeform 394">
                <a:extLst>
                  <a:ext uri="{FF2B5EF4-FFF2-40B4-BE49-F238E27FC236}">
                    <a16:creationId xmlns:a16="http://schemas.microsoft.com/office/drawing/2014/main" id="{1A88AC74-4988-4F18-951D-23BD7FED140F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513" y="1451"/>
                <a:ext cx="40" cy="33"/>
              </a:xfrm>
              <a:custGeom>
                <a:avLst/>
                <a:gdLst>
                  <a:gd name="T0" fmla="*/ 4 w 38"/>
                  <a:gd name="T1" fmla="*/ 17 h 31"/>
                  <a:gd name="T2" fmla="*/ 29 w 38"/>
                  <a:gd name="T3" fmla="*/ 10 h 31"/>
                  <a:gd name="T4" fmla="*/ 21 w 38"/>
                  <a:gd name="T5" fmla="*/ 24 h 31"/>
                  <a:gd name="T6" fmla="*/ 13 w 38"/>
                  <a:gd name="T7" fmla="*/ 12 h 31"/>
                  <a:gd name="T8" fmla="*/ 5 w 38"/>
                  <a:gd name="T9" fmla="*/ 13 h 31"/>
                  <a:gd name="T10" fmla="*/ 21 w 38"/>
                  <a:gd name="T11" fmla="*/ 30 h 31"/>
                  <a:gd name="T12" fmla="*/ 37 w 38"/>
                  <a:gd name="T13" fmla="*/ 13 h 31"/>
                  <a:gd name="T14" fmla="*/ 21 w 38"/>
                  <a:gd name="T15" fmla="*/ 1 h 31"/>
                  <a:gd name="T16" fmla="*/ 1 w 38"/>
                  <a:gd name="T17" fmla="*/ 16 h 31"/>
                  <a:gd name="T18" fmla="*/ 4 w 38"/>
                  <a:gd name="T19" fmla="*/ 17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8" h="31">
                    <a:moveTo>
                      <a:pt x="4" y="17"/>
                    </a:moveTo>
                    <a:cubicBezTo>
                      <a:pt x="9" y="11"/>
                      <a:pt x="21" y="0"/>
                      <a:pt x="29" y="10"/>
                    </a:cubicBezTo>
                    <a:cubicBezTo>
                      <a:pt x="33" y="15"/>
                      <a:pt x="28" y="24"/>
                      <a:pt x="21" y="24"/>
                    </a:cubicBezTo>
                    <a:cubicBezTo>
                      <a:pt x="14" y="24"/>
                      <a:pt x="15" y="17"/>
                      <a:pt x="13" y="12"/>
                    </a:cubicBezTo>
                    <a:cubicBezTo>
                      <a:pt x="12" y="8"/>
                      <a:pt x="4" y="8"/>
                      <a:pt x="5" y="13"/>
                    </a:cubicBezTo>
                    <a:cubicBezTo>
                      <a:pt x="5" y="22"/>
                      <a:pt x="11" y="31"/>
                      <a:pt x="21" y="30"/>
                    </a:cubicBezTo>
                    <a:cubicBezTo>
                      <a:pt x="30" y="29"/>
                      <a:pt x="38" y="22"/>
                      <a:pt x="37" y="13"/>
                    </a:cubicBezTo>
                    <a:cubicBezTo>
                      <a:pt x="36" y="5"/>
                      <a:pt x="29" y="1"/>
                      <a:pt x="21" y="1"/>
                    </a:cubicBezTo>
                    <a:cubicBezTo>
                      <a:pt x="11" y="1"/>
                      <a:pt x="6" y="7"/>
                      <a:pt x="1" y="16"/>
                    </a:cubicBezTo>
                    <a:cubicBezTo>
                      <a:pt x="0" y="18"/>
                      <a:pt x="2" y="19"/>
                      <a:pt x="4" y="17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48" name="Freeform 395">
                <a:extLst>
                  <a:ext uri="{FF2B5EF4-FFF2-40B4-BE49-F238E27FC236}">
                    <a16:creationId xmlns:a16="http://schemas.microsoft.com/office/drawing/2014/main" id="{9059C167-8C0B-4541-888C-055C32043F9F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387" y="1486"/>
                <a:ext cx="25" cy="25"/>
              </a:xfrm>
              <a:custGeom>
                <a:avLst/>
                <a:gdLst>
                  <a:gd name="T0" fmla="*/ 9 w 24"/>
                  <a:gd name="T1" fmla="*/ 13 h 23"/>
                  <a:gd name="T2" fmla="*/ 9 w 24"/>
                  <a:gd name="T3" fmla="*/ 10 h 23"/>
                  <a:gd name="T4" fmla="*/ 14 w 24"/>
                  <a:gd name="T5" fmla="*/ 8 h 23"/>
                  <a:gd name="T6" fmla="*/ 15 w 24"/>
                  <a:gd name="T7" fmla="*/ 8 h 23"/>
                  <a:gd name="T8" fmla="*/ 15 w 24"/>
                  <a:gd name="T9" fmla="*/ 8 h 23"/>
                  <a:gd name="T10" fmla="*/ 15 w 24"/>
                  <a:gd name="T11" fmla="*/ 8 h 23"/>
                  <a:gd name="T12" fmla="*/ 15 w 24"/>
                  <a:gd name="T13" fmla="*/ 8 h 23"/>
                  <a:gd name="T14" fmla="*/ 15 w 24"/>
                  <a:gd name="T15" fmla="*/ 8 h 23"/>
                  <a:gd name="T16" fmla="*/ 15 w 24"/>
                  <a:gd name="T17" fmla="*/ 8 h 23"/>
                  <a:gd name="T18" fmla="*/ 15 w 24"/>
                  <a:gd name="T19" fmla="*/ 8 h 23"/>
                  <a:gd name="T20" fmla="*/ 15 w 24"/>
                  <a:gd name="T21" fmla="*/ 9 h 23"/>
                  <a:gd name="T22" fmla="*/ 16 w 24"/>
                  <a:gd name="T23" fmla="*/ 10 h 23"/>
                  <a:gd name="T24" fmla="*/ 15 w 24"/>
                  <a:gd name="T25" fmla="*/ 10 h 23"/>
                  <a:gd name="T26" fmla="*/ 15 w 24"/>
                  <a:gd name="T27" fmla="*/ 12 h 23"/>
                  <a:gd name="T28" fmla="*/ 14 w 24"/>
                  <a:gd name="T29" fmla="*/ 15 h 23"/>
                  <a:gd name="T30" fmla="*/ 13 w 24"/>
                  <a:gd name="T31" fmla="*/ 15 h 23"/>
                  <a:gd name="T32" fmla="*/ 13 w 24"/>
                  <a:gd name="T33" fmla="*/ 15 h 23"/>
                  <a:gd name="T34" fmla="*/ 13 w 24"/>
                  <a:gd name="T35" fmla="*/ 15 h 23"/>
                  <a:gd name="T36" fmla="*/ 12 w 24"/>
                  <a:gd name="T37" fmla="*/ 15 h 23"/>
                  <a:gd name="T38" fmla="*/ 12 w 24"/>
                  <a:gd name="T39" fmla="*/ 15 h 23"/>
                  <a:gd name="T40" fmla="*/ 8 w 24"/>
                  <a:gd name="T41" fmla="*/ 14 h 23"/>
                  <a:gd name="T42" fmla="*/ 5 w 24"/>
                  <a:gd name="T43" fmla="*/ 17 h 23"/>
                  <a:gd name="T44" fmla="*/ 5 w 24"/>
                  <a:gd name="T45" fmla="*/ 19 h 23"/>
                  <a:gd name="T46" fmla="*/ 6 w 24"/>
                  <a:gd name="T47" fmla="*/ 21 h 23"/>
                  <a:gd name="T48" fmla="*/ 13 w 24"/>
                  <a:gd name="T49" fmla="*/ 23 h 23"/>
                  <a:gd name="T50" fmla="*/ 19 w 24"/>
                  <a:gd name="T51" fmla="*/ 21 h 23"/>
                  <a:gd name="T52" fmla="*/ 23 w 24"/>
                  <a:gd name="T53" fmla="*/ 11 h 23"/>
                  <a:gd name="T54" fmla="*/ 19 w 24"/>
                  <a:gd name="T55" fmla="*/ 1 h 23"/>
                  <a:gd name="T56" fmla="*/ 12 w 24"/>
                  <a:gd name="T57" fmla="*/ 1 h 23"/>
                  <a:gd name="T58" fmla="*/ 6 w 24"/>
                  <a:gd name="T59" fmla="*/ 4 h 23"/>
                  <a:gd name="T60" fmla="*/ 7 w 24"/>
                  <a:gd name="T61" fmla="*/ 18 h 23"/>
                  <a:gd name="T62" fmla="*/ 9 w 24"/>
                  <a:gd name="T63" fmla="*/ 13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24" h="23">
                    <a:moveTo>
                      <a:pt x="9" y="13"/>
                    </a:moveTo>
                    <a:cubicBezTo>
                      <a:pt x="7" y="13"/>
                      <a:pt x="8" y="11"/>
                      <a:pt x="9" y="10"/>
                    </a:cubicBezTo>
                    <a:cubicBezTo>
                      <a:pt x="10" y="9"/>
                      <a:pt x="12" y="8"/>
                      <a:pt x="14" y="8"/>
                    </a:cubicBezTo>
                    <a:cubicBezTo>
                      <a:pt x="14" y="8"/>
                      <a:pt x="15" y="8"/>
                      <a:pt x="15" y="8"/>
                    </a:cubicBezTo>
                    <a:cubicBezTo>
                      <a:pt x="15" y="8"/>
                      <a:pt x="15" y="8"/>
                      <a:pt x="15" y="8"/>
                    </a:cubicBezTo>
                    <a:cubicBezTo>
                      <a:pt x="15" y="8"/>
                      <a:pt x="14" y="8"/>
                      <a:pt x="15" y="8"/>
                    </a:cubicBezTo>
                    <a:cubicBezTo>
                      <a:pt x="16" y="8"/>
                      <a:pt x="15" y="7"/>
                      <a:pt x="15" y="8"/>
                    </a:cubicBezTo>
                    <a:cubicBezTo>
                      <a:pt x="15" y="8"/>
                      <a:pt x="15" y="8"/>
                      <a:pt x="15" y="8"/>
                    </a:cubicBezTo>
                    <a:cubicBezTo>
                      <a:pt x="15" y="7"/>
                      <a:pt x="15" y="8"/>
                      <a:pt x="15" y="8"/>
                    </a:cubicBezTo>
                    <a:cubicBezTo>
                      <a:pt x="15" y="9"/>
                      <a:pt x="15" y="7"/>
                      <a:pt x="15" y="8"/>
                    </a:cubicBezTo>
                    <a:cubicBezTo>
                      <a:pt x="15" y="9"/>
                      <a:pt x="15" y="9"/>
                      <a:pt x="15" y="9"/>
                    </a:cubicBezTo>
                    <a:cubicBezTo>
                      <a:pt x="15" y="10"/>
                      <a:pt x="16" y="11"/>
                      <a:pt x="16" y="10"/>
                    </a:cubicBezTo>
                    <a:cubicBezTo>
                      <a:pt x="15" y="10"/>
                      <a:pt x="15" y="10"/>
                      <a:pt x="15" y="10"/>
                    </a:cubicBezTo>
                    <a:cubicBezTo>
                      <a:pt x="15" y="11"/>
                      <a:pt x="15" y="12"/>
                      <a:pt x="15" y="12"/>
                    </a:cubicBezTo>
                    <a:cubicBezTo>
                      <a:pt x="15" y="13"/>
                      <a:pt x="15" y="13"/>
                      <a:pt x="14" y="15"/>
                    </a:cubicBezTo>
                    <a:cubicBezTo>
                      <a:pt x="15" y="14"/>
                      <a:pt x="13" y="15"/>
                      <a:pt x="13" y="15"/>
                    </a:cubicBezTo>
                    <a:cubicBezTo>
                      <a:pt x="14" y="15"/>
                      <a:pt x="13" y="15"/>
                      <a:pt x="13" y="15"/>
                    </a:cubicBezTo>
                    <a:cubicBezTo>
                      <a:pt x="12" y="15"/>
                      <a:pt x="14" y="15"/>
                      <a:pt x="13" y="15"/>
                    </a:cubicBezTo>
                    <a:cubicBezTo>
                      <a:pt x="12" y="15"/>
                      <a:pt x="14" y="15"/>
                      <a:pt x="12" y="15"/>
                    </a:cubicBezTo>
                    <a:cubicBezTo>
                      <a:pt x="12" y="15"/>
                      <a:pt x="11" y="15"/>
                      <a:pt x="12" y="15"/>
                    </a:cubicBezTo>
                    <a:cubicBezTo>
                      <a:pt x="10" y="15"/>
                      <a:pt x="10" y="14"/>
                      <a:pt x="8" y="14"/>
                    </a:cubicBezTo>
                    <a:cubicBezTo>
                      <a:pt x="6" y="15"/>
                      <a:pt x="5" y="16"/>
                      <a:pt x="5" y="17"/>
                    </a:cubicBezTo>
                    <a:cubicBezTo>
                      <a:pt x="5" y="17"/>
                      <a:pt x="5" y="18"/>
                      <a:pt x="5" y="19"/>
                    </a:cubicBezTo>
                    <a:cubicBezTo>
                      <a:pt x="5" y="19"/>
                      <a:pt x="6" y="20"/>
                      <a:pt x="6" y="21"/>
                    </a:cubicBezTo>
                    <a:cubicBezTo>
                      <a:pt x="6" y="23"/>
                      <a:pt x="11" y="23"/>
                      <a:pt x="13" y="23"/>
                    </a:cubicBezTo>
                    <a:cubicBezTo>
                      <a:pt x="15" y="23"/>
                      <a:pt x="17" y="22"/>
                      <a:pt x="19" y="21"/>
                    </a:cubicBezTo>
                    <a:cubicBezTo>
                      <a:pt x="22" y="19"/>
                      <a:pt x="23" y="15"/>
                      <a:pt x="23" y="11"/>
                    </a:cubicBezTo>
                    <a:cubicBezTo>
                      <a:pt x="24" y="7"/>
                      <a:pt x="22" y="3"/>
                      <a:pt x="19" y="1"/>
                    </a:cubicBezTo>
                    <a:cubicBezTo>
                      <a:pt x="17" y="0"/>
                      <a:pt x="14" y="0"/>
                      <a:pt x="12" y="1"/>
                    </a:cubicBezTo>
                    <a:cubicBezTo>
                      <a:pt x="10" y="1"/>
                      <a:pt x="8" y="2"/>
                      <a:pt x="6" y="4"/>
                    </a:cubicBezTo>
                    <a:cubicBezTo>
                      <a:pt x="1" y="7"/>
                      <a:pt x="0" y="16"/>
                      <a:pt x="7" y="18"/>
                    </a:cubicBezTo>
                    <a:cubicBezTo>
                      <a:pt x="10" y="19"/>
                      <a:pt x="11" y="15"/>
                      <a:pt x="9" y="13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49" name="Freeform 396">
                <a:extLst>
                  <a:ext uri="{FF2B5EF4-FFF2-40B4-BE49-F238E27FC236}">
                    <a16:creationId xmlns:a16="http://schemas.microsoft.com/office/drawing/2014/main" id="{330C7D16-4528-4591-9C09-759B41891787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103" y="1545"/>
                <a:ext cx="96" cy="115"/>
              </a:xfrm>
              <a:custGeom>
                <a:avLst/>
                <a:gdLst>
                  <a:gd name="T0" fmla="*/ 31 w 91"/>
                  <a:gd name="T1" fmla="*/ 98 h 108"/>
                  <a:gd name="T2" fmla="*/ 17 w 91"/>
                  <a:gd name="T3" fmla="*/ 48 h 108"/>
                  <a:gd name="T4" fmla="*/ 36 w 91"/>
                  <a:gd name="T5" fmla="*/ 22 h 108"/>
                  <a:gd name="T6" fmla="*/ 70 w 91"/>
                  <a:gd name="T7" fmla="*/ 25 h 108"/>
                  <a:gd name="T8" fmla="*/ 78 w 91"/>
                  <a:gd name="T9" fmla="*/ 65 h 108"/>
                  <a:gd name="T10" fmla="*/ 68 w 91"/>
                  <a:gd name="T11" fmla="*/ 96 h 108"/>
                  <a:gd name="T12" fmla="*/ 32 w 91"/>
                  <a:gd name="T13" fmla="*/ 93 h 108"/>
                  <a:gd name="T14" fmla="*/ 29 w 91"/>
                  <a:gd name="T15" fmla="*/ 98 h 108"/>
                  <a:gd name="T16" fmla="*/ 89 w 91"/>
                  <a:gd name="T17" fmla="*/ 91 h 108"/>
                  <a:gd name="T18" fmla="*/ 87 w 91"/>
                  <a:gd name="T19" fmla="*/ 77 h 108"/>
                  <a:gd name="T20" fmla="*/ 81 w 91"/>
                  <a:gd name="T21" fmla="*/ 46 h 108"/>
                  <a:gd name="T22" fmla="*/ 72 w 91"/>
                  <a:gd name="T23" fmla="*/ 15 h 108"/>
                  <a:gd name="T24" fmla="*/ 20 w 91"/>
                  <a:gd name="T25" fmla="*/ 24 h 108"/>
                  <a:gd name="T26" fmla="*/ 27 w 91"/>
                  <a:gd name="T27" fmla="*/ 99 h 108"/>
                  <a:gd name="T28" fmla="*/ 31 w 91"/>
                  <a:gd name="T29" fmla="*/ 98 h 1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91" h="108">
                    <a:moveTo>
                      <a:pt x="31" y="98"/>
                    </a:moveTo>
                    <a:cubicBezTo>
                      <a:pt x="28" y="81"/>
                      <a:pt x="18" y="65"/>
                      <a:pt x="17" y="48"/>
                    </a:cubicBezTo>
                    <a:cubicBezTo>
                      <a:pt x="17" y="34"/>
                      <a:pt x="24" y="27"/>
                      <a:pt x="36" y="22"/>
                    </a:cubicBezTo>
                    <a:cubicBezTo>
                      <a:pt x="46" y="17"/>
                      <a:pt x="64" y="13"/>
                      <a:pt x="70" y="25"/>
                    </a:cubicBezTo>
                    <a:cubicBezTo>
                      <a:pt x="75" y="36"/>
                      <a:pt x="76" y="53"/>
                      <a:pt x="78" y="65"/>
                    </a:cubicBezTo>
                    <a:cubicBezTo>
                      <a:pt x="80" y="78"/>
                      <a:pt x="83" y="90"/>
                      <a:pt x="68" y="96"/>
                    </a:cubicBezTo>
                    <a:cubicBezTo>
                      <a:pt x="57" y="99"/>
                      <a:pt x="42" y="97"/>
                      <a:pt x="32" y="93"/>
                    </a:cubicBezTo>
                    <a:cubicBezTo>
                      <a:pt x="29" y="91"/>
                      <a:pt x="26" y="96"/>
                      <a:pt x="29" y="98"/>
                    </a:cubicBezTo>
                    <a:cubicBezTo>
                      <a:pt x="41" y="105"/>
                      <a:pt x="81" y="108"/>
                      <a:pt x="89" y="91"/>
                    </a:cubicBezTo>
                    <a:cubicBezTo>
                      <a:pt x="91" y="86"/>
                      <a:pt x="88" y="81"/>
                      <a:pt x="87" y="77"/>
                    </a:cubicBezTo>
                    <a:cubicBezTo>
                      <a:pt x="84" y="67"/>
                      <a:pt x="82" y="57"/>
                      <a:pt x="81" y="46"/>
                    </a:cubicBezTo>
                    <a:cubicBezTo>
                      <a:pt x="79" y="36"/>
                      <a:pt x="79" y="23"/>
                      <a:pt x="72" y="15"/>
                    </a:cubicBezTo>
                    <a:cubicBezTo>
                      <a:pt x="60" y="0"/>
                      <a:pt x="31" y="14"/>
                      <a:pt x="20" y="24"/>
                    </a:cubicBezTo>
                    <a:cubicBezTo>
                      <a:pt x="0" y="43"/>
                      <a:pt x="16" y="79"/>
                      <a:pt x="27" y="99"/>
                    </a:cubicBezTo>
                    <a:cubicBezTo>
                      <a:pt x="28" y="101"/>
                      <a:pt x="31" y="100"/>
                      <a:pt x="31" y="98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50" name="Freeform 397">
                <a:extLst>
                  <a:ext uri="{FF2B5EF4-FFF2-40B4-BE49-F238E27FC236}">
                    <a16:creationId xmlns:a16="http://schemas.microsoft.com/office/drawing/2014/main" id="{5560D2E8-745D-4E70-994E-5FE3AB753426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195" y="1640"/>
                <a:ext cx="100" cy="62"/>
              </a:xfrm>
              <a:custGeom>
                <a:avLst/>
                <a:gdLst>
                  <a:gd name="T0" fmla="*/ 16 w 94"/>
                  <a:gd name="T1" fmla="*/ 55 h 59"/>
                  <a:gd name="T2" fmla="*/ 20 w 94"/>
                  <a:gd name="T3" fmla="*/ 22 h 59"/>
                  <a:gd name="T4" fmla="*/ 54 w 94"/>
                  <a:gd name="T5" fmla="*/ 10 h 59"/>
                  <a:gd name="T6" fmla="*/ 82 w 94"/>
                  <a:gd name="T7" fmla="*/ 17 h 59"/>
                  <a:gd name="T8" fmla="*/ 82 w 94"/>
                  <a:gd name="T9" fmla="*/ 52 h 59"/>
                  <a:gd name="T10" fmla="*/ 88 w 94"/>
                  <a:gd name="T11" fmla="*/ 53 h 59"/>
                  <a:gd name="T12" fmla="*/ 84 w 94"/>
                  <a:gd name="T13" fmla="*/ 11 h 59"/>
                  <a:gd name="T14" fmla="*/ 46 w 94"/>
                  <a:gd name="T15" fmla="*/ 6 h 59"/>
                  <a:gd name="T16" fmla="*/ 5 w 94"/>
                  <a:gd name="T17" fmla="*/ 29 h 59"/>
                  <a:gd name="T18" fmla="*/ 13 w 94"/>
                  <a:gd name="T19" fmla="*/ 57 h 59"/>
                  <a:gd name="T20" fmla="*/ 16 w 94"/>
                  <a:gd name="T21" fmla="*/ 55 h 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94" h="59">
                    <a:moveTo>
                      <a:pt x="16" y="55"/>
                    </a:moveTo>
                    <a:cubicBezTo>
                      <a:pt x="8" y="45"/>
                      <a:pt x="6" y="29"/>
                      <a:pt x="20" y="22"/>
                    </a:cubicBezTo>
                    <a:cubicBezTo>
                      <a:pt x="31" y="17"/>
                      <a:pt x="43" y="12"/>
                      <a:pt x="54" y="10"/>
                    </a:cubicBezTo>
                    <a:cubicBezTo>
                      <a:pt x="64" y="7"/>
                      <a:pt x="76" y="6"/>
                      <a:pt x="82" y="17"/>
                    </a:cubicBezTo>
                    <a:cubicBezTo>
                      <a:pt x="87" y="27"/>
                      <a:pt x="83" y="42"/>
                      <a:pt x="82" y="52"/>
                    </a:cubicBezTo>
                    <a:cubicBezTo>
                      <a:pt x="81" y="56"/>
                      <a:pt x="87" y="57"/>
                      <a:pt x="88" y="53"/>
                    </a:cubicBezTo>
                    <a:cubicBezTo>
                      <a:pt x="91" y="40"/>
                      <a:pt x="94" y="21"/>
                      <a:pt x="84" y="11"/>
                    </a:cubicBezTo>
                    <a:cubicBezTo>
                      <a:pt x="74" y="0"/>
                      <a:pt x="58" y="3"/>
                      <a:pt x="46" y="6"/>
                    </a:cubicBezTo>
                    <a:cubicBezTo>
                      <a:pt x="34" y="10"/>
                      <a:pt x="11" y="16"/>
                      <a:pt x="5" y="29"/>
                    </a:cubicBezTo>
                    <a:cubicBezTo>
                      <a:pt x="0" y="39"/>
                      <a:pt x="6" y="50"/>
                      <a:pt x="13" y="57"/>
                    </a:cubicBezTo>
                    <a:cubicBezTo>
                      <a:pt x="15" y="59"/>
                      <a:pt x="17" y="57"/>
                      <a:pt x="16" y="55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51" name="Freeform 398">
                <a:extLst>
                  <a:ext uri="{FF2B5EF4-FFF2-40B4-BE49-F238E27FC236}">
                    <a16:creationId xmlns:a16="http://schemas.microsoft.com/office/drawing/2014/main" id="{4CE2F37E-4DEE-47A8-AC20-520A0088EA97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209" y="1687"/>
                <a:ext cx="83" cy="31"/>
              </a:xfrm>
              <a:custGeom>
                <a:avLst/>
                <a:gdLst>
                  <a:gd name="T0" fmla="*/ 1 w 78"/>
                  <a:gd name="T1" fmla="*/ 14 h 29"/>
                  <a:gd name="T2" fmla="*/ 33 w 78"/>
                  <a:gd name="T3" fmla="*/ 24 h 29"/>
                  <a:gd name="T4" fmla="*/ 77 w 78"/>
                  <a:gd name="T5" fmla="*/ 6 h 29"/>
                  <a:gd name="T6" fmla="*/ 71 w 78"/>
                  <a:gd name="T7" fmla="*/ 2 h 29"/>
                  <a:gd name="T8" fmla="*/ 36 w 78"/>
                  <a:gd name="T9" fmla="*/ 17 h 29"/>
                  <a:gd name="T10" fmla="*/ 3 w 78"/>
                  <a:gd name="T11" fmla="*/ 13 h 29"/>
                  <a:gd name="T12" fmla="*/ 1 w 78"/>
                  <a:gd name="T13" fmla="*/ 14 h 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78" h="29">
                    <a:moveTo>
                      <a:pt x="1" y="14"/>
                    </a:moveTo>
                    <a:cubicBezTo>
                      <a:pt x="4" y="29"/>
                      <a:pt x="22" y="24"/>
                      <a:pt x="33" y="24"/>
                    </a:cubicBezTo>
                    <a:cubicBezTo>
                      <a:pt x="48" y="23"/>
                      <a:pt x="68" y="20"/>
                      <a:pt x="77" y="6"/>
                    </a:cubicBezTo>
                    <a:cubicBezTo>
                      <a:pt x="78" y="3"/>
                      <a:pt x="74" y="0"/>
                      <a:pt x="71" y="2"/>
                    </a:cubicBezTo>
                    <a:cubicBezTo>
                      <a:pt x="61" y="11"/>
                      <a:pt x="50" y="15"/>
                      <a:pt x="36" y="17"/>
                    </a:cubicBezTo>
                    <a:cubicBezTo>
                      <a:pt x="27" y="18"/>
                      <a:pt x="8" y="24"/>
                      <a:pt x="3" y="13"/>
                    </a:cubicBezTo>
                    <a:cubicBezTo>
                      <a:pt x="3" y="11"/>
                      <a:pt x="0" y="12"/>
                      <a:pt x="1" y="14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52" name="Freeform 399">
                <a:extLst>
                  <a:ext uri="{FF2B5EF4-FFF2-40B4-BE49-F238E27FC236}">
                    <a16:creationId xmlns:a16="http://schemas.microsoft.com/office/drawing/2014/main" id="{362E555D-0374-456E-842A-DA9E39D056D0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147" y="1717"/>
                <a:ext cx="86" cy="109"/>
              </a:xfrm>
              <a:custGeom>
                <a:avLst/>
                <a:gdLst>
                  <a:gd name="T0" fmla="*/ 4 w 81"/>
                  <a:gd name="T1" fmla="*/ 15 h 103"/>
                  <a:gd name="T2" fmla="*/ 49 w 81"/>
                  <a:gd name="T3" fmla="*/ 17 h 103"/>
                  <a:gd name="T4" fmla="*/ 60 w 81"/>
                  <a:gd name="T5" fmla="*/ 40 h 103"/>
                  <a:gd name="T6" fmla="*/ 62 w 81"/>
                  <a:gd name="T7" fmla="*/ 51 h 103"/>
                  <a:gd name="T8" fmla="*/ 59 w 81"/>
                  <a:gd name="T9" fmla="*/ 71 h 103"/>
                  <a:gd name="T10" fmla="*/ 35 w 81"/>
                  <a:gd name="T11" fmla="*/ 87 h 103"/>
                  <a:gd name="T12" fmla="*/ 20 w 81"/>
                  <a:gd name="T13" fmla="*/ 89 h 103"/>
                  <a:gd name="T14" fmla="*/ 7 w 81"/>
                  <a:gd name="T15" fmla="*/ 71 h 103"/>
                  <a:gd name="T16" fmla="*/ 9 w 81"/>
                  <a:gd name="T17" fmla="*/ 19 h 103"/>
                  <a:gd name="T18" fmla="*/ 2 w 81"/>
                  <a:gd name="T19" fmla="*/ 18 h 103"/>
                  <a:gd name="T20" fmla="*/ 0 w 81"/>
                  <a:gd name="T21" fmla="*/ 65 h 103"/>
                  <a:gd name="T22" fmla="*/ 7 w 81"/>
                  <a:gd name="T23" fmla="*/ 91 h 103"/>
                  <a:gd name="T24" fmla="*/ 64 w 81"/>
                  <a:gd name="T25" fmla="*/ 83 h 103"/>
                  <a:gd name="T26" fmla="*/ 59 w 81"/>
                  <a:gd name="T27" fmla="*/ 22 h 103"/>
                  <a:gd name="T28" fmla="*/ 41 w 81"/>
                  <a:gd name="T29" fmla="*/ 4 h 103"/>
                  <a:gd name="T30" fmla="*/ 4 w 81"/>
                  <a:gd name="T31" fmla="*/ 12 h 103"/>
                  <a:gd name="T32" fmla="*/ 4 w 81"/>
                  <a:gd name="T33" fmla="*/ 15 h 1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81" h="103">
                    <a:moveTo>
                      <a:pt x="4" y="15"/>
                    </a:moveTo>
                    <a:cubicBezTo>
                      <a:pt x="20" y="15"/>
                      <a:pt x="35" y="2"/>
                      <a:pt x="49" y="17"/>
                    </a:cubicBezTo>
                    <a:cubicBezTo>
                      <a:pt x="54" y="22"/>
                      <a:pt x="57" y="33"/>
                      <a:pt x="60" y="40"/>
                    </a:cubicBezTo>
                    <a:cubicBezTo>
                      <a:pt x="61" y="43"/>
                      <a:pt x="61" y="47"/>
                      <a:pt x="62" y="51"/>
                    </a:cubicBezTo>
                    <a:cubicBezTo>
                      <a:pt x="65" y="61"/>
                      <a:pt x="65" y="60"/>
                      <a:pt x="59" y="71"/>
                    </a:cubicBezTo>
                    <a:cubicBezTo>
                      <a:pt x="52" y="84"/>
                      <a:pt x="48" y="84"/>
                      <a:pt x="35" y="87"/>
                    </a:cubicBezTo>
                    <a:cubicBezTo>
                      <a:pt x="31" y="88"/>
                      <a:pt x="23" y="90"/>
                      <a:pt x="20" y="89"/>
                    </a:cubicBezTo>
                    <a:cubicBezTo>
                      <a:pt x="12" y="86"/>
                      <a:pt x="8" y="78"/>
                      <a:pt x="7" y="71"/>
                    </a:cubicBezTo>
                    <a:cubicBezTo>
                      <a:pt x="6" y="55"/>
                      <a:pt x="8" y="35"/>
                      <a:pt x="9" y="19"/>
                    </a:cubicBezTo>
                    <a:cubicBezTo>
                      <a:pt x="9" y="14"/>
                      <a:pt x="2" y="13"/>
                      <a:pt x="2" y="18"/>
                    </a:cubicBezTo>
                    <a:cubicBezTo>
                      <a:pt x="1" y="34"/>
                      <a:pt x="0" y="50"/>
                      <a:pt x="0" y="65"/>
                    </a:cubicBezTo>
                    <a:cubicBezTo>
                      <a:pt x="0" y="74"/>
                      <a:pt x="1" y="84"/>
                      <a:pt x="7" y="91"/>
                    </a:cubicBezTo>
                    <a:cubicBezTo>
                      <a:pt x="20" y="103"/>
                      <a:pt x="52" y="93"/>
                      <a:pt x="64" y="83"/>
                    </a:cubicBezTo>
                    <a:cubicBezTo>
                      <a:pt x="81" y="69"/>
                      <a:pt x="67" y="39"/>
                      <a:pt x="59" y="22"/>
                    </a:cubicBezTo>
                    <a:cubicBezTo>
                      <a:pt x="55" y="14"/>
                      <a:pt x="50" y="7"/>
                      <a:pt x="41" y="4"/>
                    </a:cubicBezTo>
                    <a:cubicBezTo>
                      <a:pt x="28" y="0"/>
                      <a:pt x="17" y="11"/>
                      <a:pt x="4" y="12"/>
                    </a:cubicBezTo>
                    <a:cubicBezTo>
                      <a:pt x="2" y="12"/>
                      <a:pt x="2" y="15"/>
                      <a:pt x="4" y="15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53" name="Freeform 400">
                <a:extLst>
                  <a:ext uri="{FF2B5EF4-FFF2-40B4-BE49-F238E27FC236}">
                    <a16:creationId xmlns:a16="http://schemas.microsoft.com/office/drawing/2014/main" id="{93A63DAE-C110-44AF-8D49-265D520E91A7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034" y="1652"/>
                <a:ext cx="102" cy="103"/>
              </a:xfrm>
              <a:custGeom>
                <a:avLst/>
                <a:gdLst>
                  <a:gd name="T0" fmla="*/ 7 w 96"/>
                  <a:gd name="T1" fmla="*/ 37 h 97"/>
                  <a:gd name="T2" fmla="*/ 62 w 96"/>
                  <a:gd name="T3" fmla="*/ 21 h 97"/>
                  <a:gd name="T4" fmla="*/ 78 w 96"/>
                  <a:gd name="T5" fmla="*/ 48 h 97"/>
                  <a:gd name="T6" fmla="*/ 75 w 96"/>
                  <a:gd name="T7" fmla="*/ 66 h 97"/>
                  <a:gd name="T8" fmla="*/ 63 w 96"/>
                  <a:gd name="T9" fmla="*/ 73 h 97"/>
                  <a:gd name="T10" fmla="*/ 16 w 96"/>
                  <a:gd name="T11" fmla="*/ 74 h 97"/>
                  <a:gd name="T12" fmla="*/ 14 w 96"/>
                  <a:gd name="T13" fmla="*/ 35 h 97"/>
                  <a:gd name="T14" fmla="*/ 8 w 96"/>
                  <a:gd name="T15" fmla="*/ 34 h 97"/>
                  <a:gd name="T16" fmla="*/ 16 w 96"/>
                  <a:gd name="T17" fmla="*/ 88 h 97"/>
                  <a:gd name="T18" fmla="*/ 42 w 96"/>
                  <a:gd name="T19" fmla="*/ 93 h 97"/>
                  <a:gd name="T20" fmla="*/ 63 w 96"/>
                  <a:gd name="T21" fmla="*/ 82 h 97"/>
                  <a:gd name="T22" fmla="*/ 81 w 96"/>
                  <a:gd name="T23" fmla="*/ 73 h 97"/>
                  <a:gd name="T24" fmla="*/ 71 w 96"/>
                  <a:gd name="T25" fmla="*/ 19 h 97"/>
                  <a:gd name="T26" fmla="*/ 6 w 96"/>
                  <a:gd name="T27" fmla="*/ 36 h 97"/>
                  <a:gd name="T28" fmla="*/ 7 w 96"/>
                  <a:gd name="T29" fmla="*/ 37 h 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96" h="97">
                    <a:moveTo>
                      <a:pt x="7" y="37"/>
                    </a:moveTo>
                    <a:cubicBezTo>
                      <a:pt x="22" y="25"/>
                      <a:pt x="42" y="7"/>
                      <a:pt x="62" y="21"/>
                    </a:cubicBezTo>
                    <a:cubicBezTo>
                      <a:pt x="71" y="27"/>
                      <a:pt x="76" y="37"/>
                      <a:pt x="78" y="48"/>
                    </a:cubicBezTo>
                    <a:cubicBezTo>
                      <a:pt x="79" y="53"/>
                      <a:pt x="79" y="62"/>
                      <a:pt x="75" y="66"/>
                    </a:cubicBezTo>
                    <a:cubicBezTo>
                      <a:pt x="72" y="69"/>
                      <a:pt x="67" y="71"/>
                      <a:pt x="63" y="73"/>
                    </a:cubicBezTo>
                    <a:cubicBezTo>
                      <a:pt x="48" y="80"/>
                      <a:pt x="25" y="97"/>
                      <a:pt x="16" y="74"/>
                    </a:cubicBezTo>
                    <a:cubicBezTo>
                      <a:pt x="11" y="61"/>
                      <a:pt x="16" y="48"/>
                      <a:pt x="14" y="35"/>
                    </a:cubicBezTo>
                    <a:cubicBezTo>
                      <a:pt x="13" y="32"/>
                      <a:pt x="9" y="32"/>
                      <a:pt x="8" y="34"/>
                    </a:cubicBezTo>
                    <a:cubicBezTo>
                      <a:pt x="0" y="48"/>
                      <a:pt x="4" y="77"/>
                      <a:pt x="16" y="88"/>
                    </a:cubicBezTo>
                    <a:cubicBezTo>
                      <a:pt x="23" y="95"/>
                      <a:pt x="33" y="95"/>
                      <a:pt x="42" y="93"/>
                    </a:cubicBezTo>
                    <a:cubicBezTo>
                      <a:pt x="49" y="90"/>
                      <a:pt x="56" y="85"/>
                      <a:pt x="63" y="82"/>
                    </a:cubicBezTo>
                    <a:cubicBezTo>
                      <a:pt x="69" y="79"/>
                      <a:pt x="76" y="77"/>
                      <a:pt x="81" y="73"/>
                    </a:cubicBezTo>
                    <a:cubicBezTo>
                      <a:pt x="96" y="59"/>
                      <a:pt x="84" y="30"/>
                      <a:pt x="71" y="19"/>
                    </a:cubicBezTo>
                    <a:cubicBezTo>
                      <a:pt x="48" y="0"/>
                      <a:pt x="24" y="21"/>
                      <a:pt x="6" y="36"/>
                    </a:cubicBezTo>
                    <a:cubicBezTo>
                      <a:pt x="5" y="37"/>
                      <a:pt x="6" y="38"/>
                      <a:pt x="7" y="37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54" name="Freeform 401">
                <a:extLst>
                  <a:ext uri="{FF2B5EF4-FFF2-40B4-BE49-F238E27FC236}">
                    <a16:creationId xmlns:a16="http://schemas.microsoft.com/office/drawing/2014/main" id="{E1F723E1-9D79-46E2-B099-735299362BBC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192" y="1535"/>
                <a:ext cx="108" cy="81"/>
              </a:xfrm>
              <a:custGeom>
                <a:avLst/>
                <a:gdLst>
                  <a:gd name="T0" fmla="*/ 2 w 102"/>
                  <a:gd name="T1" fmla="*/ 3 h 77"/>
                  <a:gd name="T2" fmla="*/ 97 w 102"/>
                  <a:gd name="T3" fmla="*/ 74 h 77"/>
                  <a:gd name="T4" fmla="*/ 102 w 102"/>
                  <a:gd name="T5" fmla="*/ 73 h 77"/>
                  <a:gd name="T6" fmla="*/ 2 w 102"/>
                  <a:gd name="T7" fmla="*/ 0 h 77"/>
                  <a:gd name="T8" fmla="*/ 2 w 102"/>
                  <a:gd name="T9" fmla="*/ 3 h 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2" h="77">
                    <a:moveTo>
                      <a:pt x="2" y="3"/>
                    </a:moveTo>
                    <a:cubicBezTo>
                      <a:pt x="45" y="7"/>
                      <a:pt x="83" y="32"/>
                      <a:pt x="97" y="74"/>
                    </a:cubicBezTo>
                    <a:cubicBezTo>
                      <a:pt x="98" y="77"/>
                      <a:pt x="102" y="76"/>
                      <a:pt x="102" y="73"/>
                    </a:cubicBezTo>
                    <a:cubicBezTo>
                      <a:pt x="94" y="27"/>
                      <a:pt x="44" y="2"/>
                      <a:pt x="2" y="0"/>
                    </a:cubicBezTo>
                    <a:cubicBezTo>
                      <a:pt x="0" y="0"/>
                      <a:pt x="0" y="3"/>
                      <a:pt x="2" y="3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55" name="Freeform 402">
                <a:extLst>
                  <a:ext uri="{FF2B5EF4-FFF2-40B4-BE49-F238E27FC236}">
                    <a16:creationId xmlns:a16="http://schemas.microsoft.com/office/drawing/2014/main" id="{73951246-0F06-4798-9D56-1BFA8BB58BC9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185" y="1680"/>
                <a:ext cx="143" cy="172"/>
              </a:xfrm>
              <a:custGeom>
                <a:avLst/>
                <a:gdLst>
                  <a:gd name="T0" fmla="*/ 120 w 135"/>
                  <a:gd name="T1" fmla="*/ 2 h 163"/>
                  <a:gd name="T2" fmla="*/ 3 w 135"/>
                  <a:gd name="T3" fmla="*/ 157 h 163"/>
                  <a:gd name="T4" fmla="*/ 3 w 135"/>
                  <a:gd name="T5" fmla="*/ 162 h 163"/>
                  <a:gd name="T6" fmla="*/ 94 w 135"/>
                  <a:gd name="T7" fmla="*/ 114 h 163"/>
                  <a:gd name="T8" fmla="*/ 123 w 135"/>
                  <a:gd name="T9" fmla="*/ 1 h 163"/>
                  <a:gd name="T10" fmla="*/ 120 w 135"/>
                  <a:gd name="T11" fmla="*/ 2 h 1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35" h="163">
                    <a:moveTo>
                      <a:pt x="120" y="2"/>
                    </a:moveTo>
                    <a:cubicBezTo>
                      <a:pt x="135" y="74"/>
                      <a:pt x="75" y="149"/>
                      <a:pt x="3" y="157"/>
                    </a:cubicBezTo>
                    <a:cubicBezTo>
                      <a:pt x="0" y="157"/>
                      <a:pt x="0" y="162"/>
                      <a:pt x="3" y="162"/>
                    </a:cubicBezTo>
                    <a:cubicBezTo>
                      <a:pt x="35" y="163"/>
                      <a:pt x="75" y="138"/>
                      <a:pt x="94" y="114"/>
                    </a:cubicBezTo>
                    <a:cubicBezTo>
                      <a:pt x="119" y="82"/>
                      <a:pt x="133" y="40"/>
                      <a:pt x="123" y="1"/>
                    </a:cubicBezTo>
                    <a:cubicBezTo>
                      <a:pt x="123" y="0"/>
                      <a:pt x="120" y="0"/>
                      <a:pt x="120" y="2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56" name="Freeform 403">
                <a:extLst>
                  <a:ext uri="{FF2B5EF4-FFF2-40B4-BE49-F238E27FC236}">
                    <a16:creationId xmlns:a16="http://schemas.microsoft.com/office/drawing/2014/main" id="{FE05372F-D066-4E6A-96D3-7BC437BCD146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007" y="1639"/>
                <a:ext cx="136" cy="212"/>
              </a:xfrm>
              <a:custGeom>
                <a:avLst/>
                <a:gdLst>
                  <a:gd name="T0" fmla="*/ 128 w 129"/>
                  <a:gd name="T1" fmla="*/ 198 h 201"/>
                  <a:gd name="T2" fmla="*/ 69 w 129"/>
                  <a:gd name="T3" fmla="*/ 175 h 201"/>
                  <a:gd name="T4" fmla="*/ 35 w 129"/>
                  <a:gd name="T5" fmla="*/ 133 h 201"/>
                  <a:gd name="T6" fmla="*/ 26 w 129"/>
                  <a:gd name="T7" fmla="*/ 2 h 201"/>
                  <a:gd name="T8" fmla="*/ 24 w 129"/>
                  <a:gd name="T9" fmla="*/ 1 h 201"/>
                  <a:gd name="T10" fmla="*/ 24 w 129"/>
                  <a:gd name="T11" fmla="*/ 127 h 201"/>
                  <a:gd name="T12" fmla="*/ 71 w 129"/>
                  <a:gd name="T13" fmla="*/ 186 h 201"/>
                  <a:gd name="T14" fmla="*/ 127 w 129"/>
                  <a:gd name="T15" fmla="*/ 201 h 201"/>
                  <a:gd name="T16" fmla="*/ 128 w 129"/>
                  <a:gd name="T17" fmla="*/ 198 h 2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29" h="201">
                    <a:moveTo>
                      <a:pt x="128" y="198"/>
                    </a:moveTo>
                    <a:cubicBezTo>
                      <a:pt x="105" y="195"/>
                      <a:pt x="86" y="191"/>
                      <a:pt x="69" y="175"/>
                    </a:cubicBezTo>
                    <a:cubicBezTo>
                      <a:pt x="56" y="163"/>
                      <a:pt x="45" y="147"/>
                      <a:pt x="35" y="133"/>
                    </a:cubicBezTo>
                    <a:cubicBezTo>
                      <a:pt x="4" y="93"/>
                      <a:pt x="2" y="47"/>
                      <a:pt x="26" y="2"/>
                    </a:cubicBezTo>
                    <a:cubicBezTo>
                      <a:pt x="27" y="1"/>
                      <a:pt x="25" y="0"/>
                      <a:pt x="24" y="1"/>
                    </a:cubicBezTo>
                    <a:cubicBezTo>
                      <a:pt x="1" y="42"/>
                      <a:pt x="0" y="86"/>
                      <a:pt x="24" y="127"/>
                    </a:cubicBezTo>
                    <a:cubicBezTo>
                      <a:pt x="37" y="147"/>
                      <a:pt x="52" y="171"/>
                      <a:pt x="71" y="186"/>
                    </a:cubicBezTo>
                    <a:cubicBezTo>
                      <a:pt x="88" y="199"/>
                      <a:pt x="107" y="201"/>
                      <a:pt x="127" y="201"/>
                    </a:cubicBezTo>
                    <a:cubicBezTo>
                      <a:pt x="129" y="201"/>
                      <a:pt x="129" y="199"/>
                      <a:pt x="128" y="198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57" name="Freeform 404">
                <a:extLst>
                  <a:ext uri="{FF2B5EF4-FFF2-40B4-BE49-F238E27FC236}">
                    <a16:creationId xmlns:a16="http://schemas.microsoft.com/office/drawing/2014/main" id="{23F006D0-2CA4-40CE-BC05-E54F27E4A49A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058" y="1565"/>
                <a:ext cx="40" cy="33"/>
              </a:xfrm>
              <a:custGeom>
                <a:avLst/>
                <a:gdLst>
                  <a:gd name="T0" fmla="*/ 3 w 37"/>
                  <a:gd name="T1" fmla="*/ 31 h 32"/>
                  <a:gd name="T2" fmla="*/ 22 w 37"/>
                  <a:gd name="T3" fmla="*/ 17 h 32"/>
                  <a:gd name="T4" fmla="*/ 37 w 37"/>
                  <a:gd name="T5" fmla="*/ 2 h 32"/>
                  <a:gd name="T6" fmla="*/ 35 w 37"/>
                  <a:gd name="T7" fmla="*/ 1 h 32"/>
                  <a:gd name="T8" fmla="*/ 17 w 37"/>
                  <a:gd name="T9" fmla="*/ 17 h 32"/>
                  <a:gd name="T10" fmla="*/ 1 w 37"/>
                  <a:gd name="T11" fmla="*/ 30 h 32"/>
                  <a:gd name="T12" fmla="*/ 3 w 37"/>
                  <a:gd name="T13" fmla="*/ 31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7" h="32">
                    <a:moveTo>
                      <a:pt x="3" y="31"/>
                    </a:moveTo>
                    <a:cubicBezTo>
                      <a:pt x="9" y="25"/>
                      <a:pt x="16" y="22"/>
                      <a:pt x="22" y="17"/>
                    </a:cubicBezTo>
                    <a:cubicBezTo>
                      <a:pt x="27" y="12"/>
                      <a:pt x="32" y="7"/>
                      <a:pt x="37" y="2"/>
                    </a:cubicBezTo>
                    <a:cubicBezTo>
                      <a:pt x="37" y="1"/>
                      <a:pt x="36" y="0"/>
                      <a:pt x="35" y="1"/>
                    </a:cubicBezTo>
                    <a:cubicBezTo>
                      <a:pt x="29" y="6"/>
                      <a:pt x="24" y="13"/>
                      <a:pt x="17" y="17"/>
                    </a:cubicBezTo>
                    <a:cubicBezTo>
                      <a:pt x="12" y="21"/>
                      <a:pt x="6" y="25"/>
                      <a:pt x="1" y="30"/>
                    </a:cubicBezTo>
                    <a:cubicBezTo>
                      <a:pt x="0" y="30"/>
                      <a:pt x="2" y="32"/>
                      <a:pt x="3" y="31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58" name="Freeform 405">
                <a:extLst>
                  <a:ext uri="{FF2B5EF4-FFF2-40B4-BE49-F238E27FC236}">
                    <a16:creationId xmlns:a16="http://schemas.microsoft.com/office/drawing/2014/main" id="{4F214305-9812-4FDE-8999-DEF75A1FAE9C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118" y="1542"/>
                <a:ext cx="14" cy="16"/>
              </a:xfrm>
              <a:custGeom>
                <a:avLst/>
                <a:gdLst>
                  <a:gd name="T0" fmla="*/ 1 w 13"/>
                  <a:gd name="T1" fmla="*/ 4 h 15"/>
                  <a:gd name="T2" fmla="*/ 9 w 13"/>
                  <a:gd name="T3" fmla="*/ 14 h 15"/>
                  <a:gd name="T4" fmla="*/ 11 w 13"/>
                  <a:gd name="T5" fmla="*/ 10 h 15"/>
                  <a:gd name="T6" fmla="*/ 5 w 13"/>
                  <a:gd name="T7" fmla="*/ 3 h 15"/>
                  <a:gd name="T8" fmla="*/ 1 w 13"/>
                  <a:gd name="T9" fmla="*/ 4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3" h="15">
                    <a:moveTo>
                      <a:pt x="1" y="4"/>
                    </a:moveTo>
                    <a:cubicBezTo>
                      <a:pt x="2" y="8"/>
                      <a:pt x="5" y="12"/>
                      <a:pt x="9" y="14"/>
                    </a:cubicBezTo>
                    <a:cubicBezTo>
                      <a:pt x="11" y="15"/>
                      <a:pt x="13" y="12"/>
                      <a:pt x="11" y="10"/>
                    </a:cubicBezTo>
                    <a:cubicBezTo>
                      <a:pt x="9" y="8"/>
                      <a:pt x="6" y="6"/>
                      <a:pt x="5" y="3"/>
                    </a:cubicBezTo>
                    <a:cubicBezTo>
                      <a:pt x="4" y="0"/>
                      <a:pt x="0" y="1"/>
                      <a:pt x="1" y="4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</p:grpSp>
        <p:sp>
          <p:nvSpPr>
            <p:cNvPr id="538" name="Freeform 407">
              <a:extLst>
                <a:ext uri="{FF2B5EF4-FFF2-40B4-BE49-F238E27FC236}">
                  <a16:creationId xmlns:a16="http://schemas.microsoft.com/office/drawing/2014/main" id="{A6D6F2C3-913E-4658-9C53-29AA6EF42AF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806575" y="2439988"/>
              <a:ext cx="17463" cy="12700"/>
            </a:xfrm>
            <a:custGeom>
              <a:avLst/>
              <a:gdLst>
                <a:gd name="T0" fmla="*/ 2 w 10"/>
                <a:gd name="T1" fmla="*/ 3 h 8"/>
                <a:gd name="T2" fmla="*/ 4 w 10"/>
                <a:gd name="T3" fmla="*/ 5 h 8"/>
                <a:gd name="T4" fmla="*/ 7 w 10"/>
                <a:gd name="T5" fmla="*/ 6 h 8"/>
                <a:gd name="T6" fmla="*/ 9 w 10"/>
                <a:gd name="T7" fmla="*/ 6 h 8"/>
                <a:gd name="T8" fmla="*/ 3 w 10"/>
                <a:gd name="T9" fmla="*/ 1 h 8"/>
                <a:gd name="T10" fmla="*/ 2 w 10"/>
                <a:gd name="T11" fmla="*/ 3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0" h="8">
                  <a:moveTo>
                    <a:pt x="2" y="3"/>
                  </a:moveTo>
                  <a:cubicBezTo>
                    <a:pt x="2" y="4"/>
                    <a:pt x="3" y="4"/>
                    <a:pt x="4" y="5"/>
                  </a:cubicBezTo>
                  <a:cubicBezTo>
                    <a:pt x="5" y="5"/>
                    <a:pt x="6" y="5"/>
                    <a:pt x="7" y="6"/>
                  </a:cubicBezTo>
                  <a:cubicBezTo>
                    <a:pt x="7" y="8"/>
                    <a:pt x="10" y="8"/>
                    <a:pt x="9" y="6"/>
                  </a:cubicBezTo>
                  <a:cubicBezTo>
                    <a:pt x="8" y="3"/>
                    <a:pt x="6" y="3"/>
                    <a:pt x="3" y="1"/>
                  </a:cubicBezTo>
                  <a:cubicBezTo>
                    <a:pt x="2" y="0"/>
                    <a:pt x="0" y="3"/>
                    <a:pt x="2" y="3"/>
                  </a:cubicBezTo>
                  <a:close/>
                </a:path>
              </a:pathLst>
            </a:custGeom>
            <a:solidFill>
              <a:srgbClr val="1C1D1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39" name="Freeform 408">
              <a:extLst>
                <a:ext uri="{FF2B5EF4-FFF2-40B4-BE49-F238E27FC236}">
                  <a16:creationId xmlns:a16="http://schemas.microsoft.com/office/drawing/2014/main" id="{43F49E79-D108-4715-A857-5C16339AD02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65339" y="1031874"/>
              <a:ext cx="188914" cy="1022351"/>
            </a:xfrm>
            <a:custGeom>
              <a:avLst/>
              <a:gdLst>
                <a:gd name="T0" fmla="*/ 9 w 112"/>
                <a:gd name="T1" fmla="*/ 1 h 608"/>
                <a:gd name="T2" fmla="*/ 1 w 112"/>
                <a:gd name="T3" fmla="*/ 88 h 608"/>
                <a:gd name="T4" fmla="*/ 17 w 112"/>
                <a:gd name="T5" fmla="*/ 181 h 608"/>
                <a:gd name="T6" fmla="*/ 85 w 112"/>
                <a:gd name="T7" fmla="*/ 269 h 608"/>
                <a:gd name="T8" fmla="*/ 61 w 112"/>
                <a:gd name="T9" fmla="*/ 247 h 608"/>
                <a:gd name="T10" fmla="*/ 57 w 112"/>
                <a:gd name="T11" fmla="*/ 311 h 608"/>
                <a:gd name="T12" fmla="*/ 63 w 112"/>
                <a:gd name="T13" fmla="*/ 406 h 608"/>
                <a:gd name="T14" fmla="*/ 68 w 112"/>
                <a:gd name="T15" fmla="*/ 456 h 608"/>
                <a:gd name="T16" fmla="*/ 73 w 112"/>
                <a:gd name="T17" fmla="*/ 511 h 608"/>
                <a:gd name="T18" fmla="*/ 78 w 112"/>
                <a:gd name="T19" fmla="*/ 561 h 608"/>
                <a:gd name="T20" fmla="*/ 89 w 112"/>
                <a:gd name="T21" fmla="*/ 601 h 608"/>
                <a:gd name="T22" fmla="*/ 100 w 112"/>
                <a:gd name="T23" fmla="*/ 595 h 608"/>
                <a:gd name="T24" fmla="*/ 91 w 112"/>
                <a:gd name="T25" fmla="*/ 559 h 608"/>
                <a:gd name="T26" fmla="*/ 85 w 112"/>
                <a:gd name="T27" fmla="*/ 510 h 608"/>
                <a:gd name="T28" fmla="*/ 79 w 112"/>
                <a:gd name="T29" fmla="*/ 453 h 608"/>
                <a:gd name="T30" fmla="*/ 73 w 112"/>
                <a:gd name="T31" fmla="*/ 412 h 608"/>
                <a:gd name="T32" fmla="*/ 73 w 112"/>
                <a:gd name="T33" fmla="*/ 369 h 608"/>
                <a:gd name="T34" fmla="*/ 69 w 112"/>
                <a:gd name="T35" fmla="*/ 334 h 608"/>
                <a:gd name="T36" fmla="*/ 67 w 112"/>
                <a:gd name="T37" fmla="*/ 268 h 608"/>
                <a:gd name="T38" fmla="*/ 72 w 112"/>
                <a:gd name="T39" fmla="*/ 249 h 608"/>
                <a:gd name="T40" fmla="*/ 70 w 112"/>
                <a:gd name="T41" fmla="*/ 261 h 608"/>
                <a:gd name="T42" fmla="*/ 62 w 112"/>
                <a:gd name="T43" fmla="*/ 256 h 608"/>
                <a:gd name="T44" fmla="*/ 41 w 112"/>
                <a:gd name="T45" fmla="*/ 220 h 608"/>
                <a:gd name="T46" fmla="*/ 16 w 112"/>
                <a:gd name="T47" fmla="*/ 142 h 608"/>
                <a:gd name="T48" fmla="*/ 7 w 112"/>
                <a:gd name="T49" fmla="*/ 67 h 608"/>
                <a:gd name="T50" fmla="*/ 10 w 112"/>
                <a:gd name="T51" fmla="*/ 1 h 608"/>
                <a:gd name="T52" fmla="*/ 9 w 112"/>
                <a:gd name="T53" fmla="*/ 1 h 6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112" h="608">
                  <a:moveTo>
                    <a:pt x="9" y="1"/>
                  </a:moveTo>
                  <a:cubicBezTo>
                    <a:pt x="5" y="31"/>
                    <a:pt x="0" y="58"/>
                    <a:pt x="1" y="88"/>
                  </a:cubicBezTo>
                  <a:cubicBezTo>
                    <a:pt x="3" y="120"/>
                    <a:pt x="8" y="151"/>
                    <a:pt x="17" y="181"/>
                  </a:cubicBezTo>
                  <a:cubicBezTo>
                    <a:pt x="24" y="201"/>
                    <a:pt x="48" y="293"/>
                    <a:pt x="85" y="269"/>
                  </a:cubicBezTo>
                  <a:cubicBezTo>
                    <a:pt x="112" y="252"/>
                    <a:pt x="77" y="219"/>
                    <a:pt x="61" y="247"/>
                  </a:cubicBezTo>
                  <a:cubicBezTo>
                    <a:pt x="51" y="265"/>
                    <a:pt x="57" y="292"/>
                    <a:pt x="57" y="311"/>
                  </a:cubicBezTo>
                  <a:cubicBezTo>
                    <a:pt x="58" y="343"/>
                    <a:pt x="62" y="374"/>
                    <a:pt x="63" y="406"/>
                  </a:cubicBezTo>
                  <a:cubicBezTo>
                    <a:pt x="63" y="423"/>
                    <a:pt x="67" y="439"/>
                    <a:pt x="68" y="456"/>
                  </a:cubicBezTo>
                  <a:cubicBezTo>
                    <a:pt x="69" y="474"/>
                    <a:pt x="70" y="492"/>
                    <a:pt x="73" y="511"/>
                  </a:cubicBezTo>
                  <a:cubicBezTo>
                    <a:pt x="76" y="528"/>
                    <a:pt x="77" y="544"/>
                    <a:pt x="78" y="561"/>
                  </a:cubicBezTo>
                  <a:cubicBezTo>
                    <a:pt x="79" y="575"/>
                    <a:pt x="82" y="588"/>
                    <a:pt x="89" y="601"/>
                  </a:cubicBezTo>
                  <a:cubicBezTo>
                    <a:pt x="93" y="608"/>
                    <a:pt x="104" y="602"/>
                    <a:pt x="100" y="595"/>
                  </a:cubicBezTo>
                  <a:cubicBezTo>
                    <a:pt x="94" y="584"/>
                    <a:pt x="92" y="572"/>
                    <a:pt x="91" y="559"/>
                  </a:cubicBezTo>
                  <a:cubicBezTo>
                    <a:pt x="89" y="542"/>
                    <a:pt x="88" y="528"/>
                    <a:pt x="85" y="510"/>
                  </a:cubicBezTo>
                  <a:cubicBezTo>
                    <a:pt x="81" y="490"/>
                    <a:pt x="80" y="472"/>
                    <a:pt x="79" y="453"/>
                  </a:cubicBezTo>
                  <a:cubicBezTo>
                    <a:pt x="77" y="439"/>
                    <a:pt x="74" y="425"/>
                    <a:pt x="73" y="412"/>
                  </a:cubicBezTo>
                  <a:cubicBezTo>
                    <a:pt x="73" y="398"/>
                    <a:pt x="75" y="383"/>
                    <a:pt x="73" y="369"/>
                  </a:cubicBezTo>
                  <a:cubicBezTo>
                    <a:pt x="72" y="357"/>
                    <a:pt x="69" y="346"/>
                    <a:pt x="69" y="334"/>
                  </a:cubicBezTo>
                  <a:cubicBezTo>
                    <a:pt x="67" y="313"/>
                    <a:pt x="66" y="290"/>
                    <a:pt x="67" y="268"/>
                  </a:cubicBezTo>
                  <a:cubicBezTo>
                    <a:pt x="67" y="265"/>
                    <a:pt x="71" y="248"/>
                    <a:pt x="72" y="249"/>
                  </a:cubicBezTo>
                  <a:cubicBezTo>
                    <a:pt x="72" y="253"/>
                    <a:pt x="71" y="257"/>
                    <a:pt x="70" y="261"/>
                  </a:cubicBezTo>
                  <a:cubicBezTo>
                    <a:pt x="67" y="260"/>
                    <a:pt x="65" y="258"/>
                    <a:pt x="62" y="256"/>
                  </a:cubicBezTo>
                  <a:cubicBezTo>
                    <a:pt x="52" y="247"/>
                    <a:pt x="46" y="232"/>
                    <a:pt x="41" y="220"/>
                  </a:cubicBezTo>
                  <a:cubicBezTo>
                    <a:pt x="31" y="194"/>
                    <a:pt x="21" y="169"/>
                    <a:pt x="16" y="142"/>
                  </a:cubicBezTo>
                  <a:cubicBezTo>
                    <a:pt x="11" y="117"/>
                    <a:pt x="8" y="92"/>
                    <a:pt x="7" y="67"/>
                  </a:cubicBezTo>
                  <a:cubicBezTo>
                    <a:pt x="7" y="45"/>
                    <a:pt x="11" y="23"/>
                    <a:pt x="10" y="1"/>
                  </a:cubicBezTo>
                  <a:cubicBezTo>
                    <a:pt x="10" y="0"/>
                    <a:pt x="9" y="0"/>
                    <a:pt x="9" y="1"/>
                  </a:cubicBezTo>
                  <a:close/>
                </a:path>
              </a:pathLst>
            </a:custGeom>
            <a:solidFill>
              <a:srgbClr val="04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40" name="Freeform 409">
              <a:extLst>
                <a:ext uri="{FF2B5EF4-FFF2-40B4-BE49-F238E27FC236}">
                  <a16:creationId xmlns:a16="http://schemas.microsoft.com/office/drawing/2014/main" id="{FCA21494-B109-4553-A78E-EC955B7C904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826003" y="2355850"/>
              <a:ext cx="214314" cy="71438"/>
            </a:xfrm>
            <a:custGeom>
              <a:avLst/>
              <a:gdLst>
                <a:gd name="T0" fmla="*/ 4 w 127"/>
                <a:gd name="T1" fmla="*/ 11 h 42"/>
                <a:gd name="T2" fmla="*/ 26 w 127"/>
                <a:gd name="T3" fmla="*/ 9 h 42"/>
                <a:gd name="T4" fmla="*/ 26 w 127"/>
                <a:gd name="T5" fmla="*/ 0 h 42"/>
                <a:gd name="T6" fmla="*/ 17 w 127"/>
                <a:gd name="T7" fmla="*/ 0 h 42"/>
                <a:gd name="T8" fmla="*/ 16 w 127"/>
                <a:gd name="T9" fmla="*/ 9 h 42"/>
                <a:gd name="T10" fmla="*/ 66 w 127"/>
                <a:gd name="T11" fmla="*/ 22 h 42"/>
                <a:gd name="T12" fmla="*/ 114 w 127"/>
                <a:gd name="T13" fmla="*/ 39 h 42"/>
                <a:gd name="T14" fmla="*/ 121 w 127"/>
                <a:gd name="T15" fmla="*/ 26 h 42"/>
                <a:gd name="T16" fmla="*/ 51 w 127"/>
                <a:gd name="T17" fmla="*/ 1 h 42"/>
                <a:gd name="T18" fmla="*/ 50 w 127"/>
                <a:gd name="T19" fmla="*/ 14 h 42"/>
                <a:gd name="T20" fmla="*/ 89 w 127"/>
                <a:gd name="T21" fmla="*/ 22 h 42"/>
                <a:gd name="T22" fmla="*/ 114 w 127"/>
                <a:gd name="T23" fmla="*/ 34 h 42"/>
                <a:gd name="T24" fmla="*/ 127 w 127"/>
                <a:gd name="T25" fmla="*/ 30 h 42"/>
                <a:gd name="T26" fmla="*/ 127 w 127"/>
                <a:gd name="T27" fmla="*/ 28 h 42"/>
                <a:gd name="T28" fmla="*/ 113 w 127"/>
                <a:gd name="T29" fmla="*/ 29 h 42"/>
                <a:gd name="T30" fmla="*/ 113 w 127"/>
                <a:gd name="T31" fmla="*/ 31 h 42"/>
                <a:gd name="T32" fmla="*/ 126 w 127"/>
                <a:gd name="T33" fmla="*/ 27 h 42"/>
                <a:gd name="T34" fmla="*/ 95 w 127"/>
                <a:gd name="T35" fmla="*/ 10 h 42"/>
                <a:gd name="T36" fmla="*/ 48 w 127"/>
                <a:gd name="T37" fmla="*/ 1 h 42"/>
                <a:gd name="T38" fmla="*/ 47 w 127"/>
                <a:gd name="T39" fmla="*/ 13 h 42"/>
                <a:gd name="T40" fmla="*/ 111 w 127"/>
                <a:gd name="T41" fmla="*/ 37 h 42"/>
                <a:gd name="T42" fmla="*/ 119 w 127"/>
                <a:gd name="T43" fmla="*/ 25 h 42"/>
                <a:gd name="T44" fmla="*/ 71 w 127"/>
                <a:gd name="T45" fmla="*/ 9 h 42"/>
                <a:gd name="T46" fmla="*/ 18 w 127"/>
                <a:gd name="T47" fmla="*/ 0 h 42"/>
                <a:gd name="T48" fmla="*/ 18 w 127"/>
                <a:gd name="T49" fmla="*/ 9 h 42"/>
                <a:gd name="T50" fmla="*/ 27 w 127"/>
                <a:gd name="T51" fmla="*/ 9 h 42"/>
                <a:gd name="T52" fmla="*/ 26 w 127"/>
                <a:gd name="T53" fmla="*/ 0 h 42"/>
                <a:gd name="T54" fmla="*/ 3 w 127"/>
                <a:gd name="T55" fmla="*/ 5 h 42"/>
                <a:gd name="T56" fmla="*/ 4 w 127"/>
                <a:gd name="T57" fmla="*/ 11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27" h="42">
                  <a:moveTo>
                    <a:pt x="4" y="11"/>
                  </a:moveTo>
                  <a:cubicBezTo>
                    <a:pt x="11" y="11"/>
                    <a:pt x="18" y="8"/>
                    <a:pt x="26" y="9"/>
                  </a:cubicBezTo>
                  <a:cubicBezTo>
                    <a:pt x="32" y="10"/>
                    <a:pt x="33" y="0"/>
                    <a:pt x="26" y="0"/>
                  </a:cubicBezTo>
                  <a:cubicBezTo>
                    <a:pt x="23" y="0"/>
                    <a:pt x="20" y="0"/>
                    <a:pt x="17" y="0"/>
                  </a:cubicBezTo>
                  <a:cubicBezTo>
                    <a:pt x="12" y="0"/>
                    <a:pt x="11" y="8"/>
                    <a:pt x="16" y="9"/>
                  </a:cubicBezTo>
                  <a:cubicBezTo>
                    <a:pt x="32" y="14"/>
                    <a:pt x="50" y="17"/>
                    <a:pt x="66" y="22"/>
                  </a:cubicBezTo>
                  <a:cubicBezTo>
                    <a:pt x="82" y="28"/>
                    <a:pt x="98" y="35"/>
                    <a:pt x="114" y="39"/>
                  </a:cubicBezTo>
                  <a:cubicBezTo>
                    <a:pt x="123" y="42"/>
                    <a:pt x="127" y="32"/>
                    <a:pt x="121" y="26"/>
                  </a:cubicBezTo>
                  <a:cubicBezTo>
                    <a:pt x="103" y="9"/>
                    <a:pt x="73" y="11"/>
                    <a:pt x="51" y="1"/>
                  </a:cubicBezTo>
                  <a:cubicBezTo>
                    <a:pt x="51" y="6"/>
                    <a:pt x="50" y="10"/>
                    <a:pt x="50" y="14"/>
                  </a:cubicBezTo>
                  <a:cubicBezTo>
                    <a:pt x="62" y="12"/>
                    <a:pt x="77" y="18"/>
                    <a:pt x="89" y="22"/>
                  </a:cubicBezTo>
                  <a:cubicBezTo>
                    <a:pt x="97" y="24"/>
                    <a:pt x="109" y="26"/>
                    <a:pt x="114" y="34"/>
                  </a:cubicBezTo>
                  <a:cubicBezTo>
                    <a:pt x="118" y="40"/>
                    <a:pt x="127" y="37"/>
                    <a:pt x="127" y="30"/>
                  </a:cubicBezTo>
                  <a:cubicBezTo>
                    <a:pt x="127" y="30"/>
                    <a:pt x="127" y="29"/>
                    <a:pt x="127" y="28"/>
                  </a:cubicBezTo>
                  <a:cubicBezTo>
                    <a:pt x="127" y="20"/>
                    <a:pt x="113" y="20"/>
                    <a:pt x="113" y="29"/>
                  </a:cubicBezTo>
                  <a:cubicBezTo>
                    <a:pt x="113" y="30"/>
                    <a:pt x="113" y="30"/>
                    <a:pt x="113" y="31"/>
                  </a:cubicBezTo>
                  <a:cubicBezTo>
                    <a:pt x="118" y="29"/>
                    <a:pt x="122" y="28"/>
                    <a:pt x="126" y="27"/>
                  </a:cubicBezTo>
                  <a:cubicBezTo>
                    <a:pt x="119" y="17"/>
                    <a:pt x="107" y="13"/>
                    <a:pt x="95" y="10"/>
                  </a:cubicBezTo>
                  <a:cubicBezTo>
                    <a:pt x="80" y="6"/>
                    <a:pt x="64" y="0"/>
                    <a:pt x="48" y="1"/>
                  </a:cubicBezTo>
                  <a:cubicBezTo>
                    <a:pt x="41" y="2"/>
                    <a:pt x="42" y="11"/>
                    <a:pt x="47" y="13"/>
                  </a:cubicBezTo>
                  <a:cubicBezTo>
                    <a:pt x="66" y="22"/>
                    <a:pt x="97" y="21"/>
                    <a:pt x="111" y="37"/>
                  </a:cubicBezTo>
                  <a:cubicBezTo>
                    <a:pt x="114" y="33"/>
                    <a:pt x="117" y="29"/>
                    <a:pt x="119" y="25"/>
                  </a:cubicBezTo>
                  <a:cubicBezTo>
                    <a:pt x="103" y="19"/>
                    <a:pt x="88" y="13"/>
                    <a:pt x="71" y="9"/>
                  </a:cubicBezTo>
                  <a:cubicBezTo>
                    <a:pt x="54" y="4"/>
                    <a:pt x="36" y="4"/>
                    <a:pt x="18" y="0"/>
                  </a:cubicBezTo>
                  <a:cubicBezTo>
                    <a:pt x="18" y="3"/>
                    <a:pt x="18" y="6"/>
                    <a:pt x="18" y="9"/>
                  </a:cubicBezTo>
                  <a:cubicBezTo>
                    <a:pt x="21" y="9"/>
                    <a:pt x="24" y="9"/>
                    <a:pt x="27" y="9"/>
                  </a:cubicBezTo>
                  <a:cubicBezTo>
                    <a:pt x="27" y="6"/>
                    <a:pt x="26" y="3"/>
                    <a:pt x="26" y="0"/>
                  </a:cubicBezTo>
                  <a:cubicBezTo>
                    <a:pt x="17" y="1"/>
                    <a:pt x="12" y="3"/>
                    <a:pt x="3" y="5"/>
                  </a:cubicBezTo>
                  <a:cubicBezTo>
                    <a:pt x="0" y="6"/>
                    <a:pt x="0" y="11"/>
                    <a:pt x="4" y="11"/>
                  </a:cubicBezTo>
                  <a:close/>
                </a:path>
              </a:pathLst>
            </a:custGeom>
            <a:solidFill>
              <a:srgbClr val="3C3C3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41" name="Freeform 410">
              <a:extLst>
                <a:ext uri="{FF2B5EF4-FFF2-40B4-BE49-F238E27FC236}">
                  <a16:creationId xmlns:a16="http://schemas.microsoft.com/office/drawing/2014/main" id="{0FB2DEFE-D80A-486A-B762-5E212CF0773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565653" y="2889250"/>
              <a:ext cx="188914" cy="142875"/>
            </a:xfrm>
            <a:custGeom>
              <a:avLst/>
              <a:gdLst>
                <a:gd name="T0" fmla="*/ 57 w 113"/>
                <a:gd name="T1" fmla="*/ 80 h 85"/>
                <a:gd name="T2" fmla="*/ 22 w 113"/>
                <a:gd name="T3" fmla="*/ 76 h 85"/>
                <a:gd name="T4" fmla="*/ 13 w 113"/>
                <a:gd name="T5" fmla="*/ 28 h 85"/>
                <a:gd name="T6" fmla="*/ 25 w 113"/>
                <a:gd name="T7" fmla="*/ 4 h 85"/>
                <a:gd name="T8" fmla="*/ 47 w 113"/>
                <a:gd name="T9" fmla="*/ 3 h 85"/>
                <a:gd name="T10" fmla="*/ 75 w 113"/>
                <a:gd name="T11" fmla="*/ 11 h 85"/>
                <a:gd name="T12" fmla="*/ 88 w 113"/>
                <a:gd name="T13" fmla="*/ 15 h 85"/>
                <a:gd name="T14" fmla="*/ 88 w 113"/>
                <a:gd name="T15" fmla="*/ 17 h 85"/>
                <a:gd name="T16" fmla="*/ 97 w 113"/>
                <a:gd name="T17" fmla="*/ 33 h 85"/>
                <a:gd name="T18" fmla="*/ 108 w 113"/>
                <a:gd name="T19" fmla="*/ 57 h 85"/>
                <a:gd name="T20" fmla="*/ 89 w 113"/>
                <a:gd name="T21" fmla="*/ 71 h 85"/>
                <a:gd name="T22" fmla="*/ 77 w 113"/>
                <a:gd name="T23" fmla="*/ 84 h 85"/>
                <a:gd name="T24" fmla="*/ 73 w 113"/>
                <a:gd name="T25" fmla="*/ 85 h 85"/>
                <a:gd name="T26" fmla="*/ 57 w 113"/>
                <a:gd name="T27" fmla="*/ 80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13" h="85">
                  <a:moveTo>
                    <a:pt x="57" y="80"/>
                  </a:moveTo>
                  <a:cubicBezTo>
                    <a:pt x="45" y="77"/>
                    <a:pt x="34" y="79"/>
                    <a:pt x="22" y="76"/>
                  </a:cubicBezTo>
                  <a:cubicBezTo>
                    <a:pt x="0" y="71"/>
                    <a:pt x="10" y="43"/>
                    <a:pt x="13" y="28"/>
                  </a:cubicBezTo>
                  <a:cubicBezTo>
                    <a:pt x="15" y="20"/>
                    <a:pt x="17" y="9"/>
                    <a:pt x="25" y="4"/>
                  </a:cubicBezTo>
                  <a:cubicBezTo>
                    <a:pt x="31" y="0"/>
                    <a:pt x="40" y="2"/>
                    <a:pt x="47" y="3"/>
                  </a:cubicBezTo>
                  <a:cubicBezTo>
                    <a:pt x="57" y="6"/>
                    <a:pt x="67" y="8"/>
                    <a:pt x="75" y="11"/>
                  </a:cubicBezTo>
                  <a:cubicBezTo>
                    <a:pt x="79" y="12"/>
                    <a:pt x="84" y="15"/>
                    <a:pt x="88" y="15"/>
                  </a:cubicBezTo>
                  <a:cubicBezTo>
                    <a:pt x="88" y="17"/>
                    <a:pt x="88" y="17"/>
                    <a:pt x="88" y="17"/>
                  </a:cubicBezTo>
                  <a:cubicBezTo>
                    <a:pt x="90" y="23"/>
                    <a:pt x="93" y="27"/>
                    <a:pt x="97" y="33"/>
                  </a:cubicBezTo>
                  <a:cubicBezTo>
                    <a:pt x="100" y="38"/>
                    <a:pt x="113" y="49"/>
                    <a:pt x="108" y="57"/>
                  </a:cubicBezTo>
                  <a:cubicBezTo>
                    <a:pt x="103" y="61"/>
                    <a:pt x="95" y="67"/>
                    <a:pt x="89" y="71"/>
                  </a:cubicBezTo>
                  <a:cubicBezTo>
                    <a:pt x="85" y="73"/>
                    <a:pt x="80" y="79"/>
                    <a:pt x="77" y="84"/>
                  </a:cubicBezTo>
                  <a:cubicBezTo>
                    <a:pt x="73" y="85"/>
                    <a:pt x="73" y="85"/>
                    <a:pt x="73" y="85"/>
                  </a:cubicBezTo>
                  <a:cubicBezTo>
                    <a:pt x="67" y="83"/>
                    <a:pt x="63" y="81"/>
                    <a:pt x="57" y="80"/>
                  </a:cubicBezTo>
                  <a:close/>
                </a:path>
              </a:pathLst>
            </a:custGeom>
            <a:solidFill>
              <a:srgbClr val="E840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42" name="Freeform 411">
              <a:extLst>
                <a:ext uri="{FF2B5EF4-FFF2-40B4-BE49-F238E27FC236}">
                  <a16:creationId xmlns:a16="http://schemas.microsoft.com/office/drawing/2014/main" id="{BC17E7C6-9AB8-413F-919A-883F303B3F0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694241" y="3048000"/>
              <a:ext cx="155575" cy="169862"/>
            </a:xfrm>
            <a:custGeom>
              <a:avLst/>
              <a:gdLst>
                <a:gd name="T0" fmla="*/ 42 w 92"/>
                <a:gd name="T1" fmla="*/ 7 h 101"/>
                <a:gd name="T2" fmla="*/ 56 w 92"/>
                <a:gd name="T3" fmla="*/ 1 h 101"/>
                <a:gd name="T4" fmla="*/ 66 w 92"/>
                <a:gd name="T5" fmla="*/ 7 h 101"/>
                <a:gd name="T6" fmla="*/ 89 w 92"/>
                <a:gd name="T7" fmla="*/ 31 h 101"/>
                <a:gd name="T8" fmla="*/ 92 w 92"/>
                <a:gd name="T9" fmla="*/ 32 h 101"/>
                <a:gd name="T10" fmla="*/ 85 w 92"/>
                <a:gd name="T11" fmla="*/ 64 h 101"/>
                <a:gd name="T12" fmla="*/ 80 w 92"/>
                <a:gd name="T13" fmla="*/ 82 h 101"/>
                <a:gd name="T14" fmla="*/ 71 w 92"/>
                <a:gd name="T15" fmla="*/ 96 h 101"/>
                <a:gd name="T16" fmla="*/ 41 w 92"/>
                <a:gd name="T17" fmla="*/ 97 h 101"/>
                <a:gd name="T18" fmla="*/ 6 w 92"/>
                <a:gd name="T19" fmla="*/ 86 h 101"/>
                <a:gd name="T20" fmla="*/ 1 w 92"/>
                <a:gd name="T21" fmla="*/ 86 h 101"/>
                <a:gd name="T22" fmla="*/ 2 w 92"/>
                <a:gd name="T23" fmla="*/ 74 h 101"/>
                <a:gd name="T24" fmla="*/ 5 w 92"/>
                <a:gd name="T25" fmla="*/ 40 h 101"/>
                <a:gd name="T26" fmla="*/ 7 w 92"/>
                <a:gd name="T27" fmla="*/ 34 h 101"/>
                <a:gd name="T28" fmla="*/ 17 w 92"/>
                <a:gd name="T29" fmla="*/ 21 h 101"/>
                <a:gd name="T30" fmla="*/ 42 w 92"/>
                <a:gd name="T31" fmla="*/ 7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92" h="101">
                  <a:moveTo>
                    <a:pt x="42" y="7"/>
                  </a:moveTo>
                  <a:cubicBezTo>
                    <a:pt x="47" y="4"/>
                    <a:pt x="51" y="0"/>
                    <a:pt x="56" y="1"/>
                  </a:cubicBezTo>
                  <a:cubicBezTo>
                    <a:pt x="58" y="1"/>
                    <a:pt x="62" y="4"/>
                    <a:pt x="66" y="7"/>
                  </a:cubicBezTo>
                  <a:cubicBezTo>
                    <a:pt x="73" y="12"/>
                    <a:pt x="87" y="22"/>
                    <a:pt x="89" y="31"/>
                  </a:cubicBezTo>
                  <a:cubicBezTo>
                    <a:pt x="92" y="32"/>
                    <a:pt x="92" y="32"/>
                    <a:pt x="92" y="32"/>
                  </a:cubicBezTo>
                  <a:cubicBezTo>
                    <a:pt x="90" y="42"/>
                    <a:pt x="87" y="53"/>
                    <a:pt x="85" y="64"/>
                  </a:cubicBezTo>
                  <a:cubicBezTo>
                    <a:pt x="84" y="70"/>
                    <a:pt x="81" y="75"/>
                    <a:pt x="80" y="82"/>
                  </a:cubicBezTo>
                  <a:cubicBezTo>
                    <a:pt x="78" y="87"/>
                    <a:pt x="76" y="92"/>
                    <a:pt x="71" y="96"/>
                  </a:cubicBezTo>
                  <a:cubicBezTo>
                    <a:pt x="61" y="101"/>
                    <a:pt x="51" y="99"/>
                    <a:pt x="41" y="97"/>
                  </a:cubicBezTo>
                  <a:cubicBezTo>
                    <a:pt x="29" y="94"/>
                    <a:pt x="18" y="90"/>
                    <a:pt x="6" y="86"/>
                  </a:cubicBezTo>
                  <a:cubicBezTo>
                    <a:pt x="1" y="86"/>
                    <a:pt x="1" y="86"/>
                    <a:pt x="1" y="86"/>
                  </a:cubicBezTo>
                  <a:cubicBezTo>
                    <a:pt x="0" y="83"/>
                    <a:pt x="3" y="78"/>
                    <a:pt x="2" y="74"/>
                  </a:cubicBezTo>
                  <a:cubicBezTo>
                    <a:pt x="4" y="62"/>
                    <a:pt x="5" y="52"/>
                    <a:pt x="5" y="40"/>
                  </a:cubicBezTo>
                  <a:cubicBezTo>
                    <a:pt x="6" y="38"/>
                    <a:pt x="6" y="36"/>
                    <a:pt x="7" y="34"/>
                  </a:cubicBezTo>
                  <a:cubicBezTo>
                    <a:pt x="9" y="29"/>
                    <a:pt x="12" y="25"/>
                    <a:pt x="17" y="21"/>
                  </a:cubicBezTo>
                  <a:cubicBezTo>
                    <a:pt x="25" y="15"/>
                    <a:pt x="35" y="11"/>
                    <a:pt x="42" y="7"/>
                  </a:cubicBezTo>
                  <a:close/>
                </a:path>
              </a:pathLst>
            </a:custGeom>
            <a:solidFill>
              <a:srgbClr val="E840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43" name="Freeform 412">
              <a:extLst>
                <a:ext uri="{FF2B5EF4-FFF2-40B4-BE49-F238E27FC236}">
                  <a16:creationId xmlns:a16="http://schemas.microsoft.com/office/drawing/2014/main" id="{6A5D7957-28EE-4ED6-B87B-E31885B8376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851403" y="2944813"/>
              <a:ext cx="174625" cy="157163"/>
            </a:xfrm>
            <a:custGeom>
              <a:avLst/>
              <a:gdLst>
                <a:gd name="T0" fmla="*/ 98 w 104"/>
                <a:gd name="T1" fmla="*/ 12 h 94"/>
                <a:gd name="T2" fmla="*/ 101 w 104"/>
                <a:gd name="T3" fmla="*/ 32 h 94"/>
                <a:gd name="T4" fmla="*/ 90 w 104"/>
                <a:gd name="T5" fmla="*/ 83 h 94"/>
                <a:gd name="T6" fmla="*/ 89 w 104"/>
                <a:gd name="T7" fmla="*/ 84 h 94"/>
                <a:gd name="T8" fmla="*/ 77 w 104"/>
                <a:gd name="T9" fmla="*/ 92 h 94"/>
                <a:gd name="T10" fmla="*/ 48 w 104"/>
                <a:gd name="T11" fmla="*/ 86 h 94"/>
                <a:gd name="T12" fmla="*/ 28 w 104"/>
                <a:gd name="T13" fmla="*/ 84 h 94"/>
                <a:gd name="T14" fmla="*/ 26 w 104"/>
                <a:gd name="T15" fmla="*/ 83 h 94"/>
                <a:gd name="T16" fmla="*/ 17 w 104"/>
                <a:gd name="T17" fmla="*/ 76 h 94"/>
                <a:gd name="T18" fmla="*/ 11 w 104"/>
                <a:gd name="T19" fmla="*/ 55 h 94"/>
                <a:gd name="T20" fmla="*/ 3 w 104"/>
                <a:gd name="T21" fmla="*/ 40 h 94"/>
                <a:gd name="T22" fmla="*/ 0 w 104"/>
                <a:gd name="T23" fmla="*/ 39 h 94"/>
                <a:gd name="T24" fmla="*/ 25 w 104"/>
                <a:gd name="T25" fmla="*/ 12 h 94"/>
                <a:gd name="T26" fmla="*/ 76 w 104"/>
                <a:gd name="T27" fmla="*/ 7 h 94"/>
                <a:gd name="T28" fmla="*/ 98 w 104"/>
                <a:gd name="T29" fmla="*/ 12 h 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04" h="94">
                  <a:moveTo>
                    <a:pt x="98" y="12"/>
                  </a:moveTo>
                  <a:cubicBezTo>
                    <a:pt x="104" y="17"/>
                    <a:pt x="102" y="25"/>
                    <a:pt x="101" y="32"/>
                  </a:cubicBezTo>
                  <a:cubicBezTo>
                    <a:pt x="99" y="49"/>
                    <a:pt x="95" y="66"/>
                    <a:pt x="90" y="83"/>
                  </a:cubicBezTo>
                  <a:cubicBezTo>
                    <a:pt x="89" y="84"/>
                    <a:pt x="89" y="84"/>
                    <a:pt x="89" y="84"/>
                  </a:cubicBezTo>
                  <a:cubicBezTo>
                    <a:pt x="86" y="91"/>
                    <a:pt x="84" y="94"/>
                    <a:pt x="77" y="92"/>
                  </a:cubicBezTo>
                  <a:cubicBezTo>
                    <a:pt x="67" y="90"/>
                    <a:pt x="58" y="89"/>
                    <a:pt x="48" y="86"/>
                  </a:cubicBezTo>
                  <a:cubicBezTo>
                    <a:pt x="42" y="85"/>
                    <a:pt x="34" y="85"/>
                    <a:pt x="28" y="84"/>
                  </a:cubicBezTo>
                  <a:cubicBezTo>
                    <a:pt x="27" y="84"/>
                    <a:pt x="27" y="84"/>
                    <a:pt x="26" y="83"/>
                  </a:cubicBezTo>
                  <a:cubicBezTo>
                    <a:pt x="23" y="82"/>
                    <a:pt x="19" y="80"/>
                    <a:pt x="17" y="76"/>
                  </a:cubicBezTo>
                  <a:cubicBezTo>
                    <a:pt x="15" y="70"/>
                    <a:pt x="13" y="61"/>
                    <a:pt x="11" y="55"/>
                  </a:cubicBezTo>
                  <a:cubicBezTo>
                    <a:pt x="8" y="51"/>
                    <a:pt x="8" y="44"/>
                    <a:pt x="3" y="40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10" y="32"/>
                    <a:pt x="17" y="19"/>
                    <a:pt x="25" y="12"/>
                  </a:cubicBezTo>
                  <a:cubicBezTo>
                    <a:pt x="40" y="0"/>
                    <a:pt x="60" y="6"/>
                    <a:pt x="76" y="7"/>
                  </a:cubicBezTo>
                  <a:cubicBezTo>
                    <a:pt x="83" y="7"/>
                    <a:pt x="94" y="6"/>
                    <a:pt x="98" y="12"/>
                  </a:cubicBezTo>
                  <a:close/>
                </a:path>
              </a:pathLst>
            </a:custGeom>
            <a:solidFill>
              <a:srgbClr val="E840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44" name="Freeform 413">
              <a:extLst>
                <a:ext uri="{FF2B5EF4-FFF2-40B4-BE49-F238E27FC236}">
                  <a16:creationId xmlns:a16="http://schemas.microsoft.com/office/drawing/2014/main" id="{F0EE5866-053A-4753-8874-5BDA50AC5EB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767266" y="2768600"/>
              <a:ext cx="134938" cy="168275"/>
            </a:xfrm>
            <a:custGeom>
              <a:avLst/>
              <a:gdLst>
                <a:gd name="T0" fmla="*/ 1 w 80"/>
                <a:gd name="T1" fmla="*/ 56 h 100"/>
                <a:gd name="T2" fmla="*/ 0 w 80"/>
                <a:gd name="T3" fmla="*/ 55 h 100"/>
                <a:gd name="T4" fmla="*/ 2 w 80"/>
                <a:gd name="T5" fmla="*/ 36 h 100"/>
                <a:gd name="T6" fmla="*/ 7 w 80"/>
                <a:gd name="T7" fmla="*/ 6 h 100"/>
                <a:gd name="T8" fmla="*/ 29 w 80"/>
                <a:gd name="T9" fmla="*/ 1 h 100"/>
                <a:gd name="T10" fmla="*/ 57 w 80"/>
                <a:gd name="T11" fmla="*/ 1 h 100"/>
                <a:gd name="T12" fmla="*/ 80 w 80"/>
                <a:gd name="T13" fmla="*/ 34 h 100"/>
                <a:gd name="T14" fmla="*/ 77 w 80"/>
                <a:gd name="T15" fmla="*/ 74 h 100"/>
                <a:gd name="T16" fmla="*/ 71 w 80"/>
                <a:gd name="T17" fmla="*/ 78 h 100"/>
                <a:gd name="T18" fmla="*/ 45 w 80"/>
                <a:gd name="T19" fmla="*/ 92 h 100"/>
                <a:gd name="T20" fmla="*/ 33 w 80"/>
                <a:gd name="T21" fmla="*/ 97 h 100"/>
                <a:gd name="T22" fmla="*/ 27 w 80"/>
                <a:gd name="T23" fmla="*/ 99 h 100"/>
                <a:gd name="T24" fmla="*/ 17 w 80"/>
                <a:gd name="T25" fmla="*/ 90 h 100"/>
                <a:gd name="T26" fmla="*/ 11 w 80"/>
                <a:gd name="T27" fmla="*/ 76 h 100"/>
                <a:gd name="T28" fmla="*/ 2 w 80"/>
                <a:gd name="T29" fmla="*/ 62 h 100"/>
                <a:gd name="T30" fmla="*/ 1 w 80"/>
                <a:gd name="T31" fmla="*/ 56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80" h="100">
                  <a:moveTo>
                    <a:pt x="1" y="56"/>
                  </a:moveTo>
                  <a:cubicBezTo>
                    <a:pt x="0" y="55"/>
                    <a:pt x="0" y="55"/>
                    <a:pt x="0" y="55"/>
                  </a:cubicBezTo>
                  <a:cubicBezTo>
                    <a:pt x="1" y="49"/>
                    <a:pt x="1" y="41"/>
                    <a:pt x="2" y="36"/>
                  </a:cubicBezTo>
                  <a:cubicBezTo>
                    <a:pt x="2" y="27"/>
                    <a:pt x="1" y="14"/>
                    <a:pt x="7" y="6"/>
                  </a:cubicBezTo>
                  <a:cubicBezTo>
                    <a:pt x="11" y="0"/>
                    <a:pt x="22" y="1"/>
                    <a:pt x="29" y="1"/>
                  </a:cubicBezTo>
                  <a:cubicBezTo>
                    <a:pt x="38" y="1"/>
                    <a:pt x="49" y="0"/>
                    <a:pt x="57" y="1"/>
                  </a:cubicBezTo>
                  <a:cubicBezTo>
                    <a:pt x="76" y="4"/>
                    <a:pt x="80" y="19"/>
                    <a:pt x="80" y="34"/>
                  </a:cubicBezTo>
                  <a:cubicBezTo>
                    <a:pt x="79" y="48"/>
                    <a:pt x="80" y="61"/>
                    <a:pt x="77" y="74"/>
                  </a:cubicBezTo>
                  <a:cubicBezTo>
                    <a:pt x="71" y="78"/>
                    <a:pt x="71" y="78"/>
                    <a:pt x="71" y="78"/>
                  </a:cubicBezTo>
                  <a:cubicBezTo>
                    <a:pt x="67" y="87"/>
                    <a:pt x="52" y="90"/>
                    <a:pt x="45" y="92"/>
                  </a:cubicBezTo>
                  <a:cubicBezTo>
                    <a:pt x="41" y="93"/>
                    <a:pt x="37" y="94"/>
                    <a:pt x="33" y="97"/>
                  </a:cubicBezTo>
                  <a:cubicBezTo>
                    <a:pt x="32" y="97"/>
                    <a:pt x="29" y="100"/>
                    <a:pt x="27" y="99"/>
                  </a:cubicBezTo>
                  <a:cubicBezTo>
                    <a:pt x="22" y="100"/>
                    <a:pt x="20" y="94"/>
                    <a:pt x="17" y="90"/>
                  </a:cubicBezTo>
                  <a:cubicBezTo>
                    <a:pt x="14" y="86"/>
                    <a:pt x="13" y="82"/>
                    <a:pt x="11" y="76"/>
                  </a:cubicBezTo>
                  <a:cubicBezTo>
                    <a:pt x="7" y="72"/>
                    <a:pt x="2" y="67"/>
                    <a:pt x="2" y="62"/>
                  </a:cubicBezTo>
                  <a:cubicBezTo>
                    <a:pt x="1" y="59"/>
                    <a:pt x="1" y="58"/>
                    <a:pt x="1" y="56"/>
                  </a:cubicBezTo>
                  <a:close/>
                </a:path>
              </a:pathLst>
            </a:custGeom>
            <a:solidFill>
              <a:srgbClr val="E840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45" name="Freeform 414">
              <a:extLst>
                <a:ext uri="{FF2B5EF4-FFF2-40B4-BE49-F238E27FC236}">
                  <a16:creationId xmlns:a16="http://schemas.microsoft.com/office/drawing/2014/main" id="{246728D9-7301-4004-BD82-A63627B139E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484817" y="3317875"/>
              <a:ext cx="192088" cy="209550"/>
            </a:xfrm>
            <a:custGeom>
              <a:avLst/>
              <a:gdLst>
                <a:gd name="T0" fmla="*/ 74 w 114"/>
                <a:gd name="T1" fmla="*/ 118 h 125"/>
                <a:gd name="T2" fmla="*/ 13 w 114"/>
                <a:gd name="T3" fmla="*/ 94 h 125"/>
                <a:gd name="T4" fmla="*/ 2 w 114"/>
                <a:gd name="T5" fmla="*/ 64 h 125"/>
                <a:gd name="T6" fmla="*/ 10 w 114"/>
                <a:gd name="T7" fmla="*/ 35 h 125"/>
                <a:gd name="T8" fmla="*/ 69 w 114"/>
                <a:gd name="T9" fmla="*/ 5 h 125"/>
                <a:gd name="T10" fmla="*/ 75 w 114"/>
                <a:gd name="T11" fmla="*/ 5 h 125"/>
                <a:gd name="T12" fmla="*/ 105 w 114"/>
                <a:gd name="T13" fmla="*/ 29 h 125"/>
                <a:gd name="T14" fmla="*/ 112 w 114"/>
                <a:gd name="T15" fmla="*/ 60 h 125"/>
                <a:gd name="T16" fmla="*/ 74 w 114"/>
                <a:gd name="T17" fmla="*/ 118 h 1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14" h="125">
                  <a:moveTo>
                    <a:pt x="74" y="118"/>
                  </a:moveTo>
                  <a:cubicBezTo>
                    <a:pt x="51" y="125"/>
                    <a:pt x="29" y="112"/>
                    <a:pt x="13" y="94"/>
                  </a:cubicBezTo>
                  <a:cubicBezTo>
                    <a:pt x="6" y="86"/>
                    <a:pt x="0" y="75"/>
                    <a:pt x="2" y="64"/>
                  </a:cubicBezTo>
                  <a:cubicBezTo>
                    <a:pt x="2" y="55"/>
                    <a:pt x="6" y="43"/>
                    <a:pt x="10" y="35"/>
                  </a:cubicBezTo>
                  <a:cubicBezTo>
                    <a:pt x="22" y="13"/>
                    <a:pt x="44" y="0"/>
                    <a:pt x="69" y="5"/>
                  </a:cubicBezTo>
                  <a:cubicBezTo>
                    <a:pt x="75" y="5"/>
                    <a:pt x="75" y="5"/>
                    <a:pt x="75" y="5"/>
                  </a:cubicBezTo>
                  <a:cubicBezTo>
                    <a:pt x="88" y="10"/>
                    <a:pt x="99" y="16"/>
                    <a:pt x="105" y="29"/>
                  </a:cubicBezTo>
                  <a:cubicBezTo>
                    <a:pt x="110" y="37"/>
                    <a:pt x="113" y="48"/>
                    <a:pt x="112" y="60"/>
                  </a:cubicBezTo>
                  <a:cubicBezTo>
                    <a:pt x="114" y="86"/>
                    <a:pt x="98" y="109"/>
                    <a:pt x="74" y="118"/>
                  </a:cubicBezTo>
                  <a:close/>
                </a:path>
              </a:pathLst>
            </a:custGeom>
            <a:solidFill>
              <a:srgbClr val="E840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46" name="Freeform 415">
              <a:extLst>
                <a:ext uri="{FF2B5EF4-FFF2-40B4-BE49-F238E27FC236}">
                  <a16:creationId xmlns:a16="http://schemas.microsoft.com/office/drawing/2014/main" id="{8600EAFA-A6C8-4B11-A72E-C36DFC8AB78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161092" y="3232150"/>
              <a:ext cx="150813" cy="136525"/>
            </a:xfrm>
            <a:custGeom>
              <a:avLst/>
              <a:gdLst>
                <a:gd name="T0" fmla="*/ 87 w 89"/>
                <a:gd name="T1" fmla="*/ 27 h 82"/>
                <a:gd name="T2" fmla="*/ 80 w 89"/>
                <a:gd name="T3" fmla="*/ 54 h 82"/>
                <a:gd name="T4" fmla="*/ 26 w 89"/>
                <a:gd name="T5" fmla="*/ 72 h 82"/>
                <a:gd name="T6" fmla="*/ 19 w 89"/>
                <a:gd name="T7" fmla="*/ 13 h 82"/>
                <a:gd name="T8" fmla="*/ 66 w 89"/>
                <a:gd name="T9" fmla="*/ 8 h 82"/>
                <a:gd name="T10" fmla="*/ 75 w 89"/>
                <a:gd name="T11" fmla="*/ 7 h 82"/>
                <a:gd name="T12" fmla="*/ 87 w 89"/>
                <a:gd name="T13" fmla="*/ 27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9" h="82">
                  <a:moveTo>
                    <a:pt x="87" y="27"/>
                  </a:moveTo>
                  <a:cubicBezTo>
                    <a:pt x="89" y="36"/>
                    <a:pt x="85" y="46"/>
                    <a:pt x="80" y="54"/>
                  </a:cubicBezTo>
                  <a:cubicBezTo>
                    <a:pt x="70" y="73"/>
                    <a:pt x="45" y="82"/>
                    <a:pt x="26" y="72"/>
                  </a:cubicBezTo>
                  <a:cubicBezTo>
                    <a:pt x="4" y="61"/>
                    <a:pt x="0" y="28"/>
                    <a:pt x="19" y="13"/>
                  </a:cubicBezTo>
                  <a:cubicBezTo>
                    <a:pt x="32" y="1"/>
                    <a:pt x="52" y="0"/>
                    <a:pt x="66" y="8"/>
                  </a:cubicBezTo>
                  <a:cubicBezTo>
                    <a:pt x="75" y="7"/>
                    <a:pt x="75" y="7"/>
                    <a:pt x="75" y="7"/>
                  </a:cubicBezTo>
                  <a:cubicBezTo>
                    <a:pt x="80" y="13"/>
                    <a:pt x="85" y="19"/>
                    <a:pt x="87" y="27"/>
                  </a:cubicBezTo>
                  <a:close/>
                </a:path>
              </a:pathLst>
            </a:custGeom>
            <a:solidFill>
              <a:srgbClr val="E840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47" name="Freeform 416">
              <a:extLst>
                <a:ext uri="{FF2B5EF4-FFF2-40B4-BE49-F238E27FC236}">
                  <a16:creationId xmlns:a16="http://schemas.microsoft.com/office/drawing/2014/main" id="{D8D9D2CB-E0D7-41AD-9681-DCE98FC75B2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343654" y="3465513"/>
              <a:ext cx="133350" cy="141288"/>
            </a:xfrm>
            <a:custGeom>
              <a:avLst/>
              <a:gdLst>
                <a:gd name="T0" fmla="*/ 1 w 80"/>
                <a:gd name="T1" fmla="*/ 41 h 84"/>
                <a:gd name="T2" fmla="*/ 46 w 80"/>
                <a:gd name="T3" fmla="*/ 5 h 84"/>
                <a:gd name="T4" fmla="*/ 48 w 80"/>
                <a:gd name="T5" fmla="*/ 0 h 84"/>
                <a:gd name="T6" fmla="*/ 75 w 80"/>
                <a:gd name="T7" fmla="*/ 27 h 84"/>
                <a:gd name="T8" fmla="*/ 71 w 80"/>
                <a:gd name="T9" fmla="*/ 65 h 84"/>
                <a:gd name="T10" fmla="*/ 51 w 80"/>
                <a:gd name="T11" fmla="*/ 82 h 84"/>
                <a:gd name="T12" fmla="*/ 28 w 80"/>
                <a:gd name="T13" fmla="*/ 81 h 84"/>
                <a:gd name="T14" fmla="*/ 8 w 80"/>
                <a:gd name="T15" fmla="*/ 69 h 84"/>
                <a:gd name="T16" fmla="*/ 1 w 80"/>
                <a:gd name="T17" fmla="*/ 41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0" h="84">
                  <a:moveTo>
                    <a:pt x="1" y="41"/>
                  </a:moveTo>
                  <a:cubicBezTo>
                    <a:pt x="2" y="20"/>
                    <a:pt x="25" y="4"/>
                    <a:pt x="46" y="5"/>
                  </a:cubicBezTo>
                  <a:cubicBezTo>
                    <a:pt x="48" y="0"/>
                    <a:pt x="48" y="0"/>
                    <a:pt x="48" y="0"/>
                  </a:cubicBezTo>
                  <a:cubicBezTo>
                    <a:pt x="61" y="5"/>
                    <a:pt x="71" y="13"/>
                    <a:pt x="75" y="27"/>
                  </a:cubicBezTo>
                  <a:cubicBezTo>
                    <a:pt x="80" y="38"/>
                    <a:pt x="79" y="52"/>
                    <a:pt x="71" y="65"/>
                  </a:cubicBezTo>
                  <a:cubicBezTo>
                    <a:pt x="65" y="72"/>
                    <a:pt x="59" y="80"/>
                    <a:pt x="51" y="82"/>
                  </a:cubicBezTo>
                  <a:cubicBezTo>
                    <a:pt x="44" y="84"/>
                    <a:pt x="35" y="82"/>
                    <a:pt x="28" y="81"/>
                  </a:cubicBezTo>
                  <a:cubicBezTo>
                    <a:pt x="20" y="79"/>
                    <a:pt x="12" y="75"/>
                    <a:pt x="8" y="69"/>
                  </a:cubicBezTo>
                  <a:cubicBezTo>
                    <a:pt x="2" y="61"/>
                    <a:pt x="0" y="50"/>
                    <a:pt x="1" y="41"/>
                  </a:cubicBezTo>
                  <a:close/>
                </a:path>
              </a:pathLst>
            </a:custGeom>
            <a:solidFill>
              <a:srgbClr val="E840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48" name="Freeform 417">
              <a:extLst>
                <a:ext uri="{FF2B5EF4-FFF2-40B4-BE49-F238E27FC236}">
                  <a16:creationId xmlns:a16="http://schemas.microsoft.com/office/drawing/2014/main" id="{22C478E6-FB31-4672-8E6B-6D43D431862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64318" y="3309938"/>
              <a:ext cx="155575" cy="163513"/>
            </a:xfrm>
            <a:custGeom>
              <a:avLst/>
              <a:gdLst>
                <a:gd name="T0" fmla="*/ 63 w 93"/>
                <a:gd name="T1" fmla="*/ 14 h 97"/>
                <a:gd name="T2" fmla="*/ 64 w 93"/>
                <a:gd name="T3" fmla="*/ 13 h 97"/>
                <a:gd name="T4" fmla="*/ 91 w 93"/>
                <a:gd name="T5" fmla="*/ 37 h 97"/>
                <a:gd name="T6" fmla="*/ 82 w 93"/>
                <a:gd name="T7" fmla="*/ 69 h 97"/>
                <a:gd name="T8" fmla="*/ 23 w 93"/>
                <a:gd name="T9" fmla="*/ 86 h 97"/>
                <a:gd name="T10" fmla="*/ 11 w 93"/>
                <a:gd name="T11" fmla="*/ 29 h 97"/>
                <a:gd name="T12" fmla="*/ 63 w 93"/>
                <a:gd name="T13" fmla="*/ 14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3" h="97">
                  <a:moveTo>
                    <a:pt x="63" y="14"/>
                  </a:moveTo>
                  <a:cubicBezTo>
                    <a:pt x="64" y="13"/>
                    <a:pt x="64" y="13"/>
                    <a:pt x="64" y="13"/>
                  </a:cubicBezTo>
                  <a:cubicBezTo>
                    <a:pt x="73" y="19"/>
                    <a:pt x="86" y="25"/>
                    <a:pt x="91" y="37"/>
                  </a:cubicBezTo>
                  <a:cubicBezTo>
                    <a:pt x="93" y="48"/>
                    <a:pt x="89" y="59"/>
                    <a:pt x="82" y="69"/>
                  </a:cubicBezTo>
                  <a:cubicBezTo>
                    <a:pt x="70" y="85"/>
                    <a:pt x="42" y="97"/>
                    <a:pt x="23" y="86"/>
                  </a:cubicBezTo>
                  <a:cubicBezTo>
                    <a:pt x="5" y="73"/>
                    <a:pt x="0" y="46"/>
                    <a:pt x="11" y="29"/>
                  </a:cubicBezTo>
                  <a:cubicBezTo>
                    <a:pt x="22" y="10"/>
                    <a:pt x="46" y="0"/>
                    <a:pt x="63" y="14"/>
                  </a:cubicBezTo>
                  <a:close/>
                </a:path>
              </a:pathLst>
            </a:custGeom>
            <a:solidFill>
              <a:srgbClr val="E840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49" name="Freeform 418">
              <a:extLst>
                <a:ext uri="{FF2B5EF4-FFF2-40B4-BE49-F238E27FC236}">
                  <a16:creationId xmlns:a16="http://schemas.microsoft.com/office/drawing/2014/main" id="{B7304E10-5A19-4516-A1B3-2802AD4A76A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421442" y="3098800"/>
              <a:ext cx="123825" cy="114300"/>
            </a:xfrm>
            <a:custGeom>
              <a:avLst/>
              <a:gdLst>
                <a:gd name="T0" fmla="*/ 13 w 73"/>
                <a:gd name="T1" fmla="*/ 14 h 68"/>
                <a:gd name="T2" fmla="*/ 52 w 73"/>
                <a:gd name="T3" fmla="*/ 6 h 68"/>
                <a:gd name="T4" fmla="*/ 59 w 73"/>
                <a:gd name="T5" fmla="*/ 5 h 68"/>
                <a:gd name="T6" fmla="*/ 71 w 73"/>
                <a:gd name="T7" fmla="*/ 24 h 68"/>
                <a:gd name="T8" fmla="*/ 68 w 73"/>
                <a:gd name="T9" fmla="*/ 47 h 68"/>
                <a:gd name="T10" fmla="*/ 21 w 73"/>
                <a:gd name="T11" fmla="*/ 60 h 68"/>
                <a:gd name="T12" fmla="*/ 13 w 73"/>
                <a:gd name="T13" fmla="*/ 14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3" h="68">
                  <a:moveTo>
                    <a:pt x="13" y="14"/>
                  </a:moveTo>
                  <a:cubicBezTo>
                    <a:pt x="23" y="3"/>
                    <a:pt x="39" y="0"/>
                    <a:pt x="52" y="6"/>
                  </a:cubicBezTo>
                  <a:cubicBezTo>
                    <a:pt x="59" y="5"/>
                    <a:pt x="59" y="5"/>
                    <a:pt x="59" y="5"/>
                  </a:cubicBezTo>
                  <a:cubicBezTo>
                    <a:pt x="64" y="10"/>
                    <a:pt x="70" y="16"/>
                    <a:pt x="71" y="24"/>
                  </a:cubicBezTo>
                  <a:cubicBezTo>
                    <a:pt x="73" y="32"/>
                    <a:pt x="71" y="40"/>
                    <a:pt x="68" y="47"/>
                  </a:cubicBezTo>
                  <a:cubicBezTo>
                    <a:pt x="61" y="63"/>
                    <a:pt x="36" y="68"/>
                    <a:pt x="21" y="60"/>
                  </a:cubicBezTo>
                  <a:cubicBezTo>
                    <a:pt x="4" y="51"/>
                    <a:pt x="0" y="27"/>
                    <a:pt x="13" y="14"/>
                  </a:cubicBezTo>
                  <a:close/>
                </a:path>
              </a:pathLst>
            </a:custGeom>
            <a:solidFill>
              <a:srgbClr val="E840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50" name="Freeform 419">
              <a:extLst>
                <a:ext uri="{FF2B5EF4-FFF2-40B4-BE49-F238E27FC236}">
                  <a16:creationId xmlns:a16="http://schemas.microsoft.com/office/drawing/2014/main" id="{56851199-05F7-4265-B307-9C54D2BDDDC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278442" y="3116263"/>
              <a:ext cx="174625" cy="90488"/>
            </a:xfrm>
            <a:custGeom>
              <a:avLst/>
              <a:gdLst>
                <a:gd name="T0" fmla="*/ 81 w 104"/>
                <a:gd name="T1" fmla="*/ 8 h 54"/>
                <a:gd name="T2" fmla="*/ 72 w 104"/>
                <a:gd name="T3" fmla="*/ 52 h 54"/>
                <a:gd name="T4" fmla="*/ 44 w 104"/>
                <a:gd name="T5" fmla="*/ 48 h 54"/>
                <a:gd name="T6" fmla="*/ 16 w 104"/>
                <a:gd name="T7" fmla="*/ 40 h 54"/>
                <a:gd name="T8" fmla="*/ 0 w 104"/>
                <a:gd name="T9" fmla="*/ 21 h 54"/>
                <a:gd name="T10" fmla="*/ 8 w 104"/>
                <a:gd name="T11" fmla="*/ 1 h 54"/>
                <a:gd name="T12" fmla="*/ 40 w 104"/>
                <a:gd name="T13" fmla="*/ 1 h 54"/>
                <a:gd name="T14" fmla="*/ 81 w 104"/>
                <a:gd name="T15" fmla="*/ 8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04" h="54">
                  <a:moveTo>
                    <a:pt x="81" y="8"/>
                  </a:moveTo>
                  <a:cubicBezTo>
                    <a:pt x="104" y="18"/>
                    <a:pt x="92" y="47"/>
                    <a:pt x="72" y="52"/>
                  </a:cubicBezTo>
                  <a:cubicBezTo>
                    <a:pt x="62" y="54"/>
                    <a:pt x="53" y="50"/>
                    <a:pt x="44" y="48"/>
                  </a:cubicBezTo>
                  <a:cubicBezTo>
                    <a:pt x="34" y="46"/>
                    <a:pt x="24" y="44"/>
                    <a:pt x="16" y="40"/>
                  </a:cubicBezTo>
                  <a:cubicBezTo>
                    <a:pt x="8" y="37"/>
                    <a:pt x="0" y="30"/>
                    <a:pt x="0" y="21"/>
                  </a:cubicBezTo>
                  <a:cubicBezTo>
                    <a:pt x="0" y="14"/>
                    <a:pt x="5" y="7"/>
                    <a:pt x="8" y="1"/>
                  </a:cubicBezTo>
                  <a:cubicBezTo>
                    <a:pt x="19" y="0"/>
                    <a:pt x="29" y="0"/>
                    <a:pt x="40" y="1"/>
                  </a:cubicBezTo>
                  <a:cubicBezTo>
                    <a:pt x="54" y="2"/>
                    <a:pt x="68" y="3"/>
                    <a:pt x="81" y="8"/>
                  </a:cubicBezTo>
                  <a:close/>
                </a:path>
              </a:pathLst>
            </a:custGeom>
            <a:solidFill>
              <a:srgbClr val="21AAD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51" name="Freeform 420">
              <a:extLst>
                <a:ext uri="{FF2B5EF4-FFF2-40B4-BE49-F238E27FC236}">
                  <a16:creationId xmlns:a16="http://schemas.microsoft.com/office/drawing/2014/main" id="{841D37E5-6E41-44AE-B0EA-EF081F9FC4B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772154" y="3209925"/>
              <a:ext cx="138113" cy="90488"/>
            </a:xfrm>
            <a:custGeom>
              <a:avLst/>
              <a:gdLst>
                <a:gd name="T0" fmla="*/ 42 w 82"/>
                <a:gd name="T1" fmla="*/ 15 h 54"/>
                <a:gd name="T2" fmla="*/ 82 w 82"/>
                <a:gd name="T3" fmla="*/ 45 h 54"/>
                <a:gd name="T4" fmla="*/ 82 w 82"/>
                <a:gd name="T5" fmla="*/ 51 h 54"/>
                <a:gd name="T6" fmla="*/ 56 w 82"/>
                <a:gd name="T7" fmla="*/ 51 h 54"/>
                <a:gd name="T8" fmla="*/ 32 w 82"/>
                <a:gd name="T9" fmla="*/ 54 h 54"/>
                <a:gd name="T10" fmla="*/ 13 w 82"/>
                <a:gd name="T11" fmla="*/ 53 h 54"/>
                <a:gd name="T12" fmla="*/ 12 w 82"/>
                <a:gd name="T13" fmla="*/ 23 h 54"/>
                <a:gd name="T14" fmla="*/ 21 w 82"/>
                <a:gd name="T15" fmla="*/ 0 h 54"/>
                <a:gd name="T16" fmla="*/ 42 w 82"/>
                <a:gd name="T17" fmla="*/ 15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2" h="54">
                  <a:moveTo>
                    <a:pt x="42" y="15"/>
                  </a:moveTo>
                  <a:cubicBezTo>
                    <a:pt x="54" y="25"/>
                    <a:pt x="67" y="38"/>
                    <a:pt x="82" y="45"/>
                  </a:cubicBezTo>
                  <a:cubicBezTo>
                    <a:pt x="82" y="51"/>
                    <a:pt x="82" y="51"/>
                    <a:pt x="82" y="51"/>
                  </a:cubicBezTo>
                  <a:cubicBezTo>
                    <a:pt x="74" y="51"/>
                    <a:pt x="65" y="52"/>
                    <a:pt x="56" y="51"/>
                  </a:cubicBezTo>
                  <a:cubicBezTo>
                    <a:pt x="49" y="52"/>
                    <a:pt x="39" y="53"/>
                    <a:pt x="32" y="54"/>
                  </a:cubicBezTo>
                  <a:cubicBezTo>
                    <a:pt x="27" y="53"/>
                    <a:pt x="18" y="54"/>
                    <a:pt x="13" y="53"/>
                  </a:cubicBezTo>
                  <a:cubicBezTo>
                    <a:pt x="0" y="48"/>
                    <a:pt x="11" y="31"/>
                    <a:pt x="12" y="23"/>
                  </a:cubicBezTo>
                  <a:cubicBezTo>
                    <a:pt x="14" y="14"/>
                    <a:pt x="17" y="8"/>
                    <a:pt x="21" y="0"/>
                  </a:cubicBezTo>
                  <a:cubicBezTo>
                    <a:pt x="29" y="1"/>
                    <a:pt x="38" y="10"/>
                    <a:pt x="42" y="15"/>
                  </a:cubicBezTo>
                  <a:close/>
                </a:path>
              </a:pathLst>
            </a:custGeom>
            <a:solidFill>
              <a:srgbClr val="21AAD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52" name="Freeform 421">
              <a:extLst>
                <a:ext uri="{FF2B5EF4-FFF2-40B4-BE49-F238E27FC236}">
                  <a16:creationId xmlns:a16="http://schemas.microsoft.com/office/drawing/2014/main" id="{409F5314-D77D-4ECC-A350-0054DD559C1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629152" y="3082925"/>
              <a:ext cx="350838" cy="236538"/>
            </a:xfrm>
            <a:custGeom>
              <a:avLst/>
              <a:gdLst>
                <a:gd name="T0" fmla="*/ 13 w 209"/>
                <a:gd name="T1" fmla="*/ 32 h 140"/>
                <a:gd name="T2" fmla="*/ 19 w 209"/>
                <a:gd name="T3" fmla="*/ 10 h 140"/>
                <a:gd name="T4" fmla="*/ 46 w 209"/>
                <a:gd name="T5" fmla="*/ 13 h 140"/>
                <a:gd name="T6" fmla="*/ 44 w 209"/>
                <a:gd name="T7" fmla="*/ 19 h 140"/>
                <a:gd name="T8" fmla="*/ 41 w 209"/>
                <a:gd name="T9" fmla="*/ 53 h 140"/>
                <a:gd name="T10" fmla="*/ 40 w 209"/>
                <a:gd name="T11" fmla="*/ 65 h 140"/>
                <a:gd name="T12" fmla="*/ 45 w 209"/>
                <a:gd name="T13" fmla="*/ 65 h 140"/>
                <a:gd name="T14" fmla="*/ 80 w 209"/>
                <a:gd name="T15" fmla="*/ 76 h 140"/>
                <a:gd name="T16" fmla="*/ 110 w 209"/>
                <a:gd name="T17" fmla="*/ 75 h 140"/>
                <a:gd name="T18" fmla="*/ 119 w 209"/>
                <a:gd name="T19" fmla="*/ 61 h 140"/>
                <a:gd name="T20" fmla="*/ 124 w 209"/>
                <a:gd name="T21" fmla="*/ 43 h 140"/>
                <a:gd name="T22" fmla="*/ 131 w 209"/>
                <a:gd name="T23" fmla="*/ 11 h 140"/>
                <a:gd name="T24" fmla="*/ 132 w 209"/>
                <a:gd name="T25" fmla="*/ 7 h 140"/>
                <a:gd name="T26" fmla="*/ 158 w 209"/>
                <a:gd name="T27" fmla="*/ 0 h 140"/>
                <a:gd name="T28" fmla="*/ 160 w 209"/>
                <a:gd name="T29" fmla="*/ 1 h 140"/>
                <a:gd name="T30" fmla="*/ 180 w 209"/>
                <a:gd name="T31" fmla="*/ 3 h 140"/>
                <a:gd name="T32" fmla="*/ 209 w 209"/>
                <a:gd name="T33" fmla="*/ 9 h 140"/>
                <a:gd name="T34" fmla="*/ 206 w 209"/>
                <a:gd name="T35" fmla="*/ 37 h 140"/>
                <a:gd name="T36" fmla="*/ 160 w 209"/>
                <a:gd name="T37" fmla="*/ 34 h 140"/>
                <a:gd name="T38" fmla="*/ 155 w 209"/>
                <a:gd name="T39" fmla="*/ 71 h 140"/>
                <a:gd name="T40" fmla="*/ 144 w 209"/>
                <a:gd name="T41" fmla="*/ 123 h 140"/>
                <a:gd name="T42" fmla="*/ 129 w 209"/>
                <a:gd name="T43" fmla="*/ 139 h 140"/>
                <a:gd name="T44" fmla="*/ 86 w 209"/>
                <a:gd name="T45" fmla="*/ 137 h 140"/>
                <a:gd name="T46" fmla="*/ 54 w 209"/>
                <a:gd name="T47" fmla="*/ 136 h 140"/>
                <a:gd name="T48" fmla="*/ 1 w 209"/>
                <a:gd name="T49" fmla="*/ 98 h 140"/>
                <a:gd name="T50" fmla="*/ 13 w 209"/>
                <a:gd name="T51" fmla="*/ 32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209" h="140">
                  <a:moveTo>
                    <a:pt x="13" y="32"/>
                  </a:moveTo>
                  <a:cubicBezTo>
                    <a:pt x="15" y="24"/>
                    <a:pt x="16" y="17"/>
                    <a:pt x="19" y="10"/>
                  </a:cubicBezTo>
                  <a:cubicBezTo>
                    <a:pt x="46" y="13"/>
                    <a:pt x="46" y="13"/>
                    <a:pt x="46" y="13"/>
                  </a:cubicBezTo>
                  <a:cubicBezTo>
                    <a:pt x="45" y="15"/>
                    <a:pt x="45" y="17"/>
                    <a:pt x="44" y="19"/>
                  </a:cubicBezTo>
                  <a:cubicBezTo>
                    <a:pt x="44" y="31"/>
                    <a:pt x="43" y="41"/>
                    <a:pt x="41" y="53"/>
                  </a:cubicBezTo>
                  <a:cubicBezTo>
                    <a:pt x="42" y="57"/>
                    <a:pt x="39" y="62"/>
                    <a:pt x="40" y="65"/>
                  </a:cubicBezTo>
                  <a:cubicBezTo>
                    <a:pt x="45" y="65"/>
                    <a:pt x="45" y="65"/>
                    <a:pt x="45" y="65"/>
                  </a:cubicBezTo>
                  <a:cubicBezTo>
                    <a:pt x="57" y="69"/>
                    <a:pt x="68" y="73"/>
                    <a:pt x="80" y="76"/>
                  </a:cubicBezTo>
                  <a:cubicBezTo>
                    <a:pt x="90" y="78"/>
                    <a:pt x="100" y="80"/>
                    <a:pt x="110" y="75"/>
                  </a:cubicBezTo>
                  <a:cubicBezTo>
                    <a:pt x="115" y="71"/>
                    <a:pt x="117" y="66"/>
                    <a:pt x="119" y="61"/>
                  </a:cubicBezTo>
                  <a:cubicBezTo>
                    <a:pt x="120" y="54"/>
                    <a:pt x="123" y="49"/>
                    <a:pt x="124" y="43"/>
                  </a:cubicBezTo>
                  <a:cubicBezTo>
                    <a:pt x="126" y="32"/>
                    <a:pt x="129" y="21"/>
                    <a:pt x="131" y="11"/>
                  </a:cubicBezTo>
                  <a:cubicBezTo>
                    <a:pt x="131" y="9"/>
                    <a:pt x="132" y="8"/>
                    <a:pt x="132" y="7"/>
                  </a:cubicBezTo>
                  <a:cubicBezTo>
                    <a:pt x="158" y="0"/>
                    <a:pt x="158" y="0"/>
                    <a:pt x="158" y="0"/>
                  </a:cubicBezTo>
                  <a:cubicBezTo>
                    <a:pt x="159" y="1"/>
                    <a:pt x="159" y="1"/>
                    <a:pt x="160" y="1"/>
                  </a:cubicBezTo>
                  <a:cubicBezTo>
                    <a:pt x="166" y="2"/>
                    <a:pt x="174" y="2"/>
                    <a:pt x="180" y="3"/>
                  </a:cubicBezTo>
                  <a:cubicBezTo>
                    <a:pt x="190" y="6"/>
                    <a:pt x="199" y="7"/>
                    <a:pt x="209" y="9"/>
                  </a:cubicBezTo>
                  <a:cubicBezTo>
                    <a:pt x="206" y="37"/>
                    <a:pt x="206" y="37"/>
                    <a:pt x="206" y="37"/>
                  </a:cubicBezTo>
                  <a:cubicBezTo>
                    <a:pt x="190" y="36"/>
                    <a:pt x="175" y="34"/>
                    <a:pt x="160" y="34"/>
                  </a:cubicBezTo>
                  <a:cubicBezTo>
                    <a:pt x="159" y="46"/>
                    <a:pt x="158" y="58"/>
                    <a:pt x="155" y="71"/>
                  </a:cubicBezTo>
                  <a:cubicBezTo>
                    <a:pt x="152" y="87"/>
                    <a:pt x="148" y="104"/>
                    <a:pt x="144" y="123"/>
                  </a:cubicBezTo>
                  <a:cubicBezTo>
                    <a:pt x="142" y="133"/>
                    <a:pt x="141" y="140"/>
                    <a:pt x="129" y="139"/>
                  </a:cubicBezTo>
                  <a:cubicBezTo>
                    <a:pt x="114" y="140"/>
                    <a:pt x="101" y="137"/>
                    <a:pt x="86" y="137"/>
                  </a:cubicBezTo>
                  <a:cubicBezTo>
                    <a:pt x="77" y="137"/>
                    <a:pt x="66" y="137"/>
                    <a:pt x="54" y="136"/>
                  </a:cubicBezTo>
                  <a:cubicBezTo>
                    <a:pt x="29" y="135"/>
                    <a:pt x="3" y="128"/>
                    <a:pt x="1" y="98"/>
                  </a:cubicBezTo>
                  <a:cubicBezTo>
                    <a:pt x="0" y="77"/>
                    <a:pt x="9" y="54"/>
                    <a:pt x="13" y="32"/>
                  </a:cubicBezTo>
                  <a:close/>
                </a:path>
              </a:pathLst>
            </a:custGeom>
            <a:solidFill>
              <a:srgbClr val="21AAD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53" name="Freeform 422">
              <a:extLst>
                <a:ext uri="{FF2B5EF4-FFF2-40B4-BE49-F238E27FC236}">
                  <a16:creationId xmlns:a16="http://schemas.microsoft.com/office/drawing/2014/main" id="{FBECA134-40FA-46A7-8E8F-9919A106600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468816" y="2659063"/>
              <a:ext cx="679451" cy="506413"/>
            </a:xfrm>
            <a:custGeom>
              <a:avLst/>
              <a:gdLst>
                <a:gd name="T0" fmla="*/ 178 w 404"/>
                <a:gd name="T1" fmla="*/ 122 h 302"/>
                <a:gd name="T2" fmla="*/ 188 w 404"/>
                <a:gd name="T3" fmla="*/ 142 h 302"/>
                <a:gd name="T4" fmla="*/ 204 w 404"/>
                <a:gd name="T5" fmla="*/ 165 h 302"/>
                <a:gd name="T6" fmla="*/ 222 w 404"/>
                <a:gd name="T7" fmla="*/ 158 h 302"/>
                <a:gd name="T8" fmla="*/ 254 w 404"/>
                <a:gd name="T9" fmla="*/ 140 h 302"/>
                <a:gd name="T10" fmla="*/ 234 w 404"/>
                <a:gd name="T11" fmla="*/ 67 h 302"/>
                <a:gd name="T12" fmla="*/ 184 w 404"/>
                <a:gd name="T13" fmla="*/ 72 h 302"/>
                <a:gd name="T14" fmla="*/ 177 w 404"/>
                <a:gd name="T15" fmla="*/ 121 h 302"/>
                <a:gd name="T16" fmla="*/ 132 w 404"/>
                <a:gd name="T17" fmla="*/ 148 h 302"/>
                <a:gd name="T18" fmla="*/ 82 w 404"/>
                <a:gd name="T19" fmla="*/ 141 h 302"/>
                <a:gd name="T20" fmla="*/ 79 w 404"/>
                <a:gd name="T21" fmla="*/ 213 h 302"/>
                <a:gd name="T22" fmla="*/ 130 w 404"/>
                <a:gd name="T23" fmla="*/ 222 h 302"/>
                <a:gd name="T24" fmla="*/ 146 w 404"/>
                <a:gd name="T25" fmla="*/ 208 h 302"/>
                <a:gd name="T26" fmla="*/ 154 w 404"/>
                <a:gd name="T27" fmla="*/ 170 h 302"/>
                <a:gd name="T28" fmla="*/ 145 w 404"/>
                <a:gd name="T29" fmla="*/ 152 h 302"/>
                <a:gd name="T30" fmla="*/ 147 w 404"/>
                <a:gd name="T31" fmla="*/ 95 h 302"/>
                <a:gd name="T32" fmla="*/ 170 w 404"/>
                <a:gd name="T33" fmla="*/ 11 h 302"/>
                <a:gd name="T34" fmla="*/ 258 w 404"/>
                <a:gd name="T35" fmla="*/ 11 h 302"/>
                <a:gd name="T36" fmla="*/ 305 w 404"/>
                <a:gd name="T37" fmla="*/ 22 h 302"/>
                <a:gd name="T38" fmla="*/ 309 w 404"/>
                <a:gd name="T39" fmla="*/ 39 h 302"/>
                <a:gd name="T40" fmla="*/ 289 w 404"/>
                <a:gd name="T41" fmla="*/ 132 h 302"/>
                <a:gd name="T42" fmla="*/ 296 w 404"/>
                <a:gd name="T43" fmla="*/ 141 h 302"/>
                <a:gd name="T44" fmla="*/ 384 w 404"/>
                <a:gd name="T45" fmla="*/ 159 h 302"/>
                <a:gd name="T46" fmla="*/ 380 w 404"/>
                <a:gd name="T47" fmla="*/ 264 h 302"/>
                <a:gd name="T48" fmla="*/ 341 w 404"/>
                <a:gd name="T49" fmla="*/ 297 h 302"/>
                <a:gd name="T50" fmla="*/ 301 w 404"/>
                <a:gd name="T51" fmla="*/ 290 h 302"/>
                <a:gd name="T52" fmla="*/ 316 w 404"/>
                <a:gd name="T53" fmla="*/ 254 h 302"/>
                <a:gd name="T54" fmla="*/ 328 w 404"/>
                <a:gd name="T55" fmla="*/ 202 h 302"/>
                <a:gd name="T56" fmla="*/ 303 w 404"/>
                <a:gd name="T57" fmla="*/ 177 h 302"/>
                <a:gd name="T58" fmla="*/ 227 w 404"/>
                <a:gd name="T59" fmla="*/ 209 h 302"/>
                <a:gd name="T60" fmla="*/ 238 w 404"/>
                <a:gd name="T61" fmla="*/ 225 h 302"/>
                <a:gd name="T62" fmla="*/ 253 w 404"/>
                <a:gd name="T63" fmla="*/ 253 h 302"/>
                <a:gd name="T64" fmla="*/ 226 w 404"/>
                <a:gd name="T65" fmla="*/ 264 h 302"/>
                <a:gd name="T66" fmla="*/ 200 w 404"/>
                <a:gd name="T67" fmla="*/ 239 h 302"/>
                <a:gd name="T68" fmla="*/ 176 w 404"/>
                <a:gd name="T69" fmla="*/ 239 h 302"/>
                <a:gd name="T70" fmla="*/ 141 w 404"/>
                <a:gd name="T71" fmla="*/ 266 h 302"/>
                <a:gd name="T72" fmla="*/ 116 w 404"/>
                <a:gd name="T73" fmla="*/ 258 h 302"/>
                <a:gd name="T74" fmla="*/ 47 w 404"/>
                <a:gd name="T75" fmla="*/ 243 h 302"/>
                <a:gd name="T76" fmla="*/ 7 w 404"/>
                <a:gd name="T77" fmla="*/ 182 h 302"/>
                <a:gd name="T78" fmla="*/ 26 w 404"/>
                <a:gd name="T79" fmla="*/ 106 h 302"/>
                <a:gd name="T80" fmla="*/ 115 w 404"/>
                <a:gd name="T81" fmla="*/ 106 h 3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404" h="302">
                  <a:moveTo>
                    <a:pt x="177" y="121"/>
                  </a:moveTo>
                  <a:cubicBezTo>
                    <a:pt x="178" y="122"/>
                    <a:pt x="178" y="122"/>
                    <a:pt x="178" y="122"/>
                  </a:cubicBezTo>
                  <a:cubicBezTo>
                    <a:pt x="178" y="124"/>
                    <a:pt x="178" y="125"/>
                    <a:pt x="179" y="128"/>
                  </a:cubicBezTo>
                  <a:cubicBezTo>
                    <a:pt x="179" y="133"/>
                    <a:pt x="184" y="138"/>
                    <a:pt x="188" y="142"/>
                  </a:cubicBezTo>
                  <a:cubicBezTo>
                    <a:pt x="190" y="148"/>
                    <a:pt x="191" y="152"/>
                    <a:pt x="194" y="156"/>
                  </a:cubicBezTo>
                  <a:cubicBezTo>
                    <a:pt x="197" y="160"/>
                    <a:pt x="199" y="166"/>
                    <a:pt x="204" y="165"/>
                  </a:cubicBezTo>
                  <a:cubicBezTo>
                    <a:pt x="206" y="166"/>
                    <a:pt x="209" y="163"/>
                    <a:pt x="210" y="163"/>
                  </a:cubicBezTo>
                  <a:cubicBezTo>
                    <a:pt x="214" y="160"/>
                    <a:pt x="218" y="159"/>
                    <a:pt x="222" y="158"/>
                  </a:cubicBezTo>
                  <a:cubicBezTo>
                    <a:pt x="229" y="156"/>
                    <a:pt x="244" y="153"/>
                    <a:pt x="248" y="144"/>
                  </a:cubicBezTo>
                  <a:cubicBezTo>
                    <a:pt x="254" y="140"/>
                    <a:pt x="254" y="140"/>
                    <a:pt x="254" y="140"/>
                  </a:cubicBezTo>
                  <a:cubicBezTo>
                    <a:pt x="257" y="127"/>
                    <a:pt x="256" y="114"/>
                    <a:pt x="257" y="100"/>
                  </a:cubicBezTo>
                  <a:cubicBezTo>
                    <a:pt x="257" y="85"/>
                    <a:pt x="253" y="70"/>
                    <a:pt x="234" y="67"/>
                  </a:cubicBezTo>
                  <a:cubicBezTo>
                    <a:pt x="226" y="66"/>
                    <a:pt x="215" y="67"/>
                    <a:pt x="206" y="67"/>
                  </a:cubicBezTo>
                  <a:cubicBezTo>
                    <a:pt x="199" y="67"/>
                    <a:pt x="188" y="66"/>
                    <a:pt x="184" y="72"/>
                  </a:cubicBezTo>
                  <a:cubicBezTo>
                    <a:pt x="178" y="80"/>
                    <a:pt x="179" y="93"/>
                    <a:pt x="179" y="102"/>
                  </a:cubicBezTo>
                  <a:cubicBezTo>
                    <a:pt x="178" y="107"/>
                    <a:pt x="178" y="115"/>
                    <a:pt x="177" y="121"/>
                  </a:cubicBezTo>
                  <a:close/>
                  <a:moveTo>
                    <a:pt x="145" y="152"/>
                  </a:moveTo>
                  <a:cubicBezTo>
                    <a:pt x="141" y="152"/>
                    <a:pt x="136" y="149"/>
                    <a:pt x="132" y="148"/>
                  </a:cubicBezTo>
                  <a:cubicBezTo>
                    <a:pt x="124" y="145"/>
                    <a:pt x="114" y="143"/>
                    <a:pt x="104" y="140"/>
                  </a:cubicBezTo>
                  <a:cubicBezTo>
                    <a:pt x="97" y="139"/>
                    <a:pt x="88" y="137"/>
                    <a:pt x="82" y="141"/>
                  </a:cubicBezTo>
                  <a:cubicBezTo>
                    <a:pt x="74" y="146"/>
                    <a:pt x="72" y="157"/>
                    <a:pt x="70" y="165"/>
                  </a:cubicBezTo>
                  <a:cubicBezTo>
                    <a:pt x="67" y="180"/>
                    <a:pt x="57" y="208"/>
                    <a:pt x="79" y="213"/>
                  </a:cubicBezTo>
                  <a:cubicBezTo>
                    <a:pt x="91" y="216"/>
                    <a:pt x="102" y="214"/>
                    <a:pt x="114" y="217"/>
                  </a:cubicBezTo>
                  <a:cubicBezTo>
                    <a:pt x="120" y="218"/>
                    <a:pt x="124" y="220"/>
                    <a:pt x="130" y="222"/>
                  </a:cubicBezTo>
                  <a:cubicBezTo>
                    <a:pt x="134" y="221"/>
                    <a:pt x="134" y="221"/>
                    <a:pt x="134" y="221"/>
                  </a:cubicBezTo>
                  <a:cubicBezTo>
                    <a:pt x="137" y="216"/>
                    <a:pt x="142" y="210"/>
                    <a:pt x="146" y="208"/>
                  </a:cubicBezTo>
                  <a:cubicBezTo>
                    <a:pt x="152" y="204"/>
                    <a:pt x="160" y="198"/>
                    <a:pt x="165" y="194"/>
                  </a:cubicBezTo>
                  <a:cubicBezTo>
                    <a:pt x="170" y="186"/>
                    <a:pt x="157" y="175"/>
                    <a:pt x="154" y="170"/>
                  </a:cubicBezTo>
                  <a:cubicBezTo>
                    <a:pt x="150" y="164"/>
                    <a:pt x="147" y="160"/>
                    <a:pt x="145" y="154"/>
                  </a:cubicBezTo>
                  <a:lnTo>
                    <a:pt x="145" y="152"/>
                  </a:lnTo>
                  <a:close/>
                  <a:moveTo>
                    <a:pt x="142" y="115"/>
                  </a:moveTo>
                  <a:cubicBezTo>
                    <a:pt x="145" y="109"/>
                    <a:pt x="146" y="101"/>
                    <a:pt x="147" y="95"/>
                  </a:cubicBezTo>
                  <a:cubicBezTo>
                    <a:pt x="148" y="81"/>
                    <a:pt x="151" y="69"/>
                    <a:pt x="155" y="56"/>
                  </a:cubicBezTo>
                  <a:cubicBezTo>
                    <a:pt x="158" y="42"/>
                    <a:pt x="160" y="23"/>
                    <a:pt x="170" y="11"/>
                  </a:cubicBezTo>
                  <a:cubicBezTo>
                    <a:pt x="178" y="0"/>
                    <a:pt x="193" y="4"/>
                    <a:pt x="205" y="3"/>
                  </a:cubicBezTo>
                  <a:cubicBezTo>
                    <a:pt x="223" y="3"/>
                    <a:pt x="242" y="5"/>
                    <a:pt x="258" y="11"/>
                  </a:cubicBezTo>
                  <a:cubicBezTo>
                    <a:pt x="269" y="13"/>
                    <a:pt x="277" y="16"/>
                    <a:pt x="285" y="18"/>
                  </a:cubicBezTo>
                  <a:cubicBezTo>
                    <a:pt x="292" y="19"/>
                    <a:pt x="299" y="19"/>
                    <a:pt x="305" y="22"/>
                  </a:cubicBezTo>
                  <a:cubicBezTo>
                    <a:pt x="307" y="23"/>
                    <a:pt x="307" y="24"/>
                    <a:pt x="308" y="25"/>
                  </a:cubicBezTo>
                  <a:cubicBezTo>
                    <a:pt x="310" y="29"/>
                    <a:pt x="310" y="34"/>
                    <a:pt x="309" y="39"/>
                  </a:cubicBezTo>
                  <a:cubicBezTo>
                    <a:pt x="308" y="51"/>
                    <a:pt x="304" y="64"/>
                    <a:pt x="301" y="78"/>
                  </a:cubicBezTo>
                  <a:cubicBezTo>
                    <a:pt x="297" y="95"/>
                    <a:pt x="292" y="113"/>
                    <a:pt x="289" y="132"/>
                  </a:cubicBezTo>
                  <a:cubicBezTo>
                    <a:pt x="289" y="134"/>
                    <a:pt x="289" y="134"/>
                    <a:pt x="289" y="134"/>
                  </a:cubicBezTo>
                  <a:cubicBezTo>
                    <a:pt x="288" y="139"/>
                    <a:pt x="293" y="140"/>
                    <a:pt x="296" y="141"/>
                  </a:cubicBezTo>
                  <a:cubicBezTo>
                    <a:pt x="309" y="141"/>
                    <a:pt x="321" y="142"/>
                    <a:pt x="333" y="145"/>
                  </a:cubicBezTo>
                  <a:cubicBezTo>
                    <a:pt x="349" y="148"/>
                    <a:pt x="368" y="151"/>
                    <a:pt x="384" y="159"/>
                  </a:cubicBezTo>
                  <a:cubicBezTo>
                    <a:pt x="404" y="169"/>
                    <a:pt x="398" y="189"/>
                    <a:pt x="392" y="207"/>
                  </a:cubicBezTo>
                  <a:cubicBezTo>
                    <a:pt x="386" y="225"/>
                    <a:pt x="384" y="244"/>
                    <a:pt x="380" y="264"/>
                  </a:cubicBezTo>
                  <a:cubicBezTo>
                    <a:pt x="378" y="274"/>
                    <a:pt x="378" y="298"/>
                    <a:pt x="365" y="300"/>
                  </a:cubicBezTo>
                  <a:cubicBezTo>
                    <a:pt x="358" y="302"/>
                    <a:pt x="348" y="298"/>
                    <a:pt x="341" y="297"/>
                  </a:cubicBezTo>
                  <a:cubicBezTo>
                    <a:pt x="329" y="294"/>
                    <a:pt x="317" y="293"/>
                    <a:pt x="305" y="291"/>
                  </a:cubicBezTo>
                  <a:cubicBezTo>
                    <a:pt x="304" y="291"/>
                    <a:pt x="302" y="291"/>
                    <a:pt x="301" y="290"/>
                  </a:cubicBezTo>
                  <a:cubicBezTo>
                    <a:pt x="304" y="262"/>
                    <a:pt x="304" y="262"/>
                    <a:pt x="304" y="262"/>
                  </a:cubicBezTo>
                  <a:cubicBezTo>
                    <a:pt x="311" y="264"/>
                    <a:pt x="313" y="261"/>
                    <a:pt x="316" y="254"/>
                  </a:cubicBezTo>
                  <a:cubicBezTo>
                    <a:pt x="317" y="253"/>
                    <a:pt x="317" y="253"/>
                    <a:pt x="317" y="253"/>
                  </a:cubicBezTo>
                  <a:cubicBezTo>
                    <a:pt x="322" y="236"/>
                    <a:pt x="326" y="219"/>
                    <a:pt x="328" y="202"/>
                  </a:cubicBezTo>
                  <a:cubicBezTo>
                    <a:pt x="329" y="195"/>
                    <a:pt x="331" y="187"/>
                    <a:pt x="325" y="182"/>
                  </a:cubicBezTo>
                  <a:cubicBezTo>
                    <a:pt x="321" y="176"/>
                    <a:pt x="310" y="177"/>
                    <a:pt x="303" y="177"/>
                  </a:cubicBezTo>
                  <a:cubicBezTo>
                    <a:pt x="287" y="176"/>
                    <a:pt x="267" y="170"/>
                    <a:pt x="252" y="182"/>
                  </a:cubicBezTo>
                  <a:cubicBezTo>
                    <a:pt x="244" y="189"/>
                    <a:pt x="237" y="202"/>
                    <a:pt x="227" y="209"/>
                  </a:cubicBezTo>
                  <a:cubicBezTo>
                    <a:pt x="230" y="210"/>
                    <a:pt x="230" y="210"/>
                    <a:pt x="230" y="210"/>
                  </a:cubicBezTo>
                  <a:cubicBezTo>
                    <a:pt x="235" y="214"/>
                    <a:pt x="235" y="221"/>
                    <a:pt x="238" y="225"/>
                  </a:cubicBezTo>
                  <a:cubicBezTo>
                    <a:pt x="240" y="231"/>
                    <a:pt x="242" y="240"/>
                    <a:pt x="244" y="246"/>
                  </a:cubicBezTo>
                  <a:cubicBezTo>
                    <a:pt x="246" y="250"/>
                    <a:pt x="250" y="252"/>
                    <a:pt x="253" y="253"/>
                  </a:cubicBezTo>
                  <a:cubicBezTo>
                    <a:pt x="227" y="260"/>
                    <a:pt x="227" y="260"/>
                    <a:pt x="227" y="260"/>
                  </a:cubicBezTo>
                  <a:cubicBezTo>
                    <a:pt x="227" y="261"/>
                    <a:pt x="226" y="262"/>
                    <a:pt x="226" y="264"/>
                  </a:cubicBezTo>
                  <a:cubicBezTo>
                    <a:pt x="223" y="263"/>
                    <a:pt x="223" y="263"/>
                    <a:pt x="223" y="263"/>
                  </a:cubicBezTo>
                  <a:cubicBezTo>
                    <a:pt x="221" y="254"/>
                    <a:pt x="207" y="244"/>
                    <a:pt x="200" y="239"/>
                  </a:cubicBezTo>
                  <a:cubicBezTo>
                    <a:pt x="196" y="236"/>
                    <a:pt x="192" y="233"/>
                    <a:pt x="190" y="233"/>
                  </a:cubicBezTo>
                  <a:cubicBezTo>
                    <a:pt x="185" y="232"/>
                    <a:pt x="181" y="236"/>
                    <a:pt x="176" y="239"/>
                  </a:cubicBezTo>
                  <a:cubicBezTo>
                    <a:pt x="169" y="243"/>
                    <a:pt x="159" y="247"/>
                    <a:pt x="151" y="253"/>
                  </a:cubicBezTo>
                  <a:cubicBezTo>
                    <a:pt x="146" y="257"/>
                    <a:pt x="143" y="261"/>
                    <a:pt x="141" y="266"/>
                  </a:cubicBezTo>
                  <a:cubicBezTo>
                    <a:pt x="114" y="263"/>
                    <a:pt x="114" y="263"/>
                    <a:pt x="114" y="263"/>
                  </a:cubicBezTo>
                  <a:cubicBezTo>
                    <a:pt x="114" y="262"/>
                    <a:pt x="115" y="260"/>
                    <a:pt x="116" y="258"/>
                  </a:cubicBezTo>
                  <a:cubicBezTo>
                    <a:pt x="109" y="256"/>
                    <a:pt x="104" y="255"/>
                    <a:pt x="97" y="254"/>
                  </a:cubicBezTo>
                  <a:cubicBezTo>
                    <a:pt x="80" y="250"/>
                    <a:pt x="63" y="247"/>
                    <a:pt x="47" y="243"/>
                  </a:cubicBezTo>
                  <a:cubicBezTo>
                    <a:pt x="33" y="240"/>
                    <a:pt x="16" y="238"/>
                    <a:pt x="8" y="226"/>
                  </a:cubicBezTo>
                  <a:cubicBezTo>
                    <a:pt x="0" y="214"/>
                    <a:pt x="3" y="197"/>
                    <a:pt x="7" y="182"/>
                  </a:cubicBezTo>
                  <a:cubicBezTo>
                    <a:pt x="9" y="170"/>
                    <a:pt x="12" y="156"/>
                    <a:pt x="14" y="144"/>
                  </a:cubicBezTo>
                  <a:cubicBezTo>
                    <a:pt x="17" y="131"/>
                    <a:pt x="20" y="117"/>
                    <a:pt x="26" y="106"/>
                  </a:cubicBezTo>
                  <a:cubicBezTo>
                    <a:pt x="35" y="87"/>
                    <a:pt x="52" y="92"/>
                    <a:pt x="69" y="98"/>
                  </a:cubicBezTo>
                  <a:cubicBezTo>
                    <a:pt x="83" y="102"/>
                    <a:pt x="99" y="102"/>
                    <a:pt x="115" y="106"/>
                  </a:cubicBezTo>
                  <a:cubicBezTo>
                    <a:pt x="124" y="109"/>
                    <a:pt x="132" y="113"/>
                    <a:pt x="142" y="115"/>
                  </a:cubicBezTo>
                  <a:close/>
                </a:path>
              </a:pathLst>
            </a:custGeom>
            <a:solidFill>
              <a:srgbClr val="21AAD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54" name="Freeform 423">
              <a:extLst>
                <a:ext uri="{FF2B5EF4-FFF2-40B4-BE49-F238E27FC236}">
                  <a16:creationId xmlns:a16="http://schemas.microsoft.com/office/drawing/2014/main" id="{30B89CAA-DDCF-4B9E-AA62-DEB15597A189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096004" y="3014663"/>
              <a:ext cx="682625" cy="649288"/>
            </a:xfrm>
            <a:custGeom>
              <a:avLst/>
              <a:gdLst>
                <a:gd name="T0" fmla="*/ 246 w 406"/>
                <a:gd name="T1" fmla="*/ 56 h 386"/>
                <a:gd name="T2" fmla="*/ 215 w 406"/>
                <a:gd name="T3" fmla="*/ 110 h 386"/>
                <a:gd name="T4" fmla="*/ 265 w 406"/>
                <a:gd name="T5" fmla="*/ 74 h 386"/>
                <a:gd name="T6" fmla="*/ 200 w 406"/>
                <a:gd name="T7" fmla="*/ 382 h 386"/>
                <a:gd name="T8" fmla="*/ 105 w 406"/>
                <a:gd name="T9" fmla="*/ 348 h 386"/>
                <a:gd name="T10" fmla="*/ 111 w 406"/>
                <a:gd name="T11" fmla="*/ 268 h 386"/>
                <a:gd name="T12" fmla="*/ 98 w 406"/>
                <a:gd name="T13" fmla="*/ 257 h 386"/>
                <a:gd name="T14" fmla="*/ 10 w 406"/>
                <a:gd name="T15" fmla="*/ 218 h 386"/>
                <a:gd name="T16" fmla="*/ 27 w 406"/>
                <a:gd name="T17" fmla="*/ 114 h 386"/>
                <a:gd name="T18" fmla="*/ 73 w 406"/>
                <a:gd name="T19" fmla="*/ 92 h 386"/>
                <a:gd name="T20" fmla="*/ 142 w 406"/>
                <a:gd name="T21" fmla="*/ 108 h 386"/>
                <a:gd name="T22" fmla="*/ 155 w 406"/>
                <a:gd name="T23" fmla="*/ 111 h 386"/>
                <a:gd name="T24" fmla="*/ 169 w 406"/>
                <a:gd name="T25" fmla="*/ 31 h 386"/>
                <a:gd name="T26" fmla="*/ 225 w 406"/>
                <a:gd name="T27" fmla="*/ 0 h 386"/>
                <a:gd name="T28" fmla="*/ 297 w 406"/>
                <a:gd name="T29" fmla="*/ 26 h 386"/>
                <a:gd name="T30" fmla="*/ 299 w 406"/>
                <a:gd name="T31" fmla="*/ 134 h 386"/>
                <a:gd name="T32" fmla="*/ 345 w 406"/>
                <a:gd name="T33" fmla="*/ 149 h 386"/>
                <a:gd name="T34" fmla="*/ 404 w 406"/>
                <a:gd name="T35" fmla="*/ 194 h 386"/>
                <a:gd name="T36" fmla="*/ 389 w 406"/>
                <a:gd name="T37" fmla="*/ 275 h 386"/>
                <a:gd name="T38" fmla="*/ 320 w 406"/>
                <a:gd name="T39" fmla="*/ 298 h 386"/>
                <a:gd name="T40" fmla="*/ 264 w 406"/>
                <a:gd name="T41" fmla="*/ 294 h 386"/>
                <a:gd name="T42" fmla="*/ 237 w 406"/>
                <a:gd name="T43" fmla="*/ 374 h 386"/>
                <a:gd name="T44" fmla="*/ 195 w 406"/>
                <a:gd name="T45" fmla="*/ 268 h 386"/>
                <a:gd name="T46" fmla="*/ 148 w 406"/>
                <a:gd name="T47" fmla="*/ 309 h 386"/>
                <a:gd name="T48" fmla="*/ 175 w 406"/>
                <a:gd name="T49" fmla="*/ 349 h 386"/>
                <a:gd name="T50" fmla="*/ 218 w 406"/>
                <a:gd name="T51" fmla="*/ 333 h 386"/>
                <a:gd name="T52" fmla="*/ 195 w 406"/>
                <a:gd name="T53" fmla="*/ 268 h 386"/>
                <a:gd name="T54" fmla="*/ 105 w 406"/>
                <a:gd name="T55" fmla="*/ 137 h 386"/>
                <a:gd name="T56" fmla="*/ 65 w 406"/>
                <a:gd name="T57" fmla="*/ 201 h 386"/>
                <a:gd name="T58" fmla="*/ 126 w 406"/>
                <a:gd name="T59" fmla="*/ 156 h 386"/>
                <a:gd name="T60" fmla="*/ 360 w 406"/>
                <a:gd name="T61" fmla="*/ 245 h 386"/>
                <a:gd name="T62" fmla="*/ 342 w 406"/>
                <a:gd name="T63" fmla="*/ 189 h 386"/>
                <a:gd name="T64" fmla="*/ 289 w 406"/>
                <a:gd name="T65" fmla="*/ 205 h 386"/>
                <a:gd name="T66" fmla="*/ 360 w 406"/>
                <a:gd name="T67" fmla="*/ 245 h 3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406" h="386">
                  <a:moveTo>
                    <a:pt x="253" y="55"/>
                  </a:moveTo>
                  <a:cubicBezTo>
                    <a:pt x="246" y="56"/>
                    <a:pt x="246" y="56"/>
                    <a:pt x="246" y="56"/>
                  </a:cubicBezTo>
                  <a:cubicBezTo>
                    <a:pt x="233" y="50"/>
                    <a:pt x="217" y="53"/>
                    <a:pt x="207" y="64"/>
                  </a:cubicBezTo>
                  <a:cubicBezTo>
                    <a:pt x="194" y="77"/>
                    <a:pt x="198" y="101"/>
                    <a:pt x="215" y="110"/>
                  </a:cubicBezTo>
                  <a:cubicBezTo>
                    <a:pt x="230" y="118"/>
                    <a:pt x="255" y="113"/>
                    <a:pt x="262" y="97"/>
                  </a:cubicBezTo>
                  <a:cubicBezTo>
                    <a:pt x="265" y="90"/>
                    <a:pt x="267" y="82"/>
                    <a:pt x="265" y="74"/>
                  </a:cubicBezTo>
                  <a:cubicBezTo>
                    <a:pt x="264" y="66"/>
                    <a:pt x="258" y="60"/>
                    <a:pt x="253" y="55"/>
                  </a:cubicBezTo>
                  <a:close/>
                  <a:moveTo>
                    <a:pt x="200" y="382"/>
                  </a:moveTo>
                  <a:cubicBezTo>
                    <a:pt x="179" y="381"/>
                    <a:pt x="156" y="380"/>
                    <a:pt x="136" y="374"/>
                  </a:cubicBezTo>
                  <a:cubicBezTo>
                    <a:pt x="121" y="371"/>
                    <a:pt x="107" y="364"/>
                    <a:pt x="105" y="348"/>
                  </a:cubicBezTo>
                  <a:cubicBezTo>
                    <a:pt x="102" y="335"/>
                    <a:pt x="105" y="320"/>
                    <a:pt x="108" y="308"/>
                  </a:cubicBezTo>
                  <a:cubicBezTo>
                    <a:pt x="111" y="294"/>
                    <a:pt x="114" y="281"/>
                    <a:pt x="111" y="268"/>
                  </a:cubicBezTo>
                  <a:cubicBezTo>
                    <a:pt x="110" y="259"/>
                    <a:pt x="105" y="256"/>
                    <a:pt x="98" y="256"/>
                  </a:cubicBezTo>
                  <a:cubicBezTo>
                    <a:pt x="98" y="257"/>
                    <a:pt x="98" y="257"/>
                    <a:pt x="98" y="257"/>
                  </a:cubicBezTo>
                  <a:cubicBezTo>
                    <a:pt x="78" y="250"/>
                    <a:pt x="59" y="244"/>
                    <a:pt x="40" y="237"/>
                  </a:cubicBezTo>
                  <a:cubicBezTo>
                    <a:pt x="28" y="233"/>
                    <a:pt x="19" y="227"/>
                    <a:pt x="10" y="218"/>
                  </a:cubicBezTo>
                  <a:cubicBezTo>
                    <a:pt x="0" y="207"/>
                    <a:pt x="5" y="196"/>
                    <a:pt x="9" y="182"/>
                  </a:cubicBezTo>
                  <a:cubicBezTo>
                    <a:pt x="14" y="160"/>
                    <a:pt x="16" y="134"/>
                    <a:pt x="27" y="114"/>
                  </a:cubicBezTo>
                  <a:cubicBezTo>
                    <a:pt x="31" y="104"/>
                    <a:pt x="38" y="95"/>
                    <a:pt x="48" y="92"/>
                  </a:cubicBezTo>
                  <a:cubicBezTo>
                    <a:pt x="56" y="88"/>
                    <a:pt x="64" y="90"/>
                    <a:pt x="73" y="92"/>
                  </a:cubicBezTo>
                  <a:cubicBezTo>
                    <a:pt x="84" y="94"/>
                    <a:pt x="98" y="97"/>
                    <a:pt x="111" y="100"/>
                  </a:cubicBezTo>
                  <a:cubicBezTo>
                    <a:pt x="121" y="104"/>
                    <a:pt x="131" y="106"/>
                    <a:pt x="142" y="108"/>
                  </a:cubicBezTo>
                  <a:cubicBezTo>
                    <a:pt x="143" y="108"/>
                    <a:pt x="146" y="110"/>
                    <a:pt x="149" y="111"/>
                  </a:cubicBezTo>
                  <a:cubicBezTo>
                    <a:pt x="155" y="111"/>
                    <a:pt x="155" y="111"/>
                    <a:pt x="155" y="111"/>
                  </a:cubicBezTo>
                  <a:cubicBezTo>
                    <a:pt x="157" y="102"/>
                    <a:pt x="158" y="96"/>
                    <a:pt x="158" y="87"/>
                  </a:cubicBezTo>
                  <a:cubicBezTo>
                    <a:pt x="161" y="68"/>
                    <a:pt x="165" y="49"/>
                    <a:pt x="169" y="31"/>
                  </a:cubicBezTo>
                  <a:cubicBezTo>
                    <a:pt x="171" y="21"/>
                    <a:pt x="171" y="12"/>
                    <a:pt x="182" y="7"/>
                  </a:cubicBezTo>
                  <a:cubicBezTo>
                    <a:pt x="194" y="1"/>
                    <a:pt x="210" y="1"/>
                    <a:pt x="225" y="0"/>
                  </a:cubicBezTo>
                  <a:cubicBezTo>
                    <a:pt x="240" y="2"/>
                    <a:pt x="256" y="3"/>
                    <a:pt x="268" y="9"/>
                  </a:cubicBezTo>
                  <a:cubicBezTo>
                    <a:pt x="278" y="15"/>
                    <a:pt x="289" y="21"/>
                    <a:pt x="297" y="26"/>
                  </a:cubicBezTo>
                  <a:cubicBezTo>
                    <a:pt x="312" y="36"/>
                    <a:pt x="309" y="60"/>
                    <a:pt x="307" y="76"/>
                  </a:cubicBezTo>
                  <a:cubicBezTo>
                    <a:pt x="305" y="95"/>
                    <a:pt x="301" y="115"/>
                    <a:pt x="299" y="134"/>
                  </a:cubicBezTo>
                  <a:cubicBezTo>
                    <a:pt x="298" y="138"/>
                    <a:pt x="298" y="138"/>
                    <a:pt x="298" y="138"/>
                  </a:cubicBezTo>
                  <a:cubicBezTo>
                    <a:pt x="312" y="144"/>
                    <a:pt x="328" y="146"/>
                    <a:pt x="345" y="149"/>
                  </a:cubicBezTo>
                  <a:cubicBezTo>
                    <a:pt x="360" y="153"/>
                    <a:pt x="384" y="154"/>
                    <a:pt x="398" y="166"/>
                  </a:cubicBezTo>
                  <a:cubicBezTo>
                    <a:pt x="405" y="175"/>
                    <a:pt x="404" y="185"/>
                    <a:pt x="404" y="194"/>
                  </a:cubicBezTo>
                  <a:cubicBezTo>
                    <a:pt x="405" y="208"/>
                    <a:pt x="406" y="221"/>
                    <a:pt x="402" y="236"/>
                  </a:cubicBezTo>
                  <a:cubicBezTo>
                    <a:pt x="400" y="249"/>
                    <a:pt x="393" y="262"/>
                    <a:pt x="389" y="275"/>
                  </a:cubicBezTo>
                  <a:cubicBezTo>
                    <a:pt x="385" y="285"/>
                    <a:pt x="380" y="293"/>
                    <a:pt x="369" y="296"/>
                  </a:cubicBezTo>
                  <a:cubicBezTo>
                    <a:pt x="353" y="301"/>
                    <a:pt x="336" y="300"/>
                    <a:pt x="320" y="298"/>
                  </a:cubicBezTo>
                  <a:cubicBezTo>
                    <a:pt x="303" y="298"/>
                    <a:pt x="287" y="296"/>
                    <a:pt x="270" y="296"/>
                  </a:cubicBezTo>
                  <a:cubicBezTo>
                    <a:pt x="264" y="294"/>
                    <a:pt x="264" y="294"/>
                    <a:pt x="264" y="294"/>
                  </a:cubicBezTo>
                  <a:cubicBezTo>
                    <a:pt x="260" y="307"/>
                    <a:pt x="256" y="319"/>
                    <a:pt x="253" y="331"/>
                  </a:cubicBezTo>
                  <a:cubicBezTo>
                    <a:pt x="249" y="345"/>
                    <a:pt x="245" y="363"/>
                    <a:pt x="237" y="374"/>
                  </a:cubicBezTo>
                  <a:cubicBezTo>
                    <a:pt x="227" y="386"/>
                    <a:pt x="212" y="383"/>
                    <a:pt x="200" y="382"/>
                  </a:cubicBezTo>
                  <a:close/>
                  <a:moveTo>
                    <a:pt x="195" y="268"/>
                  </a:moveTo>
                  <a:cubicBezTo>
                    <a:pt x="193" y="273"/>
                    <a:pt x="193" y="273"/>
                    <a:pt x="193" y="273"/>
                  </a:cubicBezTo>
                  <a:cubicBezTo>
                    <a:pt x="172" y="272"/>
                    <a:pt x="149" y="288"/>
                    <a:pt x="148" y="309"/>
                  </a:cubicBezTo>
                  <a:cubicBezTo>
                    <a:pt x="147" y="318"/>
                    <a:pt x="149" y="329"/>
                    <a:pt x="155" y="337"/>
                  </a:cubicBezTo>
                  <a:cubicBezTo>
                    <a:pt x="159" y="343"/>
                    <a:pt x="167" y="347"/>
                    <a:pt x="175" y="349"/>
                  </a:cubicBezTo>
                  <a:cubicBezTo>
                    <a:pt x="182" y="350"/>
                    <a:pt x="191" y="352"/>
                    <a:pt x="198" y="350"/>
                  </a:cubicBezTo>
                  <a:cubicBezTo>
                    <a:pt x="206" y="348"/>
                    <a:pt x="212" y="340"/>
                    <a:pt x="218" y="333"/>
                  </a:cubicBezTo>
                  <a:cubicBezTo>
                    <a:pt x="226" y="320"/>
                    <a:pt x="227" y="306"/>
                    <a:pt x="222" y="295"/>
                  </a:cubicBezTo>
                  <a:cubicBezTo>
                    <a:pt x="218" y="281"/>
                    <a:pt x="208" y="273"/>
                    <a:pt x="195" y="268"/>
                  </a:cubicBezTo>
                  <a:close/>
                  <a:moveTo>
                    <a:pt x="114" y="136"/>
                  </a:moveTo>
                  <a:cubicBezTo>
                    <a:pt x="105" y="137"/>
                    <a:pt x="105" y="137"/>
                    <a:pt x="105" y="137"/>
                  </a:cubicBezTo>
                  <a:cubicBezTo>
                    <a:pt x="91" y="129"/>
                    <a:pt x="71" y="130"/>
                    <a:pt x="58" y="142"/>
                  </a:cubicBezTo>
                  <a:cubicBezTo>
                    <a:pt x="39" y="157"/>
                    <a:pt x="43" y="190"/>
                    <a:pt x="65" y="201"/>
                  </a:cubicBezTo>
                  <a:cubicBezTo>
                    <a:pt x="84" y="211"/>
                    <a:pt x="109" y="202"/>
                    <a:pt x="119" y="183"/>
                  </a:cubicBezTo>
                  <a:cubicBezTo>
                    <a:pt x="124" y="175"/>
                    <a:pt x="128" y="165"/>
                    <a:pt x="126" y="156"/>
                  </a:cubicBezTo>
                  <a:cubicBezTo>
                    <a:pt x="124" y="148"/>
                    <a:pt x="119" y="142"/>
                    <a:pt x="114" y="136"/>
                  </a:cubicBezTo>
                  <a:close/>
                  <a:moveTo>
                    <a:pt x="360" y="245"/>
                  </a:moveTo>
                  <a:cubicBezTo>
                    <a:pt x="367" y="235"/>
                    <a:pt x="371" y="224"/>
                    <a:pt x="369" y="213"/>
                  </a:cubicBezTo>
                  <a:cubicBezTo>
                    <a:pt x="364" y="201"/>
                    <a:pt x="351" y="195"/>
                    <a:pt x="342" y="189"/>
                  </a:cubicBezTo>
                  <a:cubicBezTo>
                    <a:pt x="341" y="190"/>
                    <a:pt x="341" y="190"/>
                    <a:pt x="341" y="190"/>
                  </a:cubicBezTo>
                  <a:cubicBezTo>
                    <a:pt x="324" y="176"/>
                    <a:pt x="300" y="186"/>
                    <a:pt x="289" y="205"/>
                  </a:cubicBezTo>
                  <a:cubicBezTo>
                    <a:pt x="278" y="222"/>
                    <a:pt x="283" y="249"/>
                    <a:pt x="301" y="262"/>
                  </a:cubicBezTo>
                  <a:cubicBezTo>
                    <a:pt x="320" y="273"/>
                    <a:pt x="348" y="261"/>
                    <a:pt x="360" y="245"/>
                  </a:cubicBezTo>
                  <a:close/>
                </a:path>
              </a:pathLst>
            </a:custGeom>
            <a:solidFill>
              <a:srgbClr val="21AAD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55" name="Freeform 424">
              <a:extLst>
                <a:ext uri="{FF2B5EF4-FFF2-40B4-BE49-F238E27FC236}">
                  <a16:creationId xmlns:a16="http://schemas.microsoft.com/office/drawing/2014/main" id="{0CF0E93E-306F-4155-B18C-13A0E964C32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113341" y="2674938"/>
              <a:ext cx="1171577" cy="325438"/>
            </a:xfrm>
            <a:custGeom>
              <a:avLst/>
              <a:gdLst>
                <a:gd name="T0" fmla="*/ 2 w 696"/>
                <a:gd name="T1" fmla="*/ 13 h 193"/>
                <a:gd name="T2" fmla="*/ 0 w 696"/>
                <a:gd name="T3" fmla="*/ 0 h 193"/>
                <a:gd name="T4" fmla="*/ 16 w 696"/>
                <a:gd name="T5" fmla="*/ 4 h 193"/>
                <a:gd name="T6" fmla="*/ 52 w 696"/>
                <a:gd name="T7" fmla="*/ 11 h 193"/>
                <a:gd name="T8" fmla="*/ 104 w 696"/>
                <a:gd name="T9" fmla="*/ 23 h 193"/>
                <a:gd name="T10" fmla="*/ 156 w 696"/>
                <a:gd name="T11" fmla="*/ 35 h 193"/>
                <a:gd name="T12" fmla="*/ 186 w 696"/>
                <a:gd name="T13" fmla="*/ 43 h 193"/>
                <a:gd name="T14" fmla="*/ 254 w 696"/>
                <a:gd name="T15" fmla="*/ 56 h 193"/>
                <a:gd name="T16" fmla="*/ 289 w 696"/>
                <a:gd name="T17" fmla="*/ 69 h 193"/>
                <a:gd name="T18" fmla="*/ 316 w 696"/>
                <a:gd name="T19" fmla="*/ 83 h 193"/>
                <a:gd name="T20" fmla="*/ 380 w 696"/>
                <a:gd name="T21" fmla="*/ 97 h 193"/>
                <a:gd name="T22" fmla="*/ 397 w 696"/>
                <a:gd name="T23" fmla="*/ 99 h 193"/>
                <a:gd name="T24" fmla="*/ 408 w 696"/>
                <a:gd name="T25" fmla="*/ 92 h 193"/>
                <a:gd name="T26" fmla="*/ 437 w 696"/>
                <a:gd name="T27" fmla="*/ 95 h 193"/>
                <a:gd name="T28" fmla="*/ 473 w 696"/>
                <a:gd name="T29" fmla="*/ 101 h 193"/>
                <a:gd name="T30" fmla="*/ 517 w 696"/>
                <a:gd name="T31" fmla="*/ 110 h 193"/>
                <a:gd name="T32" fmla="*/ 586 w 696"/>
                <a:gd name="T33" fmla="*/ 125 h 193"/>
                <a:gd name="T34" fmla="*/ 648 w 696"/>
                <a:gd name="T35" fmla="*/ 140 h 193"/>
                <a:gd name="T36" fmla="*/ 696 w 696"/>
                <a:gd name="T37" fmla="*/ 150 h 193"/>
                <a:gd name="T38" fmla="*/ 691 w 696"/>
                <a:gd name="T39" fmla="*/ 159 h 193"/>
                <a:gd name="T40" fmla="*/ 635 w 696"/>
                <a:gd name="T41" fmla="*/ 193 h 193"/>
                <a:gd name="T42" fmla="*/ 632 w 696"/>
                <a:gd name="T43" fmla="*/ 186 h 193"/>
                <a:gd name="T44" fmla="*/ 623 w 696"/>
                <a:gd name="T45" fmla="*/ 186 h 193"/>
                <a:gd name="T46" fmla="*/ 613 w 696"/>
                <a:gd name="T47" fmla="*/ 184 h 193"/>
                <a:gd name="T48" fmla="*/ 586 w 696"/>
                <a:gd name="T49" fmla="*/ 178 h 193"/>
                <a:gd name="T50" fmla="*/ 528 w 696"/>
                <a:gd name="T51" fmla="*/ 166 h 193"/>
                <a:gd name="T52" fmla="*/ 411 w 696"/>
                <a:gd name="T53" fmla="*/ 141 h 193"/>
                <a:gd name="T54" fmla="*/ 340 w 696"/>
                <a:gd name="T55" fmla="*/ 126 h 193"/>
                <a:gd name="T56" fmla="*/ 312 w 696"/>
                <a:gd name="T57" fmla="*/ 120 h 193"/>
                <a:gd name="T58" fmla="*/ 282 w 696"/>
                <a:gd name="T59" fmla="*/ 115 h 193"/>
                <a:gd name="T60" fmla="*/ 247 w 696"/>
                <a:gd name="T61" fmla="*/ 108 h 193"/>
                <a:gd name="T62" fmla="*/ 208 w 696"/>
                <a:gd name="T63" fmla="*/ 99 h 193"/>
                <a:gd name="T64" fmla="*/ 131 w 696"/>
                <a:gd name="T65" fmla="*/ 81 h 193"/>
                <a:gd name="T66" fmla="*/ 67 w 696"/>
                <a:gd name="T67" fmla="*/ 66 h 193"/>
                <a:gd name="T68" fmla="*/ 43 w 696"/>
                <a:gd name="T69" fmla="*/ 63 h 193"/>
                <a:gd name="T70" fmla="*/ 35 w 696"/>
                <a:gd name="T71" fmla="*/ 59 h 193"/>
                <a:gd name="T72" fmla="*/ 34 w 696"/>
                <a:gd name="T73" fmla="*/ 59 h 193"/>
                <a:gd name="T74" fmla="*/ 0 w 696"/>
                <a:gd name="T75" fmla="*/ 17 h 193"/>
                <a:gd name="T76" fmla="*/ 3 w 696"/>
                <a:gd name="T77" fmla="*/ 14 h 193"/>
                <a:gd name="T78" fmla="*/ 2 w 696"/>
                <a:gd name="T79" fmla="*/ 13 h 1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696" h="193">
                  <a:moveTo>
                    <a:pt x="2" y="13"/>
                  </a:moveTo>
                  <a:cubicBezTo>
                    <a:pt x="1" y="9"/>
                    <a:pt x="0" y="5"/>
                    <a:pt x="0" y="0"/>
                  </a:cubicBezTo>
                  <a:cubicBezTo>
                    <a:pt x="5" y="3"/>
                    <a:pt x="12" y="3"/>
                    <a:pt x="16" y="4"/>
                  </a:cubicBezTo>
                  <a:cubicBezTo>
                    <a:pt x="28" y="6"/>
                    <a:pt x="40" y="9"/>
                    <a:pt x="52" y="11"/>
                  </a:cubicBezTo>
                  <a:cubicBezTo>
                    <a:pt x="69" y="13"/>
                    <a:pt x="87" y="19"/>
                    <a:pt x="104" y="23"/>
                  </a:cubicBezTo>
                  <a:cubicBezTo>
                    <a:pt x="121" y="28"/>
                    <a:pt x="138" y="30"/>
                    <a:pt x="156" y="35"/>
                  </a:cubicBezTo>
                  <a:cubicBezTo>
                    <a:pt x="166" y="39"/>
                    <a:pt x="176" y="41"/>
                    <a:pt x="186" y="43"/>
                  </a:cubicBezTo>
                  <a:cubicBezTo>
                    <a:pt x="208" y="48"/>
                    <a:pt x="231" y="51"/>
                    <a:pt x="254" y="56"/>
                  </a:cubicBezTo>
                  <a:cubicBezTo>
                    <a:pt x="266" y="59"/>
                    <a:pt x="278" y="61"/>
                    <a:pt x="289" y="69"/>
                  </a:cubicBezTo>
                  <a:cubicBezTo>
                    <a:pt x="298" y="76"/>
                    <a:pt x="306" y="81"/>
                    <a:pt x="316" y="83"/>
                  </a:cubicBezTo>
                  <a:cubicBezTo>
                    <a:pt x="337" y="90"/>
                    <a:pt x="360" y="91"/>
                    <a:pt x="380" y="97"/>
                  </a:cubicBezTo>
                  <a:cubicBezTo>
                    <a:pt x="387" y="98"/>
                    <a:pt x="392" y="101"/>
                    <a:pt x="397" y="99"/>
                  </a:cubicBezTo>
                  <a:cubicBezTo>
                    <a:pt x="401" y="98"/>
                    <a:pt x="404" y="93"/>
                    <a:pt x="408" y="92"/>
                  </a:cubicBezTo>
                  <a:cubicBezTo>
                    <a:pt x="415" y="89"/>
                    <a:pt x="430" y="94"/>
                    <a:pt x="437" y="95"/>
                  </a:cubicBezTo>
                  <a:cubicBezTo>
                    <a:pt x="449" y="98"/>
                    <a:pt x="461" y="98"/>
                    <a:pt x="473" y="101"/>
                  </a:cubicBezTo>
                  <a:cubicBezTo>
                    <a:pt x="486" y="104"/>
                    <a:pt x="502" y="107"/>
                    <a:pt x="517" y="110"/>
                  </a:cubicBezTo>
                  <a:cubicBezTo>
                    <a:pt x="541" y="115"/>
                    <a:pt x="563" y="120"/>
                    <a:pt x="586" y="125"/>
                  </a:cubicBezTo>
                  <a:cubicBezTo>
                    <a:pt x="607" y="129"/>
                    <a:pt x="626" y="135"/>
                    <a:pt x="648" y="140"/>
                  </a:cubicBezTo>
                  <a:cubicBezTo>
                    <a:pt x="663" y="143"/>
                    <a:pt x="679" y="146"/>
                    <a:pt x="696" y="150"/>
                  </a:cubicBezTo>
                  <a:cubicBezTo>
                    <a:pt x="694" y="153"/>
                    <a:pt x="692" y="156"/>
                    <a:pt x="691" y="159"/>
                  </a:cubicBezTo>
                  <a:cubicBezTo>
                    <a:pt x="671" y="168"/>
                    <a:pt x="652" y="180"/>
                    <a:pt x="635" y="193"/>
                  </a:cubicBezTo>
                  <a:cubicBezTo>
                    <a:pt x="632" y="186"/>
                    <a:pt x="632" y="186"/>
                    <a:pt x="632" y="186"/>
                  </a:cubicBezTo>
                  <a:cubicBezTo>
                    <a:pt x="628" y="185"/>
                    <a:pt x="625" y="186"/>
                    <a:pt x="623" y="186"/>
                  </a:cubicBezTo>
                  <a:cubicBezTo>
                    <a:pt x="619" y="185"/>
                    <a:pt x="616" y="184"/>
                    <a:pt x="613" y="184"/>
                  </a:cubicBezTo>
                  <a:cubicBezTo>
                    <a:pt x="604" y="182"/>
                    <a:pt x="594" y="180"/>
                    <a:pt x="586" y="178"/>
                  </a:cubicBezTo>
                  <a:cubicBezTo>
                    <a:pt x="567" y="174"/>
                    <a:pt x="547" y="170"/>
                    <a:pt x="528" y="166"/>
                  </a:cubicBezTo>
                  <a:cubicBezTo>
                    <a:pt x="489" y="157"/>
                    <a:pt x="450" y="149"/>
                    <a:pt x="411" y="141"/>
                  </a:cubicBezTo>
                  <a:cubicBezTo>
                    <a:pt x="388" y="136"/>
                    <a:pt x="364" y="129"/>
                    <a:pt x="340" y="126"/>
                  </a:cubicBezTo>
                  <a:cubicBezTo>
                    <a:pt x="330" y="125"/>
                    <a:pt x="321" y="123"/>
                    <a:pt x="312" y="120"/>
                  </a:cubicBezTo>
                  <a:cubicBezTo>
                    <a:pt x="301" y="117"/>
                    <a:pt x="293" y="116"/>
                    <a:pt x="282" y="115"/>
                  </a:cubicBezTo>
                  <a:cubicBezTo>
                    <a:pt x="270" y="114"/>
                    <a:pt x="259" y="110"/>
                    <a:pt x="247" y="108"/>
                  </a:cubicBezTo>
                  <a:cubicBezTo>
                    <a:pt x="233" y="105"/>
                    <a:pt x="222" y="102"/>
                    <a:pt x="208" y="99"/>
                  </a:cubicBezTo>
                  <a:cubicBezTo>
                    <a:pt x="183" y="94"/>
                    <a:pt x="158" y="87"/>
                    <a:pt x="131" y="81"/>
                  </a:cubicBezTo>
                  <a:cubicBezTo>
                    <a:pt x="110" y="77"/>
                    <a:pt x="89" y="71"/>
                    <a:pt x="67" y="66"/>
                  </a:cubicBezTo>
                  <a:cubicBezTo>
                    <a:pt x="60" y="64"/>
                    <a:pt x="51" y="64"/>
                    <a:pt x="43" y="63"/>
                  </a:cubicBezTo>
                  <a:cubicBezTo>
                    <a:pt x="39" y="62"/>
                    <a:pt x="36" y="61"/>
                    <a:pt x="35" y="59"/>
                  </a:cubicBezTo>
                  <a:cubicBezTo>
                    <a:pt x="34" y="59"/>
                    <a:pt x="34" y="59"/>
                    <a:pt x="34" y="59"/>
                  </a:cubicBezTo>
                  <a:cubicBezTo>
                    <a:pt x="24" y="44"/>
                    <a:pt x="12" y="30"/>
                    <a:pt x="0" y="17"/>
                  </a:cubicBezTo>
                  <a:cubicBezTo>
                    <a:pt x="3" y="14"/>
                    <a:pt x="3" y="14"/>
                    <a:pt x="3" y="14"/>
                  </a:cubicBezTo>
                  <a:lnTo>
                    <a:pt x="2" y="13"/>
                  </a:lnTo>
                  <a:close/>
                </a:path>
              </a:pathLst>
            </a:custGeom>
            <a:solidFill>
              <a:srgbClr val="21AAD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56" name="Freeform 425">
              <a:extLst>
                <a:ext uri="{FF2B5EF4-FFF2-40B4-BE49-F238E27FC236}">
                  <a16:creationId xmlns:a16="http://schemas.microsoft.com/office/drawing/2014/main" id="{2CD17749-A038-4B57-9DE7-8EBA24FDAF33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5656266" y="3384550"/>
              <a:ext cx="587376" cy="593725"/>
            </a:xfrm>
            <a:custGeom>
              <a:avLst/>
              <a:gdLst>
                <a:gd name="T0" fmla="*/ 210 w 349"/>
                <a:gd name="T1" fmla="*/ 12 h 353"/>
                <a:gd name="T2" fmla="*/ 231 w 349"/>
                <a:gd name="T3" fmla="*/ 20 h 353"/>
                <a:gd name="T4" fmla="*/ 232 w 349"/>
                <a:gd name="T5" fmla="*/ 19 h 353"/>
                <a:gd name="T6" fmla="*/ 320 w 349"/>
                <a:gd name="T7" fmla="*/ 102 h 353"/>
                <a:gd name="T8" fmla="*/ 340 w 349"/>
                <a:gd name="T9" fmla="*/ 208 h 353"/>
                <a:gd name="T10" fmla="*/ 339 w 349"/>
                <a:gd name="T11" fmla="*/ 210 h 353"/>
                <a:gd name="T12" fmla="*/ 290 w 349"/>
                <a:gd name="T13" fmla="*/ 295 h 353"/>
                <a:gd name="T14" fmla="*/ 174 w 349"/>
                <a:gd name="T15" fmla="*/ 349 h 353"/>
                <a:gd name="T16" fmla="*/ 82 w 349"/>
                <a:gd name="T17" fmla="*/ 333 h 353"/>
                <a:gd name="T18" fmla="*/ 19 w 349"/>
                <a:gd name="T19" fmla="*/ 261 h 353"/>
                <a:gd name="T20" fmla="*/ 4 w 349"/>
                <a:gd name="T21" fmla="*/ 216 h 353"/>
                <a:gd name="T22" fmla="*/ 0 w 349"/>
                <a:gd name="T23" fmla="*/ 184 h 353"/>
                <a:gd name="T24" fmla="*/ 1 w 349"/>
                <a:gd name="T25" fmla="*/ 163 h 353"/>
                <a:gd name="T26" fmla="*/ 37 w 349"/>
                <a:gd name="T27" fmla="*/ 77 h 353"/>
                <a:gd name="T28" fmla="*/ 126 w 349"/>
                <a:gd name="T29" fmla="*/ 10 h 353"/>
                <a:gd name="T30" fmla="*/ 210 w 349"/>
                <a:gd name="T31" fmla="*/ 12 h 353"/>
                <a:gd name="T32" fmla="*/ 303 w 349"/>
                <a:gd name="T33" fmla="*/ 201 h 353"/>
                <a:gd name="T34" fmla="*/ 283 w 349"/>
                <a:gd name="T35" fmla="*/ 110 h 353"/>
                <a:gd name="T36" fmla="*/ 250 w 349"/>
                <a:gd name="T37" fmla="*/ 71 h 353"/>
                <a:gd name="T38" fmla="*/ 210 w 349"/>
                <a:gd name="T39" fmla="*/ 52 h 353"/>
                <a:gd name="T40" fmla="*/ 209 w 349"/>
                <a:gd name="T41" fmla="*/ 55 h 353"/>
                <a:gd name="T42" fmla="*/ 148 w 349"/>
                <a:gd name="T43" fmla="*/ 44 h 353"/>
                <a:gd name="T44" fmla="*/ 68 w 349"/>
                <a:gd name="T45" fmla="*/ 88 h 353"/>
                <a:gd name="T46" fmla="*/ 41 w 349"/>
                <a:gd name="T47" fmla="*/ 227 h 353"/>
                <a:gd name="T48" fmla="*/ 170 w 349"/>
                <a:gd name="T49" fmla="*/ 309 h 353"/>
                <a:gd name="T50" fmla="*/ 258 w 349"/>
                <a:gd name="T51" fmla="*/ 269 h 353"/>
                <a:gd name="T52" fmla="*/ 303 w 349"/>
                <a:gd name="T53" fmla="*/ 201 h 3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349" h="353">
                  <a:moveTo>
                    <a:pt x="210" y="12"/>
                  </a:moveTo>
                  <a:cubicBezTo>
                    <a:pt x="217" y="15"/>
                    <a:pt x="224" y="17"/>
                    <a:pt x="231" y="20"/>
                  </a:cubicBezTo>
                  <a:cubicBezTo>
                    <a:pt x="232" y="19"/>
                    <a:pt x="232" y="19"/>
                    <a:pt x="232" y="19"/>
                  </a:cubicBezTo>
                  <a:cubicBezTo>
                    <a:pt x="264" y="43"/>
                    <a:pt x="299" y="67"/>
                    <a:pt x="320" y="102"/>
                  </a:cubicBezTo>
                  <a:cubicBezTo>
                    <a:pt x="341" y="134"/>
                    <a:pt x="349" y="172"/>
                    <a:pt x="340" y="208"/>
                  </a:cubicBezTo>
                  <a:cubicBezTo>
                    <a:pt x="340" y="209"/>
                    <a:pt x="340" y="210"/>
                    <a:pt x="339" y="210"/>
                  </a:cubicBezTo>
                  <a:cubicBezTo>
                    <a:pt x="332" y="244"/>
                    <a:pt x="314" y="272"/>
                    <a:pt x="290" y="295"/>
                  </a:cubicBezTo>
                  <a:cubicBezTo>
                    <a:pt x="258" y="324"/>
                    <a:pt x="216" y="344"/>
                    <a:pt x="174" y="349"/>
                  </a:cubicBezTo>
                  <a:cubicBezTo>
                    <a:pt x="143" y="353"/>
                    <a:pt x="111" y="348"/>
                    <a:pt x="82" y="333"/>
                  </a:cubicBezTo>
                  <a:cubicBezTo>
                    <a:pt x="54" y="316"/>
                    <a:pt x="33" y="290"/>
                    <a:pt x="19" y="261"/>
                  </a:cubicBezTo>
                  <a:cubicBezTo>
                    <a:pt x="12" y="247"/>
                    <a:pt x="7" y="231"/>
                    <a:pt x="4" y="216"/>
                  </a:cubicBezTo>
                  <a:cubicBezTo>
                    <a:pt x="2" y="205"/>
                    <a:pt x="0" y="194"/>
                    <a:pt x="0" y="184"/>
                  </a:cubicBezTo>
                  <a:cubicBezTo>
                    <a:pt x="0" y="177"/>
                    <a:pt x="0" y="170"/>
                    <a:pt x="1" y="163"/>
                  </a:cubicBezTo>
                  <a:cubicBezTo>
                    <a:pt x="3" y="132"/>
                    <a:pt x="16" y="101"/>
                    <a:pt x="37" y="77"/>
                  </a:cubicBezTo>
                  <a:cubicBezTo>
                    <a:pt x="59" y="47"/>
                    <a:pt x="90" y="21"/>
                    <a:pt x="126" y="10"/>
                  </a:cubicBezTo>
                  <a:cubicBezTo>
                    <a:pt x="154" y="0"/>
                    <a:pt x="182" y="4"/>
                    <a:pt x="210" y="12"/>
                  </a:cubicBezTo>
                  <a:close/>
                  <a:moveTo>
                    <a:pt x="303" y="201"/>
                  </a:moveTo>
                  <a:cubicBezTo>
                    <a:pt x="307" y="170"/>
                    <a:pt x="297" y="136"/>
                    <a:pt x="283" y="110"/>
                  </a:cubicBezTo>
                  <a:cubicBezTo>
                    <a:pt x="276" y="94"/>
                    <a:pt x="264" y="81"/>
                    <a:pt x="250" y="71"/>
                  </a:cubicBezTo>
                  <a:cubicBezTo>
                    <a:pt x="238" y="63"/>
                    <a:pt x="223" y="57"/>
                    <a:pt x="210" y="52"/>
                  </a:cubicBezTo>
                  <a:cubicBezTo>
                    <a:pt x="209" y="55"/>
                    <a:pt x="209" y="55"/>
                    <a:pt x="209" y="55"/>
                  </a:cubicBezTo>
                  <a:cubicBezTo>
                    <a:pt x="189" y="46"/>
                    <a:pt x="170" y="40"/>
                    <a:pt x="148" y="44"/>
                  </a:cubicBezTo>
                  <a:cubicBezTo>
                    <a:pt x="117" y="48"/>
                    <a:pt x="89" y="65"/>
                    <a:pt x="68" y="88"/>
                  </a:cubicBezTo>
                  <a:cubicBezTo>
                    <a:pt x="32" y="124"/>
                    <a:pt x="23" y="179"/>
                    <a:pt x="41" y="227"/>
                  </a:cubicBezTo>
                  <a:cubicBezTo>
                    <a:pt x="61" y="281"/>
                    <a:pt x="112" y="314"/>
                    <a:pt x="170" y="309"/>
                  </a:cubicBezTo>
                  <a:cubicBezTo>
                    <a:pt x="203" y="304"/>
                    <a:pt x="233" y="289"/>
                    <a:pt x="258" y="269"/>
                  </a:cubicBezTo>
                  <a:cubicBezTo>
                    <a:pt x="280" y="251"/>
                    <a:pt x="298" y="228"/>
                    <a:pt x="303" y="201"/>
                  </a:cubicBezTo>
                  <a:close/>
                </a:path>
              </a:pathLst>
            </a:custGeom>
            <a:solidFill>
              <a:srgbClr val="21AAD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57" name="Freeform 426">
              <a:extLst>
                <a:ext uri="{FF2B5EF4-FFF2-40B4-BE49-F238E27FC236}">
                  <a16:creationId xmlns:a16="http://schemas.microsoft.com/office/drawing/2014/main" id="{CF93D97C-3054-4A5F-AD71-2720D148C54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346704" y="3635375"/>
              <a:ext cx="317500" cy="112713"/>
            </a:xfrm>
            <a:custGeom>
              <a:avLst/>
              <a:gdLst>
                <a:gd name="T0" fmla="*/ 27 w 188"/>
                <a:gd name="T1" fmla="*/ 4 h 67"/>
                <a:gd name="T2" fmla="*/ 37 w 188"/>
                <a:gd name="T3" fmla="*/ 6 h 67"/>
                <a:gd name="T4" fmla="*/ 57 w 188"/>
                <a:gd name="T5" fmla="*/ 12 h 67"/>
                <a:gd name="T6" fmla="*/ 97 w 188"/>
                <a:gd name="T7" fmla="*/ 21 h 67"/>
                <a:gd name="T8" fmla="*/ 142 w 188"/>
                <a:gd name="T9" fmla="*/ 28 h 67"/>
                <a:gd name="T10" fmla="*/ 165 w 188"/>
                <a:gd name="T11" fmla="*/ 33 h 67"/>
                <a:gd name="T12" fmla="*/ 181 w 188"/>
                <a:gd name="T13" fmla="*/ 35 h 67"/>
                <a:gd name="T14" fmla="*/ 184 w 188"/>
                <a:gd name="T15" fmla="*/ 35 h 67"/>
                <a:gd name="T16" fmla="*/ 188 w 188"/>
                <a:gd name="T17" fmla="*/ 67 h 67"/>
                <a:gd name="T18" fmla="*/ 185 w 188"/>
                <a:gd name="T19" fmla="*/ 67 h 67"/>
                <a:gd name="T20" fmla="*/ 164 w 188"/>
                <a:gd name="T21" fmla="*/ 63 h 67"/>
                <a:gd name="T22" fmla="*/ 144 w 188"/>
                <a:gd name="T23" fmla="*/ 59 h 67"/>
                <a:gd name="T24" fmla="*/ 87 w 188"/>
                <a:gd name="T25" fmla="*/ 45 h 67"/>
                <a:gd name="T26" fmla="*/ 0 w 188"/>
                <a:gd name="T27" fmla="*/ 28 h 67"/>
                <a:gd name="T28" fmla="*/ 18 w 188"/>
                <a:gd name="T29" fmla="*/ 0 h 67"/>
                <a:gd name="T30" fmla="*/ 18 w 188"/>
                <a:gd name="T31" fmla="*/ 0 h 67"/>
                <a:gd name="T32" fmla="*/ 27 w 188"/>
                <a:gd name="T33" fmla="*/ 4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88" h="67">
                  <a:moveTo>
                    <a:pt x="27" y="4"/>
                  </a:moveTo>
                  <a:cubicBezTo>
                    <a:pt x="30" y="4"/>
                    <a:pt x="33" y="5"/>
                    <a:pt x="37" y="6"/>
                  </a:cubicBezTo>
                  <a:cubicBezTo>
                    <a:pt x="43" y="7"/>
                    <a:pt x="50" y="10"/>
                    <a:pt x="57" y="12"/>
                  </a:cubicBezTo>
                  <a:cubicBezTo>
                    <a:pt x="70" y="15"/>
                    <a:pt x="84" y="18"/>
                    <a:pt x="97" y="21"/>
                  </a:cubicBezTo>
                  <a:cubicBezTo>
                    <a:pt x="111" y="23"/>
                    <a:pt x="126" y="27"/>
                    <a:pt x="142" y="28"/>
                  </a:cubicBezTo>
                  <a:cubicBezTo>
                    <a:pt x="150" y="30"/>
                    <a:pt x="158" y="32"/>
                    <a:pt x="165" y="33"/>
                  </a:cubicBezTo>
                  <a:cubicBezTo>
                    <a:pt x="171" y="33"/>
                    <a:pt x="176" y="34"/>
                    <a:pt x="181" y="35"/>
                  </a:cubicBezTo>
                  <a:cubicBezTo>
                    <a:pt x="184" y="35"/>
                    <a:pt x="184" y="35"/>
                    <a:pt x="184" y="35"/>
                  </a:cubicBezTo>
                  <a:cubicBezTo>
                    <a:pt x="184" y="45"/>
                    <a:pt x="186" y="56"/>
                    <a:pt x="188" y="67"/>
                  </a:cubicBezTo>
                  <a:cubicBezTo>
                    <a:pt x="185" y="67"/>
                    <a:pt x="185" y="67"/>
                    <a:pt x="185" y="67"/>
                  </a:cubicBezTo>
                  <a:cubicBezTo>
                    <a:pt x="181" y="61"/>
                    <a:pt x="169" y="64"/>
                    <a:pt x="164" y="63"/>
                  </a:cubicBezTo>
                  <a:cubicBezTo>
                    <a:pt x="157" y="62"/>
                    <a:pt x="151" y="60"/>
                    <a:pt x="144" y="59"/>
                  </a:cubicBezTo>
                  <a:cubicBezTo>
                    <a:pt x="125" y="55"/>
                    <a:pt x="107" y="49"/>
                    <a:pt x="87" y="45"/>
                  </a:cubicBezTo>
                  <a:cubicBezTo>
                    <a:pt x="58" y="39"/>
                    <a:pt x="29" y="34"/>
                    <a:pt x="0" y="28"/>
                  </a:cubicBezTo>
                  <a:cubicBezTo>
                    <a:pt x="6" y="19"/>
                    <a:pt x="13" y="10"/>
                    <a:pt x="18" y="0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22" y="1"/>
                    <a:pt x="23" y="3"/>
                    <a:pt x="27" y="4"/>
                  </a:cubicBezTo>
                  <a:close/>
                </a:path>
              </a:pathLst>
            </a:custGeom>
            <a:solidFill>
              <a:srgbClr val="21AAD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58" name="Freeform 427">
              <a:extLst>
                <a:ext uri="{FF2B5EF4-FFF2-40B4-BE49-F238E27FC236}">
                  <a16:creationId xmlns:a16="http://schemas.microsoft.com/office/drawing/2014/main" id="{38E58DB6-3F23-4A00-9404-33A127E1B0A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827591" y="3221038"/>
              <a:ext cx="596901" cy="579439"/>
            </a:xfrm>
            <a:custGeom>
              <a:avLst/>
              <a:gdLst>
                <a:gd name="T0" fmla="*/ 273 w 355"/>
                <a:gd name="T1" fmla="*/ 309 h 345"/>
                <a:gd name="T2" fmla="*/ 173 w 355"/>
                <a:gd name="T3" fmla="*/ 342 h 345"/>
                <a:gd name="T4" fmla="*/ 85 w 355"/>
                <a:gd name="T5" fmla="*/ 322 h 345"/>
                <a:gd name="T6" fmla="*/ 19 w 355"/>
                <a:gd name="T7" fmla="*/ 251 h 345"/>
                <a:gd name="T8" fmla="*/ 10 w 355"/>
                <a:gd name="T9" fmla="*/ 238 h 345"/>
                <a:gd name="T10" fmla="*/ 1 w 355"/>
                <a:gd name="T11" fmla="*/ 209 h 345"/>
                <a:gd name="T12" fmla="*/ 7 w 355"/>
                <a:gd name="T13" fmla="*/ 155 h 345"/>
                <a:gd name="T14" fmla="*/ 13 w 355"/>
                <a:gd name="T15" fmla="*/ 134 h 345"/>
                <a:gd name="T16" fmla="*/ 25 w 355"/>
                <a:gd name="T17" fmla="*/ 96 h 345"/>
                <a:gd name="T18" fmla="*/ 28 w 355"/>
                <a:gd name="T19" fmla="*/ 89 h 345"/>
                <a:gd name="T20" fmla="*/ 52 w 355"/>
                <a:gd name="T21" fmla="*/ 45 h 345"/>
                <a:gd name="T22" fmla="*/ 167 w 355"/>
                <a:gd name="T23" fmla="*/ 0 h 345"/>
                <a:gd name="T24" fmla="*/ 213 w 355"/>
                <a:gd name="T25" fmla="*/ 3 h 345"/>
                <a:gd name="T26" fmla="*/ 232 w 355"/>
                <a:gd name="T27" fmla="*/ 7 h 345"/>
                <a:gd name="T28" fmla="*/ 276 w 355"/>
                <a:gd name="T29" fmla="*/ 30 h 345"/>
                <a:gd name="T30" fmla="*/ 277 w 355"/>
                <a:gd name="T31" fmla="*/ 29 h 345"/>
                <a:gd name="T32" fmla="*/ 347 w 355"/>
                <a:gd name="T33" fmla="*/ 120 h 345"/>
                <a:gd name="T34" fmla="*/ 341 w 355"/>
                <a:gd name="T35" fmla="*/ 214 h 345"/>
                <a:gd name="T36" fmla="*/ 327 w 355"/>
                <a:gd name="T37" fmla="*/ 246 h 345"/>
                <a:gd name="T38" fmla="*/ 309 w 355"/>
                <a:gd name="T39" fmla="*/ 274 h 345"/>
                <a:gd name="T40" fmla="*/ 273 w 355"/>
                <a:gd name="T41" fmla="*/ 309 h 345"/>
                <a:gd name="T42" fmla="*/ 155 w 355"/>
                <a:gd name="T43" fmla="*/ 307 h 345"/>
                <a:gd name="T44" fmla="*/ 236 w 355"/>
                <a:gd name="T45" fmla="*/ 292 h 345"/>
                <a:gd name="T46" fmla="*/ 292 w 355"/>
                <a:gd name="T47" fmla="*/ 223 h 345"/>
                <a:gd name="T48" fmla="*/ 307 w 355"/>
                <a:gd name="T49" fmla="*/ 125 h 345"/>
                <a:gd name="T50" fmla="*/ 245 w 355"/>
                <a:gd name="T51" fmla="*/ 61 h 345"/>
                <a:gd name="T52" fmla="*/ 236 w 355"/>
                <a:gd name="T53" fmla="*/ 61 h 345"/>
                <a:gd name="T54" fmla="*/ 185 w 355"/>
                <a:gd name="T55" fmla="*/ 45 h 345"/>
                <a:gd name="T56" fmla="*/ 105 w 355"/>
                <a:gd name="T57" fmla="*/ 70 h 345"/>
                <a:gd name="T58" fmla="*/ 57 w 355"/>
                <a:gd name="T59" fmla="*/ 129 h 345"/>
                <a:gd name="T60" fmla="*/ 52 w 355"/>
                <a:gd name="T61" fmla="*/ 197 h 345"/>
                <a:gd name="T62" fmla="*/ 155 w 355"/>
                <a:gd name="T63" fmla="*/ 307 h 3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355" h="345">
                  <a:moveTo>
                    <a:pt x="273" y="309"/>
                  </a:moveTo>
                  <a:cubicBezTo>
                    <a:pt x="244" y="331"/>
                    <a:pt x="209" y="340"/>
                    <a:pt x="173" y="342"/>
                  </a:cubicBezTo>
                  <a:cubicBezTo>
                    <a:pt x="142" y="345"/>
                    <a:pt x="111" y="342"/>
                    <a:pt x="85" y="322"/>
                  </a:cubicBezTo>
                  <a:cubicBezTo>
                    <a:pt x="59" y="304"/>
                    <a:pt x="36" y="278"/>
                    <a:pt x="19" y="251"/>
                  </a:cubicBezTo>
                  <a:cubicBezTo>
                    <a:pt x="16" y="247"/>
                    <a:pt x="13" y="243"/>
                    <a:pt x="10" y="238"/>
                  </a:cubicBezTo>
                  <a:cubicBezTo>
                    <a:pt x="6" y="229"/>
                    <a:pt x="3" y="220"/>
                    <a:pt x="1" y="209"/>
                  </a:cubicBezTo>
                  <a:cubicBezTo>
                    <a:pt x="0" y="191"/>
                    <a:pt x="3" y="174"/>
                    <a:pt x="7" y="155"/>
                  </a:cubicBezTo>
                  <a:cubicBezTo>
                    <a:pt x="9" y="148"/>
                    <a:pt x="11" y="141"/>
                    <a:pt x="13" y="134"/>
                  </a:cubicBezTo>
                  <a:cubicBezTo>
                    <a:pt x="16" y="121"/>
                    <a:pt x="20" y="108"/>
                    <a:pt x="25" y="96"/>
                  </a:cubicBezTo>
                  <a:cubicBezTo>
                    <a:pt x="26" y="93"/>
                    <a:pt x="27" y="91"/>
                    <a:pt x="28" y="89"/>
                  </a:cubicBezTo>
                  <a:cubicBezTo>
                    <a:pt x="33" y="73"/>
                    <a:pt x="41" y="58"/>
                    <a:pt x="52" y="45"/>
                  </a:cubicBezTo>
                  <a:cubicBezTo>
                    <a:pt x="80" y="13"/>
                    <a:pt x="126" y="4"/>
                    <a:pt x="167" y="0"/>
                  </a:cubicBezTo>
                  <a:cubicBezTo>
                    <a:pt x="183" y="0"/>
                    <a:pt x="198" y="0"/>
                    <a:pt x="213" y="3"/>
                  </a:cubicBezTo>
                  <a:cubicBezTo>
                    <a:pt x="219" y="4"/>
                    <a:pt x="226" y="5"/>
                    <a:pt x="232" y="7"/>
                  </a:cubicBezTo>
                  <a:cubicBezTo>
                    <a:pt x="248" y="12"/>
                    <a:pt x="262" y="20"/>
                    <a:pt x="276" y="30"/>
                  </a:cubicBezTo>
                  <a:cubicBezTo>
                    <a:pt x="277" y="29"/>
                    <a:pt x="277" y="29"/>
                    <a:pt x="277" y="29"/>
                  </a:cubicBezTo>
                  <a:cubicBezTo>
                    <a:pt x="306" y="54"/>
                    <a:pt x="336" y="81"/>
                    <a:pt x="347" y="120"/>
                  </a:cubicBezTo>
                  <a:cubicBezTo>
                    <a:pt x="355" y="151"/>
                    <a:pt x="351" y="184"/>
                    <a:pt x="341" y="214"/>
                  </a:cubicBezTo>
                  <a:cubicBezTo>
                    <a:pt x="338" y="225"/>
                    <a:pt x="333" y="236"/>
                    <a:pt x="327" y="246"/>
                  </a:cubicBezTo>
                  <a:cubicBezTo>
                    <a:pt x="322" y="256"/>
                    <a:pt x="315" y="265"/>
                    <a:pt x="309" y="274"/>
                  </a:cubicBezTo>
                  <a:cubicBezTo>
                    <a:pt x="298" y="287"/>
                    <a:pt x="287" y="299"/>
                    <a:pt x="273" y="309"/>
                  </a:cubicBezTo>
                  <a:close/>
                  <a:moveTo>
                    <a:pt x="155" y="307"/>
                  </a:moveTo>
                  <a:cubicBezTo>
                    <a:pt x="184" y="313"/>
                    <a:pt x="212" y="308"/>
                    <a:pt x="236" y="292"/>
                  </a:cubicBezTo>
                  <a:cubicBezTo>
                    <a:pt x="261" y="275"/>
                    <a:pt x="279" y="248"/>
                    <a:pt x="292" y="223"/>
                  </a:cubicBezTo>
                  <a:cubicBezTo>
                    <a:pt x="305" y="194"/>
                    <a:pt x="316" y="157"/>
                    <a:pt x="307" y="125"/>
                  </a:cubicBezTo>
                  <a:cubicBezTo>
                    <a:pt x="298" y="95"/>
                    <a:pt x="271" y="77"/>
                    <a:pt x="245" y="61"/>
                  </a:cubicBezTo>
                  <a:cubicBezTo>
                    <a:pt x="236" y="61"/>
                    <a:pt x="236" y="61"/>
                    <a:pt x="236" y="61"/>
                  </a:cubicBezTo>
                  <a:cubicBezTo>
                    <a:pt x="220" y="52"/>
                    <a:pt x="204" y="45"/>
                    <a:pt x="185" y="45"/>
                  </a:cubicBezTo>
                  <a:cubicBezTo>
                    <a:pt x="158" y="46"/>
                    <a:pt x="129" y="56"/>
                    <a:pt x="105" y="70"/>
                  </a:cubicBezTo>
                  <a:cubicBezTo>
                    <a:pt x="84" y="85"/>
                    <a:pt x="66" y="104"/>
                    <a:pt x="57" y="129"/>
                  </a:cubicBezTo>
                  <a:cubicBezTo>
                    <a:pt x="49" y="150"/>
                    <a:pt x="49" y="175"/>
                    <a:pt x="52" y="197"/>
                  </a:cubicBezTo>
                  <a:cubicBezTo>
                    <a:pt x="59" y="253"/>
                    <a:pt x="99" y="297"/>
                    <a:pt x="155" y="307"/>
                  </a:cubicBezTo>
                  <a:close/>
                </a:path>
              </a:pathLst>
            </a:custGeom>
            <a:solidFill>
              <a:srgbClr val="21AAD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59" name="Freeform 428">
              <a:extLst>
                <a:ext uri="{FF2B5EF4-FFF2-40B4-BE49-F238E27FC236}">
                  <a16:creationId xmlns:a16="http://schemas.microsoft.com/office/drawing/2014/main" id="{2D025288-904E-4447-842A-77C4EE54747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910142" y="3297238"/>
              <a:ext cx="449264" cy="450850"/>
            </a:xfrm>
            <a:custGeom>
              <a:avLst/>
              <a:gdLst>
                <a:gd name="T0" fmla="*/ 106 w 267"/>
                <a:gd name="T1" fmla="*/ 262 h 268"/>
                <a:gd name="T2" fmla="*/ 3 w 267"/>
                <a:gd name="T3" fmla="*/ 152 h 268"/>
                <a:gd name="T4" fmla="*/ 8 w 267"/>
                <a:gd name="T5" fmla="*/ 84 h 268"/>
                <a:gd name="T6" fmla="*/ 56 w 267"/>
                <a:gd name="T7" fmla="*/ 25 h 268"/>
                <a:gd name="T8" fmla="*/ 136 w 267"/>
                <a:gd name="T9" fmla="*/ 0 h 268"/>
                <a:gd name="T10" fmla="*/ 187 w 267"/>
                <a:gd name="T11" fmla="*/ 16 h 268"/>
                <a:gd name="T12" fmla="*/ 196 w 267"/>
                <a:gd name="T13" fmla="*/ 16 h 268"/>
                <a:gd name="T14" fmla="*/ 258 w 267"/>
                <a:gd name="T15" fmla="*/ 80 h 268"/>
                <a:gd name="T16" fmla="*/ 243 w 267"/>
                <a:gd name="T17" fmla="*/ 178 h 268"/>
                <a:gd name="T18" fmla="*/ 187 w 267"/>
                <a:gd name="T19" fmla="*/ 247 h 268"/>
                <a:gd name="T20" fmla="*/ 106 w 267"/>
                <a:gd name="T21" fmla="*/ 262 h 268"/>
                <a:gd name="T22" fmla="*/ 20 w 267"/>
                <a:gd name="T23" fmla="*/ 143 h 268"/>
                <a:gd name="T24" fmla="*/ 127 w 267"/>
                <a:gd name="T25" fmla="*/ 242 h 268"/>
                <a:gd name="T26" fmla="*/ 236 w 267"/>
                <a:gd name="T27" fmla="*/ 160 h 268"/>
                <a:gd name="T28" fmla="*/ 240 w 267"/>
                <a:gd name="T29" fmla="*/ 89 h 268"/>
                <a:gd name="T30" fmla="*/ 195 w 267"/>
                <a:gd name="T31" fmla="*/ 33 h 268"/>
                <a:gd name="T32" fmla="*/ 194 w 267"/>
                <a:gd name="T33" fmla="*/ 35 h 268"/>
                <a:gd name="T34" fmla="*/ 82 w 267"/>
                <a:gd name="T35" fmla="*/ 27 h 268"/>
                <a:gd name="T36" fmla="*/ 38 w 267"/>
                <a:gd name="T37" fmla="*/ 74 h 268"/>
                <a:gd name="T38" fmla="*/ 20 w 267"/>
                <a:gd name="T39" fmla="*/ 143 h 2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267" h="268">
                  <a:moveTo>
                    <a:pt x="106" y="262"/>
                  </a:moveTo>
                  <a:cubicBezTo>
                    <a:pt x="50" y="252"/>
                    <a:pt x="10" y="208"/>
                    <a:pt x="3" y="152"/>
                  </a:cubicBezTo>
                  <a:cubicBezTo>
                    <a:pt x="0" y="130"/>
                    <a:pt x="0" y="105"/>
                    <a:pt x="8" y="84"/>
                  </a:cubicBezTo>
                  <a:cubicBezTo>
                    <a:pt x="17" y="59"/>
                    <a:pt x="35" y="40"/>
                    <a:pt x="56" y="25"/>
                  </a:cubicBezTo>
                  <a:cubicBezTo>
                    <a:pt x="80" y="11"/>
                    <a:pt x="109" y="1"/>
                    <a:pt x="136" y="0"/>
                  </a:cubicBezTo>
                  <a:cubicBezTo>
                    <a:pt x="155" y="0"/>
                    <a:pt x="171" y="7"/>
                    <a:pt x="187" y="16"/>
                  </a:cubicBezTo>
                  <a:cubicBezTo>
                    <a:pt x="196" y="16"/>
                    <a:pt x="196" y="16"/>
                    <a:pt x="196" y="16"/>
                  </a:cubicBezTo>
                  <a:cubicBezTo>
                    <a:pt x="222" y="32"/>
                    <a:pt x="249" y="50"/>
                    <a:pt x="258" y="80"/>
                  </a:cubicBezTo>
                  <a:cubicBezTo>
                    <a:pt x="267" y="112"/>
                    <a:pt x="256" y="149"/>
                    <a:pt x="243" y="178"/>
                  </a:cubicBezTo>
                  <a:cubicBezTo>
                    <a:pt x="230" y="203"/>
                    <a:pt x="212" y="230"/>
                    <a:pt x="187" y="247"/>
                  </a:cubicBezTo>
                  <a:cubicBezTo>
                    <a:pt x="163" y="263"/>
                    <a:pt x="135" y="268"/>
                    <a:pt x="106" y="262"/>
                  </a:cubicBezTo>
                  <a:close/>
                  <a:moveTo>
                    <a:pt x="20" y="143"/>
                  </a:moveTo>
                  <a:cubicBezTo>
                    <a:pt x="23" y="195"/>
                    <a:pt x="76" y="241"/>
                    <a:pt x="127" y="242"/>
                  </a:cubicBezTo>
                  <a:cubicBezTo>
                    <a:pt x="173" y="241"/>
                    <a:pt x="220" y="201"/>
                    <a:pt x="236" y="160"/>
                  </a:cubicBezTo>
                  <a:cubicBezTo>
                    <a:pt x="246" y="138"/>
                    <a:pt x="248" y="112"/>
                    <a:pt x="240" y="89"/>
                  </a:cubicBezTo>
                  <a:cubicBezTo>
                    <a:pt x="232" y="65"/>
                    <a:pt x="215" y="48"/>
                    <a:pt x="195" y="33"/>
                  </a:cubicBezTo>
                  <a:cubicBezTo>
                    <a:pt x="194" y="35"/>
                    <a:pt x="194" y="35"/>
                    <a:pt x="194" y="35"/>
                  </a:cubicBezTo>
                  <a:cubicBezTo>
                    <a:pt x="160" y="19"/>
                    <a:pt x="118" y="10"/>
                    <a:pt x="82" y="27"/>
                  </a:cubicBezTo>
                  <a:cubicBezTo>
                    <a:pt x="62" y="37"/>
                    <a:pt x="48" y="55"/>
                    <a:pt x="38" y="74"/>
                  </a:cubicBezTo>
                  <a:cubicBezTo>
                    <a:pt x="27" y="95"/>
                    <a:pt x="18" y="120"/>
                    <a:pt x="20" y="143"/>
                  </a:cubicBezTo>
                  <a:close/>
                </a:path>
              </a:pathLst>
            </a:custGeom>
            <a:solidFill>
              <a:srgbClr val="F6B84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60" name="Freeform 429">
              <a:extLst>
                <a:ext uri="{FF2B5EF4-FFF2-40B4-BE49-F238E27FC236}">
                  <a16:creationId xmlns:a16="http://schemas.microsoft.com/office/drawing/2014/main" id="{E6A9EF99-17FD-4BB8-AE25-EBA341BA081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5695954" y="3451225"/>
              <a:ext cx="477839" cy="460375"/>
            </a:xfrm>
            <a:custGeom>
              <a:avLst/>
              <a:gdLst>
                <a:gd name="T0" fmla="*/ 31 w 284"/>
                <a:gd name="T1" fmla="*/ 166 h 274"/>
                <a:gd name="T2" fmla="*/ 128 w 284"/>
                <a:gd name="T3" fmla="*/ 252 h 274"/>
                <a:gd name="T4" fmla="*/ 252 w 284"/>
                <a:gd name="T5" fmla="*/ 166 h 274"/>
                <a:gd name="T6" fmla="*/ 248 w 284"/>
                <a:gd name="T7" fmla="*/ 99 h 274"/>
                <a:gd name="T8" fmla="*/ 225 w 284"/>
                <a:gd name="T9" fmla="*/ 59 h 274"/>
                <a:gd name="T10" fmla="*/ 184 w 284"/>
                <a:gd name="T11" fmla="*/ 31 h 274"/>
                <a:gd name="T12" fmla="*/ 183 w 284"/>
                <a:gd name="T13" fmla="*/ 33 h 274"/>
                <a:gd name="T14" fmla="*/ 140 w 284"/>
                <a:gd name="T15" fmla="*/ 25 h 274"/>
                <a:gd name="T16" fmla="*/ 78 w 284"/>
                <a:gd name="T17" fmla="*/ 44 h 274"/>
                <a:gd name="T18" fmla="*/ 34 w 284"/>
                <a:gd name="T19" fmla="*/ 100 h 274"/>
                <a:gd name="T20" fmla="*/ 31 w 284"/>
                <a:gd name="T21" fmla="*/ 166 h 274"/>
                <a:gd name="T22" fmla="*/ 45 w 284"/>
                <a:gd name="T23" fmla="*/ 48 h 274"/>
                <a:gd name="T24" fmla="*/ 125 w 284"/>
                <a:gd name="T25" fmla="*/ 4 h 274"/>
                <a:gd name="T26" fmla="*/ 186 w 284"/>
                <a:gd name="T27" fmla="*/ 15 h 274"/>
                <a:gd name="T28" fmla="*/ 187 w 284"/>
                <a:gd name="T29" fmla="*/ 12 h 274"/>
                <a:gd name="T30" fmla="*/ 227 w 284"/>
                <a:gd name="T31" fmla="*/ 31 h 274"/>
                <a:gd name="T32" fmla="*/ 260 w 284"/>
                <a:gd name="T33" fmla="*/ 70 h 274"/>
                <a:gd name="T34" fmla="*/ 280 w 284"/>
                <a:gd name="T35" fmla="*/ 161 h 274"/>
                <a:gd name="T36" fmla="*/ 235 w 284"/>
                <a:gd name="T37" fmla="*/ 229 h 274"/>
                <a:gd name="T38" fmla="*/ 147 w 284"/>
                <a:gd name="T39" fmla="*/ 269 h 274"/>
                <a:gd name="T40" fmla="*/ 18 w 284"/>
                <a:gd name="T41" fmla="*/ 187 h 274"/>
                <a:gd name="T42" fmla="*/ 45 w 284"/>
                <a:gd name="T43" fmla="*/ 48 h 2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84" h="274">
                  <a:moveTo>
                    <a:pt x="31" y="166"/>
                  </a:moveTo>
                  <a:cubicBezTo>
                    <a:pt x="37" y="214"/>
                    <a:pt x="82" y="250"/>
                    <a:pt x="128" y="252"/>
                  </a:cubicBezTo>
                  <a:cubicBezTo>
                    <a:pt x="180" y="256"/>
                    <a:pt x="238" y="216"/>
                    <a:pt x="252" y="166"/>
                  </a:cubicBezTo>
                  <a:cubicBezTo>
                    <a:pt x="257" y="144"/>
                    <a:pt x="255" y="120"/>
                    <a:pt x="248" y="99"/>
                  </a:cubicBezTo>
                  <a:cubicBezTo>
                    <a:pt x="244" y="84"/>
                    <a:pt x="237" y="71"/>
                    <a:pt x="225" y="59"/>
                  </a:cubicBezTo>
                  <a:cubicBezTo>
                    <a:pt x="213" y="48"/>
                    <a:pt x="199" y="40"/>
                    <a:pt x="184" y="31"/>
                  </a:cubicBezTo>
                  <a:cubicBezTo>
                    <a:pt x="183" y="33"/>
                    <a:pt x="183" y="33"/>
                    <a:pt x="183" y="33"/>
                  </a:cubicBezTo>
                  <a:cubicBezTo>
                    <a:pt x="170" y="30"/>
                    <a:pt x="155" y="25"/>
                    <a:pt x="140" y="25"/>
                  </a:cubicBezTo>
                  <a:cubicBezTo>
                    <a:pt x="118" y="24"/>
                    <a:pt x="97" y="30"/>
                    <a:pt x="78" y="44"/>
                  </a:cubicBezTo>
                  <a:cubicBezTo>
                    <a:pt x="58" y="57"/>
                    <a:pt x="43" y="77"/>
                    <a:pt x="34" y="100"/>
                  </a:cubicBezTo>
                  <a:cubicBezTo>
                    <a:pt x="28" y="120"/>
                    <a:pt x="28" y="145"/>
                    <a:pt x="31" y="166"/>
                  </a:cubicBezTo>
                  <a:close/>
                  <a:moveTo>
                    <a:pt x="45" y="48"/>
                  </a:moveTo>
                  <a:cubicBezTo>
                    <a:pt x="66" y="25"/>
                    <a:pt x="94" y="8"/>
                    <a:pt x="125" y="4"/>
                  </a:cubicBezTo>
                  <a:cubicBezTo>
                    <a:pt x="147" y="0"/>
                    <a:pt x="166" y="6"/>
                    <a:pt x="186" y="15"/>
                  </a:cubicBezTo>
                  <a:cubicBezTo>
                    <a:pt x="187" y="12"/>
                    <a:pt x="187" y="12"/>
                    <a:pt x="187" y="12"/>
                  </a:cubicBezTo>
                  <a:cubicBezTo>
                    <a:pt x="200" y="17"/>
                    <a:pt x="215" y="23"/>
                    <a:pt x="227" y="31"/>
                  </a:cubicBezTo>
                  <a:cubicBezTo>
                    <a:pt x="241" y="41"/>
                    <a:pt x="253" y="54"/>
                    <a:pt x="260" y="70"/>
                  </a:cubicBezTo>
                  <a:cubicBezTo>
                    <a:pt x="274" y="96"/>
                    <a:pt x="284" y="130"/>
                    <a:pt x="280" y="161"/>
                  </a:cubicBezTo>
                  <a:cubicBezTo>
                    <a:pt x="275" y="188"/>
                    <a:pt x="257" y="211"/>
                    <a:pt x="235" y="229"/>
                  </a:cubicBezTo>
                  <a:cubicBezTo>
                    <a:pt x="210" y="249"/>
                    <a:pt x="180" y="264"/>
                    <a:pt x="147" y="269"/>
                  </a:cubicBezTo>
                  <a:cubicBezTo>
                    <a:pt x="89" y="274"/>
                    <a:pt x="38" y="241"/>
                    <a:pt x="18" y="187"/>
                  </a:cubicBezTo>
                  <a:cubicBezTo>
                    <a:pt x="0" y="139"/>
                    <a:pt x="9" y="84"/>
                    <a:pt x="45" y="48"/>
                  </a:cubicBezTo>
                  <a:close/>
                </a:path>
              </a:pathLst>
            </a:custGeom>
            <a:solidFill>
              <a:srgbClr val="F6B84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61" name="Freeform 430">
              <a:extLst>
                <a:ext uri="{FF2B5EF4-FFF2-40B4-BE49-F238E27FC236}">
                  <a16:creationId xmlns:a16="http://schemas.microsoft.com/office/drawing/2014/main" id="{A7BF8EE7-8732-4C0B-9145-B8464850B18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741992" y="3492500"/>
              <a:ext cx="385763" cy="388938"/>
            </a:xfrm>
            <a:custGeom>
              <a:avLst/>
              <a:gdLst>
                <a:gd name="T0" fmla="*/ 220 w 229"/>
                <a:gd name="T1" fmla="*/ 75 h 232"/>
                <a:gd name="T2" fmla="*/ 224 w 229"/>
                <a:gd name="T3" fmla="*/ 142 h 232"/>
                <a:gd name="T4" fmla="*/ 100 w 229"/>
                <a:gd name="T5" fmla="*/ 228 h 232"/>
                <a:gd name="T6" fmla="*/ 3 w 229"/>
                <a:gd name="T7" fmla="*/ 142 h 232"/>
                <a:gd name="T8" fmla="*/ 6 w 229"/>
                <a:gd name="T9" fmla="*/ 76 h 232"/>
                <a:gd name="T10" fmla="*/ 50 w 229"/>
                <a:gd name="T11" fmla="*/ 20 h 232"/>
                <a:gd name="T12" fmla="*/ 112 w 229"/>
                <a:gd name="T13" fmla="*/ 1 h 232"/>
                <a:gd name="T14" fmla="*/ 155 w 229"/>
                <a:gd name="T15" fmla="*/ 9 h 232"/>
                <a:gd name="T16" fmla="*/ 156 w 229"/>
                <a:gd name="T17" fmla="*/ 7 h 232"/>
                <a:gd name="T18" fmla="*/ 197 w 229"/>
                <a:gd name="T19" fmla="*/ 35 h 232"/>
                <a:gd name="T20" fmla="*/ 220 w 229"/>
                <a:gd name="T21" fmla="*/ 75 h 2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29" h="232">
                  <a:moveTo>
                    <a:pt x="220" y="75"/>
                  </a:moveTo>
                  <a:cubicBezTo>
                    <a:pt x="227" y="96"/>
                    <a:pt x="229" y="120"/>
                    <a:pt x="224" y="142"/>
                  </a:cubicBezTo>
                  <a:cubicBezTo>
                    <a:pt x="210" y="192"/>
                    <a:pt x="152" y="232"/>
                    <a:pt x="100" y="228"/>
                  </a:cubicBezTo>
                  <a:cubicBezTo>
                    <a:pt x="54" y="226"/>
                    <a:pt x="9" y="190"/>
                    <a:pt x="3" y="142"/>
                  </a:cubicBezTo>
                  <a:cubicBezTo>
                    <a:pt x="0" y="121"/>
                    <a:pt x="0" y="96"/>
                    <a:pt x="6" y="76"/>
                  </a:cubicBezTo>
                  <a:cubicBezTo>
                    <a:pt x="15" y="53"/>
                    <a:pt x="30" y="33"/>
                    <a:pt x="50" y="20"/>
                  </a:cubicBezTo>
                  <a:cubicBezTo>
                    <a:pt x="69" y="6"/>
                    <a:pt x="90" y="0"/>
                    <a:pt x="112" y="1"/>
                  </a:cubicBezTo>
                  <a:cubicBezTo>
                    <a:pt x="127" y="1"/>
                    <a:pt x="142" y="6"/>
                    <a:pt x="155" y="9"/>
                  </a:cubicBezTo>
                  <a:cubicBezTo>
                    <a:pt x="156" y="7"/>
                    <a:pt x="156" y="7"/>
                    <a:pt x="156" y="7"/>
                  </a:cubicBezTo>
                  <a:cubicBezTo>
                    <a:pt x="171" y="16"/>
                    <a:pt x="185" y="24"/>
                    <a:pt x="197" y="35"/>
                  </a:cubicBezTo>
                  <a:cubicBezTo>
                    <a:pt x="209" y="47"/>
                    <a:pt x="216" y="60"/>
                    <a:pt x="220" y="75"/>
                  </a:cubicBezTo>
                  <a:close/>
                </a:path>
              </a:pathLst>
            </a:custGeom>
            <a:solidFill>
              <a:srgbClr val="F6B84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62" name="Freeform 431">
              <a:extLst>
                <a:ext uri="{FF2B5EF4-FFF2-40B4-BE49-F238E27FC236}">
                  <a16:creationId xmlns:a16="http://schemas.microsoft.com/office/drawing/2014/main" id="{BCD6786F-CC28-4F0D-AF44-95A3E398822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40303" y="3313113"/>
              <a:ext cx="387351" cy="390525"/>
            </a:xfrm>
            <a:custGeom>
              <a:avLst/>
              <a:gdLst>
                <a:gd name="T0" fmla="*/ 222 w 230"/>
                <a:gd name="T1" fmla="*/ 79 h 232"/>
                <a:gd name="T2" fmla="*/ 218 w 230"/>
                <a:gd name="T3" fmla="*/ 150 h 232"/>
                <a:gd name="T4" fmla="*/ 109 w 230"/>
                <a:gd name="T5" fmla="*/ 232 h 232"/>
                <a:gd name="T6" fmla="*/ 2 w 230"/>
                <a:gd name="T7" fmla="*/ 133 h 232"/>
                <a:gd name="T8" fmla="*/ 20 w 230"/>
                <a:gd name="T9" fmla="*/ 64 h 232"/>
                <a:gd name="T10" fmla="*/ 64 w 230"/>
                <a:gd name="T11" fmla="*/ 17 h 232"/>
                <a:gd name="T12" fmla="*/ 176 w 230"/>
                <a:gd name="T13" fmla="*/ 25 h 232"/>
                <a:gd name="T14" fmla="*/ 177 w 230"/>
                <a:gd name="T15" fmla="*/ 23 h 232"/>
                <a:gd name="T16" fmla="*/ 222 w 230"/>
                <a:gd name="T17" fmla="*/ 79 h 2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30" h="232">
                  <a:moveTo>
                    <a:pt x="222" y="79"/>
                  </a:moveTo>
                  <a:cubicBezTo>
                    <a:pt x="230" y="102"/>
                    <a:pt x="228" y="128"/>
                    <a:pt x="218" y="150"/>
                  </a:cubicBezTo>
                  <a:cubicBezTo>
                    <a:pt x="202" y="191"/>
                    <a:pt x="155" y="231"/>
                    <a:pt x="109" y="232"/>
                  </a:cubicBezTo>
                  <a:cubicBezTo>
                    <a:pt x="58" y="231"/>
                    <a:pt x="5" y="185"/>
                    <a:pt x="2" y="133"/>
                  </a:cubicBezTo>
                  <a:cubicBezTo>
                    <a:pt x="0" y="110"/>
                    <a:pt x="9" y="85"/>
                    <a:pt x="20" y="64"/>
                  </a:cubicBezTo>
                  <a:cubicBezTo>
                    <a:pt x="30" y="45"/>
                    <a:pt x="44" y="27"/>
                    <a:pt x="64" y="17"/>
                  </a:cubicBezTo>
                  <a:cubicBezTo>
                    <a:pt x="100" y="0"/>
                    <a:pt x="142" y="9"/>
                    <a:pt x="176" y="25"/>
                  </a:cubicBezTo>
                  <a:cubicBezTo>
                    <a:pt x="177" y="23"/>
                    <a:pt x="177" y="23"/>
                    <a:pt x="177" y="23"/>
                  </a:cubicBezTo>
                  <a:cubicBezTo>
                    <a:pt x="197" y="38"/>
                    <a:pt x="214" y="55"/>
                    <a:pt x="222" y="79"/>
                  </a:cubicBezTo>
                  <a:close/>
                </a:path>
              </a:pathLst>
            </a:custGeom>
            <a:solidFill>
              <a:srgbClr val="F6B84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63" name="Freeform 432">
              <a:extLst>
                <a:ext uri="{FF2B5EF4-FFF2-40B4-BE49-F238E27FC236}">
                  <a16:creationId xmlns:a16="http://schemas.microsoft.com/office/drawing/2014/main" id="{B8FADF03-10AC-4A77-A2FA-C9A75505E5D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337053" y="2544762"/>
              <a:ext cx="708025" cy="911225"/>
            </a:xfrm>
            <a:custGeom>
              <a:avLst/>
              <a:gdLst>
                <a:gd name="T0" fmla="*/ 10 w 421"/>
                <a:gd name="T1" fmla="*/ 230 h 543"/>
                <a:gd name="T2" fmla="*/ 183 w 421"/>
                <a:gd name="T3" fmla="*/ 19 h 543"/>
                <a:gd name="T4" fmla="*/ 238 w 421"/>
                <a:gd name="T5" fmla="*/ 6 h 543"/>
                <a:gd name="T6" fmla="*/ 421 w 421"/>
                <a:gd name="T7" fmla="*/ 60 h 543"/>
                <a:gd name="T8" fmla="*/ 403 w 421"/>
                <a:gd name="T9" fmla="*/ 85 h 543"/>
                <a:gd name="T10" fmla="*/ 408 w 421"/>
                <a:gd name="T11" fmla="*/ 92 h 543"/>
                <a:gd name="T12" fmla="*/ 387 w 421"/>
                <a:gd name="T13" fmla="*/ 93 h 543"/>
                <a:gd name="T14" fmla="*/ 384 w 421"/>
                <a:gd name="T15" fmla="*/ 90 h 543"/>
                <a:gd name="T16" fmla="*/ 364 w 421"/>
                <a:gd name="T17" fmla="*/ 86 h 543"/>
                <a:gd name="T18" fmla="*/ 337 w 421"/>
                <a:gd name="T19" fmla="*/ 79 h 543"/>
                <a:gd name="T20" fmla="*/ 284 w 421"/>
                <a:gd name="T21" fmla="*/ 71 h 543"/>
                <a:gd name="T22" fmla="*/ 249 w 421"/>
                <a:gd name="T23" fmla="*/ 79 h 543"/>
                <a:gd name="T24" fmla="*/ 234 w 421"/>
                <a:gd name="T25" fmla="*/ 124 h 543"/>
                <a:gd name="T26" fmla="*/ 226 w 421"/>
                <a:gd name="T27" fmla="*/ 163 h 543"/>
                <a:gd name="T28" fmla="*/ 221 w 421"/>
                <a:gd name="T29" fmla="*/ 183 h 543"/>
                <a:gd name="T30" fmla="*/ 194 w 421"/>
                <a:gd name="T31" fmla="*/ 174 h 543"/>
                <a:gd name="T32" fmla="*/ 148 w 421"/>
                <a:gd name="T33" fmla="*/ 166 h 543"/>
                <a:gd name="T34" fmla="*/ 105 w 421"/>
                <a:gd name="T35" fmla="*/ 174 h 543"/>
                <a:gd name="T36" fmla="*/ 93 w 421"/>
                <a:gd name="T37" fmla="*/ 212 h 543"/>
                <a:gd name="T38" fmla="*/ 86 w 421"/>
                <a:gd name="T39" fmla="*/ 250 h 543"/>
                <a:gd name="T40" fmla="*/ 87 w 421"/>
                <a:gd name="T41" fmla="*/ 294 h 543"/>
                <a:gd name="T42" fmla="*/ 126 w 421"/>
                <a:gd name="T43" fmla="*/ 311 h 543"/>
                <a:gd name="T44" fmla="*/ 176 w 421"/>
                <a:gd name="T45" fmla="*/ 322 h 543"/>
                <a:gd name="T46" fmla="*/ 195 w 421"/>
                <a:gd name="T47" fmla="*/ 326 h 543"/>
                <a:gd name="T48" fmla="*/ 193 w 421"/>
                <a:gd name="T49" fmla="*/ 331 h 543"/>
                <a:gd name="T50" fmla="*/ 187 w 421"/>
                <a:gd name="T51" fmla="*/ 353 h 543"/>
                <a:gd name="T52" fmla="*/ 175 w 421"/>
                <a:gd name="T53" fmla="*/ 419 h 543"/>
                <a:gd name="T54" fmla="*/ 228 w 421"/>
                <a:gd name="T55" fmla="*/ 457 h 543"/>
                <a:gd name="T56" fmla="*/ 227 w 421"/>
                <a:gd name="T57" fmla="*/ 476 h 543"/>
                <a:gd name="T58" fmla="*/ 299 w 421"/>
                <a:gd name="T59" fmla="*/ 486 h 543"/>
                <a:gd name="T60" fmla="*/ 320 w 421"/>
                <a:gd name="T61" fmla="*/ 492 h 543"/>
                <a:gd name="T62" fmla="*/ 317 w 421"/>
                <a:gd name="T63" fmla="*/ 499 h 543"/>
                <a:gd name="T64" fmla="*/ 305 w 421"/>
                <a:gd name="T65" fmla="*/ 537 h 543"/>
                <a:gd name="T66" fmla="*/ 304 w 421"/>
                <a:gd name="T67" fmla="*/ 536 h 543"/>
                <a:gd name="T68" fmla="*/ 202 w 421"/>
                <a:gd name="T69" fmla="*/ 532 h 543"/>
                <a:gd name="T70" fmla="*/ 92 w 421"/>
                <a:gd name="T71" fmla="*/ 468 h 543"/>
                <a:gd name="T72" fmla="*/ 20 w 421"/>
                <a:gd name="T73" fmla="*/ 368 h 543"/>
                <a:gd name="T74" fmla="*/ 9 w 421"/>
                <a:gd name="T75" fmla="*/ 235 h 543"/>
                <a:gd name="T76" fmla="*/ 10 w 421"/>
                <a:gd name="T77" fmla="*/ 230 h 5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21" h="543">
                  <a:moveTo>
                    <a:pt x="10" y="230"/>
                  </a:moveTo>
                  <a:cubicBezTo>
                    <a:pt x="29" y="136"/>
                    <a:pt x="94" y="51"/>
                    <a:pt x="183" y="19"/>
                  </a:cubicBezTo>
                  <a:cubicBezTo>
                    <a:pt x="201" y="12"/>
                    <a:pt x="219" y="8"/>
                    <a:pt x="238" y="6"/>
                  </a:cubicBezTo>
                  <a:cubicBezTo>
                    <a:pt x="303" y="0"/>
                    <a:pt x="368" y="22"/>
                    <a:pt x="421" y="60"/>
                  </a:cubicBezTo>
                  <a:cubicBezTo>
                    <a:pt x="403" y="85"/>
                    <a:pt x="403" y="85"/>
                    <a:pt x="403" y="85"/>
                  </a:cubicBezTo>
                  <a:cubicBezTo>
                    <a:pt x="406" y="87"/>
                    <a:pt x="407" y="89"/>
                    <a:pt x="408" y="92"/>
                  </a:cubicBezTo>
                  <a:cubicBezTo>
                    <a:pt x="387" y="93"/>
                    <a:pt x="387" y="93"/>
                    <a:pt x="387" y="93"/>
                  </a:cubicBezTo>
                  <a:cubicBezTo>
                    <a:pt x="386" y="92"/>
                    <a:pt x="386" y="91"/>
                    <a:pt x="384" y="90"/>
                  </a:cubicBezTo>
                  <a:cubicBezTo>
                    <a:pt x="378" y="87"/>
                    <a:pt x="371" y="87"/>
                    <a:pt x="364" y="86"/>
                  </a:cubicBezTo>
                  <a:cubicBezTo>
                    <a:pt x="356" y="84"/>
                    <a:pt x="348" y="81"/>
                    <a:pt x="337" y="79"/>
                  </a:cubicBezTo>
                  <a:cubicBezTo>
                    <a:pt x="321" y="73"/>
                    <a:pt x="302" y="71"/>
                    <a:pt x="284" y="71"/>
                  </a:cubicBezTo>
                  <a:cubicBezTo>
                    <a:pt x="272" y="72"/>
                    <a:pt x="257" y="68"/>
                    <a:pt x="249" y="79"/>
                  </a:cubicBezTo>
                  <a:cubicBezTo>
                    <a:pt x="239" y="91"/>
                    <a:pt x="237" y="110"/>
                    <a:pt x="234" y="124"/>
                  </a:cubicBezTo>
                  <a:cubicBezTo>
                    <a:pt x="230" y="137"/>
                    <a:pt x="227" y="149"/>
                    <a:pt x="226" y="163"/>
                  </a:cubicBezTo>
                  <a:cubicBezTo>
                    <a:pt x="225" y="169"/>
                    <a:pt x="224" y="177"/>
                    <a:pt x="221" y="183"/>
                  </a:cubicBezTo>
                  <a:cubicBezTo>
                    <a:pt x="211" y="181"/>
                    <a:pt x="203" y="177"/>
                    <a:pt x="194" y="174"/>
                  </a:cubicBezTo>
                  <a:cubicBezTo>
                    <a:pt x="178" y="170"/>
                    <a:pt x="162" y="170"/>
                    <a:pt x="148" y="166"/>
                  </a:cubicBezTo>
                  <a:cubicBezTo>
                    <a:pt x="131" y="160"/>
                    <a:pt x="114" y="155"/>
                    <a:pt x="105" y="174"/>
                  </a:cubicBezTo>
                  <a:cubicBezTo>
                    <a:pt x="99" y="185"/>
                    <a:pt x="96" y="199"/>
                    <a:pt x="93" y="212"/>
                  </a:cubicBezTo>
                  <a:cubicBezTo>
                    <a:pt x="91" y="224"/>
                    <a:pt x="88" y="238"/>
                    <a:pt x="86" y="250"/>
                  </a:cubicBezTo>
                  <a:cubicBezTo>
                    <a:pt x="82" y="265"/>
                    <a:pt x="79" y="282"/>
                    <a:pt x="87" y="294"/>
                  </a:cubicBezTo>
                  <a:cubicBezTo>
                    <a:pt x="95" y="306"/>
                    <a:pt x="112" y="308"/>
                    <a:pt x="126" y="311"/>
                  </a:cubicBezTo>
                  <a:cubicBezTo>
                    <a:pt x="142" y="315"/>
                    <a:pt x="159" y="318"/>
                    <a:pt x="176" y="322"/>
                  </a:cubicBezTo>
                  <a:cubicBezTo>
                    <a:pt x="183" y="323"/>
                    <a:pt x="188" y="324"/>
                    <a:pt x="195" y="326"/>
                  </a:cubicBezTo>
                  <a:cubicBezTo>
                    <a:pt x="194" y="328"/>
                    <a:pt x="193" y="330"/>
                    <a:pt x="193" y="331"/>
                  </a:cubicBezTo>
                  <a:cubicBezTo>
                    <a:pt x="190" y="338"/>
                    <a:pt x="189" y="345"/>
                    <a:pt x="187" y="353"/>
                  </a:cubicBezTo>
                  <a:cubicBezTo>
                    <a:pt x="183" y="375"/>
                    <a:pt x="174" y="398"/>
                    <a:pt x="175" y="419"/>
                  </a:cubicBezTo>
                  <a:cubicBezTo>
                    <a:pt x="177" y="449"/>
                    <a:pt x="203" y="456"/>
                    <a:pt x="228" y="457"/>
                  </a:cubicBezTo>
                  <a:cubicBezTo>
                    <a:pt x="227" y="476"/>
                    <a:pt x="227" y="476"/>
                    <a:pt x="227" y="476"/>
                  </a:cubicBezTo>
                  <a:cubicBezTo>
                    <a:pt x="251" y="477"/>
                    <a:pt x="274" y="481"/>
                    <a:pt x="299" y="486"/>
                  </a:cubicBezTo>
                  <a:cubicBezTo>
                    <a:pt x="320" y="492"/>
                    <a:pt x="320" y="492"/>
                    <a:pt x="320" y="492"/>
                  </a:cubicBezTo>
                  <a:cubicBezTo>
                    <a:pt x="319" y="494"/>
                    <a:pt x="318" y="496"/>
                    <a:pt x="317" y="499"/>
                  </a:cubicBezTo>
                  <a:cubicBezTo>
                    <a:pt x="312" y="511"/>
                    <a:pt x="308" y="524"/>
                    <a:pt x="305" y="537"/>
                  </a:cubicBezTo>
                  <a:cubicBezTo>
                    <a:pt x="304" y="536"/>
                    <a:pt x="304" y="536"/>
                    <a:pt x="304" y="536"/>
                  </a:cubicBezTo>
                  <a:cubicBezTo>
                    <a:pt x="269" y="541"/>
                    <a:pt x="235" y="543"/>
                    <a:pt x="202" y="532"/>
                  </a:cubicBezTo>
                  <a:cubicBezTo>
                    <a:pt x="161" y="520"/>
                    <a:pt x="123" y="496"/>
                    <a:pt x="92" y="468"/>
                  </a:cubicBezTo>
                  <a:cubicBezTo>
                    <a:pt x="61" y="441"/>
                    <a:pt x="35" y="407"/>
                    <a:pt x="20" y="368"/>
                  </a:cubicBezTo>
                  <a:cubicBezTo>
                    <a:pt x="2" y="326"/>
                    <a:pt x="0" y="279"/>
                    <a:pt x="9" y="235"/>
                  </a:cubicBezTo>
                  <a:cubicBezTo>
                    <a:pt x="9" y="234"/>
                    <a:pt x="10" y="232"/>
                    <a:pt x="10" y="230"/>
                  </a:cubicBezTo>
                  <a:close/>
                </a:path>
              </a:pathLst>
            </a:custGeom>
            <a:solidFill>
              <a:srgbClr val="F6B84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64" name="Freeform 433">
              <a:extLst>
                <a:ext uri="{FF2B5EF4-FFF2-40B4-BE49-F238E27FC236}">
                  <a16:creationId xmlns:a16="http://schemas.microsoft.com/office/drawing/2014/main" id="{FB6F4740-8386-41CE-9D97-0613F53E03D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718053" y="2644775"/>
              <a:ext cx="536576" cy="725488"/>
            </a:xfrm>
            <a:custGeom>
              <a:avLst/>
              <a:gdLst>
                <a:gd name="T0" fmla="*/ 33 w 319"/>
                <a:gd name="T1" fmla="*/ 398 h 432"/>
                <a:gd name="T2" fmla="*/ 76 w 319"/>
                <a:gd name="T3" fmla="*/ 400 h 432"/>
                <a:gd name="T4" fmla="*/ 91 w 319"/>
                <a:gd name="T5" fmla="*/ 384 h 432"/>
                <a:gd name="T6" fmla="*/ 102 w 319"/>
                <a:gd name="T7" fmla="*/ 332 h 432"/>
                <a:gd name="T8" fmla="*/ 107 w 319"/>
                <a:gd name="T9" fmla="*/ 295 h 432"/>
                <a:gd name="T10" fmla="*/ 153 w 319"/>
                <a:gd name="T11" fmla="*/ 298 h 432"/>
                <a:gd name="T12" fmla="*/ 157 w 319"/>
                <a:gd name="T13" fmla="*/ 299 h 432"/>
                <a:gd name="T14" fmla="*/ 193 w 319"/>
                <a:gd name="T15" fmla="*/ 305 h 432"/>
                <a:gd name="T16" fmla="*/ 217 w 319"/>
                <a:gd name="T17" fmla="*/ 308 h 432"/>
                <a:gd name="T18" fmla="*/ 232 w 319"/>
                <a:gd name="T19" fmla="*/ 272 h 432"/>
                <a:gd name="T20" fmla="*/ 244 w 319"/>
                <a:gd name="T21" fmla="*/ 215 h 432"/>
                <a:gd name="T22" fmla="*/ 236 w 319"/>
                <a:gd name="T23" fmla="*/ 167 h 432"/>
                <a:gd name="T24" fmla="*/ 185 w 319"/>
                <a:gd name="T25" fmla="*/ 153 h 432"/>
                <a:gd name="T26" fmla="*/ 148 w 319"/>
                <a:gd name="T27" fmla="*/ 149 h 432"/>
                <a:gd name="T28" fmla="*/ 141 w 319"/>
                <a:gd name="T29" fmla="*/ 142 h 432"/>
                <a:gd name="T30" fmla="*/ 141 w 319"/>
                <a:gd name="T31" fmla="*/ 140 h 432"/>
                <a:gd name="T32" fmla="*/ 153 w 319"/>
                <a:gd name="T33" fmla="*/ 86 h 432"/>
                <a:gd name="T34" fmla="*/ 161 w 319"/>
                <a:gd name="T35" fmla="*/ 47 h 432"/>
                <a:gd name="T36" fmla="*/ 160 w 319"/>
                <a:gd name="T37" fmla="*/ 33 h 432"/>
                <a:gd name="T38" fmla="*/ 181 w 319"/>
                <a:gd name="T39" fmla="*/ 32 h 432"/>
                <a:gd name="T40" fmla="*/ 176 w 319"/>
                <a:gd name="T41" fmla="*/ 25 h 432"/>
                <a:gd name="T42" fmla="*/ 194 w 319"/>
                <a:gd name="T43" fmla="*/ 0 h 432"/>
                <a:gd name="T44" fmla="*/ 235 w 319"/>
                <a:gd name="T45" fmla="*/ 35 h 432"/>
                <a:gd name="T46" fmla="*/ 269 w 319"/>
                <a:gd name="T47" fmla="*/ 77 h 432"/>
                <a:gd name="T48" fmla="*/ 296 w 319"/>
                <a:gd name="T49" fmla="*/ 127 h 432"/>
                <a:gd name="T50" fmla="*/ 312 w 319"/>
                <a:gd name="T51" fmla="*/ 251 h 432"/>
                <a:gd name="T52" fmla="*/ 277 w 319"/>
                <a:gd name="T53" fmla="*/ 340 h 432"/>
                <a:gd name="T54" fmla="*/ 279 w 319"/>
                <a:gd name="T55" fmla="*/ 341 h 432"/>
                <a:gd name="T56" fmla="*/ 278 w 319"/>
                <a:gd name="T57" fmla="*/ 346 h 432"/>
                <a:gd name="T58" fmla="*/ 232 w 319"/>
                <a:gd name="T59" fmla="*/ 343 h 432"/>
                <a:gd name="T60" fmla="*/ 117 w 319"/>
                <a:gd name="T61" fmla="*/ 388 h 432"/>
                <a:gd name="T62" fmla="*/ 93 w 319"/>
                <a:gd name="T63" fmla="*/ 432 h 432"/>
                <a:gd name="T64" fmla="*/ 72 w 319"/>
                <a:gd name="T65" fmla="*/ 426 h 432"/>
                <a:gd name="T66" fmla="*/ 0 w 319"/>
                <a:gd name="T67" fmla="*/ 416 h 432"/>
                <a:gd name="T68" fmla="*/ 1 w 319"/>
                <a:gd name="T69" fmla="*/ 397 h 432"/>
                <a:gd name="T70" fmla="*/ 33 w 319"/>
                <a:gd name="T71" fmla="*/ 398 h 4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319" h="432">
                  <a:moveTo>
                    <a:pt x="33" y="398"/>
                  </a:moveTo>
                  <a:cubicBezTo>
                    <a:pt x="48" y="398"/>
                    <a:pt x="61" y="401"/>
                    <a:pt x="76" y="400"/>
                  </a:cubicBezTo>
                  <a:cubicBezTo>
                    <a:pt x="88" y="401"/>
                    <a:pt x="89" y="394"/>
                    <a:pt x="91" y="384"/>
                  </a:cubicBezTo>
                  <a:cubicBezTo>
                    <a:pt x="95" y="365"/>
                    <a:pt x="99" y="348"/>
                    <a:pt x="102" y="332"/>
                  </a:cubicBezTo>
                  <a:cubicBezTo>
                    <a:pt x="105" y="319"/>
                    <a:pt x="106" y="307"/>
                    <a:pt x="107" y="295"/>
                  </a:cubicBezTo>
                  <a:cubicBezTo>
                    <a:pt x="122" y="295"/>
                    <a:pt x="137" y="297"/>
                    <a:pt x="153" y="298"/>
                  </a:cubicBezTo>
                  <a:cubicBezTo>
                    <a:pt x="154" y="299"/>
                    <a:pt x="156" y="299"/>
                    <a:pt x="157" y="299"/>
                  </a:cubicBezTo>
                  <a:cubicBezTo>
                    <a:pt x="169" y="301"/>
                    <a:pt x="181" y="302"/>
                    <a:pt x="193" y="305"/>
                  </a:cubicBezTo>
                  <a:cubicBezTo>
                    <a:pt x="200" y="306"/>
                    <a:pt x="210" y="310"/>
                    <a:pt x="217" y="308"/>
                  </a:cubicBezTo>
                  <a:cubicBezTo>
                    <a:pt x="230" y="306"/>
                    <a:pt x="230" y="282"/>
                    <a:pt x="232" y="272"/>
                  </a:cubicBezTo>
                  <a:cubicBezTo>
                    <a:pt x="236" y="252"/>
                    <a:pt x="238" y="233"/>
                    <a:pt x="244" y="215"/>
                  </a:cubicBezTo>
                  <a:cubicBezTo>
                    <a:pt x="250" y="197"/>
                    <a:pt x="256" y="177"/>
                    <a:pt x="236" y="167"/>
                  </a:cubicBezTo>
                  <a:cubicBezTo>
                    <a:pt x="220" y="159"/>
                    <a:pt x="201" y="156"/>
                    <a:pt x="185" y="153"/>
                  </a:cubicBezTo>
                  <a:cubicBezTo>
                    <a:pt x="173" y="150"/>
                    <a:pt x="161" y="149"/>
                    <a:pt x="148" y="149"/>
                  </a:cubicBezTo>
                  <a:cubicBezTo>
                    <a:pt x="145" y="148"/>
                    <a:pt x="140" y="147"/>
                    <a:pt x="141" y="142"/>
                  </a:cubicBezTo>
                  <a:cubicBezTo>
                    <a:pt x="141" y="140"/>
                    <a:pt x="141" y="140"/>
                    <a:pt x="141" y="140"/>
                  </a:cubicBezTo>
                  <a:cubicBezTo>
                    <a:pt x="144" y="121"/>
                    <a:pt x="149" y="103"/>
                    <a:pt x="153" y="86"/>
                  </a:cubicBezTo>
                  <a:cubicBezTo>
                    <a:pt x="156" y="72"/>
                    <a:pt x="160" y="59"/>
                    <a:pt x="161" y="47"/>
                  </a:cubicBezTo>
                  <a:cubicBezTo>
                    <a:pt x="162" y="42"/>
                    <a:pt x="162" y="37"/>
                    <a:pt x="160" y="33"/>
                  </a:cubicBezTo>
                  <a:cubicBezTo>
                    <a:pt x="181" y="32"/>
                    <a:pt x="181" y="32"/>
                    <a:pt x="181" y="32"/>
                  </a:cubicBezTo>
                  <a:cubicBezTo>
                    <a:pt x="180" y="29"/>
                    <a:pt x="179" y="27"/>
                    <a:pt x="176" y="25"/>
                  </a:cubicBezTo>
                  <a:cubicBezTo>
                    <a:pt x="194" y="0"/>
                    <a:pt x="194" y="0"/>
                    <a:pt x="194" y="0"/>
                  </a:cubicBezTo>
                  <a:cubicBezTo>
                    <a:pt x="208" y="10"/>
                    <a:pt x="222" y="22"/>
                    <a:pt x="235" y="35"/>
                  </a:cubicBezTo>
                  <a:cubicBezTo>
                    <a:pt x="247" y="48"/>
                    <a:pt x="259" y="62"/>
                    <a:pt x="269" y="77"/>
                  </a:cubicBezTo>
                  <a:cubicBezTo>
                    <a:pt x="280" y="93"/>
                    <a:pt x="289" y="109"/>
                    <a:pt x="296" y="127"/>
                  </a:cubicBezTo>
                  <a:cubicBezTo>
                    <a:pt x="313" y="166"/>
                    <a:pt x="319" y="210"/>
                    <a:pt x="312" y="251"/>
                  </a:cubicBezTo>
                  <a:cubicBezTo>
                    <a:pt x="307" y="283"/>
                    <a:pt x="292" y="312"/>
                    <a:pt x="277" y="340"/>
                  </a:cubicBezTo>
                  <a:cubicBezTo>
                    <a:pt x="277" y="340"/>
                    <a:pt x="277" y="340"/>
                    <a:pt x="279" y="341"/>
                  </a:cubicBezTo>
                  <a:cubicBezTo>
                    <a:pt x="278" y="346"/>
                    <a:pt x="278" y="346"/>
                    <a:pt x="278" y="346"/>
                  </a:cubicBezTo>
                  <a:cubicBezTo>
                    <a:pt x="263" y="343"/>
                    <a:pt x="248" y="343"/>
                    <a:pt x="232" y="343"/>
                  </a:cubicBezTo>
                  <a:cubicBezTo>
                    <a:pt x="191" y="347"/>
                    <a:pt x="145" y="356"/>
                    <a:pt x="117" y="388"/>
                  </a:cubicBezTo>
                  <a:cubicBezTo>
                    <a:pt x="106" y="401"/>
                    <a:pt x="98" y="416"/>
                    <a:pt x="93" y="432"/>
                  </a:cubicBezTo>
                  <a:cubicBezTo>
                    <a:pt x="72" y="426"/>
                    <a:pt x="72" y="426"/>
                    <a:pt x="72" y="426"/>
                  </a:cubicBezTo>
                  <a:cubicBezTo>
                    <a:pt x="47" y="421"/>
                    <a:pt x="24" y="417"/>
                    <a:pt x="0" y="416"/>
                  </a:cubicBezTo>
                  <a:cubicBezTo>
                    <a:pt x="1" y="397"/>
                    <a:pt x="1" y="397"/>
                    <a:pt x="1" y="397"/>
                  </a:cubicBezTo>
                  <a:cubicBezTo>
                    <a:pt x="13" y="398"/>
                    <a:pt x="24" y="398"/>
                    <a:pt x="33" y="398"/>
                  </a:cubicBezTo>
                  <a:close/>
                </a:path>
              </a:pathLst>
            </a:custGeom>
            <a:solidFill>
              <a:srgbClr val="F6B84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65" name="Freeform 434">
              <a:extLst>
                <a:ext uri="{FF2B5EF4-FFF2-40B4-BE49-F238E27FC236}">
                  <a16:creationId xmlns:a16="http://schemas.microsoft.com/office/drawing/2014/main" id="{BEE0E300-FD3D-472F-AE7F-48DE80CE00B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5170492" y="2774950"/>
              <a:ext cx="1011239" cy="919163"/>
            </a:xfrm>
            <a:custGeom>
              <a:avLst/>
              <a:gdLst>
                <a:gd name="T0" fmla="*/ 440 w 601"/>
                <a:gd name="T1" fmla="*/ 304 h 547"/>
                <a:gd name="T2" fmla="*/ 379 w 601"/>
                <a:gd name="T3" fmla="*/ 259 h 547"/>
                <a:gd name="T4" fmla="*/ 371 w 601"/>
                <a:gd name="T5" fmla="*/ 312 h 547"/>
                <a:gd name="T6" fmla="*/ 414 w 601"/>
                <a:gd name="T7" fmla="*/ 310 h 547"/>
                <a:gd name="T8" fmla="*/ 262 w 601"/>
                <a:gd name="T9" fmla="*/ 328 h 547"/>
                <a:gd name="T10" fmla="*/ 197 w 601"/>
                <a:gd name="T11" fmla="*/ 358 h 547"/>
                <a:gd name="T12" fmla="*/ 200 w 601"/>
                <a:gd name="T13" fmla="*/ 417 h 547"/>
                <a:gd name="T14" fmla="*/ 299 w 601"/>
                <a:gd name="T15" fmla="*/ 383 h 547"/>
                <a:gd name="T16" fmla="*/ 262 w 601"/>
                <a:gd name="T17" fmla="*/ 328 h 547"/>
                <a:gd name="T18" fmla="*/ 64 w 601"/>
                <a:gd name="T19" fmla="*/ 224 h 547"/>
                <a:gd name="T20" fmla="*/ 108 w 601"/>
                <a:gd name="T21" fmla="*/ 251 h 547"/>
                <a:gd name="T22" fmla="*/ 145 w 601"/>
                <a:gd name="T23" fmla="*/ 211 h 547"/>
                <a:gd name="T24" fmla="*/ 72 w 601"/>
                <a:gd name="T25" fmla="*/ 204 h 547"/>
                <a:gd name="T26" fmla="*/ 72 w 601"/>
                <a:gd name="T27" fmla="*/ 296 h 547"/>
                <a:gd name="T28" fmla="*/ 9 w 601"/>
                <a:gd name="T29" fmla="*/ 269 h 547"/>
                <a:gd name="T30" fmla="*/ 8 w 601"/>
                <a:gd name="T31" fmla="*/ 263 h 547"/>
                <a:gd name="T32" fmla="*/ 27 w 601"/>
                <a:gd name="T33" fmla="*/ 50 h 547"/>
                <a:gd name="T34" fmla="*/ 1 w 601"/>
                <a:gd name="T35" fmla="*/ 0 h 547"/>
                <a:gd name="T36" fmla="*/ 33 w 601"/>
                <a:gd name="T37" fmla="*/ 7 h 547"/>
                <a:gd name="T38" fmla="*/ 174 w 601"/>
                <a:gd name="T39" fmla="*/ 40 h 547"/>
                <a:gd name="T40" fmla="*/ 248 w 601"/>
                <a:gd name="T41" fmla="*/ 56 h 547"/>
                <a:gd name="T42" fmla="*/ 306 w 601"/>
                <a:gd name="T43" fmla="*/ 67 h 547"/>
                <a:gd name="T44" fmla="*/ 494 w 601"/>
                <a:gd name="T45" fmla="*/ 107 h 547"/>
                <a:gd name="T46" fmla="*/ 579 w 601"/>
                <a:gd name="T47" fmla="*/ 125 h 547"/>
                <a:gd name="T48" fmla="*/ 598 w 601"/>
                <a:gd name="T49" fmla="*/ 127 h 547"/>
                <a:gd name="T50" fmla="*/ 591 w 601"/>
                <a:gd name="T51" fmla="*/ 141 h 547"/>
                <a:gd name="T52" fmla="*/ 499 w 601"/>
                <a:gd name="T53" fmla="*/ 375 h 547"/>
                <a:gd name="T54" fmla="*/ 326 w 601"/>
                <a:gd name="T55" fmla="*/ 440 h 547"/>
                <a:gd name="T56" fmla="*/ 289 w 601"/>
                <a:gd name="T57" fmla="*/ 547 h 547"/>
                <a:gd name="T58" fmla="*/ 270 w 601"/>
                <a:gd name="T59" fmla="*/ 545 h 547"/>
                <a:gd name="T60" fmla="*/ 202 w 601"/>
                <a:gd name="T61" fmla="*/ 533 h 547"/>
                <a:gd name="T62" fmla="*/ 142 w 601"/>
                <a:gd name="T63" fmla="*/ 518 h 547"/>
                <a:gd name="T64" fmla="*/ 123 w 601"/>
                <a:gd name="T65" fmla="*/ 512 h 547"/>
                <a:gd name="T66" fmla="*/ 137 w 601"/>
                <a:gd name="T67" fmla="*/ 480 h 547"/>
                <a:gd name="T68" fmla="*/ 73 w 601"/>
                <a:gd name="T69" fmla="*/ 295 h 5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601" h="547">
                  <a:moveTo>
                    <a:pt x="440" y="310"/>
                  </a:moveTo>
                  <a:cubicBezTo>
                    <a:pt x="440" y="304"/>
                    <a:pt x="440" y="304"/>
                    <a:pt x="440" y="304"/>
                  </a:cubicBezTo>
                  <a:cubicBezTo>
                    <a:pt x="425" y="297"/>
                    <a:pt x="412" y="284"/>
                    <a:pt x="400" y="274"/>
                  </a:cubicBezTo>
                  <a:cubicBezTo>
                    <a:pt x="396" y="269"/>
                    <a:pt x="387" y="260"/>
                    <a:pt x="379" y="259"/>
                  </a:cubicBezTo>
                  <a:cubicBezTo>
                    <a:pt x="375" y="267"/>
                    <a:pt x="372" y="273"/>
                    <a:pt x="370" y="282"/>
                  </a:cubicBezTo>
                  <a:cubicBezTo>
                    <a:pt x="369" y="290"/>
                    <a:pt x="358" y="307"/>
                    <a:pt x="371" y="312"/>
                  </a:cubicBezTo>
                  <a:cubicBezTo>
                    <a:pt x="376" y="313"/>
                    <a:pt x="385" y="312"/>
                    <a:pt x="390" y="313"/>
                  </a:cubicBezTo>
                  <a:cubicBezTo>
                    <a:pt x="397" y="312"/>
                    <a:pt x="407" y="311"/>
                    <a:pt x="414" y="310"/>
                  </a:cubicBezTo>
                  <a:cubicBezTo>
                    <a:pt x="423" y="311"/>
                    <a:pt x="432" y="310"/>
                    <a:pt x="440" y="310"/>
                  </a:cubicBezTo>
                  <a:close/>
                  <a:moveTo>
                    <a:pt x="262" y="328"/>
                  </a:moveTo>
                  <a:cubicBezTo>
                    <a:pt x="256" y="328"/>
                    <a:pt x="256" y="328"/>
                    <a:pt x="256" y="328"/>
                  </a:cubicBezTo>
                  <a:cubicBezTo>
                    <a:pt x="231" y="323"/>
                    <a:pt x="209" y="336"/>
                    <a:pt x="197" y="358"/>
                  </a:cubicBezTo>
                  <a:cubicBezTo>
                    <a:pt x="193" y="366"/>
                    <a:pt x="189" y="378"/>
                    <a:pt x="189" y="387"/>
                  </a:cubicBezTo>
                  <a:cubicBezTo>
                    <a:pt x="187" y="398"/>
                    <a:pt x="193" y="409"/>
                    <a:pt x="200" y="417"/>
                  </a:cubicBezTo>
                  <a:cubicBezTo>
                    <a:pt x="216" y="435"/>
                    <a:pt x="238" y="448"/>
                    <a:pt x="261" y="441"/>
                  </a:cubicBezTo>
                  <a:cubicBezTo>
                    <a:pt x="285" y="432"/>
                    <a:pt x="301" y="409"/>
                    <a:pt x="299" y="383"/>
                  </a:cubicBezTo>
                  <a:cubicBezTo>
                    <a:pt x="300" y="371"/>
                    <a:pt x="297" y="360"/>
                    <a:pt x="292" y="352"/>
                  </a:cubicBezTo>
                  <a:cubicBezTo>
                    <a:pt x="286" y="339"/>
                    <a:pt x="275" y="333"/>
                    <a:pt x="262" y="328"/>
                  </a:cubicBezTo>
                  <a:close/>
                  <a:moveTo>
                    <a:pt x="72" y="204"/>
                  </a:moveTo>
                  <a:cubicBezTo>
                    <a:pt x="69" y="210"/>
                    <a:pt x="64" y="217"/>
                    <a:pt x="64" y="224"/>
                  </a:cubicBezTo>
                  <a:cubicBezTo>
                    <a:pt x="64" y="233"/>
                    <a:pt x="72" y="240"/>
                    <a:pt x="80" y="243"/>
                  </a:cubicBezTo>
                  <a:cubicBezTo>
                    <a:pt x="88" y="247"/>
                    <a:pt x="98" y="249"/>
                    <a:pt x="108" y="251"/>
                  </a:cubicBezTo>
                  <a:cubicBezTo>
                    <a:pt x="117" y="253"/>
                    <a:pt x="126" y="257"/>
                    <a:pt x="136" y="255"/>
                  </a:cubicBezTo>
                  <a:cubicBezTo>
                    <a:pt x="156" y="250"/>
                    <a:pt x="168" y="221"/>
                    <a:pt x="145" y="211"/>
                  </a:cubicBezTo>
                  <a:cubicBezTo>
                    <a:pt x="132" y="206"/>
                    <a:pt x="118" y="205"/>
                    <a:pt x="104" y="204"/>
                  </a:cubicBezTo>
                  <a:cubicBezTo>
                    <a:pt x="93" y="203"/>
                    <a:pt x="83" y="203"/>
                    <a:pt x="72" y="204"/>
                  </a:cubicBezTo>
                  <a:close/>
                  <a:moveTo>
                    <a:pt x="73" y="295"/>
                  </a:moveTo>
                  <a:cubicBezTo>
                    <a:pt x="72" y="296"/>
                    <a:pt x="72" y="296"/>
                    <a:pt x="72" y="296"/>
                  </a:cubicBezTo>
                  <a:cubicBezTo>
                    <a:pt x="58" y="286"/>
                    <a:pt x="44" y="278"/>
                    <a:pt x="28" y="273"/>
                  </a:cubicBezTo>
                  <a:cubicBezTo>
                    <a:pt x="22" y="271"/>
                    <a:pt x="15" y="270"/>
                    <a:pt x="9" y="269"/>
                  </a:cubicBezTo>
                  <a:cubicBezTo>
                    <a:pt x="10" y="264"/>
                    <a:pt x="10" y="264"/>
                    <a:pt x="10" y="264"/>
                  </a:cubicBezTo>
                  <a:cubicBezTo>
                    <a:pt x="8" y="263"/>
                    <a:pt x="8" y="263"/>
                    <a:pt x="8" y="263"/>
                  </a:cubicBezTo>
                  <a:cubicBezTo>
                    <a:pt x="23" y="235"/>
                    <a:pt x="38" y="206"/>
                    <a:pt x="43" y="174"/>
                  </a:cubicBezTo>
                  <a:cubicBezTo>
                    <a:pt x="50" y="133"/>
                    <a:pt x="44" y="89"/>
                    <a:pt x="27" y="50"/>
                  </a:cubicBezTo>
                  <a:cubicBezTo>
                    <a:pt x="20" y="32"/>
                    <a:pt x="11" y="16"/>
                    <a:pt x="0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2" y="2"/>
                    <a:pt x="5" y="3"/>
                    <a:pt x="9" y="4"/>
                  </a:cubicBezTo>
                  <a:cubicBezTo>
                    <a:pt x="17" y="5"/>
                    <a:pt x="26" y="5"/>
                    <a:pt x="33" y="7"/>
                  </a:cubicBezTo>
                  <a:cubicBezTo>
                    <a:pt x="55" y="12"/>
                    <a:pt x="76" y="18"/>
                    <a:pt x="97" y="22"/>
                  </a:cubicBezTo>
                  <a:cubicBezTo>
                    <a:pt x="124" y="28"/>
                    <a:pt x="149" y="35"/>
                    <a:pt x="174" y="40"/>
                  </a:cubicBezTo>
                  <a:cubicBezTo>
                    <a:pt x="188" y="43"/>
                    <a:pt x="199" y="46"/>
                    <a:pt x="213" y="49"/>
                  </a:cubicBezTo>
                  <a:cubicBezTo>
                    <a:pt x="225" y="51"/>
                    <a:pt x="236" y="55"/>
                    <a:pt x="248" y="56"/>
                  </a:cubicBezTo>
                  <a:cubicBezTo>
                    <a:pt x="259" y="57"/>
                    <a:pt x="267" y="58"/>
                    <a:pt x="278" y="61"/>
                  </a:cubicBezTo>
                  <a:cubicBezTo>
                    <a:pt x="287" y="64"/>
                    <a:pt x="296" y="66"/>
                    <a:pt x="306" y="67"/>
                  </a:cubicBezTo>
                  <a:cubicBezTo>
                    <a:pt x="330" y="70"/>
                    <a:pt x="354" y="77"/>
                    <a:pt x="377" y="82"/>
                  </a:cubicBezTo>
                  <a:cubicBezTo>
                    <a:pt x="416" y="90"/>
                    <a:pt x="455" y="98"/>
                    <a:pt x="494" y="107"/>
                  </a:cubicBezTo>
                  <a:cubicBezTo>
                    <a:pt x="513" y="111"/>
                    <a:pt x="533" y="115"/>
                    <a:pt x="552" y="119"/>
                  </a:cubicBezTo>
                  <a:cubicBezTo>
                    <a:pt x="560" y="121"/>
                    <a:pt x="570" y="123"/>
                    <a:pt x="579" y="125"/>
                  </a:cubicBezTo>
                  <a:cubicBezTo>
                    <a:pt x="582" y="125"/>
                    <a:pt x="585" y="126"/>
                    <a:pt x="589" y="127"/>
                  </a:cubicBezTo>
                  <a:cubicBezTo>
                    <a:pt x="591" y="127"/>
                    <a:pt x="594" y="126"/>
                    <a:pt x="598" y="127"/>
                  </a:cubicBezTo>
                  <a:cubicBezTo>
                    <a:pt x="601" y="134"/>
                    <a:pt x="601" y="134"/>
                    <a:pt x="601" y="134"/>
                  </a:cubicBezTo>
                  <a:cubicBezTo>
                    <a:pt x="597" y="136"/>
                    <a:pt x="594" y="139"/>
                    <a:pt x="591" y="141"/>
                  </a:cubicBezTo>
                  <a:cubicBezTo>
                    <a:pt x="551" y="173"/>
                    <a:pt x="520" y="218"/>
                    <a:pt x="506" y="268"/>
                  </a:cubicBezTo>
                  <a:cubicBezTo>
                    <a:pt x="495" y="303"/>
                    <a:pt x="496" y="340"/>
                    <a:pt x="499" y="375"/>
                  </a:cubicBezTo>
                  <a:cubicBezTo>
                    <a:pt x="471" y="367"/>
                    <a:pt x="443" y="363"/>
                    <a:pt x="415" y="373"/>
                  </a:cubicBezTo>
                  <a:cubicBezTo>
                    <a:pt x="379" y="384"/>
                    <a:pt x="348" y="410"/>
                    <a:pt x="326" y="440"/>
                  </a:cubicBezTo>
                  <a:cubicBezTo>
                    <a:pt x="305" y="464"/>
                    <a:pt x="292" y="495"/>
                    <a:pt x="290" y="526"/>
                  </a:cubicBezTo>
                  <a:cubicBezTo>
                    <a:pt x="289" y="533"/>
                    <a:pt x="289" y="540"/>
                    <a:pt x="289" y="547"/>
                  </a:cubicBezTo>
                  <a:cubicBezTo>
                    <a:pt x="286" y="547"/>
                    <a:pt x="286" y="547"/>
                    <a:pt x="286" y="547"/>
                  </a:cubicBezTo>
                  <a:cubicBezTo>
                    <a:pt x="281" y="546"/>
                    <a:pt x="276" y="545"/>
                    <a:pt x="270" y="545"/>
                  </a:cubicBezTo>
                  <a:cubicBezTo>
                    <a:pt x="263" y="544"/>
                    <a:pt x="255" y="542"/>
                    <a:pt x="247" y="540"/>
                  </a:cubicBezTo>
                  <a:cubicBezTo>
                    <a:pt x="231" y="539"/>
                    <a:pt x="216" y="535"/>
                    <a:pt x="202" y="533"/>
                  </a:cubicBezTo>
                  <a:cubicBezTo>
                    <a:pt x="189" y="530"/>
                    <a:pt x="175" y="527"/>
                    <a:pt x="162" y="524"/>
                  </a:cubicBezTo>
                  <a:cubicBezTo>
                    <a:pt x="155" y="522"/>
                    <a:pt x="148" y="519"/>
                    <a:pt x="142" y="518"/>
                  </a:cubicBezTo>
                  <a:cubicBezTo>
                    <a:pt x="138" y="517"/>
                    <a:pt x="135" y="516"/>
                    <a:pt x="132" y="516"/>
                  </a:cubicBezTo>
                  <a:cubicBezTo>
                    <a:pt x="128" y="515"/>
                    <a:pt x="127" y="513"/>
                    <a:pt x="123" y="512"/>
                  </a:cubicBezTo>
                  <a:cubicBezTo>
                    <a:pt x="123" y="512"/>
                    <a:pt x="123" y="512"/>
                    <a:pt x="123" y="512"/>
                  </a:cubicBezTo>
                  <a:cubicBezTo>
                    <a:pt x="129" y="502"/>
                    <a:pt x="134" y="491"/>
                    <a:pt x="137" y="480"/>
                  </a:cubicBezTo>
                  <a:cubicBezTo>
                    <a:pt x="147" y="450"/>
                    <a:pt x="151" y="417"/>
                    <a:pt x="143" y="386"/>
                  </a:cubicBezTo>
                  <a:cubicBezTo>
                    <a:pt x="132" y="347"/>
                    <a:pt x="102" y="320"/>
                    <a:pt x="73" y="295"/>
                  </a:cubicBezTo>
                  <a:close/>
                </a:path>
              </a:pathLst>
            </a:custGeom>
            <a:solidFill>
              <a:srgbClr val="3C3C3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66" name="Freeform 435">
              <a:extLst>
                <a:ext uri="{FF2B5EF4-FFF2-40B4-BE49-F238E27FC236}">
                  <a16:creationId xmlns:a16="http://schemas.microsoft.com/office/drawing/2014/main" id="{46197827-708A-480D-A39E-AA728CA5BC0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44951" y="2930525"/>
              <a:ext cx="804863" cy="1116013"/>
            </a:xfrm>
            <a:custGeom>
              <a:avLst/>
              <a:gdLst>
                <a:gd name="T0" fmla="*/ 182 w 478"/>
                <a:gd name="T1" fmla="*/ 5 h 664"/>
                <a:gd name="T2" fmla="*/ 193 w 478"/>
                <a:gd name="T3" fmla="*/ 138 h 664"/>
                <a:gd name="T4" fmla="*/ 265 w 478"/>
                <a:gd name="T5" fmla="*/ 238 h 664"/>
                <a:gd name="T6" fmla="*/ 375 w 478"/>
                <a:gd name="T7" fmla="*/ 302 h 664"/>
                <a:gd name="T8" fmla="*/ 477 w 478"/>
                <a:gd name="T9" fmla="*/ 306 h 664"/>
                <a:gd name="T10" fmla="*/ 478 w 478"/>
                <a:gd name="T11" fmla="*/ 307 h 664"/>
                <a:gd name="T12" fmla="*/ 472 w 478"/>
                <a:gd name="T13" fmla="*/ 328 h 664"/>
                <a:gd name="T14" fmla="*/ 466 w 478"/>
                <a:gd name="T15" fmla="*/ 382 h 664"/>
                <a:gd name="T16" fmla="*/ 475 w 478"/>
                <a:gd name="T17" fmla="*/ 411 h 664"/>
                <a:gd name="T18" fmla="*/ 472 w 478"/>
                <a:gd name="T19" fmla="*/ 413 h 664"/>
                <a:gd name="T20" fmla="*/ 304 w 478"/>
                <a:gd name="T21" fmla="*/ 614 h 664"/>
                <a:gd name="T22" fmla="*/ 187 w 478"/>
                <a:gd name="T23" fmla="*/ 664 h 664"/>
                <a:gd name="T24" fmla="*/ 82 w 478"/>
                <a:gd name="T25" fmla="*/ 626 h 664"/>
                <a:gd name="T26" fmla="*/ 15 w 478"/>
                <a:gd name="T27" fmla="*/ 550 h 664"/>
                <a:gd name="T28" fmla="*/ 4 w 478"/>
                <a:gd name="T29" fmla="*/ 461 h 664"/>
                <a:gd name="T30" fmla="*/ 40 w 478"/>
                <a:gd name="T31" fmla="*/ 357 h 664"/>
                <a:gd name="T32" fmla="*/ 95 w 478"/>
                <a:gd name="T33" fmla="*/ 231 h 664"/>
                <a:gd name="T34" fmla="*/ 183 w 478"/>
                <a:gd name="T35" fmla="*/ 0 h 664"/>
                <a:gd name="T36" fmla="*/ 182 w 478"/>
                <a:gd name="T37" fmla="*/ 5 h 6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78" h="664">
                  <a:moveTo>
                    <a:pt x="182" y="5"/>
                  </a:moveTo>
                  <a:cubicBezTo>
                    <a:pt x="173" y="49"/>
                    <a:pt x="175" y="96"/>
                    <a:pt x="193" y="138"/>
                  </a:cubicBezTo>
                  <a:cubicBezTo>
                    <a:pt x="208" y="177"/>
                    <a:pt x="234" y="211"/>
                    <a:pt x="265" y="238"/>
                  </a:cubicBezTo>
                  <a:cubicBezTo>
                    <a:pt x="296" y="266"/>
                    <a:pt x="334" y="290"/>
                    <a:pt x="375" y="302"/>
                  </a:cubicBezTo>
                  <a:cubicBezTo>
                    <a:pt x="408" y="313"/>
                    <a:pt x="442" y="311"/>
                    <a:pt x="477" y="306"/>
                  </a:cubicBezTo>
                  <a:cubicBezTo>
                    <a:pt x="478" y="307"/>
                    <a:pt x="478" y="307"/>
                    <a:pt x="478" y="307"/>
                  </a:cubicBezTo>
                  <a:cubicBezTo>
                    <a:pt x="476" y="314"/>
                    <a:pt x="474" y="321"/>
                    <a:pt x="472" y="328"/>
                  </a:cubicBezTo>
                  <a:cubicBezTo>
                    <a:pt x="468" y="347"/>
                    <a:pt x="465" y="364"/>
                    <a:pt x="466" y="382"/>
                  </a:cubicBezTo>
                  <a:cubicBezTo>
                    <a:pt x="468" y="393"/>
                    <a:pt x="471" y="402"/>
                    <a:pt x="475" y="411"/>
                  </a:cubicBezTo>
                  <a:cubicBezTo>
                    <a:pt x="472" y="413"/>
                    <a:pt x="472" y="413"/>
                    <a:pt x="472" y="413"/>
                  </a:cubicBezTo>
                  <a:cubicBezTo>
                    <a:pt x="420" y="483"/>
                    <a:pt x="372" y="558"/>
                    <a:pt x="304" y="614"/>
                  </a:cubicBezTo>
                  <a:cubicBezTo>
                    <a:pt x="272" y="641"/>
                    <a:pt x="231" y="664"/>
                    <a:pt x="187" y="664"/>
                  </a:cubicBezTo>
                  <a:cubicBezTo>
                    <a:pt x="148" y="664"/>
                    <a:pt x="113" y="648"/>
                    <a:pt x="82" y="626"/>
                  </a:cubicBezTo>
                  <a:cubicBezTo>
                    <a:pt x="55" y="606"/>
                    <a:pt x="30" y="581"/>
                    <a:pt x="15" y="550"/>
                  </a:cubicBezTo>
                  <a:cubicBezTo>
                    <a:pt x="2" y="522"/>
                    <a:pt x="0" y="490"/>
                    <a:pt x="4" y="461"/>
                  </a:cubicBezTo>
                  <a:cubicBezTo>
                    <a:pt x="10" y="425"/>
                    <a:pt x="26" y="391"/>
                    <a:pt x="40" y="357"/>
                  </a:cubicBezTo>
                  <a:cubicBezTo>
                    <a:pt x="58" y="315"/>
                    <a:pt x="78" y="273"/>
                    <a:pt x="95" y="231"/>
                  </a:cubicBezTo>
                  <a:cubicBezTo>
                    <a:pt x="127" y="155"/>
                    <a:pt x="156" y="78"/>
                    <a:pt x="183" y="0"/>
                  </a:cubicBezTo>
                  <a:cubicBezTo>
                    <a:pt x="183" y="2"/>
                    <a:pt x="182" y="4"/>
                    <a:pt x="182" y="5"/>
                  </a:cubicBezTo>
                  <a:close/>
                </a:path>
              </a:pathLst>
            </a:custGeom>
            <a:solidFill>
              <a:srgbClr val="3C3C3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67" name="Freeform 436">
              <a:extLst>
                <a:ext uri="{FF2B5EF4-FFF2-40B4-BE49-F238E27FC236}">
                  <a16:creationId xmlns:a16="http://schemas.microsoft.com/office/drawing/2014/main" id="{7FAB6576-0F4C-4C8D-8CEA-60AB2F607F5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643440" y="2373313"/>
              <a:ext cx="482600" cy="330200"/>
            </a:xfrm>
            <a:custGeom>
              <a:avLst/>
              <a:gdLst>
                <a:gd name="T0" fmla="*/ 279 w 286"/>
                <a:gd name="T1" fmla="*/ 197 h 197"/>
                <a:gd name="T2" fmla="*/ 238 w 286"/>
                <a:gd name="T3" fmla="*/ 162 h 197"/>
                <a:gd name="T4" fmla="*/ 55 w 286"/>
                <a:gd name="T5" fmla="*/ 108 h 197"/>
                <a:gd name="T6" fmla="*/ 0 w 286"/>
                <a:gd name="T7" fmla="*/ 121 h 197"/>
                <a:gd name="T8" fmla="*/ 45 w 286"/>
                <a:gd name="T9" fmla="*/ 28 h 197"/>
                <a:gd name="T10" fmla="*/ 77 w 286"/>
                <a:gd name="T11" fmla="*/ 5 h 197"/>
                <a:gd name="T12" fmla="*/ 133 w 286"/>
                <a:gd name="T13" fmla="*/ 6 h 197"/>
                <a:gd name="T14" fmla="*/ 206 w 286"/>
                <a:gd name="T15" fmla="*/ 22 h 197"/>
                <a:gd name="T16" fmla="*/ 256 w 286"/>
                <a:gd name="T17" fmla="*/ 45 h 197"/>
                <a:gd name="T18" fmla="*/ 280 w 286"/>
                <a:gd name="T19" fmla="*/ 78 h 197"/>
                <a:gd name="T20" fmla="*/ 283 w 286"/>
                <a:gd name="T21" fmla="*/ 126 h 197"/>
                <a:gd name="T22" fmla="*/ 279 w 286"/>
                <a:gd name="T23" fmla="*/ 180 h 197"/>
                <a:gd name="T24" fmla="*/ 281 w 286"/>
                <a:gd name="T25" fmla="*/ 193 h 197"/>
                <a:gd name="T26" fmla="*/ 282 w 286"/>
                <a:gd name="T27" fmla="*/ 194 h 197"/>
                <a:gd name="T28" fmla="*/ 279 w 286"/>
                <a:gd name="T29" fmla="*/ 197 h 1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86" h="197">
                  <a:moveTo>
                    <a:pt x="279" y="197"/>
                  </a:moveTo>
                  <a:cubicBezTo>
                    <a:pt x="266" y="184"/>
                    <a:pt x="252" y="172"/>
                    <a:pt x="238" y="162"/>
                  </a:cubicBezTo>
                  <a:cubicBezTo>
                    <a:pt x="185" y="124"/>
                    <a:pt x="120" y="102"/>
                    <a:pt x="55" y="108"/>
                  </a:cubicBezTo>
                  <a:cubicBezTo>
                    <a:pt x="36" y="110"/>
                    <a:pt x="18" y="114"/>
                    <a:pt x="0" y="121"/>
                  </a:cubicBezTo>
                  <a:cubicBezTo>
                    <a:pt x="15" y="90"/>
                    <a:pt x="25" y="54"/>
                    <a:pt x="45" y="28"/>
                  </a:cubicBezTo>
                  <a:cubicBezTo>
                    <a:pt x="53" y="18"/>
                    <a:pt x="64" y="9"/>
                    <a:pt x="77" y="5"/>
                  </a:cubicBezTo>
                  <a:cubicBezTo>
                    <a:pt x="96" y="0"/>
                    <a:pt x="116" y="4"/>
                    <a:pt x="133" y="6"/>
                  </a:cubicBezTo>
                  <a:cubicBezTo>
                    <a:pt x="159" y="10"/>
                    <a:pt x="183" y="15"/>
                    <a:pt x="206" y="22"/>
                  </a:cubicBezTo>
                  <a:cubicBezTo>
                    <a:pt x="224" y="27"/>
                    <a:pt x="241" y="33"/>
                    <a:pt x="256" y="45"/>
                  </a:cubicBezTo>
                  <a:cubicBezTo>
                    <a:pt x="268" y="53"/>
                    <a:pt x="277" y="63"/>
                    <a:pt x="280" y="78"/>
                  </a:cubicBezTo>
                  <a:cubicBezTo>
                    <a:pt x="286" y="94"/>
                    <a:pt x="284" y="111"/>
                    <a:pt x="283" y="126"/>
                  </a:cubicBezTo>
                  <a:cubicBezTo>
                    <a:pt x="281" y="143"/>
                    <a:pt x="278" y="163"/>
                    <a:pt x="279" y="180"/>
                  </a:cubicBezTo>
                  <a:cubicBezTo>
                    <a:pt x="279" y="185"/>
                    <a:pt x="280" y="189"/>
                    <a:pt x="281" y="193"/>
                  </a:cubicBezTo>
                  <a:cubicBezTo>
                    <a:pt x="282" y="194"/>
                    <a:pt x="282" y="194"/>
                    <a:pt x="282" y="194"/>
                  </a:cubicBezTo>
                  <a:lnTo>
                    <a:pt x="279" y="197"/>
                  </a:lnTo>
                  <a:close/>
                </a:path>
              </a:pathLst>
            </a:custGeom>
            <a:solidFill>
              <a:srgbClr val="3C3C3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68" name="Freeform 437">
              <a:extLst>
                <a:ext uri="{FF2B5EF4-FFF2-40B4-BE49-F238E27FC236}">
                  <a16:creationId xmlns:a16="http://schemas.microsoft.com/office/drawing/2014/main" id="{D7804822-675B-4BA9-A31B-DF35836085F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145217" y="3482975"/>
              <a:ext cx="735013" cy="1009650"/>
            </a:xfrm>
            <a:custGeom>
              <a:avLst/>
              <a:gdLst>
                <a:gd name="T0" fmla="*/ 433 w 437"/>
                <a:gd name="T1" fmla="*/ 125 h 600"/>
                <a:gd name="T2" fmla="*/ 431 w 437"/>
                <a:gd name="T3" fmla="*/ 271 h 600"/>
                <a:gd name="T4" fmla="*/ 429 w 437"/>
                <a:gd name="T5" fmla="*/ 352 h 600"/>
                <a:gd name="T6" fmla="*/ 429 w 437"/>
                <a:gd name="T7" fmla="*/ 414 h 600"/>
                <a:gd name="T8" fmla="*/ 400 w 437"/>
                <a:gd name="T9" fmla="*/ 516 h 600"/>
                <a:gd name="T10" fmla="*/ 343 w 437"/>
                <a:gd name="T11" fmla="*/ 583 h 600"/>
                <a:gd name="T12" fmla="*/ 300 w 437"/>
                <a:gd name="T13" fmla="*/ 594 h 600"/>
                <a:gd name="T14" fmla="*/ 241 w 437"/>
                <a:gd name="T15" fmla="*/ 599 h 600"/>
                <a:gd name="T16" fmla="*/ 137 w 437"/>
                <a:gd name="T17" fmla="*/ 571 h 600"/>
                <a:gd name="T18" fmla="*/ 73 w 437"/>
                <a:gd name="T19" fmla="*/ 491 h 600"/>
                <a:gd name="T20" fmla="*/ 40 w 437"/>
                <a:gd name="T21" fmla="*/ 370 h 600"/>
                <a:gd name="T22" fmla="*/ 0 w 437"/>
                <a:gd name="T23" fmla="*/ 236 h 600"/>
                <a:gd name="T24" fmla="*/ 49 w 437"/>
                <a:gd name="T25" fmla="*/ 151 h 600"/>
                <a:gd name="T26" fmla="*/ 50 w 437"/>
                <a:gd name="T27" fmla="*/ 149 h 600"/>
                <a:gd name="T28" fmla="*/ 113 w 437"/>
                <a:gd name="T29" fmla="*/ 176 h 600"/>
                <a:gd name="T30" fmla="*/ 193 w 437"/>
                <a:gd name="T31" fmla="*/ 184 h 600"/>
                <a:gd name="T32" fmla="*/ 353 w 437"/>
                <a:gd name="T33" fmla="*/ 120 h 600"/>
                <a:gd name="T34" fmla="*/ 436 w 437"/>
                <a:gd name="T35" fmla="*/ 0 h 600"/>
                <a:gd name="T36" fmla="*/ 433 w 437"/>
                <a:gd name="T37" fmla="*/ 125 h 6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37" h="600">
                  <a:moveTo>
                    <a:pt x="433" y="125"/>
                  </a:moveTo>
                  <a:cubicBezTo>
                    <a:pt x="437" y="174"/>
                    <a:pt x="432" y="222"/>
                    <a:pt x="431" y="271"/>
                  </a:cubicBezTo>
                  <a:cubicBezTo>
                    <a:pt x="429" y="297"/>
                    <a:pt x="428" y="325"/>
                    <a:pt x="429" y="352"/>
                  </a:cubicBezTo>
                  <a:cubicBezTo>
                    <a:pt x="429" y="372"/>
                    <a:pt x="429" y="393"/>
                    <a:pt x="429" y="414"/>
                  </a:cubicBezTo>
                  <a:cubicBezTo>
                    <a:pt x="426" y="449"/>
                    <a:pt x="414" y="483"/>
                    <a:pt x="400" y="516"/>
                  </a:cubicBezTo>
                  <a:cubicBezTo>
                    <a:pt x="387" y="541"/>
                    <a:pt x="372" y="572"/>
                    <a:pt x="343" y="583"/>
                  </a:cubicBezTo>
                  <a:cubicBezTo>
                    <a:pt x="329" y="589"/>
                    <a:pt x="315" y="591"/>
                    <a:pt x="300" y="594"/>
                  </a:cubicBezTo>
                  <a:cubicBezTo>
                    <a:pt x="280" y="596"/>
                    <a:pt x="261" y="598"/>
                    <a:pt x="241" y="599"/>
                  </a:cubicBezTo>
                  <a:cubicBezTo>
                    <a:pt x="204" y="600"/>
                    <a:pt x="167" y="595"/>
                    <a:pt x="137" y="571"/>
                  </a:cubicBezTo>
                  <a:cubicBezTo>
                    <a:pt x="109" y="551"/>
                    <a:pt x="89" y="521"/>
                    <a:pt x="73" y="491"/>
                  </a:cubicBezTo>
                  <a:cubicBezTo>
                    <a:pt x="54" y="453"/>
                    <a:pt x="49" y="411"/>
                    <a:pt x="40" y="370"/>
                  </a:cubicBezTo>
                  <a:cubicBezTo>
                    <a:pt x="33" y="324"/>
                    <a:pt x="18" y="279"/>
                    <a:pt x="0" y="236"/>
                  </a:cubicBezTo>
                  <a:cubicBezTo>
                    <a:pt x="24" y="213"/>
                    <a:pt x="42" y="185"/>
                    <a:pt x="49" y="151"/>
                  </a:cubicBezTo>
                  <a:cubicBezTo>
                    <a:pt x="50" y="151"/>
                    <a:pt x="50" y="150"/>
                    <a:pt x="50" y="149"/>
                  </a:cubicBezTo>
                  <a:cubicBezTo>
                    <a:pt x="70" y="160"/>
                    <a:pt x="91" y="169"/>
                    <a:pt x="113" y="176"/>
                  </a:cubicBezTo>
                  <a:cubicBezTo>
                    <a:pt x="140" y="183"/>
                    <a:pt x="166" y="185"/>
                    <a:pt x="193" y="184"/>
                  </a:cubicBezTo>
                  <a:cubicBezTo>
                    <a:pt x="251" y="178"/>
                    <a:pt x="308" y="157"/>
                    <a:pt x="353" y="120"/>
                  </a:cubicBezTo>
                  <a:cubicBezTo>
                    <a:pt x="392" y="90"/>
                    <a:pt x="420" y="47"/>
                    <a:pt x="436" y="0"/>
                  </a:cubicBezTo>
                  <a:cubicBezTo>
                    <a:pt x="432" y="41"/>
                    <a:pt x="432" y="84"/>
                    <a:pt x="433" y="125"/>
                  </a:cubicBezTo>
                  <a:close/>
                </a:path>
              </a:pathLst>
            </a:custGeom>
            <a:solidFill>
              <a:srgbClr val="3C3C3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69" name="Freeform 438">
              <a:extLst>
                <a:ext uri="{FF2B5EF4-FFF2-40B4-BE49-F238E27FC236}">
                  <a16:creationId xmlns:a16="http://schemas.microsoft.com/office/drawing/2014/main" id="{E076F66F-E152-4C95-9995-56E91A03BFA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003928" y="2878138"/>
              <a:ext cx="904876" cy="915988"/>
            </a:xfrm>
            <a:custGeom>
              <a:avLst/>
              <a:gdLst>
                <a:gd name="T0" fmla="*/ 153 w 538"/>
                <a:gd name="T1" fmla="*/ 337 h 545"/>
                <a:gd name="T2" fmla="*/ 166 w 538"/>
                <a:gd name="T3" fmla="*/ 349 h 545"/>
                <a:gd name="T4" fmla="*/ 163 w 538"/>
                <a:gd name="T5" fmla="*/ 389 h 545"/>
                <a:gd name="T6" fmla="*/ 160 w 538"/>
                <a:gd name="T7" fmla="*/ 429 h 545"/>
                <a:gd name="T8" fmla="*/ 191 w 538"/>
                <a:gd name="T9" fmla="*/ 455 h 545"/>
                <a:gd name="T10" fmla="*/ 255 w 538"/>
                <a:gd name="T11" fmla="*/ 463 h 545"/>
                <a:gd name="T12" fmla="*/ 292 w 538"/>
                <a:gd name="T13" fmla="*/ 455 h 545"/>
                <a:gd name="T14" fmla="*/ 308 w 538"/>
                <a:gd name="T15" fmla="*/ 412 h 545"/>
                <a:gd name="T16" fmla="*/ 319 w 538"/>
                <a:gd name="T17" fmla="*/ 375 h 545"/>
                <a:gd name="T18" fmla="*/ 325 w 538"/>
                <a:gd name="T19" fmla="*/ 377 h 545"/>
                <a:gd name="T20" fmla="*/ 375 w 538"/>
                <a:gd name="T21" fmla="*/ 379 h 545"/>
                <a:gd name="T22" fmla="*/ 424 w 538"/>
                <a:gd name="T23" fmla="*/ 377 h 545"/>
                <a:gd name="T24" fmla="*/ 444 w 538"/>
                <a:gd name="T25" fmla="*/ 356 h 545"/>
                <a:gd name="T26" fmla="*/ 457 w 538"/>
                <a:gd name="T27" fmla="*/ 317 h 545"/>
                <a:gd name="T28" fmla="*/ 459 w 538"/>
                <a:gd name="T29" fmla="*/ 275 h 545"/>
                <a:gd name="T30" fmla="*/ 453 w 538"/>
                <a:gd name="T31" fmla="*/ 247 h 545"/>
                <a:gd name="T32" fmla="*/ 400 w 538"/>
                <a:gd name="T33" fmla="*/ 230 h 545"/>
                <a:gd name="T34" fmla="*/ 353 w 538"/>
                <a:gd name="T35" fmla="*/ 219 h 545"/>
                <a:gd name="T36" fmla="*/ 354 w 538"/>
                <a:gd name="T37" fmla="*/ 215 h 545"/>
                <a:gd name="T38" fmla="*/ 362 w 538"/>
                <a:gd name="T39" fmla="*/ 157 h 545"/>
                <a:gd name="T40" fmla="*/ 352 w 538"/>
                <a:gd name="T41" fmla="*/ 107 h 545"/>
                <a:gd name="T42" fmla="*/ 323 w 538"/>
                <a:gd name="T43" fmla="*/ 90 h 545"/>
                <a:gd name="T44" fmla="*/ 280 w 538"/>
                <a:gd name="T45" fmla="*/ 81 h 545"/>
                <a:gd name="T46" fmla="*/ 237 w 538"/>
                <a:gd name="T47" fmla="*/ 88 h 545"/>
                <a:gd name="T48" fmla="*/ 224 w 538"/>
                <a:gd name="T49" fmla="*/ 112 h 545"/>
                <a:gd name="T50" fmla="*/ 213 w 538"/>
                <a:gd name="T51" fmla="*/ 168 h 545"/>
                <a:gd name="T52" fmla="*/ 210 w 538"/>
                <a:gd name="T53" fmla="*/ 192 h 545"/>
                <a:gd name="T54" fmla="*/ 204 w 538"/>
                <a:gd name="T55" fmla="*/ 192 h 545"/>
                <a:gd name="T56" fmla="*/ 197 w 538"/>
                <a:gd name="T57" fmla="*/ 189 h 545"/>
                <a:gd name="T58" fmla="*/ 166 w 538"/>
                <a:gd name="T59" fmla="*/ 181 h 545"/>
                <a:gd name="T60" fmla="*/ 128 w 538"/>
                <a:gd name="T61" fmla="*/ 173 h 545"/>
                <a:gd name="T62" fmla="*/ 103 w 538"/>
                <a:gd name="T63" fmla="*/ 173 h 545"/>
                <a:gd name="T64" fmla="*/ 82 w 538"/>
                <a:gd name="T65" fmla="*/ 195 h 545"/>
                <a:gd name="T66" fmla="*/ 64 w 538"/>
                <a:gd name="T67" fmla="*/ 263 h 545"/>
                <a:gd name="T68" fmla="*/ 65 w 538"/>
                <a:gd name="T69" fmla="*/ 299 h 545"/>
                <a:gd name="T70" fmla="*/ 95 w 538"/>
                <a:gd name="T71" fmla="*/ 318 h 545"/>
                <a:gd name="T72" fmla="*/ 153 w 538"/>
                <a:gd name="T73" fmla="*/ 338 h 545"/>
                <a:gd name="T74" fmla="*/ 153 w 538"/>
                <a:gd name="T75" fmla="*/ 337 h 545"/>
                <a:gd name="T76" fmla="*/ 26 w 538"/>
                <a:gd name="T77" fmla="*/ 320 h 545"/>
                <a:gd name="T78" fmla="*/ 25 w 538"/>
                <a:gd name="T79" fmla="*/ 321 h 545"/>
                <a:gd name="T80" fmla="*/ 4 w 538"/>
                <a:gd name="T81" fmla="*/ 313 h 545"/>
                <a:gd name="T82" fmla="*/ 11 w 538"/>
                <a:gd name="T83" fmla="*/ 206 h 545"/>
                <a:gd name="T84" fmla="*/ 96 w 538"/>
                <a:gd name="T85" fmla="*/ 79 h 545"/>
                <a:gd name="T86" fmla="*/ 106 w 538"/>
                <a:gd name="T87" fmla="*/ 72 h 545"/>
                <a:gd name="T88" fmla="*/ 162 w 538"/>
                <a:gd name="T89" fmla="*/ 38 h 545"/>
                <a:gd name="T90" fmla="*/ 367 w 538"/>
                <a:gd name="T91" fmla="*/ 25 h 545"/>
                <a:gd name="T92" fmla="*/ 434 w 538"/>
                <a:gd name="T93" fmla="*/ 63 h 545"/>
                <a:gd name="T94" fmla="*/ 531 w 538"/>
                <a:gd name="T95" fmla="*/ 228 h 545"/>
                <a:gd name="T96" fmla="*/ 520 w 538"/>
                <a:gd name="T97" fmla="*/ 360 h 545"/>
                <a:gd name="T98" fmla="*/ 437 w 538"/>
                <a:gd name="T99" fmla="*/ 480 h 545"/>
                <a:gd name="T100" fmla="*/ 277 w 538"/>
                <a:gd name="T101" fmla="*/ 544 h 545"/>
                <a:gd name="T102" fmla="*/ 197 w 538"/>
                <a:gd name="T103" fmla="*/ 536 h 545"/>
                <a:gd name="T104" fmla="*/ 134 w 538"/>
                <a:gd name="T105" fmla="*/ 509 h 545"/>
                <a:gd name="T106" fmla="*/ 114 w 538"/>
                <a:gd name="T107" fmla="*/ 403 h 545"/>
                <a:gd name="T108" fmla="*/ 26 w 538"/>
                <a:gd name="T109" fmla="*/ 320 h 5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538" h="545">
                  <a:moveTo>
                    <a:pt x="153" y="337"/>
                  </a:moveTo>
                  <a:cubicBezTo>
                    <a:pt x="160" y="337"/>
                    <a:pt x="165" y="340"/>
                    <a:pt x="166" y="349"/>
                  </a:cubicBezTo>
                  <a:cubicBezTo>
                    <a:pt x="169" y="362"/>
                    <a:pt x="166" y="375"/>
                    <a:pt x="163" y="389"/>
                  </a:cubicBezTo>
                  <a:cubicBezTo>
                    <a:pt x="160" y="401"/>
                    <a:pt x="157" y="416"/>
                    <a:pt x="160" y="429"/>
                  </a:cubicBezTo>
                  <a:cubicBezTo>
                    <a:pt x="162" y="445"/>
                    <a:pt x="176" y="452"/>
                    <a:pt x="191" y="455"/>
                  </a:cubicBezTo>
                  <a:cubicBezTo>
                    <a:pt x="211" y="461"/>
                    <a:pt x="234" y="462"/>
                    <a:pt x="255" y="463"/>
                  </a:cubicBezTo>
                  <a:cubicBezTo>
                    <a:pt x="267" y="464"/>
                    <a:pt x="282" y="467"/>
                    <a:pt x="292" y="455"/>
                  </a:cubicBezTo>
                  <a:cubicBezTo>
                    <a:pt x="300" y="444"/>
                    <a:pt x="304" y="426"/>
                    <a:pt x="308" y="412"/>
                  </a:cubicBezTo>
                  <a:cubicBezTo>
                    <a:pt x="311" y="400"/>
                    <a:pt x="315" y="388"/>
                    <a:pt x="319" y="375"/>
                  </a:cubicBezTo>
                  <a:cubicBezTo>
                    <a:pt x="325" y="377"/>
                    <a:pt x="325" y="377"/>
                    <a:pt x="325" y="377"/>
                  </a:cubicBezTo>
                  <a:cubicBezTo>
                    <a:pt x="342" y="377"/>
                    <a:pt x="358" y="379"/>
                    <a:pt x="375" y="379"/>
                  </a:cubicBezTo>
                  <a:cubicBezTo>
                    <a:pt x="391" y="381"/>
                    <a:pt x="408" y="382"/>
                    <a:pt x="424" y="377"/>
                  </a:cubicBezTo>
                  <a:cubicBezTo>
                    <a:pt x="435" y="374"/>
                    <a:pt x="440" y="366"/>
                    <a:pt x="444" y="356"/>
                  </a:cubicBezTo>
                  <a:cubicBezTo>
                    <a:pt x="448" y="343"/>
                    <a:pt x="455" y="330"/>
                    <a:pt x="457" y="317"/>
                  </a:cubicBezTo>
                  <a:cubicBezTo>
                    <a:pt x="461" y="302"/>
                    <a:pt x="460" y="289"/>
                    <a:pt x="459" y="275"/>
                  </a:cubicBezTo>
                  <a:cubicBezTo>
                    <a:pt x="459" y="266"/>
                    <a:pt x="460" y="256"/>
                    <a:pt x="453" y="247"/>
                  </a:cubicBezTo>
                  <a:cubicBezTo>
                    <a:pt x="439" y="235"/>
                    <a:pt x="415" y="234"/>
                    <a:pt x="400" y="230"/>
                  </a:cubicBezTo>
                  <a:cubicBezTo>
                    <a:pt x="383" y="227"/>
                    <a:pt x="367" y="225"/>
                    <a:pt x="353" y="219"/>
                  </a:cubicBezTo>
                  <a:cubicBezTo>
                    <a:pt x="354" y="215"/>
                    <a:pt x="354" y="215"/>
                    <a:pt x="354" y="215"/>
                  </a:cubicBezTo>
                  <a:cubicBezTo>
                    <a:pt x="356" y="196"/>
                    <a:pt x="360" y="176"/>
                    <a:pt x="362" y="157"/>
                  </a:cubicBezTo>
                  <a:cubicBezTo>
                    <a:pt x="364" y="141"/>
                    <a:pt x="367" y="117"/>
                    <a:pt x="352" y="107"/>
                  </a:cubicBezTo>
                  <a:cubicBezTo>
                    <a:pt x="344" y="102"/>
                    <a:pt x="333" y="96"/>
                    <a:pt x="323" y="90"/>
                  </a:cubicBezTo>
                  <a:cubicBezTo>
                    <a:pt x="311" y="84"/>
                    <a:pt x="295" y="83"/>
                    <a:pt x="280" y="81"/>
                  </a:cubicBezTo>
                  <a:cubicBezTo>
                    <a:pt x="265" y="82"/>
                    <a:pt x="249" y="82"/>
                    <a:pt x="237" y="88"/>
                  </a:cubicBezTo>
                  <a:cubicBezTo>
                    <a:pt x="226" y="93"/>
                    <a:pt x="226" y="102"/>
                    <a:pt x="224" y="112"/>
                  </a:cubicBezTo>
                  <a:cubicBezTo>
                    <a:pt x="220" y="130"/>
                    <a:pt x="216" y="149"/>
                    <a:pt x="213" y="168"/>
                  </a:cubicBezTo>
                  <a:cubicBezTo>
                    <a:pt x="213" y="177"/>
                    <a:pt x="212" y="183"/>
                    <a:pt x="210" y="192"/>
                  </a:cubicBezTo>
                  <a:cubicBezTo>
                    <a:pt x="204" y="192"/>
                    <a:pt x="204" y="192"/>
                    <a:pt x="204" y="192"/>
                  </a:cubicBezTo>
                  <a:cubicBezTo>
                    <a:pt x="201" y="191"/>
                    <a:pt x="198" y="189"/>
                    <a:pt x="197" y="189"/>
                  </a:cubicBezTo>
                  <a:cubicBezTo>
                    <a:pt x="186" y="187"/>
                    <a:pt x="176" y="185"/>
                    <a:pt x="166" y="181"/>
                  </a:cubicBezTo>
                  <a:cubicBezTo>
                    <a:pt x="153" y="178"/>
                    <a:pt x="139" y="175"/>
                    <a:pt x="128" y="173"/>
                  </a:cubicBezTo>
                  <a:cubicBezTo>
                    <a:pt x="119" y="171"/>
                    <a:pt x="111" y="169"/>
                    <a:pt x="103" y="173"/>
                  </a:cubicBezTo>
                  <a:cubicBezTo>
                    <a:pt x="93" y="176"/>
                    <a:pt x="86" y="185"/>
                    <a:pt x="82" y="195"/>
                  </a:cubicBezTo>
                  <a:cubicBezTo>
                    <a:pt x="71" y="215"/>
                    <a:pt x="69" y="241"/>
                    <a:pt x="64" y="263"/>
                  </a:cubicBezTo>
                  <a:cubicBezTo>
                    <a:pt x="60" y="277"/>
                    <a:pt x="55" y="288"/>
                    <a:pt x="65" y="299"/>
                  </a:cubicBezTo>
                  <a:cubicBezTo>
                    <a:pt x="74" y="308"/>
                    <a:pt x="83" y="314"/>
                    <a:pt x="95" y="318"/>
                  </a:cubicBezTo>
                  <a:cubicBezTo>
                    <a:pt x="114" y="325"/>
                    <a:pt x="133" y="331"/>
                    <a:pt x="153" y="338"/>
                  </a:cubicBezTo>
                  <a:lnTo>
                    <a:pt x="153" y="337"/>
                  </a:lnTo>
                  <a:close/>
                  <a:moveTo>
                    <a:pt x="26" y="320"/>
                  </a:moveTo>
                  <a:cubicBezTo>
                    <a:pt x="25" y="321"/>
                    <a:pt x="25" y="321"/>
                    <a:pt x="25" y="321"/>
                  </a:cubicBezTo>
                  <a:cubicBezTo>
                    <a:pt x="18" y="318"/>
                    <a:pt x="11" y="316"/>
                    <a:pt x="4" y="313"/>
                  </a:cubicBezTo>
                  <a:cubicBezTo>
                    <a:pt x="1" y="278"/>
                    <a:pt x="0" y="241"/>
                    <a:pt x="11" y="206"/>
                  </a:cubicBezTo>
                  <a:cubicBezTo>
                    <a:pt x="25" y="156"/>
                    <a:pt x="56" y="111"/>
                    <a:pt x="96" y="79"/>
                  </a:cubicBezTo>
                  <a:cubicBezTo>
                    <a:pt x="99" y="77"/>
                    <a:pt x="102" y="74"/>
                    <a:pt x="106" y="72"/>
                  </a:cubicBezTo>
                  <a:cubicBezTo>
                    <a:pt x="123" y="59"/>
                    <a:pt x="142" y="47"/>
                    <a:pt x="162" y="38"/>
                  </a:cubicBezTo>
                  <a:cubicBezTo>
                    <a:pt x="226" y="8"/>
                    <a:pt x="301" y="0"/>
                    <a:pt x="367" y="25"/>
                  </a:cubicBezTo>
                  <a:cubicBezTo>
                    <a:pt x="391" y="35"/>
                    <a:pt x="414" y="47"/>
                    <a:pt x="434" y="63"/>
                  </a:cubicBezTo>
                  <a:cubicBezTo>
                    <a:pt x="485" y="103"/>
                    <a:pt x="521" y="162"/>
                    <a:pt x="531" y="228"/>
                  </a:cubicBezTo>
                  <a:cubicBezTo>
                    <a:pt x="538" y="272"/>
                    <a:pt x="534" y="317"/>
                    <a:pt x="520" y="360"/>
                  </a:cubicBezTo>
                  <a:cubicBezTo>
                    <a:pt x="504" y="407"/>
                    <a:pt x="476" y="450"/>
                    <a:pt x="437" y="480"/>
                  </a:cubicBezTo>
                  <a:cubicBezTo>
                    <a:pt x="392" y="517"/>
                    <a:pt x="335" y="538"/>
                    <a:pt x="277" y="544"/>
                  </a:cubicBezTo>
                  <a:cubicBezTo>
                    <a:pt x="250" y="545"/>
                    <a:pt x="224" y="543"/>
                    <a:pt x="197" y="536"/>
                  </a:cubicBezTo>
                  <a:cubicBezTo>
                    <a:pt x="175" y="529"/>
                    <a:pt x="154" y="520"/>
                    <a:pt x="134" y="509"/>
                  </a:cubicBezTo>
                  <a:cubicBezTo>
                    <a:pt x="143" y="473"/>
                    <a:pt x="135" y="435"/>
                    <a:pt x="114" y="403"/>
                  </a:cubicBezTo>
                  <a:cubicBezTo>
                    <a:pt x="93" y="368"/>
                    <a:pt x="58" y="344"/>
                    <a:pt x="26" y="320"/>
                  </a:cubicBezTo>
                  <a:close/>
                </a:path>
              </a:pathLst>
            </a:custGeom>
            <a:solidFill>
              <a:srgbClr val="F6B84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70" name="Freeform 439">
              <a:extLst>
                <a:ext uri="{FF2B5EF4-FFF2-40B4-BE49-F238E27FC236}">
                  <a16:creationId xmlns:a16="http://schemas.microsoft.com/office/drawing/2014/main" id="{49BD3BFF-3F2F-4D57-83AF-815542FF5BE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275392" y="2693988"/>
              <a:ext cx="468314" cy="290513"/>
            </a:xfrm>
            <a:custGeom>
              <a:avLst/>
              <a:gdLst>
                <a:gd name="T0" fmla="*/ 205 w 278"/>
                <a:gd name="T1" fmla="*/ 135 h 173"/>
                <a:gd name="T2" fmla="*/ 0 w 278"/>
                <a:gd name="T3" fmla="*/ 148 h 173"/>
                <a:gd name="T4" fmla="*/ 5 w 278"/>
                <a:gd name="T5" fmla="*/ 139 h 173"/>
                <a:gd name="T6" fmla="*/ 19 w 278"/>
                <a:gd name="T7" fmla="*/ 98 h 173"/>
                <a:gd name="T8" fmla="*/ 44 w 278"/>
                <a:gd name="T9" fmla="*/ 39 h 173"/>
                <a:gd name="T10" fmla="*/ 69 w 278"/>
                <a:gd name="T11" fmla="*/ 25 h 173"/>
                <a:gd name="T12" fmla="*/ 68 w 278"/>
                <a:gd name="T13" fmla="*/ 23 h 173"/>
                <a:gd name="T14" fmla="*/ 119 w 278"/>
                <a:gd name="T15" fmla="*/ 2 h 173"/>
                <a:gd name="T16" fmla="*/ 164 w 278"/>
                <a:gd name="T17" fmla="*/ 6 h 173"/>
                <a:gd name="T18" fmla="*/ 213 w 278"/>
                <a:gd name="T19" fmla="*/ 15 h 173"/>
                <a:gd name="T20" fmla="*/ 255 w 278"/>
                <a:gd name="T21" fmla="*/ 50 h 173"/>
                <a:gd name="T22" fmla="*/ 269 w 278"/>
                <a:gd name="T23" fmla="*/ 62 h 173"/>
                <a:gd name="T24" fmla="*/ 272 w 278"/>
                <a:gd name="T25" fmla="*/ 111 h 173"/>
                <a:gd name="T26" fmla="*/ 274 w 278"/>
                <a:gd name="T27" fmla="*/ 170 h 173"/>
                <a:gd name="T28" fmla="*/ 272 w 278"/>
                <a:gd name="T29" fmla="*/ 173 h 173"/>
                <a:gd name="T30" fmla="*/ 205 w 278"/>
                <a:gd name="T31" fmla="*/ 135 h 1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78" h="173">
                  <a:moveTo>
                    <a:pt x="205" y="135"/>
                  </a:moveTo>
                  <a:cubicBezTo>
                    <a:pt x="139" y="110"/>
                    <a:pt x="64" y="118"/>
                    <a:pt x="0" y="148"/>
                  </a:cubicBezTo>
                  <a:cubicBezTo>
                    <a:pt x="1" y="145"/>
                    <a:pt x="3" y="142"/>
                    <a:pt x="5" y="139"/>
                  </a:cubicBezTo>
                  <a:cubicBezTo>
                    <a:pt x="11" y="126"/>
                    <a:pt x="16" y="112"/>
                    <a:pt x="19" y="98"/>
                  </a:cubicBezTo>
                  <a:cubicBezTo>
                    <a:pt x="23" y="77"/>
                    <a:pt x="28" y="54"/>
                    <a:pt x="44" y="39"/>
                  </a:cubicBezTo>
                  <a:cubicBezTo>
                    <a:pt x="51" y="33"/>
                    <a:pt x="60" y="28"/>
                    <a:pt x="69" y="25"/>
                  </a:cubicBezTo>
                  <a:cubicBezTo>
                    <a:pt x="68" y="23"/>
                    <a:pt x="68" y="23"/>
                    <a:pt x="68" y="23"/>
                  </a:cubicBezTo>
                  <a:cubicBezTo>
                    <a:pt x="85" y="13"/>
                    <a:pt x="100" y="5"/>
                    <a:pt x="119" y="2"/>
                  </a:cubicBezTo>
                  <a:cubicBezTo>
                    <a:pt x="135" y="0"/>
                    <a:pt x="148" y="5"/>
                    <a:pt x="164" y="6"/>
                  </a:cubicBezTo>
                  <a:cubicBezTo>
                    <a:pt x="181" y="7"/>
                    <a:pt x="198" y="10"/>
                    <a:pt x="213" y="15"/>
                  </a:cubicBezTo>
                  <a:cubicBezTo>
                    <a:pt x="233" y="21"/>
                    <a:pt x="248" y="33"/>
                    <a:pt x="255" y="50"/>
                  </a:cubicBezTo>
                  <a:cubicBezTo>
                    <a:pt x="260" y="53"/>
                    <a:pt x="266" y="56"/>
                    <a:pt x="269" y="62"/>
                  </a:cubicBezTo>
                  <a:cubicBezTo>
                    <a:pt x="278" y="78"/>
                    <a:pt x="274" y="94"/>
                    <a:pt x="272" y="111"/>
                  </a:cubicBezTo>
                  <a:cubicBezTo>
                    <a:pt x="270" y="130"/>
                    <a:pt x="266" y="150"/>
                    <a:pt x="274" y="170"/>
                  </a:cubicBezTo>
                  <a:cubicBezTo>
                    <a:pt x="272" y="173"/>
                    <a:pt x="272" y="173"/>
                    <a:pt x="272" y="173"/>
                  </a:cubicBezTo>
                  <a:cubicBezTo>
                    <a:pt x="252" y="157"/>
                    <a:pt x="229" y="145"/>
                    <a:pt x="205" y="135"/>
                  </a:cubicBezTo>
                  <a:close/>
                </a:path>
              </a:pathLst>
            </a:custGeom>
            <a:solidFill>
              <a:srgbClr val="3C3C3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71" name="Freeform 440">
              <a:extLst>
                <a:ext uri="{FF2B5EF4-FFF2-40B4-BE49-F238E27FC236}">
                  <a16:creationId xmlns:a16="http://schemas.microsoft.com/office/drawing/2014/main" id="{BD025AF7-A530-41A6-8605-53AD16CD666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741991" y="3498850"/>
              <a:ext cx="414339" cy="455613"/>
            </a:xfrm>
            <a:custGeom>
              <a:avLst/>
              <a:gdLst>
                <a:gd name="T0" fmla="*/ 166 w 246"/>
                <a:gd name="T1" fmla="*/ 14 h 271"/>
                <a:gd name="T2" fmla="*/ 86 w 246"/>
                <a:gd name="T3" fmla="*/ 9 h 271"/>
                <a:gd name="T4" fmla="*/ 29 w 246"/>
                <a:gd name="T5" fmla="*/ 54 h 271"/>
                <a:gd name="T6" fmla="*/ 27 w 246"/>
                <a:gd name="T7" fmla="*/ 192 h 271"/>
                <a:gd name="T8" fmla="*/ 239 w 246"/>
                <a:gd name="T9" fmla="*/ 149 h 271"/>
                <a:gd name="T10" fmla="*/ 230 w 246"/>
                <a:gd name="T11" fmla="*/ 66 h 271"/>
                <a:gd name="T12" fmla="*/ 168 w 246"/>
                <a:gd name="T13" fmla="*/ 9 h 271"/>
                <a:gd name="T14" fmla="*/ 164 w 246"/>
                <a:gd name="T15" fmla="*/ 17 h 271"/>
                <a:gd name="T16" fmla="*/ 223 w 246"/>
                <a:gd name="T17" fmla="*/ 73 h 271"/>
                <a:gd name="T18" fmla="*/ 225 w 246"/>
                <a:gd name="T19" fmla="*/ 161 h 271"/>
                <a:gd name="T20" fmla="*/ 100 w 246"/>
                <a:gd name="T21" fmla="*/ 229 h 271"/>
                <a:gd name="T22" fmla="*/ 17 w 246"/>
                <a:gd name="T23" fmla="*/ 89 h 271"/>
                <a:gd name="T24" fmla="*/ 68 w 246"/>
                <a:gd name="T25" fmla="*/ 25 h 271"/>
                <a:gd name="T26" fmla="*/ 165 w 246"/>
                <a:gd name="T27" fmla="*/ 16 h 271"/>
                <a:gd name="T28" fmla="*/ 166 w 246"/>
                <a:gd name="T29" fmla="*/ 14 h 2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46" h="271">
                  <a:moveTo>
                    <a:pt x="166" y="14"/>
                  </a:moveTo>
                  <a:cubicBezTo>
                    <a:pt x="139" y="5"/>
                    <a:pt x="114" y="0"/>
                    <a:pt x="86" y="9"/>
                  </a:cubicBezTo>
                  <a:cubicBezTo>
                    <a:pt x="63" y="17"/>
                    <a:pt x="41" y="33"/>
                    <a:pt x="29" y="54"/>
                  </a:cubicBezTo>
                  <a:cubicBezTo>
                    <a:pt x="5" y="93"/>
                    <a:pt x="0" y="153"/>
                    <a:pt x="27" y="192"/>
                  </a:cubicBezTo>
                  <a:cubicBezTo>
                    <a:pt x="82" y="271"/>
                    <a:pt x="215" y="240"/>
                    <a:pt x="239" y="149"/>
                  </a:cubicBezTo>
                  <a:cubicBezTo>
                    <a:pt x="246" y="123"/>
                    <a:pt x="241" y="90"/>
                    <a:pt x="230" y="66"/>
                  </a:cubicBezTo>
                  <a:cubicBezTo>
                    <a:pt x="218" y="39"/>
                    <a:pt x="193" y="22"/>
                    <a:pt x="168" y="9"/>
                  </a:cubicBezTo>
                  <a:cubicBezTo>
                    <a:pt x="163" y="7"/>
                    <a:pt x="159" y="14"/>
                    <a:pt x="164" y="17"/>
                  </a:cubicBezTo>
                  <a:cubicBezTo>
                    <a:pt x="188" y="31"/>
                    <a:pt x="212" y="45"/>
                    <a:pt x="223" y="73"/>
                  </a:cubicBezTo>
                  <a:cubicBezTo>
                    <a:pt x="234" y="99"/>
                    <a:pt x="238" y="134"/>
                    <a:pt x="225" y="161"/>
                  </a:cubicBezTo>
                  <a:cubicBezTo>
                    <a:pt x="204" y="206"/>
                    <a:pt x="150" y="237"/>
                    <a:pt x="100" y="229"/>
                  </a:cubicBezTo>
                  <a:cubicBezTo>
                    <a:pt x="35" y="218"/>
                    <a:pt x="2" y="150"/>
                    <a:pt x="17" y="89"/>
                  </a:cubicBezTo>
                  <a:cubicBezTo>
                    <a:pt x="23" y="62"/>
                    <a:pt x="45" y="39"/>
                    <a:pt x="68" y="25"/>
                  </a:cubicBezTo>
                  <a:cubicBezTo>
                    <a:pt x="100" y="6"/>
                    <a:pt x="131" y="11"/>
                    <a:pt x="165" y="16"/>
                  </a:cubicBezTo>
                  <a:cubicBezTo>
                    <a:pt x="167" y="16"/>
                    <a:pt x="167" y="14"/>
                    <a:pt x="166" y="14"/>
                  </a:cubicBezTo>
                  <a:close/>
                </a:path>
              </a:pathLst>
            </a:custGeom>
            <a:solidFill>
              <a:srgbClr val="1C1D1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72" name="Freeform 441">
              <a:extLst>
                <a:ext uri="{FF2B5EF4-FFF2-40B4-BE49-F238E27FC236}">
                  <a16:creationId xmlns:a16="http://schemas.microsoft.com/office/drawing/2014/main" id="{2C727088-8DC9-4FBE-ADF6-E07EE787B57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708653" y="3438525"/>
              <a:ext cx="490538" cy="508000"/>
            </a:xfrm>
            <a:custGeom>
              <a:avLst/>
              <a:gdLst>
                <a:gd name="T0" fmla="*/ 192 w 291"/>
                <a:gd name="T1" fmla="*/ 33 h 302"/>
                <a:gd name="T2" fmla="*/ 34 w 291"/>
                <a:gd name="T3" fmla="*/ 78 h 302"/>
                <a:gd name="T4" fmla="*/ 33 w 291"/>
                <a:gd name="T5" fmla="*/ 234 h 302"/>
                <a:gd name="T6" fmla="*/ 160 w 291"/>
                <a:gd name="T7" fmla="*/ 288 h 302"/>
                <a:gd name="T8" fmla="*/ 284 w 291"/>
                <a:gd name="T9" fmla="*/ 183 h 302"/>
                <a:gd name="T10" fmla="*/ 266 w 291"/>
                <a:gd name="T11" fmla="*/ 86 h 302"/>
                <a:gd name="T12" fmla="*/ 191 w 291"/>
                <a:gd name="T13" fmla="*/ 26 h 302"/>
                <a:gd name="T14" fmla="*/ 189 w 291"/>
                <a:gd name="T15" fmla="*/ 35 h 302"/>
                <a:gd name="T16" fmla="*/ 267 w 291"/>
                <a:gd name="T17" fmla="*/ 108 h 302"/>
                <a:gd name="T18" fmla="*/ 260 w 291"/>
                <a:gd name="T19" fmla="*/ 220 h 302"/>
                <a:gd name="T20" fmla="*/ 84 w 291"/>
                <a:gd name="T21" fmla="*/ 272 h 302"/>
                <a:gd name="T22" fmla="*/ 22 w 291"/>
                <a:gd name="T23" fmla="*/ 112 h 302"/>
                <a:gd name="T24" fmla="*/ 88 w 291"/>
                <a:gd name="T25" fmla="*/ 38 h 302"/>
                <a:gd name="T26" fmla="*/ 141 w 291"/>
                <a:gd name="T27" fmla="*/ 23 h 302"/>
                <a:gd name="T28" fmla="*/ 190 w 291"/>
                <a:gd name="T29" fmla="*/ 35 h 302"/>
                <a:gd name="T30" fmla="*/ 192 w 291"/>
                <a:gd name="T31" fmla="*/ 33 h 3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91" h="302">
                  <a:moveTo>
                    <a:pt x="192" y="33"/>
                  </a:moveTo>
                  <a:cubicBezTo>
                    <a:pt x="138" y="0"/>
                    <a:pt x="68" y="32"/>
                    <a:pt x="34" y="78"/>
                  </a:cubicBezTo>
                  <a:cubicBezTo>
                    <a:pt x="0" y="124"/>
                    <a:pt x="1" y="187"/>
                    <a:pt x="33" y="234"/>
                  </a:cubicBezTo>
                  <a:cubicBezTo>
                    <a:pt x="60" y="274"/>
                    <a:pt x="111" y="299"/>
                    <a:pt x="160" y="288"/>
                  </a:cubicBezTo>
                  <a:cubicBezTo>
                    <a:pt x="211" y="276"/>
                    <a:pt x="273" y="238"/>
                    <a:pt x="284" y="183"/>
                  </a:cubicBezTo>
                  <a:cubicBezTo>
                    <a:pt x="291" y="150"/>
                    <a:pt x="281" y="115"/>
                    <a:pt x="266" y="86"/>
                  </a:cubicBezTo>
                  <a:cubicBezTo>
                    <a:pt x="250" y="55"/>
                    <a:pt x="224" y="38"/>
                    <a:pt x="191" y="26"/>
                  </a:cubicBezTo>
                  <a:cubicBezTo>
                    <a:pt x="186" y="24"/>
                    <a:pt x="184" y="33"/>
                    <a:pt x="189" y="35"/>
                  </a:cubicBezTo>
                  <a:cubicBezTo>
                    <a:pt x="227" y="49"/>
                    <a:pt x="251" y="70"/>
                    <a:pt x="267" y="108"/>
                  </a:cubicBezTo>
                  <a:cubicBezTo>
                    <a:pt x="283" y="146"/>
                    <a:pt x="286" y="186"/>
                    <a:pt x="260" y="220"/>
                  </a:cubicBezTo>
                  <a:cubicBezTo>
                    <a:pt x="221" y="271"/>
                    <a:pt x="144" y="302"/>
                    <a:pt x="84" y="272"/>
                  </a:cubicBezTo>
                  <a:cubicBezTo>
                    <a:pt x="26" y="244"/>
                    <a:pt x="1" y="172"/>
                    <a:pt x="22" y="112"/>
                  </a:cubicBezTo>
                  <a:cubicBezTo>
                    <a:pt x="34" y="80"/>
                    <a:pt x="58" y="54"/>
                    <a:pt x="88" y="38"/>
                  </a:cubicBezTo>
                  <a:cubicBezTo>
                    <a:pt x="104" y="29"/>
                    <a:pt x="122" y="23"/>
                    <a:pt x="141" y="23"/>
                  </a:cubicBezTo>
                  <a:cubicBezTo>
                    <a:pt x="158" y="24"/>
                    <a:pt x="174" y="31"/>
                    <a:pt x="190" y="35"/>
                  </a:cubicBezTo>
                  <a:cubicBezTo>
                    <a:pt x="192" y="36"/>
                    <a:pt x="193" y="34"/>
                    <a:pt x="192" y="33"/>
                  </a:cubicBezTo>
                  <a:close/>
                </a:path>
              </a:pathLst>
            </a:custGeom>
            <a:solidFill>
              <a:srgbClr val="1C1D1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73" name="Freeform 442">
              <a:extLst>
                <a:ext uri="{FF2B5EF4-FFF2-40B4-BE49-F238E27FC236}">
                  <a16:creationId xmlns:a16="http://schemas.microsoft.com/office/drawing/2014/main" id="{F94AE88F-0AAB-441C-895E-950C831EC6E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654678" y="3389312"/>
              <a:ext cx="635001" cy="700088"/>
            </a:xfrm>
            <a:custGeom>
              <a:avLst/>
              <a:gdLst>
                <a:gd name="T0" fmla="*/ 243 w 377"/>
                <a:gd name="T1" fmla="*/ 25 h 416"/>
                <a:gd name="T2" fmla="*/ 130 w 377"/>
                <a:gd name="T3" fmla="*/ 15 h 416"/>
                <a:gd name="T4" fmla="*/ 47 w 377"/>
                <a:gd name="T5" fmla="*/ 79 h 416"/>
                <a:gd name="T6" fmla="*/ 8 w 377"/>
                <a:gd name="T7" fmla="*/ 171 h 416"/>
                <a:gd name="T8" fmla="*/ 36 w 377"/>
                <a:gd name="T9" fmla="*/ 286 h 416"/>
                <a:gd name="T10" fmla="*/ 353 w 377"/>
                <a:gd name="T11" fmla="*/ 224 h 416"/>
                <a:gd name="T12" fmla="*/ 241 w 377"/>
                <a:gd name="T13" fmla="*/ 19 h 416"/>
                <a:gd name="T14" fmla="*/ 236 w 377"/>
                <a:gd name="T15" fmla="*/ 25 h 416"/>
                <a:gd name="T16" fmla="*/ 305 w 377"/>
                <a:gd name="T17" fmla="*/ 83 h 416"/>
                <a:gd name="T18" fmla="*/ 351 w 377"/>
                <a:gd name="T19" fmla="*/ 194 h 416"/>
                <a:gd name="T20" fmla="*/ 243 w 377"/>
                <a:gd name="T21" fmla="*/ 336 h 416"/>
                <a:gd name="T22" fmla="*/ 59 w 377"/>
                <a:gd name="T23" fmla="*/ 307 h 416"/>
                <a:gd name="T24" fmla="*/ 36 w 377"/>
                <a:gd name="T25" fmla="*/ 110 h 416"/>
                <a:gd name="T26" fmla="*/ 114 w 377"/>
                <a:gd name="T27" fmla="*/ 32 h 416"/>
                <a:gd name="T28" fmla="*/ 242 w 377"/>
                <a:gd name="T29" fmla="*/ 28 h 416"/>
                <a:gd name="T30" fmla="*/ 243 w 377"/>
                <a:gd name="T31" fmla="*/ 25 h 4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77" h="416">
                  <a:moveTo>
                    <a:pt x="243" y="25"/>
                  </a:moveTo>
                  <a:cubicBezTo>
                    <a:pt x="207" y="10"/>
                    <a:pt x="168" y="0"/>
                    <a:pt x="130" y="15"/>
                  </a:cubicBezTo>
                  <a:cubicBezTo>
                    <a:pt x="96" y="27"/>
                    <a:pt x="69" y="51"/>
                    <a:pt x="47" y="79"/>
                  </a:cubicBezTo>
                  <a:cubicBezTo>
                    <a:pt x="25" y="107"/>
                    <a:pt x="11" y="135"/>
                    <a:pt x="8" y="171"/>
                  </a:cubicBezTo>
                  <a:cubicBezTo>
                    <a:pt x="5" y="212"/>
                    <a:pt x="15" y="251"/>
                    <a:pt x="36" y="286"/>
                  </a:cubicBezTo>
                  <a:cubicBezTo>
                    <a:pt x="113" y="416"/>
                    <a:pt x="318" y="358"/>
                    <a:pt x="353" y="224"/>
                  </a:cubicBezTo>
                  <a:cubicBezTo>
                    <a:pt x="377" y="132"/>
                    <a:pt x="311" y="66"/>
                    <a:pt x="241" y="19"/>
                  </a:cubicBezTo>
                  <a:cubicBezTo>
                    <a:pt x="237" y="16"/>
                    <a:pt x="232" y="22"/>
                    <a:pt x="236" y="25"/>
                  </a:cubicBezTo>
                  <a:cubicBezTo>
                    <a:pt x="259" y="44"/>
                    <a:pt x="284" y="61"/>
                    <a:pt x="305" y="83"/>
                  </a:cubicBezTo>
                  <a:cubicBezTo>
                    <a:pt x="334" y="113"/>
                    <a:pt x="353" y="152"/>
                    <a:pt x="351" y="194"/>
                  </a:cubicBezTo>
                  <a:cubicBezTo>
                    <a:pt x="348" y="258"/>
                    <a:pt x="299" y="311"/>
                    <a:pt x="243" y="336"/>
                  </a:cubicBezTo>
                  <a:cubicBezTo>
                    <a:pt x="182" y="364"/>
                    <a:pt x="105" y="361"/>
                    <a:pt x="59" y="307"/>
                  </a:cubicBezTo>
                  <a:cubicBezTo>
                    <a:pt x="15" y="254"/>
                    <a:pt x="0" y="171"/>
                    <a:pt x="36" y="110"/>
                  </a:cubicBezTo>
                  <a:cubicBezTo>
                    <a:pt x="54" y="79"/>
                    <a:pt x="82" y="49"/>
                    <a:pt x="114" y="32"/>
                  </a:cubicBezTo>
                  <a:cubicBezTo>
                    <a:pt x="156" y="9"/>
                    <a:pt x="198" y="16"/>
                    <a:pt x="242" y="28"/>
                  </a:cubicBezTo>
                  <a:cubicBezTo>
                    <a:pt x="244" y="29"/>
                    <a:pt x="245" y="26"/>
                    <a:pt x="243" y="25"/>
                  </a:cubicBezTo>
                  <a:close/>
                </a:path>
              </a:pathLst>
            </a:custGeom>
            <a:solidFill>
              <a:srgbClr val="1C1D1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74" name="Freeform 443">
              <a:extLst>
                <a:ext uri="{FF2B5EF4-FFF2-40B4-BE49-F238E27FC236}">
                  <a16:creationId xmlns:a16="http://schemas.microsoft.com/office/drawing/2014/main" id="{95B31FBF-7328-4ADF-B33C-E2D70DC75DE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832353" y="3211513"/>
              <a:ext cx="625476" cy="617538"/>
            </a:xfrm>
            <a:custGeom>
              <a:avLst/>
              <a:gdLst>
                <a:gd name="T0" fmla="*/ 285 w 372"/>
                <a:gd name="T1" fmla="*/ 44 h 368"/>
                <a:gd name="T2" fmla="*/ 83 w 372"/>
                <a:gd name="T3" fmla="*/ 37 h 368"/>
                <a:gd name="T4" fmla="*/ 26 w 372"/>
                <a:gd name="T5" fmla="*/ 117 h 368"/>
                <a:gd name="T6" fmla="*/ 5 w 372"/>
                <a:gd name="T7" fmla="*/ 229 h 368"/>
                <a:gd name="T8" fmla="*/ 60 w 372"/>
                <a:gd name="T9" fmla="*/ 316 h 368"/>
                <a:gd name="T10" fmla="*/ 154 w 372"/>
                <a:gd name="T11" fmla="*/ 363 h 368"/>
                <a:gd name="T12" fmla="*/ 339 w 372"/>
                <a:gd name="T13" fmla="*/ 261 h 368"/>
                <a:gd name="T14" fmla="*/ 357 w 372"/>
                <a:gd name="T15" fmla="*/ 128 h 368"/>
                <a:gd name="T16" fmla="*/ 281 w 372"/>
                <a:gd name="T17" fmla="*/ 36 h 368"/>
                <a:gd name="T18" fmla="*/ 275 w 372"/>
                <a:gd name="T19" fmla="*/ 44 h 368"/>
                <a:gd name="T20" fmla="*/ 338 w 372"/>
                <a:gd name="T21" fmla="*/ 110 h 368"/>
                <a:gd name="T22" fmla="*/ 346 w 372"/>
                <a:gd name="T23" fmla="*/ 229 h 368"/>
                <a:gd name="T24" fmla="*/ 291 w 372"/>
                <a:gd name="T25" fmla="*/ 313 h 368"/>
                <a:gd name="T26" fmla="*/ 196 w 372"/>
                <a:gd name="T27" fmla="*/ 353 h 368"/>
                <a:gd name="T28" fmla="*/ 92 w 372"/>
                <a:gd name="T29" fmla="*/ 333 h 368"/>
                <a:gd name="T30" fmla="*/ 26 w 372"/>
                <a:gd name="T31" fmla="*/ 260 h 368"/>
                <a:gd name="T32" fmla="*/ 24 w 372"/>
                <a:gd name="T33" fmla="*/ 153 h 368"/>
                <a:gd name="T34" fmla="*/ 67 w 372"/>
                <a:gd name="T35" fmla="*/ 60 h 368"/>
                <a:gd name="T36" fmla="*/ 161 w 372"/>
                <a:gd name="T37" fmla="*/ 22 h 368"/>
                <a:gd name="T38" fmla="*/ 282 w 372"/>
                <a:gd name="T39" fmla="*/ 49 h 368"/>
                <a:gd name="T40" fmla="*/ 285 w 372"/>
                <a:gd name="T41" fmla="*/ 44 h 3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372" h="368">
                  <a:moveTo>
                    <a:pt x="285" y="44"/>
                  </a:moveTo>
                  <a:cubicBezTo>
                    <a:pt x="231" y="0"/>
                    <a:pt x="142" y="2"/>
                    <a:pt x="83" y="37"/>
                  </a:cubicBezTo>
                  <a:cubicBezTo>
                    <a:pt x="52" y="55"/>
                    <a:pt x="38" y="85"/>
                    <a:pt x="26" y="117"/>
                  </a:cubicBezTo>
                  <a:cubicBezTo>
                    <a:pt x="14" y="151"/>
                    <a:pt x="0" y="193"/>
                    <a:pt x="5" y="229"/>
                  </a:cubicBezTo>
                  <a:cubicBezTo>
                    <a:pt x="10" y="262"/>
                    <a:pt x="37" y="293"/>
                    <a:pt x="60" y="316"/>
                  </a:cubicBezTo>
                  <a:cubicBezTo>
                    <a:pt x="86" y="342"/>
                    <a:pt x="116" y="361"/>
                    <a:pt x="154" y="363"/>
                  </a:cubicBezTo>
                  <a:cubicBezTo>
                    <a:pt x="232" y="368"/>
                    <a:pt x="302" y="330"/>
                    <a:pt x="339" y="261"/>
                  </a:cubicBezTo>
                  <a:cubicBezTo>
                    <a:pt x="360" y="223"/>
                    <a:pt x="372" y="171"/>
                    <a:pt x="357" y="128"/>
                  </a:cubicBezTo>
                  <a:cubicBezTo>
                    <a:pt x="344" y="89"/>
                    <a:pt x="311" y="61"/>
                    <a:pt x="281" y="36"/>
                  </a:cubicBezTo>
                  <a:cubicBezTo>
                    <a:pt x="276" y="32"/>
                    <a:pt x="270" y="40"/>
                    <a:pt x="275" y="44"/>
                  </a:cubicBezTo>
                  <a:cubicBezTo>
                    <a:pt x="298" y="63"/>
                    <a:pt x="322" y="83"/>
                    <a:pt x="338" y="110"/>
                  </a:cubicBezTo>
                  <a:cubicBezTo>
                    <a:pt x="359" y="146"/>
                    <a:pt x="358" y="190"/>
                    <a:pt x="346" y="229"/>
                  </a:cubicBezTo>
                  <a:cubicBezTo>
                    <a:pt x="335" y="260"/>
                    <a:pt x="316" y="291"/>
                    <a:pt x="291" y="313"/>
                  </a:cubicBezTo>
                  <a:cubicBezTo>
                    <a:pt x="265" y="337"/>
                    <a:pt x="231" y="348"/>
                    <a:pt x="196" y="353"/>
                  </a:cubicBezTo>
                  <a:cubicBezTo>
                    <a:pt x="159" y="358"/>
                    <a:pt x="123" y="356"/>
                    <a:pt x="92" y="333"/>
                  </a:cubicBezTo>
                  <a:cubicBezTo>
                    <a:pt x="66" y="314"/>
                    <a:pt x="44" y="288"/>
                    <a:pt x="26" y="260"/>
                  </a:cubicBezTo>
                  <a:cubicBezTo>
                    <a:pt x="5" y="227"/>
                    <a:pt x="14" y="189"/>
                    <a:pt x="24" y="153"/>
                  </a:cubicBezTo>
                  <a:cubicBezTo>
                    <a:pt x="32" y="121"/>
                    <a:pt x="43" y="83"/>
                    <a:pt x="67" y="60"/>
                  </a:cubicBezTo>
                  <a:cubicBezTo>
                    <a:pt x="91" y="35"/>
                    <a:pt x="128" y="26"/>
                    <a:pt x="161" y="22"/>
                  </a:cubicBezTo>
                  <a:cubicBezTo>
                    <a:pt x="206" y="16"/>
                    <a:pt x="244" y="26"/>
                    <a:pt x="282" y="49"/>
                  </a:cubicBezTo>
                  <a:cubicBezTo>
                    <a:pt x="285" y="51"/>
                    <a:pt x="288" y="46"/>
                    <a:pt x="285" y="44"/>
                  </a:cubicBezTo>
                  <a:close/>
                </a:path>
              </a:pathLst>
            </a:custGeom>
            <a:solidFill>
              <a:srgbClr val="1C1D1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75" name="Freeform 444">
              <a:extLst>
                <a:ext uri="{FF2B5EF4-FFF2-40B4-BE49-F238E27FC236}">
                  <a16:creationId xmlns:a16="http://schemas.microsoft.com/office/drawing/2014/main" id="{18FB0D0A-7E86-4772-B03C-0E9E8D94A14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06965" y="3300413"/>
              <a:ext cx="477839" cy="469900"/>
            </a:xfrm>
            <a:custGeom>
              <a:avLst/>
              <a:gdLst>
                <a:gd name="T0" fmla="*/ 203 w 284"/>
                <a:gd name="T1" fmla="*/ 25 h 280"/>
                <a:gd name="T2" fmla="*/ 127 w 284"/>
                <a:gd name="T3" fmla="*/ 6 h 280"/>
                <a:gd name="T4" fmla="*/ 47 w 284"/>
                <a:gd name="T5" fmla="*/ 45 h 280"/>
                <a:gd name="T6" fmla="*/ 21 w 284"/>
                <a:gd name="T7" fmla="*/ 196 h 280"/>
                <a:gd name="T8" fmla="*/ 135 w 284"/>
                <a:gd name="T9" fmla="*/ 276 h 280"/>
                <a:gd name="T10" fmla="*/ 261 w 284"/>
                <a:gd name="T11" fmla="*/ 182 h 280"/>
                <a:gd name="T12" fmla="*/ 272 w 284"/>
                <a:gd name="T13" fmla="*/ 82 h 280"/>
                <a:gd name="T14" fmla="*/ 210 w 284"/>
                <a:gd name="T15" fmla="*/ 21 h 280"/>
                <a:gd name="T16" fmla="*/ 206 w 284"/>
                <a:gd name="T17" fmla="*/ 27 h 280"/>
                <a:gd name="T18" fmla="*/ 271 w 284"/>
                <a:gd name="T19" fmla="*/ 108 h 280"/>
                <a:gd name="T20" fmla="*/ 247 w 284"/>
                <a:gd name="T21" fmla="*/ 195 h 280"/>
                <a:gd name="T22" fmla="*/ 176 w 284"/>
                <a:gd name="T23" fmla="*/ 264 h 280"/>
                <a:gd name="T24" fmla="*/ 82 w 284"/>
                <a:gd name="T25" fmla="*/ 254 h 280"/>
                <a:gd name="T26" fmla="*/ 22 w 284"/>
                <a:gd name="T27" fmla="*/ 100 h 280"/>
                <a:gd name="T28" fmla="*/ 83 w 284"/>
                <a:gd name="T29" fmla="*/ 30 h 280"/>
                <a:gd name="T30" fmla="*/ 202 w 284"/>
                <a:gd name="T31" fmla="*/ 28 h 280"/>
                <a:gd name="T32" fmla="*/ 203 w 284"/>
                <a:gd name="T33" fmla="*/ 25 h 2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84" h="280">
                  <a:moveTo>
                    <a:pt x="203" y="25"/>
                  </a:moveTo>
                  <a:cubicBezTo>
                    <a:pt x="179" y="8"/>
                    <a:pt x="157" y="0"/>
                    <a:pt x="127" y="6"/>
                  </a:cubicBezTo>
                  <a:cubicBezTo>
                    <a:pt x="98" y="12"/>
                    <a:pt x="69" y="25"/>
                    <a:pt x="47" y="45"/>
                  </a:cubicBezTo>
                  <a:cubicBezTo>
                    <a:pt x="7" y="84"/>
                    <a:pt x="0" y="145"/>
                    <a:pt x="21" y="196"/>
                  </a:cubicBezTo>
                  <a:cubicBezTo>
                    <a:pt x="41" y="242"/>
                    <a:pt x="85" y="272"/>
                    <a:pt x="135" y="276"/>
                  </a:cubicBezTo>
                  <a:cubicBezTo>
                    <a:pt x="195" y="280"/>
                    <a:pt x="239" y="233"/>
                    <a:pt x="261" y="182"/>
                  </a:cubicBezTo>
                  <a:cubicBezTo>
                    <a:pt x="274" y="152"/>
                    <a:pt x="284" y="114"/>
                    <a:pt x="272" y="82"/>
                  </a:cubicBezTo>
                  <a:cubicBezTo>
                    <a:pt x="261" y="54"/>
                    <a:pt x="235" y="35"/>
                    <a:pt x="210" y="21"/>
                  </a:cubicBezTo>
                  <a:cubicBezTo>
                    <a:pt x="206" y="19"/>
                    <a:pt x="203" y="25"/>
                    <a:pt x="206" y="27"/>
                  </a:cubicBezTo>
                  <a:cubicBezTo>
                    <a:pt x="237" y="48"/>
                    <a:pt x="268" y="67"/>
                    <a:pt x="271" y="108"/>
                  </a:cubicBezTo>
                  <a:cubicBezTo>
                    <a:pt x="273" y="138"/>
                    <a:pt x="261" y="170"/>
                    <a:pt x="247" y="195"/>
                  </a:cubicBezTo>
                  <a:cubicBezTo>
                    <a:pt x="231" y="225"/>
                    <a:pt x="208" y="253"/>
                    <a:pt x="176" y="264"/>
                  </a:cubicBezTo>
                  <a:cubicBezTo>
                    <a:pt x="145" y="275"/>
                    <a:pt x="110" y="269"/>
                    <a:pt x="82" y="254"/>
                  </a:cubicBezTo>
                  <a:cubicBezTo>
                    <a:pt x="29" y="225"/>
                    <a:pt x="5" y="157"/>
                    <a:pt x="22" y="100"/>
                  </a:cubicBezTo>
                  <a:cubicBezTo>
                    <a:pt x="32" y="70"/>
                    <a:pt x="55" y="44"/>
                    <a:pt x="83" y="30"/>
                  </a:cubicBezTo>
                  <a:cubicBezTo>
                    <a:pt x="122" y="11"/>
                    <a:pt x="162" y="7"/>
                    <a:pt x="202" y="28"/>
                  </a:cubicBezTo>
                  <a:cubicBezTo>
                    <a:pt x="203" y="28"/>
                    <a:pt x="205" y="26"/>
                    <a:pt x="203" y="25"/>
                  </a:cubicBezTo>
                  <a:close/>
                </a:path>
              </a:pathLst>
            </a:custGeom>
            <a:solidFill>
              <a:srgbClr val="1C1D1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76" name="Freeform 445">
              <a:extLst>
                <a:ext uri="{FF2B5EF4-FFF2-40B4-BE49-F238E27FC236}">
                  <a16:creationId xmlns:a16="http://schemas.microsoft.com/office/drawing/2014/main" id="{500BE27D-ABB0-4DA3-B94C-A52F3E734B0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38715" y="3324225"/>
              <a:ext cx="430213" cy="415925"/>
            </a:xfrm>
            <a:custGeom>
              <a:avLst/>
              <a:gdLst>
                <a:gd name="T0" fmla="*/ 188 w 256"/>
                <a:gd name="T1" fmla="*/ 28 h 248"/>
                <a:gd name="T2" fmla="*/ 49 w 256"/>
                <a:gd name="T3" fmla="*/ 37 h 248"/>
                <a:gd name="T4" fmla="*/ 20 w 256"/>
                <a:gd name="T5" fmla="*/ 170 h 248"/>
                <a:gd name="T6" fmla="*/ 123 w 256"/>
                <a:gd name="T7" fmla="*/ 239 h 248"/>
                <a:gd name="T8" fmla="*/ 229 w 256"/>
                <a:gd name="T9" fmla="*/ 164 h 248"/>
                <a:gd name="T10" fmla="*/ 188 w 256"/>
                <a:gd name="T11" fmla="*/ 22 h 248"/>
                <a:gd name="T12" fmla="*/ 184 w 256"/>
                <a:gd name="T13" fmla="*/ 29 h 248"/>
                <a:gd name="T14" fmla="*/ 234 w 256"/>
                <a:gd name="T15" fmla="*/ 109 h 248"/>
                <a:gd name="T16" fmla="*/ 206 w 256"/>
                <a:gd name="T17" fmla="*/ 187 h 248"/>
                <a:gd name="T18" fmla="*/ 57 w 256"/>
                <a:gd name="T19" fmla="*/ 209 h 248"/>
                <a:gd name="T20" fmla="*/ 17 w 256"/>
                <a:gd name="T21" fmla="*/ 145 h 248"/>
                <a:gd name="T22" fmla="*/ 38 w 256"/>
                <a:gd name="T23" fmla="*/ 65 h 248"/>
                <a:gd name="T24" fmla="*/ 113 w 256"/>
                <a:gd name="T25" fmla="*/ 15 h 248"/>
                <a:gd name="T26" fmla="*/ 187 w 256"/>
                <a:gd name="T27" fmla="*/ 30 h 248"/>
                <a:gd name="T28" fmla="*/ 188 w 256"/>
                <a:gd name="T29" fmla="*/ 28 h 2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56" h="248">
                  <a:moveTo>
                    <a:pt x="188" y="28"/>
                  </a:moveTo>
                  <a:cubicBezTo>
                    <a:pt x="147" y="2"/>
                    <a:pt x="85" y="0"/>
                    <a:pt x="49" y="37"/>
                  </a:cubicBezTo>
                  <a:cubicBezTo>
                    <a:pt x="17" y="71"/>
                    <a:pt x="0" y="126"/>
                    <a:pt x="20" y="170"/>
                  </a:cubicBezTo>
                  <a:cubicBezTo>
                    <a:pt x="37" y="209"/>
                    <a:pt x="80" y="240"/>
                    <a:pt x="123" y="239"/>
                  </a:cubicBezTo>
                  <a:cubicBezTo>
                    <a:pt x="168" y="237"/>
                    <a:pt x="210" y="203"/>
                    <a:pt x="229" y="164"/>
                  </a:cubicBezTo>
                  <a:cubicBezTo>
                    <a:pt x="256" y="108"/>
                    <a:pt x="236" y="56"/>
                    <a:pt x="188" y="22"/>
                  </a:cubicBezTo>
                  <a:cubicBezTo>
                    <a:pt x="184" y="19"/>
                    <a:pt x="180" y="26"/>
                    <a:pt x="184" y="29"/>
                  </a:cubicBezTo>
                  <a:cubicBezTo>
                    <a:pt x="211" y="49"/>
                    <a:pt x="233" y="74"/>
                    <a:pt x="234" y="109"/>
                  </a:cubicBezTo>
                  <a:cubicBezTo>
                    <a:pt x="236" y="137"/>
                    <a:pt x="224" y="165"/>
                    <a:pt x="206" y="187"/>
                  </a:cubicBezTo>
                  <a:cubicBezTo>
                    <a:pt x="167" y="232"/>
                    <a:pt x="106" y="248"/>
                    <a:pt x="57" y="209"/>
                  </a:cubicBezTo>
                  <a:cubicBezTo>
                    <a:pt x="37" y="193"/>
                    <a:pt x="21" y="171"/>
                    <a:pt x="17" y="145"/>
                  </a:cubicBezTo>
                  <a:cubicBezTo>
                    <a:pt x="13" y="117"/>
                    <a:pt x="24" y="89"/>
                    <a:pt x="38" y="65"/>
                  </a:cubicBezTo>
                  <a:cubicBezTo>
                    <a:pt x="54" y="36"/>
                    <a:pt x="79" y="18"/>
                    <a:pt x="113" y="15"/>
                  </a:cubicBezTo>
                  <a:cubicBezTo>
                    <a:pt x="139" y="13"/>
                    <a:pt x="162" y="23"/>
                    <a:pt x="187" y="30"/>
                  </a:cubicBezTo>
                  <a:cubicBezTo>
                    <a:pt x="188" y="31"/>
                    <a:pt x="189" y="29"/>
                    <a:pt x="188" y="28"/>
                  </a:cubicBezTo>
                  <a:close/>
                </a:path>
              </a:pathLst>
            </a:custGeom>
            <a:solidFill>
              <a:srgbClr val="1C1D1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77" name="Freeform 446">
              <a:extLst>
                <a:ext uri="{FF2B5EF4-FFF2-40B4-BE49-F238E27FC236}">
                  <a16:creationId xmlns:a16="http://schemas.microsoft.com/office/drawing/2014/main" id="{E508110E-52D2-48B6-A855-32DC725BEE6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487991" y="3330575"/>
              <a:ext cx="222251" cy="225425"/>
            </a:xfrm>
            <a:custGeom>
              <a:avLst/>
              <a:gdLst>
                <a:gd name="T0" fmla="*/ 78 w 132"/>
                <a:gd name="T1" fmla="*/ 6 h 134"/>
                <a:gd name="T2" fmla="*/ 11 w 132"/>
                <a:gd name="T3" fmla="*/ 48 h 134"/>
                <a:gd name="T4" fmla="*/ 50 w 132"/>
                <a:gd name="T5" fmla="*/ 122 h 134"/>
                <a:gd name="T6" fmla="*/ 122 w 132"/>
                <a:gd name="T7" fmla="*/ 85 h 134"/>
                <a:gd name="T8" fmla="*/ 82 w 132"/>
                <a:gd name="T9" fmla="*/ 3 h 134"/>
                <a:gd name="T10" fmla="*/ 80 w 132"/>
                <a:gd name="T11" fmla="*/ 9 h 134"/>
                <a:gd name="T12" fmla="*/ 117 w 132"/>
                <a:gd name="T13" fmla="*/ 73 h 134"/>
                <a:gd name="T14" fmla="*/ 51 w 132"/>
                <a:gd name="T15" fmla="*/ 113 h 134"/>
                <a:gd name="T16" fmla="*/ 18 w 132"/>
                <a:gd name="T17" fmla="*/ 49 h 134"/>
                <a:gd name="T18" fmla="*/ 78 w 132"/>
                <a:gd name="T19" fmla="*/ 9 h 134"/>
                <a:gd name="T20" fmla="*/ 78 w 132"/>
                <a:gd name="T21" fmla="*/ 6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32" h="134">
                  <a:moveTo>
                    <a:pt x="78" y="6"/>
                  </a:moveTo>
                  <a:cubicBezTo>
                    <a:pt x="46" y="0"/>
                    <a:pt x="20" y="18"/>
                    <a:pt x="11" y="48"/>
                  </a:cubicBezTo>
                  <a:cubicBezTo>
                    <a:pt x="0" y="81"/>
                    <a:pt x="18" y="110"/>
                    <a:pt x="50" y="122"/>
                  </a:cubicBezTo>
                  <a:cubicBezTo>
                    <a:pt x="80" y="134"/>
                    <a:pt x="113" y="114"/>
                    <a:pt x="122" y="85"/>
                  </a:cubicBezTo>
                  <a:cubicBezTo>
                    <a:pt x="132" y="50"/>
                    <a:pt x="117" y="14"/>
                    <a:pt x="82" y="3"/>
                  </a:cubicBezTo>
                  <a:cubicBezTo>
                    <a:pt x="79" y="2"/>
                    <a:pt x="77" y="8"/>
                    <a:pt x="80" y="9"/>
                  </a:cubicBezTo>
                  <a:cubicBezTo>
                    <a:pt x="107" y="21"/>
                    <a:pt x="122" y="42"/>
                    <a:pt x="117" y="73"/>
                  </a:cubicBezTo>
                  <a:cubicBezTo>
                    <a:pt x="112" y="103"/>
                    <a:pt x="81" y="126"/>
                    <a:pt x="51" y="113"/>
                  </a:cubicBezTo>
                  <a:cubicBezTo>
                    <a:pt x="25" y="101"/>
                    <a:pt x="8" y="78"/>
                    <a:pt x="18" y="49"/>
                  </a:cubicBezTo>
                  <a:cubicBezTo>
                    <a:pt x="26" y="23"/>
                    <a:pt x="49" y="6"/>
                    <a:pt x="78" y="9"/>
                  </a:cubicBezTo>
                  <a:cubicBezTo>
                    <a:pt x="79" y="9"/>
                    <a:pt x="80" y="6"/>
                    <a:pt x="78" y="6"/>
                  </a:cubicBezTo>
                  <a:close/>
                </a:path>
              </a:pathLst>
            </a:custGeom>
            <a:solidFill>
              <a:srgbClr val="1C1D1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78" name="Freeform 447">
              <a:extLst>
                <a:ext uri="{FF2B5EF4-FFF2-40B4-BE49-F238E27FC236}">
                  <a16:creationId xmlns:a16="http://schemas.microsoft.com/office/drawing/2014/main" id="{28BB0ED1-41F5-4013-8A87-6EF7FF25A31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513391" y="3355975"/>
              <a:ext cx="101600" cy="117476"/>
            </a:xfrm>
            <a:custGeom>
              <a:avLst/>
              <a:gdLst>
                <a:gd name="T0" fmla="*/ 58 w 60"/>
                <a:gd name="T1" fmla="*/ 6 h 70"/>
                <a:gd name="T2" fmla="*/ 15 w 60"/>
                <a:gd name="T3" fmla="*/ 30 h 70"/>
                <a:gd name="T4" fmla="*/ 21 w 60"/>
                <a:gd name="T5" fmla="*/ 68 h 70"/>
                <a:gd name="T6" fmla="*/ 23 w 60"/>
                <a:gd name="T7" fmla="*/ 66 h 70"/>
                <a:gd name="T8" fmla="*/ 58 w 60"/>
                <a:gd name="T9" fmla="*/ 9 h 70"/>
                <a:gd name="T10" fmla="*/ 58 w 60"/>
                <a:gd name="T11" fmla="*/ 6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0" h="70">
                  <a:moveTo>
                    <a:pt x="58" y="6"/>
                  </a:moveTo>
                  <a:cubicBezTo>
                    <a:pt x="40" y="0"/>
                    <a:pt x="23" y="15"/>
                    <a:pt x="15" y="30"/>
                  </a:cubicBezTo>
                  <a:cubicBezTo>
                    <a:pt x="9" y="43"/>
                    <a:pt x="11" y="58"/>
                    <a:pt x="21" y="68"/>
                  </a:cubicBezTo>
                  <a:cubicBezTo>
                    <a:pt x="22" y="70"/>
                    <a:pt x="25" y="67"/>
                    <a:pt x="23" y="66"/>
                  </a:cubicBezTo>
                  <a:cubicBezTo>
                    <a:pt x="0" y="43"/>
                    <a:pt x="29" y="4"/>
                    <a:pt x="58" y="9"/>
                  </a:cubicBezTo>
                  <a:cubicBezTo>
                    <a:pt x="59" y="9"/>
                    <a:pt x="60" y="7"/>
                    <a:pt x="58" y="6"/>
                  </a:cubicBezTo>
                  <a:close/>
                </a:path>
              </a:pathLst>
            </a:custGeom>
            <a:solidFill>
              <a:srgbClr val="1C1D1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79" name="Freeform 448">
              <a:extLst>
                <a:ext uri="{FF2B5EF4-FFF2-40B4-BE49-F238E27FC236}">
                  <a16:creationId xmlns:a16="http://schemas.microsoft.com/office/drawing/2014/main" id="{8E7D7E79-ED09-4FBF-AC81-4A08511C751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576891" y="3481388"/>
              <a:ext cx="4764" cy="6350"/>
            </a:xfrm>
            <a:custGeom>
              <a:avLst/>
              <a:gdLst>
                <a:gd name="T0" fmla="*/ 0 w 3"/>
                <a:gd name="T1" fmla="*/ 1 h 3"/>
                <a:gd name="T2" fmla="*/ 2 w 3"/>
                <a:gd name="T3" fmla="*/ 3 h 3"/>
                <a:gd name="T4" fmla="*/ 2 w 3"/>
                <a:gd name="T5" fmla="*/ 2 h 3"/>
                <a:gd name="T6" fmla="*/ 2 w 3"/>
                <a:gd name="T7" fmla="*/ 1 h 3"/>
                <a:gd name="T8" fmla="*/ 0 w 3"/>
                <a:gd name="T9" fmla="*/ 1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3">
                  <a:moveTo>
                    <a:pt x="0" y="1"/>
                  </a:moveTo>
                  <a:cubicBezTo>
                    <a:pt x="0" y="2"/>
                    <a:pt x="1" y="3"/>
                    <a:pt x="2" y="3"/>
                  </a:cubicBezTo>
                  <a:cubicBezTo>
                    <a:pt x="3" y="3"/>
                    <a:pt x="3" y="2"/>
                    <a:pt x="2" y="2"/>
                  </a:cubicBezTo>
                  <a:cubicBezTo>
                    <a:pt x="2" y="2"/>
                    <a:pt x="1" y="1"/>
                    <a:pt x="2" y="1"/>
                  </a:cubicBezTo>
                  <a:cubicBezTo>
                    <a:pt x="2" y="0"/>
                    <a:pt x="1" y="0"/>
                    <a:pt x="0" y="1"/>
                  </a:cubicBezTo>
                  <a:close/>
                </a:path>
              </a:pathLst>
            </a:custGeom>
            <a:solidFill>
              <a:srgbClr val="1C1D1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80" name="Freeform 449">
              <a:extLst>
                <a:ext uri="{FF2B5EF4-FFF2-40B4-BE49-F238E27FC236}">
                  <a16:creationId xmlns:a16="http://schemas.microsoft.com/office/drawing/2014/main" id="{D1AD0B91-5E77-4CA3-9068-90FE589CE2E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564191" y="3475038"/>
              <a:ext cx="15875" cy="25400"/>
            </a:xfrm>
            <a:custGeom>
              <a:avLst/>
              <a:gdLst>
                <a:gd name="T0" fmla="*/ 1 w 9"/>
                <a:gd name="T1" fmla="*/ 4 h 15"/>
                <a:gd name="T2" fmla="*/ 5 w 9"/>
                <a:gd name="T3" fmla="*/ 14 h 15"/>
                <a:gd name="T4" fmla="*/ 8 w 9"/>
                <a:gd name="T5" fmla="*/ 14 h 15"/>
                <a:gd name="T6" fmla="*/ 5 w 9"/>
                <a:gd name="T7" fmla="*/ 3 h 15"/>
                <a:gd name="T8" fmla="*/ 1 w 9"/>
                <a:gd name="T9" fmla="*/ 4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" h="15">
                  <a:moveTo>
                    <a:pt x="1" y="4"/>
                  </a:moveTo>
                  <a:cubicBezTo>
                    <a:pt x="1" y="8"/>
                    <a:pt x="2" y="12"/>
                    <a:pt x="5" y="14"/>
                  </a:cubicBezTo>
                  <a:cubicBezTo>
                    <a:pt x="6" y="15"/>
                    <a:pt x="8" y="15"/>
                    <a:pt x="8" y="14"/>
                  </a:cubicBezTo>
                  <a:cubicBezTo>
                    <a:pt x="9" y="10"/>
                    <a:pt x="6" y="6"/>
                    <a:pt x="5" y="3"/>
                  </a:cubicBezTo>
                  <a:cubicBezTo>
                    <a:pt x="4" y="0"/>
                    <a:pt x="0" y="1"/>
                    <a:pt x="1" y="4"/>
                  </a:cubicBezTo>
                  <a:close/>
                </a:path>
              </a:pathLst>
            </a:custGeom>
            <a:solidFill>
              <a:srgbClr val="1C1D1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81" name="Freeform 450">
              <a:extLst>
                <a:ext uri="{FF2B5EF4-FFF2-40B4-BE49-F238E27FC236}">
                  <a16:creationId xmlns:a16="http://schemas.microsoft.com/office/drawing/2014/main" id="{2B4E6FC8-40BE-4426-995D-2223EAB5949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588003" y="3487738"/>
              <a:ext cx="17463" cy="15875"/>
            </a:xfrm>
            <a:custGeom>
              <a:avLst/>
              <a:gdLst>
                <a:gd name="T0" fmla="*/ 3 w 10"/>
                <a:gd name="T1" fmla="*/ 5 h 10"/>
                <a:gd name="T2" fmla="*/ 7 w 10"/>
                <a:gd name="T3" fmla="*/ 9 h 10"/>
                <a:gd name="T4" fmla="*/ 10 w 10"/>
                <a:gd name="T5" fmla="*/ 7 h 10"/>
                <a:gd name="T6" fmla="*/ 4 w 10"/>
                <a:gd name="T7" fmla="*/ 1 h 10"/>
                <a:gd name="T8" fmla="*/ 3 w 10"/>
                <a:gd name="T9" fmla="*/ 5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" h="10">
                  <a:moveTo>
                    <a:pt x="3" y="5"/>
                  </a:moveTo>
                  <a:cubicBezTo>
                    <a:pt x="5" y="6"/>
                    <a:pt x="5" y="8"/>
                    <a:pt x="7" y="9"/>
                  </a:cubicBezTo>
                  <a:cubicBezTo>
                    <a:pt x="8" y="10"/>
                    <a:pt x="10" y="9"/>
                    <a:pt x="10" y="7"/>
                  </a:cubicBezTo>
                  <a:cubicBezTo>
                    <a:pt x="9" y="5"/>
                    <a:pt x="6" y="2"/>
                    <a:pt x="4" y="1"/>
                  </a:cubicBezTo>
                  <a:cubicBezTo>
                    <a:pt x="1" y="0"/>
                    <a:pt x="0" y="4"/>
                    <a:pt x="3" y="5"/>
                  </a:cubicBezTo>
                  <a:close/>
                </a:path>
              </a:pathLst>
            </a:custGeom>
            <a:solidFill>
              <a:srgbClr val="1C1D1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82" name="Freeform 451">
              <a:extLst>
                <a:ext uri="{FF2B5EF4-FFF2-40B4-BE49-F238E27FC236}">
                  <a16:creationId xmlns:a16="http://schemas.microsoft.com/office/drawing/2014/main" id="{5FFD17E5-886A-4128-9DBB-E922F973FBA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616578" y="3494087"/>
              <a:ext cx="9525" cy="9525"/>
            </a:xfrm>
            <a:custGeom>
              <a:avLst/>
              <a:gdLst>
                <a:gd name="T0" fmla="*/ 1 w 6"/>
                <a:gd name="T1" fmla="*/ 3 h 6"/>
                <a:gd name="T2" fmla="*/ 4 w 6"/>
                <a:gd name="T3" fmla="*/ 6 h 6"/>
                <a:gd name="T4" fmla="*/ 5 w 6"/>
                <a:gd name="T5" fmla="*/ 4 h 6"/>
                <a:gd name="T6" fmla="*/ 3 w 6"/>
                <a:gd name="T7" fmla="*/ 2 h 6"/>
                <a:gd name="T8" fmla="*/ 1 w 6"/>
                <a:gd name="T9" fmla="*/ 3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6">
                  <a:moveTo>
                    <a:pt x="1" y="3"/>
                  </a:moveTo>
                  <a:cubicBezTo>
                    <a:pt x="2" y="4"/>
                    <a:pt x="3" y="5"/>
                    <a:pt x="4" y="6"/>
                  </a:cubicBezTo>
                  <a:cubicBezTo>
                    <a:pt x="5" y="6"/>
                    <a:pt x="6" y="4"/>
                    <a:pt x="5" y="4"/>
                  </a:cubicBezTo>
                  <a:cubicBezTo>
                    <a:pt x="4" y="4"/>
                    <a:pt x="3" y="3"/>
                    <a:pt x="3" y="2"/>
                  </a:cubicBezTo>
                  <a:cubicBezTo>
                    <a:pt x="2" y="0"/>
                    <a:pt x="0" y="2"/>
                    <a:pt x="1" y="3"/>
                  </a:cubicBezTo>
                  <a:close/>
                </a:path>
              </a:pathLst>
            </a:custGeom>
            <a:solidFill>
              <a:srgbClr val="1C1D1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83" name="Freeform 452">
              <a:extLst>
                <a:ext uri="{FF2B5EF4-FFF2-40B4-BE49-F238E27FC236}">
                  <a16:creationId xmlns:a16="http://schemas.microsoft.com/office/drawing/2014/main" id="{25D6065B-B778-4D79-B771-7647E6B2093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637216" y="3386138"/>
              <a:ext cx="30163" cy="68263"/>
            </a:xfrm>
            <a:custGeom>
              <a:avLst/>
              <a:gdLst>
                <a:gd name="T0" fmla="*/ 1 w 18"/>
                <a:gd name="T1" fmla="*/ 3 h 41"/>
                <a:gd name="T2" fmla="*/ 9 w 18"/>
                <a:gd name="T3" fmla="*/ 38 h 41"/>
                <a:gd name="T4" fmla="*/ 14 w 18"/>
                <a:gd name="T5" fmla="*/ 38 h 41"/>
                <a:gd name="T6" fmla="*/ 2 w 18"/>
                <a:gd name="T7" fmla="*/ 1 h 41"/>
                <a:gd name="T8" fmla="*/ 1 w 18"/>
                <a:gd name="T9" fmla="*/ 3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" h="41">
                  <a:moveTo>
                    <a:pt x="1" y="3"/>
                  </a:moveTo>
                  <a:cubicBezTo>
                    <a:pt x="10" y="11"/>
                    <a:pt x="7" y="27"/>
                    <a:pt x="9" y="38"/>
                  </a:cubicBezTo>
                  <a:cubicBezTo>
                    <a:pt x="10" y="40"/>
                    <a:pt x="13" y="41"/>
                    <a:pt x="14" y="38"/>
                  </a:cubicBezTo>
                  <a:cubicBezTo>
                    <a:pt x="18" y="24"/>
                    <a:pt x="15" y="9"/>
                    <a:pt x="2" y="1"/>
                  </a:cubicBezTo>
                  <a:cubicBezTo>
                    <a:pt x="1" y="0"/>
                    <a:pt x="0" y="2"/>
                    <a:pt x="1" y="3"/>
                  </a:cubicBezTo>
                  <a:close/>
                </a:path>
              </a:pathLst>
            </a:custGeom>
            <a:solidFill>
              <a:srgbClr val="1C1D1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84" name="Freeform 453">
              <a:extLst>
                <a:ext uri="{FF2B5EF4-FFF2-40B4-BE49-F238E27FC236}">
                  <a16:creationId xmlns:a16="http://schemas.microsoft.com/office/drawing/2014/main" id="{6460C6DB-0846-40D1-A703-FFF6CB1627C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386390" y="3644900"/>
              <a:ext cx="292101" cy="73025"/>
            </a:xfrm>
            <a:custGeom>
              <a:avLst/>
              <a:gdLst>
                <a:gd name="T0" fmla="*/ 4 w 174"/>
                <a:gd name="T1" fmla="*/ 8 h 43"/>
                <a:gd name="T2" fmla="*/ 78 w 174"/>
                <a:gd name="T3" fmla="*/ 27 h 43"/>
                <a:gd name="T4" fmla="*/ 168 w 174"/>
                <a:gd name="T5" fmla="*/ 42 h 43"/>
                <a:gd name="T6" fmla="*/ 170 w 174"/>
                <a:gd name="T7" fmla="*/ 36 h 43"/>
                <a:gd name="T8" fmla="*/ 89 w 174"/>
                <a:gd name="T9" fmla="*/ 22 h 43"/>
                <a:gd name="T10" fmla="*/ 7 w 174"/>
                <a:gd name="T11" fmla="*/ 1 h 43"/>
                <a:gd name="T12" fmla="*/ 4 w 174"/>
                <a:gd name="T13" fmla="*/ 8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74" h="43">
                  <a:moveTo>
                    <a:pt x="4" y="8"/>
                  </a:moveTo>
                  <a:cubicBezTo>
                    <a:pt x="27" y="18"/>
                    <a:pt x="53" y="22"/>
                    <a:pt x="78" y="27"/>
                  </a:cubicBezTo>
                  <a:cubicBezTo>
                    <a:pt x="107" y="33"/>
                    <a:pt x="138" y="40"/>
                    <a:pt x="168" y="42"/>
                  </a:cubicBezTo>
                  <a:cubicBezTo>
                    <a:pt x="172" y="43"/>
                    <a:pt x="174" y="37"/>
                    <a:pt x="170" y="36"/>
                  </a:cubicBezTo>
                  <a:cubicBezTo>
                    <a:pt x="144" y="28"/>
                    <a:pt x="115" y="27"/>
                    <a:pt x="89" y="22"/>
                  </a:cubicBezTo>
                  <a:cubicBezTo>
                    <a:pt x="62" y="16"/>
                    <a:pt x="33" y="12"/>
                    <a:pt x="7" y="1"/>
                  </a:cubicBezTo>
                  <a:cubicBezTo>
                    <a:pt x="3" y="0"/>
                    <a:pt x="0" y="6"/>
                    <a:pt x="4" y="8"/>
                  </a:cubicBezTo>
                  <a:close/>
                </a:path>
              </a:pathLst>
            </a:custGeom>
            <a:solidFill>
              <a:srgbClr val="1C1D1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85" name="Freeform 454">
              <a:extLst>
                <a:ext uri="{FF2B5EF4-FFF2-40B4-BE49-F238E27FC236}">
                  <a16:creationId xmlns:a16="http://schemas.microsoft.com/office/drawing/2014/main" id="{51AC5D4C-EFE8-4F4B-86E9-3A3585765C3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353053" y="3694112"/>
              <a:ext cx="336551" cy="84138"/>
            </a:xfrm>
            <a:custGeom>
              <a:avLst/>
              <a:gdLst>
                <a:gd name="T0" fmla="*/ 2 w 200"/>
                <a:gd name="T1" fmla="*/ 4 h 50"/>
                <a:gd name="T2" fmla="*/ 101 w 200"/>
                <a:gd name="T3" fmla="*/ 26 h 50"/>
                <a:gd name="T4" fmla="*/ 150 w 200"/>
                <a:gd name="T5" fmla="*/ 38 h 50"/>
                <a:gd name="T6" fmla="*/ 189 w 200"/>
                <a:gd name="T7" fmla="*/ 46 h 50"/>
                <a:gd name="T8" fmla="*/ 195 w 200"/>
                <a:gd name="T9" fmla="*/ 39 h 50"/>
                <a:gd name="T10" fmla="*/ 166 w 200"/>
                <a:gd name="T11" fmla="*/ 33 h 50"/>
                <a:gd name="T12" fmla="*/ 114 w 200"/>
                <a:gd name="T13" fmla="*/ 20 h 50"/>
                <a:gd name="T14" fmla="*/ 3 w 200"/>
                <a:gd name="T15" fmla="*/ 1 h 50"/>
                <a:gd name="T16" fmla="*/ 2 w 200"/>
                <a:gd name="T17" fmla="*/ 4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00" h="50">
                  <a:moveTo>
                    <a:pt x="2" y="4"/>
                  </a:moveTo>
                  <a:cubicBezTo>
                    <a:pt x="34" y="14"/>
                    <a:pt x="68" y="18"/>
                    <a:pt x="101" y="26"/>
                  </a:cubicBezTo>
                  <a:cubicBezTo>
                    <a:pt x="117" y="30"/>
                    <a:pt x="134" y="34"/>
                    <a:pt x="150" y="38"/>
                  </a:cubicBezTo>
                  <a:cubicBezTo>
                    <a:pt x="159" y="40"/>
                    <a:pt x="183" y="40"/>
                    <a:pt x="189" y="46"/>
                  </a:cubicBezTo>
                  <a:cubicBezTo>
                    <a:pt x="193" y="50"/>
                    <a:pt x="200" y="43"/>
                    <a:pt x="195" y="39"/>
                  </a:cubicBezTo>
                  <a:cubicBezTo>
                    <a:pt x="187" y="32"/>
                    <a:pt x="176" y="34"/>
                    <a:pt x="166" y="33"/>
                  </a:cubicBezTo>
                  <a:cubicBezTo>
                    <a:pt x="148" y="29"/>
                    <a:pt x="131" y="24"/>
                    <a:pt x="114" y="20"/>
                  </a:cubicBezTo>
                  <a:cubicBezTo>
                    <a:pt x="78" y="12"/>
                    <a:pt x="40" y="4"/>
                    <a:pt x="3" y="1"/>
                  </a:cubicBezTo>
                  <a:cubicBezTo>
                    <a:pt x="1" y="0"/>
                    <a:pt x="0" y="3"/>
                    <a:pt x="2" y="4"/>
                  </a:cubicBezTo>
                  <a:close/>
                </a:path>
              </a:pathLst>
            </a:custGeom>
            <a:solidFill>
              <a:srgbClr val="1C1D1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86" name="Freeform 455">
              <a:extLst>
                <a:ext uri="{FF2B5EF4-FFF2-40B4-BE49-F238E27FC236}">
                  <a16:creationId xmlns:a16="http://schemas.microsoft.com/office/drawing/2014/main" id="{EE6786E0-34D6-4119-893C-A7E864F9563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013454" y="2886075"/>
              <a:ext cx="919164" cy="939800"/>
            </a:xfrm>
            <a:custGeom>
              <a:avLst/>
              <a:gdLst>
                <a:gd name="T0" fmla="*/ 11 w 546"/>
                <a:gd name="T1" fmla="*/ 321 h 560"/>
                <a:gd name="T2" fmla="*/ 35 w 546"/>
                <a:gd name="T3" fmla="*/ 173 h 560"/>
                <a:gd name="T4" fmla="*/ 123 w 546"/>
                <a:gd name="T5" fmla="*/ 74 h 560"/>
                <a:gd name="T6" fmla="*/ 381 w 546"/>
                <a:gd name="T7" fmla="*/ 40 h 560"/>
                <a:gd name="T8" fmla="*/ 531 w 546"/>
                <a:gd name="T9" fmla="*/ 229 h 560"/>
                <a:gd name="T10" fmla="*/ 456 w 546"/>
                <a:gd name="T11" fmla="*/ 468 h 560"/>
                <a:gd name="T12" fmla="*/ 313 w 546"/>
                <a:gd name="T13" fmla="*/ 541 h 560"/>
                <a:gd name="T14" fmla="*/ 139 w 546"/>
                <a:gd name="T15" fmla="*/ 510 h 560"/>
                <a:gd name="T16" fmla="*/ 135 w 546"/>
                <a:gd name="T17" fmla="*/ 518 h 560"/>
                <a:gd name="T18" fmla="*/ 295 w 546"/>
                <a:gd name="T19" fmla="*/ 553 h 560"/>
                <a:gd name="T20" fmla="*/ 433 w 546"/>
                <a:gd name="T21" fmla="*/ 499 h 560"/>
                <a:gd name="T22" fmla="*/ 543 w 546"/>
                <a:gd name="T23" fmla="*/ 269 h 560"/>
                <a:gd name="T24" fmla="*/ 416 w 546"/>
                <a:gd name="T25" fmla="*/ 49 h 560"/>
                <a:gd name="T26" fmla="*/ 155 w 546"/>
                <a:gd name="T27" fmla="*/ 45 h 560"/>
                <a:gd name="T28" fmla="*/ 40 w 546"/>
                <a:gd name="T29" fmla="*/ 148 h 560"/>
                <a:gd name="T30" fmla="*/ 5 w 546"/>
                <a:gd name="T31" fmla="*/ 320 h 560"/>
                <a:gd name="T32" fmla="*/ 11 w 546"/>
                <a:gd name="T33" fmla="*/ 321 h 5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546" h="560">
                  <a:moveTo>
                    <a:pt x="11" y="321"/>
                  </a:moveTo>
                  <a:cubicBezTo>
                    <a:pt x="8" y="269"/>
                    <a:pt x="11" y="220"/>
                    <a:pt x="35" y="173"/>
                  </a:cubicBezTo>
                  <a:cubicBezTo>
                    <a:pt x="55" y="133"/>
                    <a:pt x="86" y="99"/>
                    <a:pt x="123" y="74"/>
                  </a:cubicBezTo>
                  <a:cubicBezTo>
                    <a:pt x="197" y="22"/>
                    <a:pt x="296" y="3"/>
                    <a:pt x="381" y="40"/>
                  </a:cubicBezTo>
                  <a:cubicBezTo>
                    <a:pt x="458" y="74"/>
                    <a:pt x="516" y="147"/>
                    <a:pt x="531" y="229"/>
                  </a:cubicBezTo>
                  <a:cubicBezTo>
                    <a:pt x="546" y="314"/>
                    <a:pt x="519" y="408"/>
                    <a:pt x="456" y="468"/>
                  </a:cubicBezTo>
                  <a:cubicBezTo>
                    <a:pt x="417" y="506"/>
                    <a:pt x="366" y="530"/>
                    <a:pt x="313" y="541"/>
                  </a:cubicBezTo>
                  <a:cubicBezTo>
                    <a:pt x="251" y="553"/>
                    <a:pt x="194" y="540"/>
                    <a:pt x="139" y="510"/>
                  </a:cubicBezTo>
                  <a:cubicBezTo>
                    <a:pt x="134" y="507"/>
                    <a:pt x="130" y="515"/>
                    <a:pt x="135" y="518"/>
                  </a:cubicBezTo>
                  <a:cubicBezTo>
                    <a:pt x="184" y="545"/>
                    <a:pt x="238" y="560"/>
                    <a:pt x="295" y="553"/>
                  </a:cubicBezTo>
                  <a:cubicBezTo>
                    <a:pt x="344" y="546"/>
                    <a:pt x="393" y="528"/>
                    <a:pt x="433" y="499"/>
                  </a:cubicBezTo>
                  <a:cubicBezTo>
                    <a:pt x="505" y="446"/>
                    <a:pt x="545" y="358"/>
                    <a:pt x="543" y="269"/>
                  </a:cubicBezTo>
                  <a:cubicBezTo>
                    <a:pt x="541" y="180"/>
                    <a:pt x="492" y="95"/>
                    <a:pt x="416" y="49"/>
                  </a:cubicBezTo>
                  <a:cubicBezTo>
                    <a:pt x="336" y="0"/>
                    <a:pt x="237" y="3"/>
                    <a:pt x="155" y="45"/>
                  </a:cubicBezTo>
                  <a:cubicBezTo>
                    <a:pt x="109" y="69"/>
                    <a:pt x="67" y="104"/>
                    <a:pt x="40" y="148"/>
                  </a:cubicBezTo>
                  <a:cubicBezTo>
                    <a:pt x="7" y="201"/>
                    <a:pt x="0" y="259"/>
                    <a:pt x="5" y="320"/>
                  </a:cubicBezTo>
                  <a:cubicBezTo>
                    <a:pt x="6" y="324"/>
                    <a:pt x="12" y="324"/>
                    <a:pt x="11" y="321"/>
                  </a:cubicBezTo>
                  <a:close/>
                </a:path>
              </a:pathLst>
            </a:custGeom>
            <a:solidFill>
              <a:srgbClr val="1C1D1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87" name="Freeform 456">
              <a:extLst>
                <a:ext uri="{FF2B5EF4-FFF2-40B4-BE49-F238E27FC236}">
                  <a16:creationId xmlns:a16="http://schemas.microsoft.com/office/drawing/2014/main" id="{D3027878-D625-4FDD-8345-CE995F09956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260852" y="2552700"/>
              <a:ext cx="1019176" cy="931863"/>
            </a:xfrm>
            <a:custGeom>
              <a:avLst/>
              <a:gdLst>
                <a:gd name="T0" fmla="*/ 563 w 606"/>
                <a:gd name="T1" fmla="*/ 402 h 555"/>
                <a:gd name="T2" fmla="*/ 561 w 606"/>
                <a:gd name="T3" fmla="*/ 402 h 555"/>
                <a:gd name="T4" fmla="*/ 563 w 606"/>
                <a:gd name="T5" fmla="*/ 408 h 555"/>
                <a:gd name="T6" fmla="*/ 602 w 606"/>
                <a:gd name="T7" fmla="*/ 266 h 555"/>
                <a:gd name="T8" fmla="*/ 551 w 606"/>
                <a:gd name="T9" fmla="*/ 133 h 555"/>
                <a:gd name="T10" fmla="*/ 324 w 606"/>
                <a:gd name="T11" fmla="*/ 6 h 555"/>
                <a:gd name="T12" fmla="*/ 76 w 606"/>
                <a:gd name="T13" fmla="*/ 387 h 555"/>
                <a:gd name="T14" fmla="*/ 187 w 606"/>
                <a:gd name="T15" fmla="*/ 510 h 555"/>
                <a:gd name="T16" fmla="*/ 360 w 606"/>
                <a:gd name="T17" fmla="*/ 546 h 555"/>
                <a:gd name="T18" fmla="*/ 359 w 606"/>
                <a:gd name="T19" fmla="*/ 537 h 555"/>
                <a:gd name="T20" fmla="*/ 210 w 606"/>
                <a:gd name="T21" fmla="*/ 512 h 555"/>
                <a:gd name="T22" fmla="*/ 104 w 606"/>
                <a:gd name="T23" fmla="*/ 417 h 555"/>
                <a:gd name="T24" fmla="*/ 101 w 606"/>
                <a:gd name="T25" fmla="*/ 153 h 555"/>
                <a:gd name="T26" fmla="*/ 288 w 606"/>
                <a:gd name="T27" fmla="*/ 17 h 555"/>
                <a:gd name="T28" fmla="*/ 517 w 606"/>
                <a:gd name="T29" fmla="*/ 107 h 555"/>
                <a:gd name="T30" fmla="*/ 587 w 606"/>
                <a:gd name="T31" fmla="*/ 233 h 555"/>
                <a:gd name="T32" fmla="*/ 557 w 606"/>
                <a:gd name="T33" fmla="*/ 403 h 555"/>
                <a:gd name="T34" fmla="*/ 559 w 606"/>
                <a:gd name="T35" fmla="*/ 409 h 555"/>
                <a:gd name="T36" fmla="*/ 560 w 606"/>
                <a:gd name="T37" fmla="*/ 410 h 555"/>
                <a:gd name="T38" fmla="*/ 563 w 606"/>
                <a:gd name="T39" fmla="*/ 402 h 5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606" h="555">
                  <a:moveTo>
                    <a:pt x="563" y="402"/>
                  </a:moveTo>
                  <a:cubicBezTo>
                    <a:pt x="562" y="402"/>
                    <a:pt x="562" y="402"/>
                    <a:pt x="561" y="402"/>
                  </a:cubicBezTo>
                  <a:cubicBezTo>
                    <a:pt x="562" y="404"/>
                    <a:pt x="563" y="406"/>
                    <a:pt x="563" y="408"/>
                  </a:cubicBezTo>
                  <a:cubicBezTo>
                    <a:pt x="587" y="363"/>
                    <a:pt x="606" y="318"/>
                    <a:pt x="602" y="266"/>
                  </a:cubicBezTo>
                  <a:cubicBezTo>
                    <a:pt x="599" y="218"/>
                    <a:pt x="579" y="172"/>
                    <a:pt x="551" y="133"/>
                  </a:cubicBezTo>
                  <a:cubicBezTo>
                    <a:pt x="499" y="61"/>
                    <a:pt x="414" y="8"/>
                    <a:pt x="324" y="6"/>
                  </a:cubicBezTo>
                  <a:cubicBezTo>
                    <a:pt x="139" y="0"/>
                    <a:pt x="0" y="221"/>
                    <a:pt x="76" y="387"/>
                  </a:cubicBezTo>
                  <a:cubicBezTo>
                    <a:pt x="99" y="438"/>
                    <a:pt x="141" y="480"/>
                    <a:pt x="187" y="510"/>
                  </a:cubicBezTo>
                  <a:cubicBezTo>
                    <a:pt x="241" y="545"/>
                    <a:pt x="297" y="555"/>
                    <a:pt x="360" y="546"/>
                  </a:cubicBezTo>
                  <a:cubicBezTo>
                    <a:pt x="366" y="546"/>
                    <a:pt x="365" y="536"/>
                    <a:pt x="359" y="537"/>
                  </a:cubicBezTo>
                  <a:cubicBezTo>
                    <a:pt x="306" y="544"/>
                    <a:pt x="257" y="538"/>
                    <a:pt x="210" y="512"/>
                  </a:cubicBezTo>
                  <a:cubicBezTo>
                    <a:pt x="168" y="489"/>
                    <a:pt x="130" y="456"/>
                    <a:pt x="104" y="417"/>
                  </a:cubicBezTo>
                  <a:cubicBezTo>
                    <a:pt x="49" y="337"/>
                    <a:pt x="56" y="235"/>
                    <a:pt x="101" y="153"/>
                  </a:cubicBezTo>
                  <a:cubicBezTo>
                    <a:pt x="139" y="82"/>
                    <a:pt x="207" y="27"/>
                    <a:pt x="288" y="17"/>
                  </a:cubicBezTo>
                  <a:cubicBezTo>
                    <a:pt x="374" y="7"/>
                    <a:pt x="459" y="46"/>
                    <a:pt x="517" y="107"/>
                  </a:cubicBezTo>
                  <a:cubicBezTo>
                    <a:pt x="550" y="143"/>
                    <a:pt x="576" y="186"/>
                    <a:pt x="587" y="233"/>
                  </a:cubicBezTo>
                  <a:cubicBezTo>
                    <a:pt x="601" y="295"/>
                    <a:pt x="585" y="348"/>
                    <a:pt x="557" y="403"/>
                  </a:cubicBezTo>
                  <a:cubicBezTo>
                    <a:pt x="555" y="405"/>
                    <a:pt x="556" y="409"/>
                    <a:pt x="559" y="409"/>
                  </a:cubicBezTo>
                  <a:cubicBezTo>
                    <a:pt x="559" y="409"/>
                    <a:pt x="560" y="410"/>
                    <a:pt x="560" y="410"/>
                  </a:cubicBezTo>
                  <a:cubicBezTo>
                    <a:pt x="565" y="411"/>
                    <a:pt x="568" y="403"/>
                    <a:pt x="563" y="402"/>
                  </a:cubicBezTo>
                  <a:close/>
                </a:path>
              </a:pathLst>
            </a:custGeom>
            <a:solidFill>
              <a:srgbClr val="1C1D1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88" name="Freeform 457">
              <a:extLst>
                <a:ext uri="{FF2B5EF4-FFF2-40B4-BE49-F238E27FC236}">
                  <a16:creationId xmlns:a16="http://schemas.microsoft.com/office/drawing/2014/main" id="{217875C9-3D3E-4C78-B836-FE3FC5F4629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57653" y="2943225"/>
              <a:ext cx="811214" cy="1155700"/>
            </a:xfrm>
            <a:custGeom>
              <a:avLst/>
              <a:gdLst>
                <a:gd name="T0" fmla="*/ 185 w 483"/>
                <a:gd name="T1" fmla="*/ 2 h 688"/>
                <a:gd name="T2" fmla="*/ 84 w 483"/>
                <a:gd name="T3" fmla="*/ 257 h 688"/>
                <a:gd name="T4" fmla="*/ 30 w 483"/>
                <a:gd name="T5" fmla="*/ 379 h 688"/>
                <a:gd name="T6" fmla="*/ 1 w 483"/>
                <a:gd name="T7" fmla="*/ 495 h 688"/>
                <a:gd name="T8" fmla="*/ 115 w 483"/>
                <a:gd name="T9" fmla="*/ 653 h 688"/>
                <a:gd name="T10" fmla="*/ 310 w 483"/>
                <a:gd name="T11" fmla="*/ 621 h 688"/>
                <a:gd name="T12" fmla="*/ 479 w 483"/>
                <a:gd name="T13" fmla="*/ 419 h 688"/>
                <a:gd name="T14" fmla="*/ 472 w 483"/>
                <a:gd name="T15" fmla="*/ 413 h 688"/>
                <a:gd name="T16" fmla="*/ 343 w 483"/>
                <a:gd name="T17" fmla="*/ 578 h 688"/>
                <a:gd name="T18" fmla="*/ 137 w 483"/>
                <a:gd name="T19" fmla="*/ 652 h 688"/>
                <a:gd name="T20" fmla="*/ 11 w 483"/>
                <a:gd name="T21" fmla="*/ 480 h 688"/>
                <a:gd name="T22" fmla="*/ 46 w 483"/>
                <a:gd name="T23" fmla="*/ 369 h 688"/>
                <a:gd name="T24" fmla="*/ 93 w 483"/>
                <a:gd name="T25" fmla="*/ 260 h 688"/>
                <a:gd name="T26" fmla="*/ 189 w 483"/>
                <a:gd name="T27" fmla="*/ 4 h 688"/>
                <a:gd name="T28" fmla="*/ 185 w 483"/>
                <a:gd name="T29" fmla="*/ 2 h 6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83" h="688">
                  <a:moveTo>
                    <a:pt x="185" y="2"/>
                  </a:moveTo>
                  <a:cubicBezTo>
                    <a:pt x="149" y="86"/>
                    <a:pt x="120" y="173"/>
                    <a:pt x="84" y="257"/>
                  </a:cubicBezTo>
                  <a:cubicBezTo>
                    <a:pt x="66" y="297"/>
                    <a:pt x="48" y="338"/>
                    <a:pt x="30" y="379"/>
                  </a:cubicBezTo>
                  <a:cubicBezTo>
                    <a:pt x="15" y="416"/>
                    <a:pt x="0" y="454"/>
                    <a:pt x="1" y="495"/>
                  </a:cubicBezTo>
                  <a:cubicBezTo>
                    <a:pt x="2" y="566"/>
                    <a:pt x="55" y="622"/>
                    <a:pt x="115" y="653"/>
                  </a:cubicBezTo>
                  <a:cubicBezTo>
                    <a:pt x="184" y="688"/>
                    <a:pt x="253" y="668"/>
                    <a:pt x="310" y="621"/>
                  </a:cubicBezTo>
                  <a:cubicBezTo>
                    <a:pt x="379" y="565"/>
                    <a:pt x="426" y="490"/>
                    <a:pt x="479" y="419"/>
                  </a:cubicBezTo>
                  <a:cubicBezTo>
                    <a:pt x="483" y="414"/>
                    <a:pt x="475" y="408"/>
                    <a:pt x="472" y="413"/>
                  </a:cubicBezTo>
                  <a:cubicBezTo>
                    <a:pt x="431" y="470"/>
                    <a:pt x="392" y="528"/>
                    <a:pt x="343" y="578"/>
                  </a:cubicBezTo>
                  <a:cubicBezTo>
                    <a:pt x="289" y="634"/>
                    <a:pt x="218" y="683"/>
                    <a:pt x="137" y="652"/>
                  </a:cubicBezTo>
                  <a:cubicBezTo>
                    <a:pt x="67" y="625"/>
                    <a:pt x="6" y="559"/>
                    <a:pt x="11" y="480"/>
                  </a:cubicBezTo>
                  <a:cubicBezTo>
                    <a:pt x="14" y="441"/>
                    <a:pt x="31" y="404"/>
                    <a:pt x="46" y="369"/>
                  </a:cubicBezTo>
                  <a:cubicBezTo>
                    <a:pt x="61" y="332"/>
                    <a:pt x="77" y="296"/>
                    <a:pt x="93" y="260"/>
                  </a:cubicBezTo>
                  <a:cubicBezTo>
                    <a:pt x="129" y="177"/>
                    <a:pt x="165" y="91"/>
                    <a:pt x="189" y="4"/>
                  </a:cubicBezTo>
                  <a:cubicBezTo>
                    <a:pt x="190" y="1"/>
                    <a:pt x="186" y="0"/>
                    <a:pt x="185" y="2"/>
                  </a:cubicBezTo>
                  <a:close/>
                </a:path>
              </a:pathLst>
            </a:custGeom>
            <a:solidFill>
              <a:srgbClr val="1C1D1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89" name="Freeform 458">
              <a:extLst>
                <a:ext uri="{FF2B5EF4-FFF2-40B4-BE49-F238E27FC236}">
                  <a16:creationId xmlns:a16="http://schemas.microsoft.com/office/drawing/2014/main" id="{07AAF7A8-F9C5-4F23-8630-4D410CD8415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154744" y="3484562"/>
              <a:ext cx="746126" cy="1031875"/>
            </a:xfrm>
            <a:custGeom>
              <a:avLst/>
              <a:gdLst>
                <a:gd name="T0" fmla="*/ 1 w 444"/>
                <a:gd name="T1" fmla="*/ 243 h 614"/>
                <a:gd name="T2" fmla="*/ 40 w 444"/>
                <a:gd name="T3" fmla="*/ 373 h 614"/>
                <a:gd name="T4" fmla="*/ 68 w 444"/>
                <a:gd name="T5" fmla="*/ 489 h 614"/>
                <a:gd name="T6" fmla="*/ 129 w 444"/>
                <a:gd name="T7" fmla="*/ 576 h 614"/>
                <a:gd name="T8" fmla="*/ 225 w 444"/>
                <a:gd name="T9" fmla="*/ 613 h 614"/>
                <a:gd name="T10" fmla="*/ 336 w 444"/>
                <a:gd name="T11" fmla="*/ 602 h 614"/>
                <a:gd name="T12" fmla="*/ 400 w 444"/>
                <a:gd name="T13" fmla="*/ 544 h 614"/>
                <a:gd name="T14" fmla="*/ 437 w 444"/>
                <a:gd name="T15" fmla="*/ 434 h 614"/>
                <a:gd name="T16" fmla="*/ 438 w 444"/>
                <a:gd name="T17" fmla="*/ 310 h 614"/>
                <a:gd name="T18" fmla="*/ 444 w 444"/>
                <a:gd name="T19" fmla="*/ 168 h 614"/>
                <a:gd name="T20" fmla="*/ 442 w 444"/>
                <a:gd name="T21" fmla="*/ 92 h 614"/>
                <a:gd name="T22" fmla="*/ 444 w 444"/>
                <a:gd name="T23" fmla="*/ 6 h 614"/>
                <a:gd name="T24" fmla="*/ 436 w 444"/>
                <a:gd name="T25" fmla="*/ 6 h 614"/>
                <a:gd name="T26" fmla="*/ 433 w 444"/>
                <a:gd name="T27" fmla="*/ 120 h 614"/>
                <a:gd name="T28" fmla="*/ 432 w 444"/>
                <a:gd name="T29" fmla="*/ 249 h 614"/>
                <a:gd name="T30" fmla="*/ 429 w 444"/>
                <a:gd name="T31" fmla="*/ 362 h 614"/>
                <a:gd name="T32" fmla="*/ 417 w 444"/>
                <a:gd name="T33" fmla="*/ 480 h 614"/>
                <a:gd name="T34" fmla="*/ 368 w 444"/>
                <a:gd name="T35" fmla="*/ 573 h 614"/>
                <a:gd name="T36" fmla="*/ 252 w 444"/>
                <a:gd name="T37" fmla="*/ 603 h 614"/>
                <a:gd name="T38" fmla="*/ 140 w 444"/>
                <a:gd name="T39" fmla="*/ 573 h 614"/>
                <a:gd name="T40" fmla="*/ 71 w 444"/>
                <a:gd name="T41" fmla="*/ 473 h 614"/>
                <a:gd name="T42" fmla="*/ 43 w 444"/>
                <a:gd name="T43" fmla="*/ 351 h 614"/>
                <a:gd name="T44" fmla="*/ 5 w 444"/>
                <a:gd name="T45" fmla="*/ 241 h 614"/>
                <a:gd name="T46" fmla="*/ 1 w 444"/>
                <a:gd name="T47" fmla="*/ 243 h 6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444" h="614">
                  <a:moveTo>
                    <a:pt x="1" y="243"/>
                  </a:moveTo>
                  <a:cubicBezTo>
                    <a:pt x="16" y="286"/>
                    <a:pt x="31" y="328"/>
                    <a:pt x="40" y="373"/>
                  </a:cubicBezTo>
                  <a:cubicBezTo>
                    <a:pt x="47" y="412"/>
                    <a:pt x="53" y="452"/>
                    <a:pt x="68" y="489"/>
                  </a:cubicBezTo>
                  <a:cubicBezTo>
                    <a:pt x="81" y="521"/>
                    <a:pt x="102" y="553"/>
                    <a:pt x="129" y="576"/>
                  </a:cubicBezTo>
                  <a:cubicBezTo>
                    <a:pt x="156" y="601"/>
                    <a:pt x="189" y="611"/>
                    <a:pt x="225" y="613"/>
                  </a:cubicBezTo>
                  <a:cubicBezTo>
                    <a:pt x="261" y="614"/>
                    <a:pt x="301" y="612"/>
                    <a:pt x="336" y="602"/>
                  </a:cubicBezTo>
                  <a:cubicBezTo>
                    <a:pt x="367" y="593"/>
                    <a:pt x="385" y="572"/>
                    <a:pt x="400" y="544"/>
                  </a:cubicBezTo>
                  <a:cubicBezTo>
                    <a:pt x="418" y="511"/>
                    <a:pt x="432" y="472"/>
                    <a:pt x="437" y="434"/>
                  </a:cubicBezTo>
                  <a:cubicBezTo>
                    <a:pt x="442" y="393"/>
                    <a:pt x="437" y="351"/>
                    <a:pt x="438" y="310"/>
                  </a:cubicBezTo>
                  <a:cubicBezTo>
                    <a:pt x="440" y="263"/>
                    <a:pt x="444" y="216"/>
                    <a:pt x="444" y="168"/>
                  </a:cubicBezTo>
                  <a:cubicBezTo>
                    <a:pt x="444" y="143"/>
                    <a:pt x="442" y="117"/>
                    <a:pt x="442" y="92"/>
                  </a:cubicBezTo>
                  <a:cubicBezTo>
                    <a:pt x="442" y="63"/>
                    <a:pt x="444" y="35"/>
                    <a:pt x="444" y="6"/>
                  </a:cubicBezTo>
                  <a:cubicBezTo>
                    <a:pt x="444" y="1"/>
                    <a:pt x="437" y="0"/>
                    <a:pt x="436" y="6"/>
                  </a:cubicBezTo>
                  <a:cubicBezTo>
                    <a:pt x="431" y="43"/>
                    <a:pt x="432" y="82"/>
                    <a:pt x="433" y="120"/>
                  </a:cubicBezTo>
                  <a:cubicBezTo>
                    <a:pt x="434" y="163"/>
                    <a:pt x="434" y="205"/>
                    <a:pt x="432" y="249"/>
                  </a:cubicBezTo>
                  <a:cubicBezTo>
                    <a:pt x="430" y="287"/>
                    <a:pt x="429" y="324"/>
                    <a:pt x="429" y="362"/>
                  </a:cubicBezTo>
                  <a:cubicBezTo>
                    <a:pt x="429" y="402"/>
                    <a:pt x="429" y="441"/>
                    <a:pt x="417" y="480"/>
                  </a:cubicBezTo>
                  <a:cubicBezTo>
                    <a:pt x="406" y="512"/>
                    <a:pt x="392" y="549"/>
                    <a:pt x="368" y="573"/>
                  </a:cubicBezTo>
                  <a:cubicBezTo>
                    <a:pt x="339" y="601"/>
                    <a:pt x="289" y="601"/>
                    <a:pt x="252" y="603"/>
                  </a:cubicBezTo>
                  <a:cubicBezTo>
                    <a:pt x="211" y="605"/>
                    <a:pt x="172" y="599"/>
                    <a:pt x="140" y="573"/>
                  </a:cubicBezTo>
                  <a:cubicBezTo>
                    <a:pt x="109" y="548"/>
                    <a:pt x="85" y="510"/>
                    <a:pt x="71" y="473"/>
                  </a:cubicBezTo>
                  <a:cubicBezTo>
                    <a:pt x="56" y="434"/>
                    <a:pt x="52" y="392"/>
                    <a:pt x="43" y="351"/>
                  </a:cubicBezTo>
                  <a:cubicBezTo>
                    <a:pt x="34" y="314"/>
                    <a:pt x="23" y="275"/>
                    <a:pt x="5" y="241"/>
                  </a:cubicBezTo>
                  <a:cubicBezTo>
                    <a:pt x="4" y="239"/>
                    <a:pt x="0" y="240"/>
                    <a:pt x="1" y="243"/>
                  </a:cubicBezTo>
                  <a:close/>
                </a:path>
              </a:pathLst>
            </a:custGeom>
            <a:solidFill>
              <a:srgbClr val="1C1D1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90" name="Freeform 459">
              <a:extLst>
                <a:ext uri="{FF2B5EF4-FFF2-40B4-BE49-F238E27FC236}">
                  <a16:creationId xmlns:a16="http://schemas.microsoft.com/office/drawing/2014/main" id="{63B34D2A-1506-4CAC-B126-18B59A9C18C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723071" y="3722688"/>
              <a:ext cx="111125" cy="168275"/>
            </a:xfrm>
            <a:custGeom>
              <a:avLst/>
              <a:gdLst>
                <a:gd name="T0" fmla="*/ 63 w 66"/>
                <a:gd name="T1" fmla="*/ 1 h 100"/>
                <a:gd name="T2" fmla="*/ 35 w 66"/>
                <a:gd name="T3" fmla="*/ 52 h 100"/>
                <a:gd name="T4" fmla="*/ 2 w 66"/>
                <a:gd name="T5" fmla="*/ 95 h 100"/>
                <a:gd name="T6" fmla="*/ 5 w 66"/>
                <a:gd name="T7" fmla="*/ 98 h 100"/>
                <a:gd name="T8" fmla="*/ 42 w 66"/>
                <a:gd name="T9" fmla="*/ 50 h 100"/>
                <a:gd name="T10" fmla="*/ 66 w 66"/>
                <a:gd name="T11" fmla="*/ 2 h 100"/>
                <a:gd name="T12" fmla="*/ 63 w 66"/>
                <a:gd name="T13" fmla="*/ 1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6" h="100">
                  <a:moveTo>
                    <a:pt x="63" y="1"/>
                  </a:moveTo>
                  <a:cubicBezTo>
                    <a:pt x="55" y="19"/>
                    <a:pt x="45" y="35"/>
                    <a:pt x="35" y="52"/>
                  </a:cubicBezTo>
                  <a:cubicBezTo>
                    <a:pt x="25" y="67"/>
                    <a:pt x="12" y="80"/>
                    <a:pt x="2" y="95"/>
                  </a:cubicBezTo>
                  <a:cubicBezTo>
                    <a:pt x="0" y="98"/>
                    <a:pt x="4" y="100"/>
                    <a:pt x="5" y="98"/>
                  </a:cubicBezTo>
                  <a:cubicBezTo>
                    <a:pt x="18" y="82"/>
                    <a:pt x="32" y="68"/>
                    <a:pt x="42" y="50"/>
                  </a:cubicBezTo>
                  <a:cubicBezTo>
                    <a:pt x="52" y="34"/>
                    <a:pt x="59" y="19"/>
                    <a:pt x="66" y="2"/>
                  </a:cubicBezTo>
                  <a:cubicBezTo>
                    <a:pt x="66" y="1"/>
                    <a:pt x="64" y="0"/>
                    <a:pt x="63" y="1"/>
                  </a:cubicBezTo>
                  <a:close/>
                </a:path>
              </a:pathLst>
            </a:custGeom>
            <a:solidFill>
              <a:srgbClr val="1C1D1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91" name="Freeform 460">
              <a:extLst>
                <a:ext uri="{FF2B5EF4-FFF2-40B4-BE49-F238E27FC236}">
                  <a16:creationId xmlns:a16="http://schemas.microsoft.com/office/drawing/2014/main" id="{BA52C1CA-4A0F-4727-B0F3-DE9966C2557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713546" y="3803650"/>
              <a:ext cx="107950" cy="138113"/>
            </a:xfrm>
            <a:custGeom>
              <a:avLst/>
              <a:gdLst>
                <a:gd name="T0" fmla="*/ 60 w 64"/>
                <a:gd name="T1" fmla="*/ 2 h 83"/>
                <a:gd name="T2" fmla="*/ 2 w 64"/>
                <a:gd name="T3" fmla="*/ 80 h 83"/>
                <a:gd name="T4" fmla="*/ 4 w 64"/>
                <a:gd name="T5" fmla="*/ 82 h 83"/>
                <a:gd name="T6" fmla="*/ 63 w 64"/>
                <a:gd name="T7" fmla="*/ 4 h 83"/>
                <a:gd name="T8" fmla="*/ 60 w 64"/>
                <a:gd name="T9" fmla="*/ 2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4" h="83">
                  <a:moveTo>
                    <a:pt x="60" y="2"/>
                  </a:moveTo>
                  <a:cubicBezTo>
                    <a:pt x="47" y="32"/>
                    <a:pt x="24" y="57"/>
                    <a:pt x="2" y="80"/>
                  </a:cubicBezTo>
                  <a:cubicBezTo>
                    <a:pt x="0" y="81"/>
                    <a:pt x="2" y="83"/>
                    <a:pt x="4" y="82"/>
                  </a:cubicBezTo>
                  <a:cubicBezTo>
                    <a:pt x="27" y="60"/>
                    <a:pt x="51" y="34"/>
                    <a:pt x="63" y="4"/>
                  </a:cubicBezTo>
                  <a:cubicBezTo>
                    <a:pt x="64" y="2"/>
                    <a:pt x="61" y="0"/>
                    <a:pt x="60" y="2"/>
                  </a:cubicBezTo>
                  <a:close/>
                </a:path>
              </a:pathLst>
            </a:custGeom>
            <a:solidFill>
              <a:srgbClr val="1C1D1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92" name="Freeform 461">
              <a:extLst>
                <a:ext uri="{FF2B5EF4-FFF2-40B4-BE49-F238E27FC236}">
                  <a16:creationId xmlns:a16="http://schemas.microsoft.com/office/drawing/2014/main" id="{4FBFE712-A7E3-4A16-AE21-F5A978F68CB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792921" y="3892549"/>
              <a:ext cx="7938" cy="12700"/>
            </a:xfrm>
            <a:custGeom>
              <a:avLst/>
              <a:gdLst>
                <a:gd name="T0" fmla="*/ 4 w 5"/>
                <a:gd name="T1" fmla="*/ 1 h 8"/>
                <a:gd name="T2" fmla="*/ 1 w 5"/>
                <a:gd name="T3" fmla="*/ 7 h 8"/>
                <a:gd name="T4" fmla="*/ 1 w 5"/>
                <a:gd name="T5" fmla="*/ 7 h 8"/>
                <a:gd name="T6" fmla="*/ 4 w 5"/>
                <a:gd name="T7" fmla="*/ 1 h 8"/>
                <a:gd name="T8" fmla="*/ 4 w 5"/>
                <a:gd name="T9" fmla="*/ 1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8">
                  <a:moveTo>
                    <a:pt x="4" y="1"/>
                  </a:moveTo>
                  <a:cubicBezTo>
                    <a:pt x="3" y="3"/>
                    <a:pt x="1" y="5"/>
                    <a:pt x="1" y="7"/>
                  </a:cubicBezTo>
                  <a:cubicBezTo>
                    <a:pt x="0" y="8"/>
                    <a:pt x="1" y="8"/>
                    <a:pt x="1" y="7"/>
                  </a:cubicBezTo>
                  <a:cubicBezTo>
                    <a:pt x="2" y="5"/>
                    <a:pt x="4" y="3"/>
                    <a:pt x="4" y="1"/>
                  </a:cubicBezTo>
                  <a:cubicBezTo>
                    <a:pt x="5" y="0"/>
                    <a:pt x="4" y="0"/>
                    <a:pt x="4" y="1"/>
                  </a:cubicBezTo>
                  <a:close/>
                </a:path>
              </a:pathLst>
            </a:custGeom>
            <a:solidFill>
              <a:srgbClr val="1C1D1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93" name="Freeform 462">
              <a:extLst>
                <a:ext uri="{FF2B5EF4-FFF2-40B4-BE49-F238E27FC236}">
                  <a16:creationId xmlns:a16="http://schemas.microsoft.com/office/drawing/2014/main" id="{94215AA3-735C-4AF3-8762-2F9DF9E3A84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746883" y="3956050"/>
              <a:ext cx="11113" cy="15875"/>
            </a:xfrm>
            <a:custGeom>
              <a:avLst/>
              <a:gdLst>
                <a:gd name="T0" fmla="*/ 4 w 7"/>
                <a:gd name="T1" fmla="*/ 1 h 10"/>
                <a:gd name="T2" fmla="*/ 1 w 7"/>
                <a:gd name="T3" fmla="*/ 7 h 10"/>
                <a:gd name="T4" fmla="*/ 3 w 7"/>
                <a:gd name="T5" fmla="*/ 9 h 10"/>
                <a:gd name="T6" fmla="*/ 6 w 7"/>
                <a:gd name="T7" fmla="*/ 2 h 10"/>
                <a:gd name="T8" fmla="*/ 4 w 7"/>
                <a:gd name="T9" fmla="*/ 1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10">
                  <a:moveTo>
                    <a:pt x="4" y="1"/>
                  </a:moveTo>
                  <a:cubicBezTo>
                    <a:pt x="3" y="3"/>
                    <a:pt x="3" y="6"/>
                    <a:pt x="1" y="7"/>
                  </a:cubicBezTo>
                  <a:cubicBezTo>
                    <a:pt x="0" y="8"/>
                    <a:pt x="1" y="10"/>
                    <a:pt x="3" y="9"/>
                  </a:cubicBezTo>
                  <a:cubicBezTo>
                    <a:pt x="5" y="7"/>
                    <a:pt x="6" y="4"/>
                    <a:pt x="6" y="2"/>
                  </a:cubicBezTo>
                  <a:cubicBezTo>
                    <a:pt x="7" y="0"/>
                    <a:pt x="4" y="0"/>
                    <a:pt x="4" y="1"/>
                  </a:cubicBezTo>
                  <a:close/>
                </a:path>
              </a:pathLst>
            </a:custGeom>
            <a:solidFill>
              <a:srgbClr val="1C1D1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94" name="Freeform 463">
              <a:extLst>
                <a:ext uri="{FF2B5EF4-FFF2-40B4-BE49-F238E27FC236}">
                  <a16:creationId xmlns:a16="http://schemas.microsoft.com/office/drawing/2014/main" id="{70B52871-59C2-4686-A5ED-4DB2D5EF60F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781809" y="3930650"/>
              <a:ext cx="39689" cy="65088"/>
            </a:xfrm>
            <a:custGeom>
              <a:avLst/>
              <a:gdLst>
                <a:gd name="T0" fmla="*/ 15 w 23"/>
                <a:gd name="T1" fmla="*/ 4 h 39"/>
                <a:gd name="T2" fmla="*/ 1 w 23"/>
                <a:gd name="T3" fmla="*/ 34 h 39"/>
                <a:gd name="T4" fmla="*/ 5 w 23"/>
                <a:gd name="T5" fmla="*/ 36 h 39"/>
                <a:gd name="T6" fmla="*/ 21 w 23"/>
                <a:gd name="T7" fmla="*/ 5 h 39"/>
                <a:gd name="T8" fmla="*/ 15 w 23"/>
                <a:gd name="T9" fmla="*/ 4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" h="39">
                  <a:moveTo>
                    <a:pt x="15" y="4"/>
                  </a:moveTo>
                  <a:cubicBezTo>
                    <a:pt x="11" y="14"/>
                    <a:pt x="6" y="24"/>
                    <a:pt x="1" y="34"/>
                  </a:cubicBezTo>
                  <a:cubicBezTo>
                    <a:pt x="0" y="36"/>
                    <a:pt x="4" y="39"/>
                    <a:pt x="5" y="36"/>
                  </a:cubicBezTo>
                  <a:cubicBezTo>
                    <a:pt x="12" y="26"/>
                    <a:pt x="17" y="16"/>
                    <a:pt x="21" y="5"/>
                  </a:cubicBezTo>
                  <a:cubicBezTo>
                    <a:pt x="23" y="1"/>
                    <a:pt x="17" y="0"/>
                    <a:pt x="15" y="4"/>
                  </a:cubicBezTo>
                  <a:close/>
                </a:path>
              </a:pathLst>
            </a:custGeom>
            <a:solidFill>
              <a:srgbClr val="1C1D1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95" name="Freeform 464">
              <a:extLst>
                <a:ext uri="{FF2B5EF4-FFF2-40B4-BE49-F238E27FC236}">
                  <a16:creationId xmlns:a16="http://schemas.microsoft.com/office/drawing/2014/main" id="{CFB7DDDA-337F-4025-8A1D-D7F436E1FB5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319593" y="3994150"/>
              <a:ext cx="115888" cy="28575"/>
            </a:xfrm>
            <a:custGeom>
              <a:avLst/>
              <a:gdLst>
                <a:gd name="T0" fmla="*/ 2 w 69"/>
                <a:gd name="T1" fmla="*/ 4 h 17"/>
                <a:gd name="T2" fmla="*/ 65 w 69"/>
                <a:gd name="T3" fmla="*/ 7 h 17"/>
                <a:gd name="T4" fmla="*/ 62 w 69"/>
                <a:gd name="T5" fmla="*/ 2 h 17"/>
                <a:gd name="T6" fmla="*/ 3 w 69"/>
                <a:gd name="T7" fmla="*/ 1 h 17"/>
                <a:gd name="T8" fmla="*/ 2 w 69"/>
                <a:gd name="T9" fmla="*/ 4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9" h="17">
                  <a:moveTo>
                    <a:pt x="2" y="4"/>
                  </a:moveTo>
                  <a:cubicBezTo>
                    <a:pt x="20" y="10"/>
                    <a:pt x="48" y="17"/>
                    <a:pt x="65" y="7"/>
                  </a:cubicBezTo>
                  <a:cubicBezTo>
                    <a:pt x="69" y="6"/>
                    <a:pt x="66" y="0"/>
                    <a:pt x="62" y="2"/>
                  </a:cubicBezTo>
                  <a:cubicBezTo>
                    <a:pt x="45" y="11"/>
                    <a:pt x="20" y="6"/>
                    <a:pt x="3" y="1"/>
                  </a:cubicBezTo>
                  <a:cubicBezTo>
                    <a:pt x="1" y="0"/>
                    <a:pt x="0" y="3"/>
                    <a:pt x="2" y="4"/>
                  </a:cubicBezTo>
                  <a:close/>
                </a:path>
              </a:pathLst>
            </a:custGeom>
            <a:solidFill>
              <a:srgbClr val="1C1D1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96" name="Freeform 465">
              <a:extLst>
                <a:ext uri="{FF2B5EF4-FFF2-40B4-BE49-F238E27FC236}">
                  <a16:creationId xmlns:a16="http://schemas.microsoft.com/office/drawing/2014/main" id="{5AA3605C-23A9-4935-96BF-2FDCCF3462D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379917" y="3968750"/>
              <a:ext cx="69850" cy="14288"/>
            </a:xfrm>
            <a:custGeom>
              <a:avLst/>
              <a:gdLst>
                <a:gd name="T0" fmla="*/ 3 w 41"/>
                <a:gd name="T1" fmla="*/ 8 h 8"/>
                <a:gd name="T2" fmla="*/ 39 w 41"/>
                <a:gd name="T3" fmla="*/ 4 h 8"/>
                <a:gd name="T4" fmla="*/ 38 w 41"/>
                <a:gd name="T5" fmla="*/ 1 h 8"/>
                <a:gd name="T6" fmla="*/ 2 w 41"/>
                <a:gd name="T7" fmla="*/ 4 h 8"/>
                <a:gd name="T8" fmla="*/ 3 w 41"/>
                <a:gd name="T9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1" h="8">
                  <a:moveTo>
                    <a:pt x="3" y="8"/>
                  </a:moveTo>
                  <a:cubicBezTo>
                    <a:pt x="15" y="7"/>
                    <a:pt x="27" y="8"/>
                    <a:pt x="39" y="4"/>
                  </a:cubicBezTo>
                  <a:cubicBezTo>
                    <a:pt x="41" y="4"/>
                    <a:pt x="40" y="0"/>
                    <a:pt x="38" y="1"/>
                  </a:cubicBezTo>
                  <a:cubicBezTo>
                    <a:pt x="26" y="3"/>
                    <a:pt x="14" y="3"/>
                    <a:pt x="2" y="4"/>
                  </a:cubicBezTo>
                  <a:cubicBezTo>
                    <a:pt x="0" y="4"/>
                    <a:pt x="0" y="8"/>
                    <a:pt x="3" y="8"/>
                  </a:cubicBezTo>
                  <a:close/>
                </a:path>
              </a:pathLst>
            </a:custGeom>
            <a:solidFill>
              <a:srgbClr val="1C1D1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97" name="Freeform 466">
              <a:extLst>
                <a:ext uri="{FF2B5EF4-FFF2-40B4-BE49-F238E27FC236}">
                  <a16:creationId xmlns:a16="http://schemas.microsoft.com/office/drawing/2014/main" id="{B162D73B-905D-451A-8F4A-964597AF412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408492" y="3917949"/>
              <a:ext cx="84138" cy="28575"/>
            </a:xfrm>
            <a:custGeom>
              <a:avLst/>
              <a:gdLst>
                <a:gd name="T0" fmla="*/ 5 w 50"/>
                <a:gd name="T1" fmla="*/ 14 h 17"/>
                <a:gd name="T2" fmla="*/ 47 w 50"/>
                <a:gd name="T3" fmla="*/ 8 h 17"/>
                <a:gd name="T4" fmla="*/ 44 w 50"/>
                <a:gd name="T5" fmla="*/ 2 h 17"/>
                <a:gd name="T6" fmla="*/ 6 w 50"/>
                <a:gd name="T7" fmla="*/ 7 h 17"/>
                <a:gd name="T8" fmla="*/ 5 w 50"/>
                <a:gd name="T9" fmla="*/ 14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0" h="17">
                  <a:moveTo>
                    <a:pt x="5" y="14"/>
                  </a:moveTo>
                  <a:cubicBezTo>
                    <a:pt x="19" y="17"/>
                    <a:pt x="35" y="15"/>
                    <a:pt x="47" y="8"/>
                  </a:cubicBezTo>
                  <a:cubicBezTo>
                    <a:pt x="50" y="6"/>
                    <a:pt x="48" y="0"/>
                    <a:pt x="44" y="2"/>
                  </a:cubicBezTo>
                  <a:cubicBezTo>
                    <a:pt x="32" y="6"/>
                    <a:pt x="18" y="9"/>
                    <a:pt x="6" y="7"/>
                  </a:cubicBezTo>
                  <a:cubicBezTo>
                    <a:pt x="1" y="6"/>
                    <a:pt x="0" y="14"/>
                    <a:pt x="5" y="14"/>
                  </a:cubicBezTo>
                  <a:close/>
                </a:path>
              </a:pathLst>
            </a:custGeom>
            <a:solidFill>
              <a:srgbClr val="1C1D1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98" name="Freeform 467">
              <a:extLst>
                <a:ext uri="{FF2B5EF4-FFF2-40B4-BE49-F238E27FC236}">
                  <a16:creationId xmlns:a16="http://schemas.microsoft.com/office/drawing/2014/main" id="{B8B9F02E-45EF-49D5-A9A3-1B503D40515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470404" y="3875087"/>
              <a:ext cx="47625" cy="17463"/>
            </a:xfrm>
            <a:custGeom>
              <a:avLst/>
              <a:gdLst>
                <a:gd name="T0" fmla="*/ 4 w 28"/>
                <a:gd name="T1" fmla="*/ 8 h 10"/>
                <a:gd name="T2" fmla="*/ 26 w 28"/>
                <a:gd name="T3" fmla="*/ 5 h 10"/>
                <a:gd name="T4" fmla="*/ 24 w 28"/>
                <a:gd name="T5" fmla="*/ 1 h 10"/>
                <a:gd name="T6" fmla="*/ 5 w 28"/>
                <a:gd name="T7" fmla="*/ 1 h 10"/>
                <a:gd name="T8" fmla="*/ 4 w 28"/>
                <a:gd name="T9" fmla="*/ 8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8" h="10">
                  <a:moveTo>
                    <a:pt x="4" y="8"/>
                  </a:moveTo>
                  <a:cubicBezTo>
                    <a:pt x="11" y="9"/>
                    <a:pt x="19" y="10"/>
                    <a:pt x="26" y="5"/>
                  </a:cubicBezTo>
                  <a:cubicBezTo>
                    <a:pt x="28" y="4"/>
                    <a:pt x="26" y="1"/>
                    <a:pt x="24" y="1"/>
                  </a:cubicBezTo>
                  <a:cubicBezTo>
                    <a:pt x="18" y="2"/>
                    <a:pt x="12" y="2"/>
                    <a:pt x="5" y="1"/>
                  </a:cubicBezTo>
                  <a:cubicBezTo>
                    <a:pt x="1" y="0"/>
                    <a:pt x="0" y="7"/>
                    <a:pt x="4" y="8"/>
                  </a:cubicBezTo>
                  <a:close/>
                </a:path>
              </a:pathLst>
            </a:custGeom>
            <a:solidFill>
              <a:srgbClr val="1C1D1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99" name="Freeform 468">
              <a:extLst>
                <a:ext uri="{FF2B5EF4-FFF2-40B4-BE49-F238E27FC236}">
                  <a16:creationId xmlns:a16="http://schemas.microsoft.com/office/drawing/2014/main" id="{DDBB7E72-B5F5-461E-9AF5-EA229ED6915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522792" y="3798888"/>
              <a:ext cx="23813" cy="14288"/>
            </a:xfrm>
            <a:custGeom>
              <a:avLst/>
              <a:gdLst>
                <a:gd name="T0" fmla="*/ 3 w 14"/>
                <a:gd name="T1" fmla="*/ 7 h 8"/>
                <a:gd name="T2" fmla="*/ 13 w 14"/>
                <a:gd name="T3" fmla="*/ 2 h 8"/>
                <a:gd name="T4" fmla="*/ 12 w 14"/>
                <a:gd name="T5" fmla="*/ 1 h 8"/>
                <a:gd name="T6" fmla="*/ 2 w 14"/>
                <a:gd name="T7" fmla="*/ 5 h 8"/>
                <a:gd name="T8" fmla="*/ 3 w 14"/>
                <a:gd name="T9" fmla="*/ 7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" h="8">
                  <a:moveTo>
                    <a:pt x="3" y="7"/>
                  </a:moveTo>
                  <a:cubicBezTo>
                    <a:pt x="7" y="6"/>
                    <a:pt x="10" y="5"/>
                    <a:pt x="13" y="2"/>
                  </a:cubicBezTo>
                  <a:cubicBezTo>
                    <a:pt x="14" y="1"/>
                    <a:pt x="12" y="0"/>
                    <a:pt x="12" y="1"/>
                  </a:cubicBezTo>
                  <a:cubicBezTo>
                    <a:pt x="9" y="3"/>
                    <a:pt x="6" y="4"/>
                    <a:pt x="2" y="5"/>
                  </a:cubicBezTo>
                  <a:cubicBezTo>
                    <a:pt x="0" y="5"/>
                    <a:pt x="1" y="8"/>
                    <a:pt x="3" y="7"/>
                  </a:cubicBezTo>
                  <a:close/>
                </a:path>
              </a:pathLst>
            </a:custGeom>
            <a:solidFill>
              <a:srgbClr val="1C1D1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00" name="Freeform 469">
              <a:extLst>
                <a:ext uri="{FF2B5EF4-FFF2-40B4-BE49-F238E27FC236}">
                  <a16:creationId xmlns:a16="http://schemas.microsoft.com/office/drawing/2014/main" id="{1BC4C7F9-804F-466F-9808-17E7C78E4E7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776792" y="2774950"/>
              <a:ext cx="155575" cy="146050"/>
            </a:xfrm>
            <a:custGeom>
              <a:avLst/>
              <a:gdLst>
                <a:gd name="T0" fmla="*/ 5 w 92"/>
                <a:gd name="T1" fmla="*/ 65 h 87"/>
                <a:gd name="T2" fmla="*/ 10 w 92"/>
                <a:gd name="T3" fmla="*/ 34 h 87"/>
                <a:gd name="T4" fmla="*/ 26 w 92"/>
                <a:gd name="T5" fmla="*/ 12 h 87"/>
                <a:gd name="T6" fmla="*/ 43 w 92"/>
                <a:gd name="T7" fmla="*/ 11 h 87"/>
                <a:gd name="T8" fmla="*/ 81 w 92"/>
                <a:gd name="T9" fmla="*/ 34 h 87"/>
                <a:gd name="T10" fmla="*/ 78 w 92"/>
                <a:gd name="T11" fmla="*/ 81 h 87"/>
                <a:gd name="T12" fmla="*/ 85 w 92"/>
                <a:gd name="T13" fmla="*/ 82 h 87"/>
                <a:gd name="T14" fmla="*/ 85 w 92"/>
                <a:gd name="T15" fmla="*/ 22 h 87"/>
                <a:gd name="T16" fmla="*/ 48 w 92"/>
                <a:gd name="T17" fmla="*/ 4 h 87"/>
                <a:gd name="T18" fmla="*/ 6 w 92"/>
                <a:gd name="T19" fmla="*/ 16 h 87"/>
                <a:gd name="T20" fmla="*/ 2 w 92"/>
                <a:gd name="T21" fmla="*/ 65 h 87"/>
                <a:gd name="T22" fmla="*/ 5 w 92"/>
                <a:gd name="T23" fmla="*/ 65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2" h="87">
                  <a:moveTo>
                    <a:pt x="5" y="65"/>
                  </a:moveTo>
                  <a:cubicBezTo>
                    <a:pt x="8" y="55"/>
                    <a:pt x="9" y="45"/>
                    <a:pt x="10" y="34"/>
                  </a:cubicBezTo>
                  <a:cubicBezTo>
                    <a:pt x="11" y="24"/>
                    <a:pt x="15" y="14"/>
                    <a:pt x="26" y="12"/>
                  </a:cubicBezTo>
                  <a:cubicBezTo>
                    <a:pt x="31" y="11"/>
                    <a:pt x="38" y="11"/>
                    <a:pt x="43" y="11"/>
                  </a:cubicBezTo>
                  <a:cubicBezTo>
                    <a:pt x="61" y="10"/>
                    <a:pt x="78" y="13"/>
                    <a:pt x="81" y="34"/>
                  </a:cubicBezTo>
                  <a:cubicBezTo>
                    <a:pt x="82" y="49"/>
                    <a:pt x="80" y="66"/>
                    <a:pt x="78" y="81"/>
                  </a:cubicBezTo>
                  <a:cubicBezTo>
                    <a:pt x="77" y="86"/>
                    <a:pt x="84" y="87"/>
                    <a:pt x="85" y="82"/>
                  </a:cubicBezTo>
                  <a:cubicBezTo>
                    <a:pt x="88" y="65"/>
                    <a:pt x="92" y="39"/>
                    <a:pt x="85" y="22"/>
                  </a:cubicBezTo>
                  <a:cubicBezTo>
                    <a:pt x="78" y="6"/>
                    <a:pt x="63" y="5"/>
                    <a:pt x="48" y="4"/>
                  </a:cubicBezTo>
                  <a:cubicBezTo>
                    <a:pt x="34" y="4"/>
                    <a:pt x="13" y="0"/>
                    <a:pt x="6" y="16"/>
                  </a:cubicBezTo>
                  <a:cubicBezTo>
                    <a:pt x="0" y="30"/>
                    <a:pt x="4" y="50"/>
                    <a:pt x="2" y="65"/>
                  </a:cubicBezTo>
                  <a:cubicBezTo>
                    <a:pt x="2" y="67"/>
                    <a:pt x="5" y="67"/>
                    <a:pt x="5" y="65"/>
                  </a:cubicBezTo>
                  <a:close/>
                </a:path>
              </a:pathLst>
            </a:custGeom>
            <a:solidFill>
              <a:srgbClr val="1C1D1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01" name="Freeform 470">
              <a:extLst>
                <a:ext uri="{FF2B5EF4-FFF2-40B4-BE49-F238E27FC236}">
                  <a16:creationId xmlns:a16="http://schemas.microsoft.com/office/drawing/2014/main" id="{C0E15E36-3DE0-41A7-ACE4-5D0A68F0BF9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778380" y="2871788"/>
              <a:ext cx="131763" cy="87313"/>
            </a:xfrm>
            <a:custGeom>
              <a:avLst/>
              <a:gdLst>
                <a:gd name="T0" fmla="*/ 4 w 78"/>
                <a:gd name="T1" fmla="*/ 2 h 52"/>
                <a:gd name="T2" fmla="*/ 15 w 78"/>
                <a:gd name="T3" fmla="*/ 34 h 52"/>
                <a:gd name="T4" fmla="*/ 29 w 78"/>
                <a:gd name="T5" fmla="*/ 51 h 52"/>
                <a:gd name="T6" fmla="*/ 38 w 78"/>
                <a:gd name="T7" fmla="*/ 49 h 52"/>
                <a:gd name="T8" fmla="*/ 57 w 78"/>
                <a:gd name="T9" fmla="*/ 42 h 52"/>
                <a:gd name="T10" fmla="*/ 77 w 78"/>
                <a:gd name="T11" fmla="*/ 29 h 52"/>
                <a:gd name="T12" fmla="*/ 72 w 78"/>
                <a:gd name="T13" fmla="*/ 26 h 52"/>
                <a:gd name="T14" fmla="*/ 40 w 78"/>
                <a:gd name="T15" fmla="*/ 42 h 52"/>
                <a:gd name="T16" fmla="*/ 21 w 78"/>
                <a:gd name="T17" fmla="*/ 35 h 52"/>
                <a:gd name="T18" fmla="*/ 7 w 78"/>
                <a:gd name="T19" fmla="*/ 3 h 52"/>
                <a:gd name="T20" fmla="*/ 4 w 78"/>
                <a:gd name="T21" fmla="*/ 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78" h="52">
                  <a:moveTo>
                    <a:pt x="4" y="2"/>
                  </a:moveTo>
                  <a:cubicBezTo>
                    <a:pt x="0" y="16"/>
                    <a:pt x="9" y="23"/>
                    <a:pt x="15" y="34"/>
                  </a:cubicBezTo>
                  <a:cubicBezTo>
                    <a:pt x="18" y="41"/>
                    <a:pt x="22" y="50"/>
                    <a:pt x="29" y="51"/>
                  </a:cubicBezTo>
                  <a:cubicBezTo>
                    <a:pt x="33" y="52"/>
                    <a:pt x="35" y="50"/>
                    <a:pt x="38" y="49"/>
                  </a:cubicBezTo>
                  <a:cubicBezTo>
                    <a:pt x="44" y="46"/>
                    <a:pt x="51" y="44"/>
                    <a:pt x="57" y="42"/>
                  </a:cubicBezTo>
                  <a:cubicBezTo>
                    <a:pt x="65" y="40"/>
                    <a:pt x="74" y="37"/>
                    <a:pt x="77" y="29"/>
                  </a:cubicBezTo>
                  <a:cubicBezTo>
                    <a:pt x="78" y="26"/>
                    <a:pt x="74" y="24"/>
                    <a:pt x="72" y="26"/>
                  </a:cubicBezTo>
                  <a:cubicBezTo>
                    <a:pt x="64" y="36"/>
                    <a:pt x="51" y="37"/>
                    <a:pt x="40" y="42"/>
                  </a:cubicBezTo>
                  <a:cubicBezTo>
                    <a:pt x="32" y="45"/>
                    <a:pt x="26" y="43"/>
                    <a:pt x="21" y="35"/>
                  </a:cubicBezTo>
                  <a:cubicBezTo>
                    <a:pt x="18" y="27"/>
                    <a:pt x="6" y="7"/>
                    <a:pt x="7" y="3"/>
                  </a:cubicBezTo>
                  <a:cubicBezTo>
                    <a:pt x="7" y="1"/>
                    <a:pt x="5" y="0"/>
                    <a:pt x="4" y="2"/>
                  </a:cubicBezTo>
                  <a:close/>
                </a:path>
              </a:pathLst>
            </a:custGeom>
            <a:solidFill>
              <a:srgbClr val="1C1D1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02" name="Freeform 471">
              <a:extLst>
                <a:ext uri="{FF2B5EF4-FFF2-40B4-BE49-F238E27FC236}">
                  <a16:creationId xmlns:a16="http://schemas.microsoft.com/office/drawing/2014/main" id="{CA4D7148-BDDA-4E1C-842B-1B9BBA3B647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860929" y="2957513"/>
              <a:ext cx="188914" cy="152401"/>
            </a:xfrm>
            <a:custGeom>
              <a:avLst/>
              <a:gdLst>
                <a:gd name="T0" fmla="*/ 6 w 112"/>
                <a:gd name="T1" fmla="*/ 44 h 91"/>
                <a:gd name="T2" fmla="*/ 29 w 112"/>
                <a:gd name="T3" fmla="*/ 21 h 91"/>
                <a:gd name="T4" fmla="*/ 72 w 112"/>
                <a:gd name="T5" fmla="*/ 12 h 91"/>
                <a:gd name="T6" fmla="*/ 81 w 112"/>
                <a:gd name="T7" fmla="*/ 13 h 91"/>
                <a:gd name="T8" fmla="*/ 101 w 112"/>
                <a:gd name="T9" fmla="*/ 34 h 91"/>
                <a:gd name="T10" fmla="*/ 90 w 112"/>
                <a:gd name="T11" fmla="*/ 84 h 91"/>
                <a:gd name="T12" fmla="*/ 98 w 112"/>
                <a:gd name="T13" fmla="*/ 86 h 91"/>
                <a:gd name="T14" fmla="*/ 110 w 112"/>
                <a:gd name="T15" fmla="*/ 24 h 91"/>
                <a:gd name="T16" fmla="*/ 93 w 112"/>
                <a:gd name="T17" fmla="*/ 6 h 91"/>
                <a:gd name="T18" fmla="*/ 39 w 112"/>
                <a:gd name="T19" fmla="*/ 5 h 91"/>
                <a:gd name="T20" fmla="*/ 2 w 112"/>
                <a:gd name="T21" fmla="*/ 39 h 91"/>
                <a:gd name="T22" fmla="*/ 6 w 112"/>
                <a:gd name="T23" fmla="*/ 44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12" h="91">
                  <a:moveTo>
                    <a:pt x="6" y="44"/>
                  </a:moveTo>
                  <a:cubicBezTo>
                    <a:pt x="16" y="37"/>
                    <a:pt x="21" y="29"/>
                    <a:pt x="29" y="21"/>
                  </a:cubicBezTo>
                  <a:cubicBezTo>
                    <a:pt x="42" y="9"/>
                    <a:pt x="56" y="10"/>
                    <a:pt x="72" y="12"/>
                  </a:cubicBezTo>
                  <a:cubicBezTo>
                    <a:pt x="75" y="13"/>
                    <a:pt x="78" y="13"/>
                    <a:pt x="81" y="13"/>
                  </a:cubicBezTo>
                  <a:cubicBezTo>
                    <a:pt x="94" y="14"/>
                    <a:pt x="100" y="22"/>
                    <a:pt x="101" y="34"/>
                  </a:cubicBezTo>
                  <a:cubicBezTo>
                    <a:pt x="103" y="49"/>
                    <a:pt x="95" y="69"/>
                    <a:pt x="90" y="84"/>
                  </a:cubicBezTo>
                  <a:cubicBezTo>
                    <a:pt x="89" y="89"/>
                    <a:pt x="97" y="91"/>
                    <a:pt x="98" y="86"/>
                  </a:cubicBezTo>
                  <a:cubicBezTo>
                    <a:pt x="104" y="67"/>
                    <a:pt x="112" y="44"/>
                    <a:pt x="110" y="24"/>
                  </a:cubicBezTo>
                  <a:cubicBezTo>
                    <a:pt x="110" y="14"/>
                    <a:pt x="102" y="7"/>
                    <a:pt x="93" y="6"/>
                  </a:cubicBezTo>
                  <a:cubicBezTo>
                    <a:pt x="77" y="3"/>
                    <a:pt x="54" y="0"/>
                    <a:pt x="39" y="5"/>
                  </a:cubicBezTo>
                  <a:cubicBezTo>
                    <a:pt x="22" y="11"/>
                    <a:pt x="15" y="28"/>
                    <a:pt x="2" y="39"/>
                  </a:cubicBezTo>
                  <a:cubicBezTo>
                    <a:pt x="0" y="41"/>
                    <a:pt x="3" y="46"/>
                    <a:pt x="6" y="44"/>
                  </a:cubicBezTo>
                  <a:close/>
                </a:path>
              </a:pathLst>
            </a:custGeom>
            <a:solidFill>
              <a:srgbClr val="1C1D1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03" name="Freeform 472">
              <a:extLst>
                <a:ext uri="{FF2B5EF4-FFF2-40B4-BE49-F238E27FC236}">
                  <a16:creationId xmlns:a16="http://schemas.microsoft.com/office/drawing/2014/main" id="{9AD9E261-5DFB-4E4A-A837-0E60BE4E13A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868868" y="3022599"/>
              <a:ext cx="157163" cy="117476"/>
            </a:xfrm>
            <a:custGeom>
              <a:avLst/>
              <a:gdLst>
                <a:gd name="T0" fmla="*/ 1 w 93"/>
                <a:gd name="T1" fmla="*/ 4 h 70"/>
                <a:gd name="T2" fmla="*/ 14 w 93"/>
                <a:gd name="T3" fmla="*/ 41 h 70"/>
                <a:gd name="T4" fmla="*/ 40 w 93"/>
                <a:gd name="T5" fmla="*/ 52 h 70"/>
                <a:gd name="T6" fmla="*/ 92 w 93"/>
                <a:gd name="T7" fmla="*/ 49 h 70"/>
                <a:gd name="T8" fmla="*/ 86 w 93"/>
                <a:gd name="T9" fmla="*/ 46 h 70"/>
                <a:gd name="T10" fmla="*/ 41 w 93"/>
                <a:gd name="T11" fmla="*/ 45 h 70"/>
                <a:gd name="T12" fmla="*/ 22 w 93"/>
                <a:gd name="T13" fmla="*/ 37 h 70"/>
                <a:gd name="T14" fmla="*/ 15 w 93"/>
                <a:gd name="T15" fmla="*/ 24 h 70"/>
                <a:gd name="T16" fmla="*/ 4 w 93"/>
                <a:gd name="T17" fmla="*/ 2 h 70"/>
                <a:gd name="T18" fmla="*/ 1 w 93"/>
                <a:gd name="T19" fmla="*/ 4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3" h="70">
                  <a:moveTo>
                    <a:pt x="1" y="4"/>
                  </a:moveTo>
                  <a:cubicBezTo>
                    <a:pt x="9" y="15"/>
                    <a:pt x="7" y="30"/>
                    <a:pt x="14" y="41"/>
                  </a:cubicBezTo>
                  <a:cubicBezTo>
                    <a:pt x="19" y="50"/>
                    <a:pt x="30" y="51"/>
                    <a:pt x="40" y="52"/>
                  </a:cubicBezTo>
                  <a:cubicBezTo>
                    <a:pt x="56" y="54"/>
                    <a:pt x="84" y="70"/>
                    <a:pt x="92" y="49"/>
                  </a:cubicBezTo>
                  <a:cubicBezTo>
                    <a:pt x="93" y="45"/>
                    <a:pt x="88" y="44"/>
                    <a:pt x="86" y="46"/>
                  </a:cubicBezTo>
                  <a:cubicBezTo>
                    <a:pt x="78" y="57"/>
                    <a:pt x="53" y="46"/>
                    <a:pt x="41" y="45"/>
                  </a:cubicBezTo>
                  <a:cubicBezTo>
                    <a:pt x="31" y="44"/>
                    <a:pt x="29" y="45"/>
                    <a:pt x="22" y="37"/>
                  </a:cubicBezTo>
                  <a:cubicBezTo>
                    <a:pt x="17" y="31"/>
                    <a:pt x="17" y="30"/>
                    <a:pt x="15" y="24"/>
                  </a:cubicBezTo>
                  <a:cubicBezTo>
                    <a:pt x="12" y="16"/>
                    <a:pt x="9" y="8"/>
                    <a:pt x="4" y="2"/>
                  </a:cubicBezTo>
                  <a:cubicBezTo>
                    <a:pt x="3" y="0"/>
                    <a:pt x="0" y="2"/>
                    <a:pt x="1" y="4"/>
                  </a:cubicBezTo>
                  <a:close/>
                </a:path>
              </a:pathLst>
            </a:custGeom>
            <a:solidFill>
              <a:srgbClr val="1C1D1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04" name="Freeform 473">
              <a:extLst>
                <a:ext uri="{FF2B5EF4-FFF2-40B4-BE49-F238E27FC236}">
                  <a16:creationId xmlns:a16="http://schemas.microsoft.com/office/drawing/2014/main" id="{49C0A97B-18CC-4564-8717-B4ECA366F52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706942" y="2930525"/>
              <a:ext cx="63500" cy="122238"/>
            </a:xfrm>
            <a:custGeom>
              <a:avLst/>
              <a:gdLst>
                <a:gd name="T0" fmla="*/ 13 w 38"/>
                <a:gd name="T1" fmla="*/ 3 h 73"/>
                <a:gd name="T2" fmla="*/ 22 w 38"/>
                <a:gd name="T3" fmla="*/ 21 h 73"/>
                <a:gd name="T4" fmla="*/ 30 w 38"/>
                <a:gd name="T5" fmla="*/ 42 h 73"/>
                <a:gd name="T6" fmla="*/ 11 w 38"/>
                <a:gd name="T7" fmla="*/ 55 h 73"/>
                <a:gd name="T8" fmla="*/ 1 w 38"/>
                <a:gd name="T9" fmla="*/ 68 h 73"/>
                <a:gd name="T10" fmla="*/ 6 w 38"/>
                <a:gd name="T11" fmla="*/ 71 h 73"/>
                <a:gd name="T12" fmla="*/ 27 w 38"/>
                <a:gd name="T13" fmla="*/ 52 h 73"/>
                <a:gd name="T14" fmla="*/ 38 w 38"/>
                <a:gd name="T15" fmla="*/ 38 h 73"/>
                <a:gd name="T16" fmla="*/ 30 w 38"/>
                <a:gd name="T17" fmla="*/ 23 h 73"/>
                <a:gd name="T18" fmla="*/ 16 w 38"/>
                <a:gd name="T19" fmla="*/ 2 h 73"/>
                <a:gd name="T20" fmla="*/ 13 w 38"/>
                <a:gd name="T21" fmla="*/ 3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8" h="73">
                  <a:moveTo>
                    <a:pt x="13" y="3"/>
                  </a:moveTo>
                  <a:cubicBezTo>
                    <a:pt x="16" y="10"/>
                    <a:pt x="18" y="16"/>
                    <a:pt x="22" y="21"/>
                  </a:cubicBezTo>
                  <a:cubicBezTo>
                    <a:pt x="27" y="27"/>
                    <a:pt x="36" y="34"/>
                    <a:pt x="30" y="42"/>
                  </a:cubicBezTo>
                  <a:cubicBezTo>
                    <a:pt x="26" y="48"/>
                    <a:pt x="16" y="51"/>
                    <a:pt x="11" y="55"/>
                  </a:cubicBezTo>
                  <a:cubicBezTo>
                    <a:pt x="6" y="59"/>
                    <a:pt x="3" y="63"/>
                    <a:pt x="1" y="68"/>
                  </a:cubicBezTo>
                  <a:cubicBezTo>
                    <a:pt x="0" y="71"/>
                    <a:pt x="4" y="73"/>
                    <a:pt x="6" y="71"/>
                  </a:cubicBezTo>
                  <a:cubicBezTo>
                    <a:pt x="13" y="65"/>
                    <a:pt x="19" y="58"/>
                    <a:pt x="27" y="52"/>
                  </a:cubicBezTo>
                  <a:cubicBezTo>
                    <a:pt x="32" y="48"/>
                    <a:pt x="38" y="45"/>
                    <a:pt x="38" y="38"/>
                  </a:cubicBezTo>
                  <a:cubicBezTo>
                    <a:pt x="38" y="32"/>
                    <a:pt x="34" y="27"/>
                    <a:pt x="30" y="23"/>
                  </a:cubicBezTo>
                  <a:cubicBezTo>
                    <a:pt x="25" y="16"/>
                    <a:pt x="20" y="10"/>
                    <a:pt x="16" y="2"/>
                  </a:cubicBezTo>
                  <a:cubicBezTo>
                    <a:pt x="15" y="0"/>
                    <a:pt x="13" y="2"/>
                    <a:pt x="13" y="3"/>
                  </a:cubicBezTo>
                  <a:close/>
                </a:path>
              </a:pathLst>
            </a:custGeom>
            <a:solidFill>
              <a:srgbClr val="1C1D1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05" name="Freeform 474">
              <a:extLst>
                <a:ext uri="{FF2B5EF4-FFF2-40B4-BE49-F238E27FC236}">
                  <a16:creationId xmlns:a16="http://schemas.microsoft.com/office/drawing/2014/main" id="{4453E4BA-E321-4E2C-A086-A7B6F190371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735518" y="2935287"/>
              <a:ext cx="3175" cy="1588"/>
            </a:xfrm>
            <a:custGeom>
              <a:avLst/>
              <a:gdLst>
                <a:gd name="T0" fmla="*/ 1 w 2"/>
                <a:gd name="T1" fmla="*/ 1 h 1"/>
                <a:gd name="T2" fmla="*/ 1 w 2"/>
                <a:gd name="T3" fmla="*/ 0 h 1"/>
                <a:gd name="T4" fmla="*/ 1 w 2"/>
                <a:gd name="T5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" h="1">
                  <a:moveTo>
                    <a:pt x="1" y="1"/>
                  </a:moveTo>
                  <a:cubicBezTo>
                    <a:pt x="2" y="1"/>
                    <a:pt x="2" y="0"/>
                    <a:pt x="1" y="0"/>
                  </a:cubicBezTo>
                  <a:cubicBezTo>
                    <a:pt x="0" y="0"/>
                    <a:pt x="0" y="1"/>
                    <a:pt x="1" y="1"/>
                  </a:cubicBezTo>
                  <a:close/>
                </a:path>
              </a:pathLst>
            </a:custGeom>
            <a:solidFill>
              <a:srgbClr val="1C1D1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06" name="Freeform 475">
              <a:extLst>
                <a:ext uri="{FF2B5EF4-FFF2-40B4-BE49-F238E27FC236}">
                  <a16:creationId xmlns:a16="http://schemas.microsoft.com/office/drawing/2014/main" id="{9CFAD3BA-8C4A-494D-90D0-1E98C8301AC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589467" y="2887663"/>
              <a:ext cx="150813" cy="169862"/>
            </a:xfrm>
            <a:custGeom>
              <a:avLst/>
              <a:gdLst>
                <a:gd name="T0" fmla="*/ 89 w 90"/>
                <a:gd name="T1" fmla="*/ 25 h 101"/>
                <a:gd name="T2" fmla="*/ 21 w 90"/>
                <a:gd name="T3" fmla="*/ 12 h 101"/>
                <a:gd name="T4" fmla="*/ 4 w 90"/>
                <a:gd name="T5" fmla="*/ 51 h 101"/>
                <a:gd name="T6" fmla="*/ 9 w 90"/>
                <a:gd name="T7" fmla="*/ 85 h 101"/>
                <a:gd name="T8" fmla="*/ 30 w 90"/>
                <a:gd name="T9" fmla="*/ 92 h 101"/>
                <a:gd name="T10" fmla="*/ 70 w 90"/>
                <a:gd name="T11" fmla="*/ 100 h 101"/>
                <a:gd name="T12" fmla="*/ 73 w 90"/>
                <a:gd name="T13" fmla="*/ 93 h 101"/>
                <a:gd name="T14" fmla="*/ 30 w 90"/>
                <a:gd name="T15" fmla="*/ 85 h 101"/>
                <a:gd name="T16" fmla="*/ 7 w 90"/>
                <a:gd name="T17" fmla="*/ 70 h 101"/>
                <a:gd name="T18" fmla="*/ 9 w 90"/>
                <a:gd name="T19" fmla="*/ 53 h 101"/>
                <a:gd name="T20" fmla="*/ 41 w 90"/>
                <a:gd name="T21" fmla="*/ 18 h 101"/>
                <a:gd name="T22" fmla="*/ 66 w 90"/>
                <a:gd name="T23" fmla="*/ 23 h 101"/>
                <a:gd name="T24" fmla="*/ 89 w 90"/>
                <a:gd name="T25" fmla="*/ 27 h 101"/>
                <a:gd name="T26" fmla="*/ 89 w 90"/>
                <a:gd name="T27" fmla="*/ 25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1">
                  <a:moveTo>
                    <a:pt x="89" y="25"/>
                  </a:moveTo>
                  <a:cubicBezTo>
                    <a:pt x="68" y="24"/>
                    <a:pt x="42" y="0"/>
                    <a:pt x="21" y="12"/>
                  </a:cubicBezTo>
                  <a:cubicBezTo>
                    <a:pt x="7" y="19"/>
                    <a:pt x="7" y="38"/>
                    <a:pt x="4" y="51"/>
                  </a:cubicBezTo>
                  <a:cubicBezTo>
                    <a:pt x="2" y="62"/>
                    <a:pt x="0" y="76"/>
                    <a:pt x="9" y="85"/>
                  </a:cubicBezTo>
                  <a:cubicBezTo>
                    <a:pt x="14" y="90"/>
                    <a:pt x="22" y="91"/>
                    <a:pt x="30" y="92"/>
                  </a:cubicBezTo>
                  <a:cubicBezTo>
                    <a:pt x="44" y="94"/>
                    <a:pt x="57" y="97"/>
                    <a:pt x="70" y="100"/>
                  </a:cubicBezTo>
                  <a:cubicBezTo>
                    <a:pt x="75" y="101"/>
                    <a:pt x="78" y="94"/>
                    <a:pt x="73" y="93"/>
                  </a:cubicBezTo>
                  <a:cubicBezTo>
                    <a:pt x="58" y="89"/>
                    <a:pt x="46" y="87"/>
                    <a:pt x="30" y="85"/>
                  </a:cubicBezTo>
                  <a:cubicBezTo>
                    <a:pt x="19" y="85"/>
                    <a:pt x="9" y="84"/>
                    <a:pt x="7" y="70"/>
                  </a:cubicBezTo>
                  <a:cubicBezTo>
                    <a:pt x="7" y="64"/>
                    <a:pt x="8" y="58"/>
                    <a:pt x="9" y="53"/>
                  </a:cubicBezTo>
                  <a:cubicBezTo>
                    <a:pt x="13" y="36"/>
                    <a:pt x="19" y="14"/>
                    <a:pt x="41" y="18"/>
                  </a:cubicBezTo>
                  <a:cubicBezTo>
                    <a:pt x="49" y="19"/>
                    <a:pt x="57" y="21"/>
                    <a:pt x="66" y="23"/>
                  </a:cubicBezTo>
                  <a:cubicBezTo>
                    <a:pt x="74" y="26"/>
                    <a:pt x="80" y="29"/>
                    <a:pt x="89" y="27"/>
                  </a:cubicBezTo>
                  <a:cubicBezTo>
                    <a:pt x="90" y="26"/>
                    <a:pt x="89" y="25"/>
                    <a:pt x="89" y="25"/>
                  </a:cubicBezTo>
                  <a:close/>
                </a:path>
              </a:pathLst>
            </a:custGeom>
            <a:solidFill>
              <a:srgbClr val="1C1D1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07" name="Freeform 476">
              <a:extLst>
                <a:ext uri="{FF2B5EF4-FFF2-40B4-BE49-F238E27FC236}">
                  <a16:creationId xmlns:a16="http://schemas.microsoft.com/office/drawing/2014/main" id="{9EDF437D-2B01-4BF3-B76C-6025DDD9C59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708530" y="3059112"/>
              <a:ext cx="163513" cy="155575"/>
            </a:xfrm>
            <a:custGeom>
              <a:avLst/>
              <a:gdLst>
                <a:gd name="T0" fmla="*/ 5 w 97"/>
                <a:gd name="T1" fmla="*/ 91 h 93"/>
                <a:gd name="T2" fmla="*/ 21 w 97"/>
                <a:gd name="T3" fmla="*/ 27 h 93"/>
                <a:gd name="T4" fmla="*/ 60 w 97"/>
                <a:gd name="T5" fmla="*/ 9 h 93"/>
                <a:gd name="T6" fmla="*/ 87 w 97"/>
                <a:gd name="T7" fmla="*/ 37 h 93"/>
                <a:gd name="T8" fmla="*/ 96 w 97"/>
                <a:gd name="T9" fmla="*/ 34 h 93"/>
                <a:gd name="T10" fmla="*/ 70 w 97"/>
                <a:gd name="T11" fmla="*/ 8 h 93"/>
                <a:gd name="T12" fmla="*/ 39 w 97"/>
                <a:gd name="T13" fmla="*/ 11 h 93"/>
                <a:gd name="T14" fmla="*/ 7 w 97"/>
                <a:gd name="T15" fmla="*/ 39 h 93"/>
                <a:gd name="T16" fmla="*/ 3 w 97"/>
                <a:gd name="T17" fmla="*/ 67 h 93"/>
                <a:gd name="T18" fmla="*/ 2 w 97"/>
                <a:gd name="T19" fmla="*/ 91 h 93"/>
                <a:gd name="T20" fmla="*/ 5 w 97"/>
                <a:gd name="T21" fmla="*/ 91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97" h="93">
                  <a:moveTo>
                    <a:pt x="5" y="91"/>
                  </a:moveTo>
                  <a:cubicBezTo>
                    <a:pt x="8" y="71"/>
                    <a:pt x="6" y="40"/>
                    <a:pt x="21" y="27"/>
                  </a:cubicBezTo>
                  <a:cubicBezTo>
                    <a:pt x="25" y="23"/>
                    <a:pt x="52" y="6"/>
                    <a:pt x="60" y="9"/>
                  </a:cubicBezTo>
                  <a:cubicBezTo>
                    <a:pt x="69" y="12"/>
                    <a:pt x="84" y="28"/>
                    <a:pt x="87" y="37"/>
                  </a:cubicBezTo>
                  <a:cubicBezTo>
                    <a:pt x="89" y="42"/>
                    <a:pt x="97" y="39"/>
                    <a:pt x="96" y="34"/>
                  </a:cubicBezTo>
                  <a:cubicBezTo>
                    <a:pt x="92" y="22"/>
                    <a:pt x="80" y="14"/>
                    <a:pt x="70" y="8"/>
                  </a:cubicBezTo>
                  <a:cubicBezTo>
                    <a:pt x="57" y="0"/>
                    <a:pt x="52" y="4"/>
                    <a:pt x="39" y="11"/>
                  </a:cubicBezTo>
                  <a:cubicBezTo>
                    <a:pt x="26" y="18"/>
                    <a:pt x="12" y="24"/>
                    <a:pt x="7" y="39"/>
                  </a:cubicBezTo>
                  <a:cubicBezTo>
                    <a:pt x="4" y="48"/>
                    <a:pt x="5" y="58"/>
                    <a:pt x="3" y="67"/>
                  </a:cubicBezTo>
                  <a:cubicBezTo>
                    <a:pt x="2" y="75"/>
                    <a:pt x="0" y="83"/>
                    <a:pt x="2" y="91"/>
                  </a:cubicBezTo>
                  <a:cubicBezTo>
                    <a:pt x="2" y="93"/>
                    <a:pt x="5" y="93"/>
                    <a:pt x="5" y="91"/>
                  </a:cubicBezTo>
                  <a:close/>
                </a:path>
              </a:pathLst>
            </a:custGeom>
            <a:solidFill>
              <a:srgbClr val="1C1D1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08" name="Freeform 477">
              <a:extLst>
                <a:ext uri="{FF2B5EF4-FFF2-40B4-BE49-F238E27FC236}">
                  <a16:creationId xmlns:a16="http://schemas.microsoft.com/office/drawing/2014/main" id="{C738D8FA-4047-46F9-870F-ADC9A2C2173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719643" y="3103563"/>
              <a:ext cx="157163" cy="152401"/>
            </a:xfrm>
            <a:custGeom>
              <a:avLst/>
              <a:gdLst>
                <a:gd name="T0" fmla="*/ 1 w 93"/>
                <a:gd name="T1" fmla="*/ 64 h 91"/>
                <a:gd name="T2" fmla="*/ 73 w 93"/>
                <a:gd name="T3" fmla="*/ 71 h 91"/>
                <a:gd name="T4" fmla="*/ 92 w 93"/>
                <a:gd name="T5" fmla="*/ 6 h 91"/>
                <a:gd name="T6" fmla="*/ 85 w 93"/>
                <a:gd name="T7" fmla="*/ 5 h 91"/>
                <a:gd name="T8" fmla="*/ 75 w 93"/>
                <a:gd name="T9" fmla="*/ 49 h 91"/>
                <a:gd name="T10" fmla="*/ 72 w 93"/>
                <a:gd name="T11" fmla="*/ 58 h 91"/>
                <a:gd name="T12" fmla="*/ 43 w 93"/>
                <a:gd name="T13" fmla="*/ 73 h 91"/>
                <a:gd name="T14" fmla="*/ 37 w 93"/>
                <a:gd name="T15" fmla="*/ 72 h 91"/>
                <a:gd name="T16" fmla="*/ 2 w 93"/>
                <a:gd name="T17" fmla="*/ 62 h 91"/>
                <a:gd name="T18" fmla="*/ 1 w 93"/>
                <a:gd name="T19" fmla="*/ 64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3" h="91">
                  <a:moveTo>
                    <a:pt x="1" y="64"/>
                  </a:moveTo>
                  <a:cubicBezTo>
                    <a:pt x="19" y="71"/>
                    <a:pt x="57" y="91"/>
                    <a:pt x="73" y="71"/>
                  </a:cubicBezTo>
                  <a:cubicBezTo>
                    <a:pt x="86" y="55"/>
                    <a:pt x="88" y="25"/>
                    <a:pt x="92" y="6"/>
                  </a:cubicBezTo>
                  <a:cubicBezTo>
                    <a:pt x="93" y="1"/>
                    <a:pt x="86" y="0"/>
                    <a:pt x="85" y="5"/>
                  </a:cubicBezTo>
                  <a:cubicBezTo>
                    <a:pt x="81" y="20"/>
                    <a:pt x="79" y="35"/>
                    <a:pt x="75" y="49"/>
                  </a:cubicBezTo>
                  <a:cubicBezTo>
                    <a:pt x="74" y="52"/>
                    <a:pt x="73" y="56"/>
                    <a:pt x="72" y="58"/>
                  </a:cubicBezTo>
                  <a:cubicBezTo>
                    <a:pt x="62" y="63"/>
                    <a:pt x="53" y="68"/>
                    <a:pt x="43" y="73"/>
                  </a:cubicBezTo>
                  <a:cubicBezTo>
                    <a:pt x="41" y="73"/>
                    <a:pt x="39" y="73"/>
                    <a:pt x="37" y="72"/>
                  </a:cubicBezTo>
                  <a:cubicBezTo>
                    <a:pt x="26" y="72"/>
                    <a:pt x="13" y="66"/>
                    <a:pt x="2" y="62"/>
                  </a:cubicBezTo>
                  <a:cubicBezTo>
                    <a:pt x="1" y="62"/>
                    <a:pt x="0" y="63"/>
                    <a:pt x="1" y="64"/>
                  </a:cubicBezTo>
                  <a:close/>
                </a:path>
              </a:pathLst>
            </a:custGeom>
            <a:solidFill>
              <a:srgbClr val="1C1D1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09" name="Freeform 478">
              <a:extLst>
                <a:ext uri="{FF2B5EF4-FFF2-40B4-BE49-F238E27FC236}">
                  <a16:creationId xmlns:a16="http://schemas.microsoft.com/office/drawing/2014/main" id="{8A7E7CB4-8E5F-4DFD-BDBB-EE2B7E42B6E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718055" y="2663825"/>
              <a:ext cx="301626" cy="244475"/>
            </a:xfrm>
            <a:custGeom>
              <a:avLst/>
              <a:gdLst>
                <a:gd name="T0" fmla="*/ 5 w 179"/>
                <a:gd name="T1" fmla="*/ 125 h 146"/>
                <a:gd name="T2" fmla="*/ 15 w 179"/>
                <a:gd name="T3" fmla="*/ 92 h 146"/>
                <a:gd name="T4" fmla="*/ 24 w 179"/>
                <a:gd name="T5" fmla="*/ 50 h 146"/>
                <a:gd name="T6" fmla="*/ 57 w 179"/>
                <a:gd name="T7" fmla="*/ 13 h 146"/>
                <a:gd name="T8" fmla="*/ 101 w 179"/>
                <a:gd name="T9" fmla="*/ 16 h 146"/>
                <a:gd name="T10" fmla="*/ 142 w 179"/>
                <a:gd name="T11" fmla="*/ 27 h 146"/>
                <a:gd name="T12" fmla="*/ 161 w 179"/>
                <a:gd name="T13" fmla="*/ 30 h 146"/>
                <a:gd name="T14" fmla="*/ 166 w 179"/>
                <a:gd name="T15" fmla="*/ 58 h 146"/>
                <a:gd name="T16" fmla="*/ 147 w 179"/>
                <a:gd name="T17" fmla="*/ 138 h 146"/>
                <a:gd name="T18" fmla="*/ 157 w 179"/>
                <a:gd name="T19" fmla="*/ 140 h 146"/>
                <a:gd name="T20" fmla="*/ 166 w 179"/>
                <a:gd name="T21" fmla="*/ 89 h 146"/>
                <a:gd name="T22" fmla="*/ 175 w 179"/>
                <a:gd name="T23" fmla="*/ 36 h 146"/>
                <a:gd name="T24" fmla="*/ 158 w 179"/>
                <a:gd name="T25" fmla="*/ 24 h 146"/>
                <a:gd name="T26" fmla="*/ 108 w 179"/>
                <a:gd name="T27" fmla="*/ 12 h 146"/>
                <a:gd name="T28" fmla="*/ 33 w 179"/>
                <a:gd name="T29" fmla="*/ 15 h 146"/>
                <a:gd name="T30" fmla="*/ 15 w 179"/>
                <a:gd name="T31" fmla="*/ 57 h 146"/>
                <a:gd name="T32" fmla="*/ 8 w 179"/>
                <a:gd name="T33" fmla="*/ 85 h 146"/>
                <a:gd name="T34" fmla="*/ 1 w 179"/>
                <a:gd name="T35" fmla="*/ 123 h 146"/>
                <a:gd name="T36" fmla="*/ 5 w 179"/>
                <a:gd name="T37" fmla="*/ 125 h 1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79" h="146">
                  <a:moveTo>
                    <a:pt x="5" y="125"/>
                  </a:moveTo>
                  <a:cubicBezTo>
                    <a:pt x="12" y="115"/>
                    <a:pt x="13" y="104"/>
                    <a:pt x="15" y="92"/>
                  </a:cubicBezTo>
                  <a:cubicBezTo>
                    <a:pt x="17" y="78"/>
                    <a:pt x="21" y="64"/>
                    <a:pt x="24" y="50"/>
                  </a:cubicBezTo>
                  <a:cubicBezTo>
                    <a:pt x="27" y="28"/>
                    <a:pt x="32" y="16"/>
                    <a:pt x="57" y="13"/>
                  </a:cubicBezTo>
                  <a:cubicBezTo>
                    <a:pt x="71" y="11"/>
                    <a:pt x="87" y="13"/>
                    <a:pt x="101" y="16"/>
                  </a:cubicBezTo>
                  <a:cubicBezTo>
                    <a:pt x="115" y="18"/>
                    <a:pt x="128" y="23"/>
                    <a:pt x="142" y="27"/>
                  </a:cubicBezTo>
                  <a:cubicBezTo>
                    <a:pt x="147" y="28"/>
                    <a:pt x="157" y="28"/>
                    <a:pt x="161" y="30"/>
                  </a:cubicBezTo>
                  <a:cubicBezTo>
                    <a:pt x="172" y="37"/>
                    <a:pt x="168" y="49"/>
                    <a:pt x="166" y="58"/>
                  </a:cubicBezTo>
                  <a:cubicBezTo>
                    <a:pt x="161" y="85"/>
                    <a:pt x="151" y="111"/>
                    <a:pt x="147" y="138"/>
                  </a:cubicBezTo>
                  <a:cubicBezTo>
                    <a:pt x="146" y="144"/>
                    <a:pt x="156" y="146"/>
                    <a:pt x="157" y="140"/>
                  </a:cubicBezTo>
                  <a:cubicBezTo>
                    <a:pt x="159" y="123"/>
                    <a:pt x="163" y="106"/>
                    <a:pt x="166" y="89"/>
                  </a:cubicBezTo>
                  <a:cubicBezTo>
                    <a:pt x="170" y="74"/>
                    <a:pt x="179" y="51"/>
                    <a:pt x="175" y="36"/>
                  </a:cubicBezTo>
                  <a:cubicBezTo>
                    <a:pt x="173" y="27"/>
                    <a:pt x="168" y="26"/>
                    <a:pt x="158" y="24"/>
                  </a:cubicBezTo>
                  <a:cubicBezTo>
                    <a:pt x="142" y="20"/>
                    <a:pt x="125" y="15"/>
                    <a:pt x="108" y="12"/>
                  </a:cubicBezTo>
                  <a:cubicBezTo>
                    <a:pt x="89" y="8"/>
                    <a:pt x="49" y="0"/>
                    <a:pt x="33" y="15"/>
                  </a:cubicBezTo>
                  <a:cubicBezTo>
                    <a:pt x="21" y="26"/>
                    <a:pt x="19" y="43"/>
                    <a:pt x="15" y="57"/>
                  </a:cubicBezTo>
                  <a:cubicBezTo>
                    <a:pt x="13" y="66"/>
                    <a:pt x="10" y="76"/>
                    <a:pt x="8" y="85"/>
                  </a:cubicBezTo>
                  <a:cubicBezTo>
                    <a:pt x="6" y="97"/>
                    <a:pt x="7" y="111"/>
                    <a:pt x="1" y="123"/>
                  </a:cubicBezTo>
                  <a:cubicBezTo>
                    <a:pt x="0" y="125"/>
                    <a:pt x="3" y="127"/>
                    <a:pt x="5" y="125"/>
                  </a:cubicBezTo>
                  <a:close/>
                </a:path>
              </a:pathLst>
            </a:custGeom>
            <a:solidFill>
              <a:srgbClr val="1C1D1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10" name="Freeform 479">
              <a:extLst>
                <a:ext uri="{FF2B5EF4-FFF2-40B4-BE49-F238E27FC236}">
                  <a16:creationId xmlns:a16="http://schemas.microsoft.com/office/drawing/2014/main" id="{ECDB7CB1-DF5B-4D30-873C-A6308E6E1E4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05379" y="2895600"/>
              <a:ext cx="273050" cy="300038"/>
            </a:xfrm>
            <a:custGeom>
              <a:avLst/>
              <a:gdLst>
                <a:gd name="T0" fmla="*/ 38 w 163"/>
                <a:gd name="T1" fmla="*/ 3 h 179"/>
                <a:gd name="T2" fmla="*/ 46 w 163"/>
                <a:gd name="T3" fmla="*/ 13 h 179"/>
                <a:gd name="T4" fmla="*/ 96 w 163"/>
                <a:gd name="T5" fmla="*/ 21 h 179"/>
                <a:gd name="T6" fmla="*/ 144 w 163"/>
                <a:gd name="T7" fmla="*/ 55 h 179"/>
                <a:gd name="T8" fmla="*/ 135 w 163"/>
                <a:gd name="T9" fmla="*/ 89 h 179"/>
                <a:gd name="T10" fmla="*/ 126 w 163"/>
                <a:gd name="T11" fmla="*/ 133 h 179"/>
                <a:gd name="T12" fmla="*/ 94 w 163"/>
                <a:gd name="T13" fmla="*/ 161 h 179"/>
                <a:gd name="T14" fmla="*/ 6 w 163"/>
                <a:gd name="T15" fmla="*/ 152 h 179"/>
                <a:gd name="T16" fmla="*/ 6 w 163"/>
                <a:gd name="T17" fmla="*/ 161 h 179"/>
                <a:gd name="T18" fmla="*/ 67 w 163"/>
                <a:gd name="T19" fmla="*/ 167 h 179"/>
                <a:gd name="T20" fmla="*/ 118 w 163"/>
                <a:gd name="T21" fmla="*/ 174 h 179"/>
                <a:gd name="T22" fmla="*/ 133 w 163"/>
                <a:gd name="T23" fmla="*/ 156 h 179"/>
                <a:gd name="T24" fmla="*/ 142 w 163"/>
                <a:gd name="T25" fmla="*/ 104 h 179"/>
                <a:gd name="T26" fmla="*/ 147 w 163"/>
                <a:gd name="T27" fmla="*/ 31 h 179"/>
                <a:gd name="T28" fmla="*/ 105 w 163"/>
                <a:gd name="T29" fmla="*/ 14 h 179"/>
                <a:gd name="T30" fmla="*/ 42 w 163"/>
                <a:gd name="T31" fmla="*/ 2 h 179"/>
                <a:gd name="T32" fmla="*/ 38 w 163"/>
                <a:gd name="T33" fmla="*/ 3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63" h="179">
                  <a:moveTo>
                    <a:pt x="38" y="3"/>
                  </a:moveTo>
                  <a:cubicBezTo>
                    <a:pt x="39" y="9"/>
                    <a:pt x="41" y="11"/>
                    <a:pt x="46" y="13"/>
                  </a:cubicBezTo>
                  <a:cubicBezTo>
                    <a:pt x="61" y="18"/>
                    <a:pt x="80" y="17"/>
                    <a:pt x="96" y="21"/>
                  </a:cubicBezTo>
                  <a:cubicBezTo>
                    <a:pt x="115" y="25"/>
                    <a:pt x="147" y="29"/>
                    <a:pt x="144" y="55"/>
                  </a:cubicBezTo>
                  <a:cubicBezTo>
                    <a:pt x="143" y="67"/>
                    <a:pt x="138" y="78"/>
                    <a:pt x="135" y="89"/>
                  </a:cubicBezTo>
                  <a:cubicBezTo>
                    <a:pt x="131" y="104"/>
                    <a:pt x="128" y="119"/>
                    <a:pt x="126" y="133"/>
                  </a:cubicBezTo>
                  <a:cubicBezTo>
                    <a:pt x="122" y="154"/>
                    <a:pt x="123" y="165"/>
                    <a:pt x="94" y="161"/>
                  </a:cubicBezTo>
                  <a:cubicBezTo>
                    <a:pt x="65" y="157"/>
                    <a:pt x="36" y="150"/>
                    <a:pt x="6" y="152"/>
                  </a:cubicBezTo>
                  <a:cubicBezTo>
                    <a:pt x="0" y="152"/>
                    <a:pt x="1" y="161"/>
                    <a:pt x="6" y="161"/>
                  </a:cubicBezTo>
                  <a:cubicBezTo>
                    <a:pt x="27" y="163"/>
                    <a:pt x="47" y="164"/>
                    <a:pt x="67" y="167"/>
                  </a:cubicBezTo>
                  <a:cubicBezTo>
                    <a:pt x="81" y="169"/>
                    <a:pt x="104" y="179"/>
                    <a:pt x="118" y="174"/>
                  </a:cubicBezTo>
                  <a:cubicBezTo>
                    <a:pt x="127" y="172"/>
                    <a:pt x="131" y="164"/>
                    <a:pt x="133" y="156"/>
                  </a:cubicBezTo>
                  <a:cubicBezTo>
                    <a:pt x="137" y="139"/>
                    <a:pt x="139" y="121"/>
                    <a:pt x="142" y="104"/>
                  </a:cubicBezTo>
                  <a:cubicBezTo>
                    <a:pt x="146" y="84"/>
                    <a:pt x="163" y="50"/>
                    <a:pt x="147" y="31"/>
                  </a:cubicBezTo>
                  <a:cubicBezTo>
                    <a:pt x="137" y="20"/>
                    <a:pt x="118" y="17"/>
                    <a:pt x="105" y="14"/>
                  </a:cubicBezTo>
                  <a:cubicBezTo>
                    <a:pt x="95" y="12"/>
                    <a:pt x="44" y="8"/>
                    <a:pt x="42" y="2"/>
                  </a:cubicBezTo>
                  <a:cubicBezTo>
                    <a:pt x="42" y="0"/>
                    <a:pt x="38" y="1"/>
                    <a:pt x="38" y="3"/>
                  </a:cubicBezTo>
                  <a:close/>
                </a:path>
              </a:pathLst>
            </a:custGeom>
            <a:solidFill>
              <a:srgbClr val="1C1D1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11" name="Freeform 480">
              <a:extLst>
                <a:ext uri="{FF2B5EF4-FFF2-40B4-BE49-F238E27FC236}">
                  <a16:creationId xmlns:a16="http://schemas.microsoft.com/office/drawing/2014/main" id="{030DC190-7941-4F94-BDC7-4C1F702469F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635504" y="3094037"/>
              <a:ext cx="285751" cy="254000"/>
            </a:xfrm>
            <a:custGeom>
              <a:avLst/>
              <a:gdLst>
                <a:gd name="T0" fmla="*/ 164 w 170"/>
                <a:gd name="T1" fmla="*/ 35 h 151"/>
                <a:gd name="T2" fmla="*/ 156 w 170"/>
                <a:gd name="T3" fmla="*/ 87 h 151"/>
                <a:gd name="T4" fmla="*/ 148 w 170"/>
                <a:gd name="T5" fmla="*/ 126 h 151"/>
                <a:gd name="T6" fmla="*/ 93 w 170"/>
                <a:gd name="T7" fmla="*/ 138 h 151"/>
                <a:gd name="T8" fmla="*/ 68 w 170"/>
                <a:gd name="T9" fmla="*/ 137 h 151"/>
                <a:gd name="T10" fmla="*/ 13 w 170"/>
                <a:gd name="T11" fmla="*/ 106 h 151"/>
                <a:gd name="T12" fmla="*/ 20 w 170"/>
                <a:gd name="T13" fmla="*/ 56 h 151"/>
                <a:gd name="T14" fmla="*/ 32 w 170"/>
                <a:gd name="T15" fmla="*/ 9 h 151"/>
                <a:gd name="T16" fmla="*/ 23 w 170"/>
                <a:gd name="T17" fmla="*/ 5 h 151"/>
                <a:gd name="T18" fmla="*/ 9 w 170"/>
                <a:gd name="T19" fmla="*/ 62 h 151"/>
                <a:gd name="T20" fmla="*/ 5 w 170"/>
                <a:gd name="T21" fmla="*/ 112 h 151"/>
                <a:gd name="T22" fmla="*/ 59 w 170"/>
                <a:gd name="T23" fmla="*/ 144 h 151"/>
                <a:gd name="T24" fmla="*/ 103 w 170"/>
                <a:gd name="T25" fmla="*/ 145 h 151"/>
                <a:gd name="T26" fmla="*/ 146 w 170"/>
                <a:gd name="T27" fmla="*/ 144 h 151"/>
                <a:gd name="T28" fmla="*/ 159 w 170"/>
                <a:gd name="T29" fmla="*/ 104 h 151"/>
                <a:gd name="T30" fmla="*/ 169 w 170"/>
                <a:gd name="T31" fmla="*/ 35 h 151"/>
                <a:gd name="T32" fmla="*/ 164 w 170"/>
                <a:gd name="T33" fmla="*/ 35 h 1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70" h="151">
                  <a:moveTo>
                    <a:pt x="164" y="35"/>
                  </a:moveTo>
                  <a:cubicBezTo>
                    <a:pt x="163" y="52"/>
                    <a:pt x="160" y="69"/>
                    <a:pt x="156" y="87"/>
                  </a:cubicBezTo>
                  <a:cubicBezTo>
                    <a:pt x="154" y="99"/>
                    <a:pt x="153" y="115"/>
                    <a:pt x="148" y="126"/>
                  </a:cubicBezTo>
                  <a:cubicBezTo>
                    <a:pt x="138" y="147"/>
                    <a:pt x="112" y="138"/>
                    <a:pt x="93" y="138"/>
                  </a:cubicBezTo>
                  <a:cubicBezTo>
                    <a:pt x="85" y="137"/>
                    <a:pt x="76" y="137"/>
                    <a:pt x="68" y="137"/>
                  </a:cubicBezTo>
                  <a:cubicBezTo>
                    <a:pt x="46" y="136"/>
                    <a:pt x="17" y="133"/>
                    <a:pt x="13" y="106"/>
                  </a:cubicBezTo>
                  <a:cubicBezTo>
                    <a:pt x="10" y="90"/>
                    <a:pt x="16" y="72"/>
                    <a:pt x="20" y="56"/>
                  </a:cubicBezTo>
                  <a:cubicBezTo>
                    <a:pt x="24" y="41"/>
                    <a:pt x="27" y="25"/>
                    <a:pt x="32" y="9"/>
                  </a:cubicBezTo>
                  <a:cubicBezTo>
                    <a:pt x="34" y="4"/>
                    <a:pt x="26" y="0"/>
                    <a:pt x="23" y="5"/>
                  </a:cubicBezTo>
                  <a:cubicBezTo>
                    <a:pt x="17" y="24"/>
                    <a:pt x="13" y="43"/>
                    <a:pt x="9" y="62"/>
                  </a:cubicBezTo>
                  <a:cubicBezTo>
                    <a:pt x="5" y="78"/>
                    <a:pt x="0" y="96"/>
                    <a:pt x="5" y="112"/>
                  </a:cubicBezTo>
                  <a:cubicBezTo>
                    <a:pt x="12" y="136"/>
                    <a:pt x="37" y="143"/>
                    <a:pt x="59" y="144"/>
                  </a:cubicBezTo>
                  <a:cubicBezTo>
                    <a:pt x="74" y="146"/>
                    <a:pt x="88" y="145"/>
                    <a:pt x="103" y="145"/>
                  </a:cubicBezTo>
                  <a:cubicBezTo>
                    <a:pt x="115" y="146"/>
                    <a:pt x="136" y="151"/>
                    <a:pt x="146" y="144"/>
                  </a:cubicBezTo>
                  <a:cubicBezTo>
                    <a:pt x="157" y="137"/>
                    <a:pt x="157" y="115"/>
                    <a:pt x="159" y="104"/>
                  </a:cubicBezTo>
                  <a:cubicBezTo>
                    <a:pt x="164" y="81"/>
                    <a:pt x="168" y="59"/>
                    <a:pt x="169" y="35"/>
                  </a:cubicBezTo>
                  <a:cubicBezTo>
                    <a:pt x="170" y="32"/>
                    <a:pt x="165" y="31"/>
                    <a:pt x="164" y="35"/>
                  </a:cubicBezTo>
                  <a:close/>
                </a:path>
              </a:pathLst>
            </a:custGeom>
            <a:solidFill>
              <a:srgbClr val="1C1D1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12" name="Freeform 481">
              <a:extLst>
                <a:ext uri="{FF2B5EF4-FFF2-40B4-BE49-F238E27FC236}">
                  <a16:creationId xmlns:a16="http://schemas.microsoft.com/office/drawing/2014/main" id="{B4A65D27-2BF9-4E51-887B-7D64C60065A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467229" y="2822574"/>
              <a:ext cx="271463" cy="292100"/>
            </a:xfrm>
            <a:custGeom>
              <a:avLst/>
              <a:gdLst>
                <a:gd name="T0" fmla="*/ 128 w 161"/>
                <a:gd name="T1" fmla="*/ 168 h 173"/>
                <a:gd name="T2" fmla="*/ 51 w 161"/>
                <a:gd name="T3" fmla="*/ 150 h 173"/>
                <a:gd name="T4" fmla="*/ 26 w 161"/>
                <a:gd name="T5" fmla="*/ 139 h 173"/>
                <a:gd name="T6" fmla="*/ 20 w 161"/>
                <a:gd name="T7" fmla="*/ 107 h 173"/>
                <a:gd name="T8" fmla="*/ 28 w 161"/>
                <a:gd name="T9" fmla="*/ 70 h 173"/>
                <a:gd name="T10" fmla="*/ 37 w 161"/>
                <a:gd name="T11" fmla="*/ 31 h 173"/>
                <a:gd name="T12" fmla="*/ 69 w 161"/>
                <a:gd name="T13" fmla="*/ 11 h 173"/>
                <a:gd name="T14" fmla="*/ 85 w 161"/>
                <a:gd name="T15" fmla="*/ 15 h 173"/>
                <a:gd name="T16" fmla="*/ 119 w 161"/>
                <a:gd name="T17" fmla="*/ 20 h 173"/>
                <a:gd name="T18" fmla="*/ 153 w 161"/>
                <a:gd name="T19" fmla="*/ 32 h 173"/>
                <a:gd name="T20" fmla="*/ 155 w 161"/>
                <a:gd name="T21" fmla="*/ 23 h 173"/>
                <a:gd name="T22" fmla="*/ 107 w 161"/>
                <a:gd name="T23" fmla="*/ 11 h 173"/>
                <a:gd name="T24" fmla="*/ 56 w 161"/>
                <a:gd name="T25" fmla="*/ 1 h 173"/>
                <a:gd name="T26" fmla="*/ 19 w 161"/>
                <a:gd name="T27" fmla="*/ 68 h 173"/>
                <a:gd name="T28" fmla="*/ 22 w 161"/>
                <a:gd name="T29" fmla="*/ 147 h 173"/>
                <a:gd name="T30" fmla="*/ 61 w 161"/>
                <a:gd name="T31" fmla="*/ 160 h 173"/>
                <a:gd name="T32" fmla="*/ 127 w 161"/>
                <a:gd name="T33" fmla="*/ 173 h 173"/>
                <a:gd name="T34" fmla="*/ 128 w 161"/>
                <a:gd name="T35" fmla="*/ 168 h 1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61" h="173">
                  <a:moveTo>
                    <a:pt x="128" y="168"/>
                  </a:moveTo>
                  <a:cubicBezTo>
                    <a:pt x="104" y="158"/>
                    <a:pt x="77" y="155"/>
                    <a:pt x="51" y="150"/>
                  </a:cubicBezTo>
                  <a:cubicBezTo>
                    <a:pt x="43" y="148"/>
                    <a:pt x="31" y="146"/>
                    <a:pt x="26" y="139"/>
                  </a:cubicBezTo>
                  <a:cubicBezTo>
                    <a:pt x="18" y="130"/>
                    <a:pt x="18" y="118"/>
                    <a:pt x="20" y="107"/>
                  </a:cubicBezTo>
                  <a:cubicBezTo>
                    <a:pt x="22" y="94"/>
                    <a:pt x="25" y="82"/>
                    <a:pt x="28" y="70"/>
                  </a:cubicBezTo>
                  <a:cubicBezTo>
                    <a:pt x="30" y="57"/>
                    <a:pt x="33" y="44"/>
                    <a:pt x="37" y="31"/>
                  </a:cubicBezTo>
                  <a:cubicBezTo>
                    <a:pt x="42" y="18"/>
                    <a:pt x="55" y="7"/>
                    <a:pt x="69" y="11"/>
                  </a:cubicBezTo>
                  <a:cubicBezTo>
                    <a:pt x="74" y="12"/>
                    <a:pt x="80" y="14"/>
                    <a:pt x="85" y="15"/>
                  </a:cubicBezTo>
                  <a:cubicBezTo>
                    <a:pt x="96" y="18"/>
                    <a:pt x="108" y="18"/>
                    <a:pt x="119" y="20"/>
                  </a:cubicBezTo>
                  <a:cubicBezTo>
                    <a:pt x="131" y="23"/>
                    <a:pt x="142" y="29"/>
                    <a:pt x="153" y="32"/>
                  </a:cubicBezTo>
                  <a:cubicBezTo>
                    <a:pt x="159" y="33"/>
                    <a:pt x="161" y="24"/>
                    <a:pt x="155" y="23"/>
                  </a:cubicBezTo>
                  <a:cubicBezTo>
                    <a:pt x="139" y="18"/>
                    <a:pt x="124" y="13"/>
                    <a:pt x="107" y="11"/>
                  </a:cubicBezTo>
                  <a:cubicBezTo>
                    <a:pt x="90" y="9"/>
                    <a:pt x="73" y="0"/>
                    <a:pt x="56" y="1"/>
                  </a:cubicBezTo>
                  <a:cubicBezTo>
                    <a:pt x="27" y="3"/>
                    <a:pt x="24" y="46"/>
                    <a:pt x="19" y="68"/>
                  </a:cubicBezTo>
                  <a:cubicBezTo>
                    <a:pt x="14" y="91"/>
                    <a:pt x="0" y="128"/>
                    <a:pt x="22" y="147"/>
                  </a:cubicBezTo>
                  <a:cubicBezTo>
                    <a:pt x="32" y="156"/>
                    <a:pt x="47" y="158"/>
                    <a:pt x="61" y="160"/>
                  </a:cubicBezTo>
                  <a:cubicBezTo>
                    <a:pt x="82" y="165"/>
                    <a:pt x="105" y="171"/>
                    <a:pt x="127" y="173"/>
                  </a:cubicBezTo>
                  <a:cubicBezTo>
                    <a:pt x="130" y="173"/>
                    <a:pt x="131" y="169"/>
                    <a:pt x="128" y="168"/>
                  </a:cubicBezTo>
                  <a:close/>
                </a:path>
              </a:pathLst>
            </a:custGeom>
            <a:solidFill>
              <a:srgbClr val="1C1D1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13" name="Freeform 482">
              <a:extLst>
                <a:ext uri="{FF2B5EF4-FFF2-40B4-BE49-F238E27FC236}">
                  <a16:creationId xmlns:a16="http://schemas.microsoft.com/office/drawing/2014/main" id="{12207BF9-3D5B-4426-BB6B-30CAE2AFF57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749804" y="2643188"/>
              <a:ext cx="31750" cy="19050"/>
            </a:xfrm>
            <a:custGeom>
              <a:avLst/>
              <a:gdLst>
                <a:gd name="T0" fmla="*/ 0 w 19"/>
                <a:gd name="T1" fmla="*/ 10 h 11"/>
                <a:gd name="T2" fmla="*/ 18 w 19"/>
                <a:gd name="T3" fmla="*/ 2 h 11"/>
                <a:gd name="T4" fmla="*/ 18 w 19"/>
                <a:gd name="T5" fmla="*/ 1 h 11"/>
                <a:gd name="T6" fmla="*/ 0 w 19"/>
                <a:gd name="T7" fmla="*/ 10 h 11"/>
                <a:gd name="T8" fmla="*/ 0 w 19"/>
                <a:gd name="T9" fmla="*/ 1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" h="11">
                  <a:moveTo>
                    <a:pt x="0" y="10"/>
                  </a:moveTo>
                  <a:cubicBezTo>
                    <a:pt x="5" y="5"/>
                    <a:pt x="11" y="2"/>
                    <a:pt x="18" y="2"/>
                  </a:cubicBezTo>
                  <a:cubicBezTo>
                    <a:pt x="19" y="2"/>
                    <a:pt x="19" y="0"/>
                    <a:pt x="18" y="1"/>
                  </a:cubicBezTo>
                  <a:cubicBezTo>
                    <a:pt x="11" y="1"/>
                    <a:pt x="4" y="4"/>
                    <a:pt x="0" y="10"/>
                  </a:cubicBezTo>
                  <a:cubicBezTo>
                    <a:pt x="0" y="10"/>
                    <a:pt x="0" y="11"/>
                    <a:pt x="0" y="10"/>
                  </a:cubicBezTo>
                  <a:close/>
                </a:path>
              </a:pathLst>
            </a:custGeom>
            <a:solidFill>
              <a:srgbClr val="1C1D1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14" name="Freeform 483">
              <a:extLst>
                <a:ext uri="{FF2B5EF4-FFF2-40B4-BE49-F238E27FC236}">
                  <a16:creationId xmlns:a16="http://schemas.microsoft.com/office/drawing/2014/main" id="{164298F6-3073-460A-AD29-5304517C648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029204" y="2703513"/>
              <a:ext cx="39689" cy="125413"/>
            </a:xfrm>
            <a:custGeom>
              <a:avLst/>
              <a:gdLst>
                <a:gd name="T0" fmla="*/ 1 w 23"/>
                <a:gd name="T1" fmla="*/ 1 h 74"/>
                <a:gd name="T2" fmla="*/ 0 w 23"/>
                <a:gd name="T3" fmla="*/ 70 h 74"/>
                <a:gd name="T4" fmla="*/ 6 w 23"/>
                <a:gd name="T5" fmla="*/ 71 h 74"/>
                <a:gd name="T6" fmla="*/ 2 w 23"/>
                <a:gd name="T7" fmla="*/ 0 h 74"/>
                <a:gd name="T8" fmla="*/ 1 w 23"/>
                <a:gd name="T9" fmla="*/ 1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" h="74">
                  <a:moveTo>
                    <a:pt x="1" y="1"/>
                  </a:moveTo>
                  <a:cubicBezTo>
                    <a:pt x="16" y="19"/>
                    <a:pt x="3" y="49"/>
                    <a:pt x="0" y="70"/>
                  </a:cubicBezTo>
                  <a:cubicBezTo>
                    <a:pt x="0" y="73"/>
                    <a:pt x="5" y="74"/>
                    <a:pt x="6" y="71"/>
                  </a:cubicBezTo>
                  <a:cubicBezTo>
                    <a:pt x="12" y="50"/>
                    <a:pt x="23" y="16"/>
                    <a:pt x="2" y="0"/>
                  </a:cubicBezTo>
                  <a:cubicBezTo>
                    <a:pt x="2" y="0"/>
                    <a:pt x="0" y="0"/>
                    <a:pt x="1" y="1"/>
                  </a:cubicBezTo>
                  <a:close/>
                </a:path>
              </a:pathLst>
            </a:custGeom>
            <a:solidFill>
              <a:srgbClr val="1C1D1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15" name="Freeform 484">
              <a:extLst>
                <a:ext uri="{FF2B5EF4-FFF2-40B4-BE49-F238E27FC236}">
                  <a16:creationId xmlns:a16="http://schemas.microsoft.com/office/drawing/2014/main" id="{22B71CBC-7CC5-42DC-A2A0-00BC1B6304C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032380" y="2868613"/>
              <a:ext cx="138113" cy="53975"/>
            </a:xfrm>
            <a:custGeom>
              <a:avLst/>
              <a:gdLst>
                <a:gd name="T0" fmla="*/ 1 w 82"/>
                <a:gd name="T1" fmla="*/ 3 h 32"/>
                <a:gd name="T2" fmla="*/ 16 w 82"/>
                <a:gd name="T3" fmla="*/ 15 h 32"/>
                <a:gd name="T4" fmla="*/ 78 w 82"/>
                <a:gd name="T5" fmla="*/ 31 h 32"/>
                <a:gd name="T6" fmla="*/ 80 w 82"/>
                <a:gd name="T7" fmla="*/ 28 h 32"/>
                <a:gd name="T8" fmla="*/ 43 w 82"/>
                <a:gd name="T9" fmla="*/ 12 h 32"/>
                <a:gd name="T10" fmla="*/ 3 w 82"/>
                <a:gd name="T11" fmla="*/ 1 h 32"/>
                <a:gd name="T12" fmla="*/ 1 w 82"/>
                <a:gd name="T13" fmla="*/ 3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2" h="32">
                  <a:moveTo>
                    <a:pt x="1" y="3"/>
                  </a:moveTo>
                  <a:cubicBezTo>
                    <a:pt x="5" y="10"/>
                    <a:pt x="7" y="15"/>
                    <a:pt x="16" y="15"/>
                  </a:cubicBezTo>
                  <a:cubicBezTo>
                    <a:pt x="39" y="17"/>
                    <a:pt x="58" y="18"/>
                    <a:pt x="78" y="31"/>
                  </a:cubicBezTo>
                  <a:cubicBezTo>
                    <a:pt x="80" y="32"/>
                    <a:pt x="82" y="29"/>
                    <a:pt x="80" y="28"/>
                  </a:cubicBezTo>
                  <a:cubicBezTo>
                    <a:pt x="70" y="19"/>
                    <a:pt x="57" y="15"/>
                    <a:pt x="43" y="12"/>
                  </a:cubicBezTo>
                  <a:cubicBezTo>
                    <a:pt x="29" y="10"/>
                    <a:pt x="11" y="15"/>
                    <a:pt x="3" y="1"/>
                  </a:cubicBezTo>
                  <a:cubicBezTo>
                    <a:pt x="2" y="0"/>
                    <a:pt x="0" y="2"/>
                    <a:pt x="1" y="3"/>
                  </a:cubicBezTo>
                  <a:close/>
                </a:path>
              </a:pathLst>
            </a:custGeom>
            <a:solidFill>
              <a:srgbClr val="1C1D1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16" name="Freeform 485">
              <a:extLst>
                <a:ext uri="{FF2B5EF4-FFF2-40B4-BE49-F238E27FC236}">
                  <a16:creationId xmlns:a16="http://schemas.microsoft.com/office/drawing/2014/main" id="{10663D77-DF3F-405F-8F69-CDA6D4FFFA1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41892" y="3190875"/>
              <a:ext cx="60325" cy="41275"/>
            </a:xfrm>
            <a:custGeom>
              <a:avLst/>
              <a:gdLst>
                <a:gd name="T0" fmla="*/ 4 w 36"/>
                <a:gd name="T1" fmla="*/ 22 h 24"/>
                <a:gd name="T2" fmla="*/ 5 w 36"/>
                <a:gd name="T3" fmla="*/ 13 h 24"/>
                <a:gd name="T4" fmla="*/ 17 w 36"/>
                <a:gd name="T5" fmla="*/ 6 h 24"/>
                <a:gd name="T6" fmla="*/ 34 w 36"/>
                <a:gd name="T7" fmla="*/ 7 h 24"/>
                <a:gd name="T8" fmla="*/ 34 w 36"/>
                <a:gd name="T9" fmla="*/ 3 h 24"/>
                <a:gd name="T10" fmla="*/ 10 w 36"/>
                <a:gd name="T11" fmla="*/ 3 h 24"/>
                <a:gd name="T12" fmla="*/ 0 w 36"/>
                <a:gd name="T13" fmla="*/ 21 h 24"/>
                <a:gd name="T14" fmla="*/ 4 w 36"/>
                <a:gd name="T15" fmla="*/ 2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6" h="24">
                  <a:moveTo>
                    <a:pt x="4" y="22"/>
                  </a:moveTo>
                  <a:cubicBezTo>
                    <a:pt x="4" y="19"/>
                    <a:pt x="4" y="16"/>
                    <a:pt x="5" y="13"/>
                  </a:cubicBezTo>
                  <a:cubicBezTo>
                    <a:pt x="7" y="8"/>
                    <a:pt x="11" y="6"/>
                    <a:pt x="17" y="6"/>
                  </a:cubicBezTo>
                  <a:cubicBezTo>
                    <a:pt x="22" y="5"/>
                    <a:pt x="28" y="7"/>
                    <a:pt x="34" y="7"/>
                  </a:cubicBezTo>
                  <a:cubicBezTo>
                    <a:pt x="36" y="7"/>
                    <a:pt x="36" y="3"/>
                    <a:pt x="34" y="3"/>
                  </a:cubicBezTo>
                  <a:cubicBezTo>
                    <a:pt x="26" y="3"/>
                    <a:pt x="17" y="0"/>
                    <a:pt x="10" y="3"/>
                  </a:cubicBezTo>
                  <a:cubicBezTo>
                    <a:pt x="2" y="6"/>
                    <a:pt x="2" y="14"/>
                    <a:pt x="0" y="21"/>
                  </a:cubicBezTo>
                  <a:cubicBezTo>
                    <a:pt x="0" y="23"/>
                    <a:pt x="3" y="24"/>
                    <a:pt x="4" y="22"/>
                  </a:cubicBezTo>
                  <a:close/>
                </a:path>
              </a:pathLst>
            </a:custGeom>
            <a:solidFill>
              <a:srgbClr val="1C1D1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17" name="Freeform 486">
              <a:extLst>
                <a:ext uri="{FF2B5EF4-FFF2-40B4-BE49-F238E27FC236}">
                  <a16:creationId xmlns:a16="http://schemas.microsoft.com/office/drawing/2014/main" id="{B21BB044-FD56-4381-9EC2-612B15D5E28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581529" y="3163888"/>
              <a:ext cx="68263" cy="163513"/>
            </a:xfrm>
            <a:custGeom>
              <a:avLst/>
              <a:gdLst>
                <a:gd name="T0" fmla="*/ 33 w 40"/>
                <a:gd name="T1" fmla="*/ 0 h 97"/>
                <a:gd name="T2" fmla="*/ 37 w 40"/>
                <a:gd name="T3" fmla="*/ 96 h 97"/>
                <a:gd name="T4" fmla="*/ 39 w 40"/>
                <a:gd name="T5" fmla="*/ 94 h 97"/>
                <a:gd name="T6" fmla="*/ 33 w 40"/>
                <a:gd name="T7" fmla="*/ 0 h 97"/>
                <a:gd name="T8" fmla="*/ 33 w 40"/>
                <a:gd name="T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0" h="97">
                  <a:moveTo>
                    <a:pt x="33" y="0"/>
                  </a:moveTo>
                  <a:cubicBezTo>
                    <a:pt x="26" y="30"/>
                    <a:pt x="0" y="74"/>
                    <a:pt x="37" y="96"/>
                  </a:cubicBezTo>
                  <a:cubicBezTo>
                    <a:pt x="38" y="97"/>
                    <a:pt x="40" y="95"/>
                    <a:pt x="39" y="94"/>
                  </a:cubicBezTo>
                  <a:cubicBezTo>
                    <a:pt x="8" y="67"/>
                    <a:pt x="26" y="33"/>
                    <a:pt x="33" y="0"/>
                  </a:cubicBezTo>
                  <a:cubicBezTo>
                    <a:pt x="33" y="0"/>
                    <a:pt x="33" y="0"/>
                    <a:pt x="33" y="0"/>
                  </a:cubicBezTo>
                  <a:close/>
                </a:path>
              </a:pathLst>
            </a:custGeom>
            <a:solidFill>
              <a:srgbClr val="1C1D1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18" name="Freeform 487">
              <a:extLst>
                <a:ext uri="{FF2B5EF4-FFF2-40B4-BE49-F238E27FC236}">
                  <a16:creationId xmlns:a16="http://schemas.microsoft.com/office/drawing/2014/main" id="{277C6687-E6DB-4079-8102-E3699308EE6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730754" y="3359150"/>
              <a:ext cx="131763" cy="23813"/>
            </a:xfrm>
            <a:custGeom>
              <a:avLst/>
              <a:gdLst>
                <a:gd name="T0" fmla="*/ 1 w 79"/>
                <a:gd name="T1" fmla="*/ 2 h 14"/>
                <a:gd name="T2" fmla="*/ 75 w 79"/>
                <a:gd name="T3" fmla="*/ 14 h 14"/>
                <a:gd name="T4" fmla="*/ 76 w 79"/>
                <a:gd name="T5" fmla="*/ 9 h 14"/>
                <a:gd name="T6" fmla="*/ 2 w 79"/>
                <a:gd name="T7" fmla="*/ 0 h 14"/>
                <a:gd name="T8" fmla="*/ 1 w 79"/>
                <a:gd name="T9" fmla="*/ 2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9" h="14">
                  <a:moveTo>
                    <a:pt x="1" y="2"/>
                  </a:moveTo>
                  <a:cubicBezTo>
                    <a:pt x="26" y="4"/>
                    <a:pt x="50" y="9"/>
                    <a:pt x="75" y="14"/>
                  </a:cubicBezTo>
                  <a:cubicBezTo>
                    <a:pt x="78" y="14"/>
                    <a:pt x="79" y="9"/>
                    <a:pt x="76" y="9"/>
                  </a:cubicBezTo>
                  <a:cubicBezTo>
                    <a:pt x="52" y="3"/>
                    <a:pt x="27" y="1"/>
                    <a:pt x="2" y="0"/>
                  </a:cubicBezTo>
                  <a:cubicBezTo>
                    <a:pt x="0" y="0"/>
                    <a:pt x="0" y="2"/>
                    <a:pt x="1" y="2"/>
                  </a:cubicBezTo>
                  <a:close/>
                </a:path>
              </a:pathLst>
            </a:custGeom>
            <a:solidFill>
              <a:srgbClr val="1C1D1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19" name="Freeform 488">
              <a:extLst>
                <a:ext uri="{FF2B5EF4-FFF2-40B4-BE49-F238E27FC236}">
                  <a16:creationId xmlns:a16="http://schemas.microsoft.com/office/drawing/2014/main" id="{1B77915E-985D-41D7-8BE5-2AD0A24BF2F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441828" y="2786063"/>
              <a:ext cx="119064" cy="328613"/>
            </a:xfrm>
            <a:custGeom>
              <a:avLst/>
              <a:gdLst>
                <a:gd name="T0" fmla="*/ 68 w 70"/>
                <a:gd name="T1" fmla="*/ 193 h 195"/>
                <a:gd name="T2" fmla="*/ 16 w 70"/>
                <a:gd name="T3" fmla="*/ 173 h 195"/>
                <a:gd name="T4" fmla="*/ 8 w 70"/>
                <a:gd name="T5" fmla="*/ 116 h 195"/>
                <a:gd name="T6" fmla="*/ 21 w 70"/>
                <a:gd name="T7" fmla="*/ 61 h 195"/>
                <a:gd name="T8" fmla="*/ 36 w 70"/>
                <a:gd name="T9" fmla="*/ 25 h 195"/>
                <a:gd name="T10" fmla="*/ 67 w 70"/>
                <a:gd name="T11" fmla="*/ 5 h 195"/>
                <a:gd name="T12" fmla="*/ 65 w 70"/>
                <a:gd name="T13" fmla="*/ 1 h 195"/>
                <a:gd name="T14" fmla="*/ 24 w 70"/>
                <a:gd name="T15" fmla="*/ 39 h 195"/>
                <a:gd name="T16" fmla="*/ 1 w 70"/>
                <a:gd name="T17" fmla="*/ 122 h 195"/>
                <a:gd name="T18" fmla="*/ 15 w 70"/>
                <a:gd name="T19" fmla="*/ 180 h 195"/>
                <a:gd name="T20" fmla="*/ 68 w 70"/>
                <a:gd name="T21" fmla="*/ 195 h 195"/>
                <a:gd name="T22" fmla="*/ 68 w 70"/>
                <a:gd name="T23" fmla="*/ 193 h 1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70" h="195">
                  <a:moveTo>
                    <a:pt x="68" y="193"/>
                  </a:moveTo>
                  <a:cubicBezTo>
                    <a:pt x="49" y="192"/>
                    <a:pt x="27" y="190"/>
                    <a:pt x="16" y="173"/>
                  </a:cubicBezTo>
                  <a:cubicBezTo>
                    <a:pt x="5" y="156"/>
                    <a:pt x="5" y="135"/>
                    <a:pt x="8" y="116"/>
                  </a:cubicBezTo>
                  <a:cubicBezTo>
                    <a:pt x="11" y="98"/>
                    <a:pt x="15" y="79"/>
                    <a:pt x="21" y="61"/>
                  </a:cubicBezTo>
                  <a:cubicBezTo>
                    <a:pt x="25" y="49"/>
                    <a:pt x="30" y="35"/>
                    <a:pt x="36" y="25"/>
                  </a:cubicBezTo>
                  <a:cubicBezTo>
                    <a:pt x="44" y="13"/>
                    <a:pt x="55" y="9"/>
                    <a:pt x="67" y="5"/>
                  </a:cubicBezTo>
                  <a:cubicBezTo>
                    <a:pt x="69" y="4"/>
                    <a:pt x="68" y="0"/>
                    <a:pt x="65" y="1"/>
                  </a:cubicBezTo>
                  <a:cubicBezTo>
                    <a:pt x="43" y="8"/>
                    <a:pt x="33" y="17"/>
                    <a:pt x="24" y="39"/>
                  </a:cubicBezTo>
                  <a:cubicBezTo>
                    <a:pt x="12" y="65"/>
                    <a:pt x="3" y="93"/>
                    <a:pt x="1" y="122"/>
                  </a:cubicBezTo>
                  <a:cubicBezTo>
                    <a:pt x="0" y="141"/>
                    <a:pt x="1" y="165"/>
                    <a:pt x="15" y="180"/>
                  </a:cubicBezTo>
                  <a:cubicBezTo>
                    <a:pt x="28" y="194"/>
                    <a:pt x="49" y="195"/>
                    <a:pt x="68" y="195"/>
                  </a:cubicBezTo>
                  <a:cubicBezTo>
                    <a:pt x="69" y="195"/>
                    <a:pt x="70" y="193"/>
                    <a:pt x="68" y="193"/>
                  </a:cubicBezTo>
                  <a:close/>
                </a:path>
              </a:pathLst>
            </a:custGeom>
            <a:solidFill>
              <a:srgbClr val="1C1D1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20" name="Freeform 489">
              <a:extLst>
                <a:ext uri="{FF2B5EF4-FFF2-40B4-BE49-F238E27FC236}">
                  <a16:creationId xmlns:a16="http://schemas.microsoft.com/office/drawing/2014/main" id="{FBC43E9A-113F-494F-BB32-A7AA188B6F3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586290" y="2781300"/>
              <a:ext cx="23813" cy="22225"/>
            </a:xfrm>
            <a:custGeom>
              <a:avLst/>
              <a:gdLst>
                <a:gd name="T0" fmla="*/ 2 w 14"/>
                <a:gd name="T1" fmla="*/ 5 h 13"/>
                <a:gd name="T2" fmla="*/ 10 w 14"/>
                <a:gd name="T3" fmla="*/ 12 h 13"/>
                <a:gd name="T4" fmla="*/ 12 w 14"/>
                <a:gd name="T5" fmla="*/ 9 h 13"/>
                <a:gd name="T6" fmla="*/ 5 w 14"/>
                <a:gd name="T7" fmla="*/ 2 h 13"/>
                <a:gd name="T8" fmla="*/ 2 w 14"/>
                <a:gd name="T9" fmla="*/ 5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" h="13">
                  <a:moveTo>
                    <a:pt x="2" y="5"/>
                  </a:moveTo>
                  <a:cubicBezTo>
                    <a:pt x="5" y="7"/>
                    <a:pt x="7" y="10"/>
                    <a:pt x="10" y="12"/>
                  </a:cubicBezTo>
                  <a:cubicBezTo>
                    <a:pt x="12" y="13"/>
                    <a:pt x="14" y="10"/>
                    <a:pt x="12" y="9"/>
                  </a:cubicBezTo>
                  <a:cubicBezTo>
                    <a:pt x="10" y="6"/>
                    <a:pt x="7" y="4"/>
                    <a:pt x="5" y="2"/>
                  </a:cubicBezTo>
                  <a:cubicBezTo>
                    <a:pt x="3" y="0"/>
                    <a:pt x="0" y="3"/>
                    <a:pt x="2" y="5"/>
                  </a:cubicBezTo>
                  <a:close/>
                </a:path>
              </a:pathLst>
            </a:custGeom>
            <a:solidFill>
              <a:srgbClr val="1C1D1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21" name="Freeform 490">
              <a:extLst>
                <a:ext uri="{FF2B5EF4-FFF2-40B4-BE49-F238E27FC236}">
                  <a16:creationId xmlns:a16="http://schemas.microsoft.com/office/drawing/2014/main" id="{FAC4C850-704B-4096-BD03-96AABEA10A1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625979" y="2782888"/>
              <a:ext cx="30163" cy="23813"/>
            </a:xfrm>
            <a:custGeom>
              <a:avLst/>
              <a:gdLst>
                <a:gd name="T0" fmla="*/ 1 w 18"/>
                <a:gd name="T1" fmla="*/ 5 h 14"/>
                <a:gd name="T2" fmla="*/ 16 w 18"/>
                <a:gd name="T3" fmla="*/ 14 h 14"/>
                <a:gd name="T4" fmla="*/ 16 w 18"/>
                <a:gd name="T5" fmla="*/ 10 h 14"/>
                <a:gd name="T6" fmla="*/ 5 w 18"/>
                <a:gd name="T7" fmla="*/ 3 h 14"/>
                <a:gd name="T8" fmla="*/ 1 w 18"/>
                <a:gd name="T9" fmla="*/ 5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" h="14">
                  <a:moveTo>
                    <a:pt x="1" y="5"/>
                  </a:moveTo>
                  <a:cubicBezTo>
                    <a:pt x="5" y="10"/>
                    <a:pt x="10" y="13"/>
                    <a:pt x="16" y="14"/>
                  </a:cubicBezTo>
                  <a:cubicBezTo>
                    <a:pt x="18" y="14"/>
                    <a:pt x="18" y="11"/>
                    <a:pt x="16" y="10"/>
                  </a:cubicBezTo>
                  <a:cubicBezTo>
                    <a:pt x="12" y="9"/>
                    <a:pt x="8" y="6"/>
                    <a:pt x="5" y="3"/>
                  </a:cubicBezTo>
                  <a:cubicBezTo>
                    <a:pt x="3" y="0"/>
                    <a:pt x="0" y="3"/>
                    <a:pt x="1" y="5"/>
                  </a:cubicBezTo>
                  <a:close/>
                </a:path>
              </a:pathLst>
            </a:custGeom>
            <a:solidFill>
              <a:srgbClr val="1C1D1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22" name="Freeform 491">
              <a:extLst>
                <a:ext uri="{FF2B5EF4-FFF2-40B4-BE49-F238E27FC236}">
                  <a16:creationId xmlns:a16="http://schemas.microsoft.com/office/drawing/2014/main" id="{99E37BC2-6F60-4682-9782-98CAB9EDD6E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649791" y="2365375"/>
              <a:ext cx="496888" cy="354013"/>
            </a:xfrm>
            <a:custGeom>
              <a:avLst/>
              <a:gdLst>
                <a:gd name="T0" fmla="*/ 289 w 296"/>
                <a:gd name="T1" fmla="*/ 207 h 210"/>
                <a:gd name="T2" fmla="*/ 291 w 296"/>
                <a:gd name="T3" fmla="*/ 168 h 210"/>
                <a:gd name="T4" fmla="*/ 294 w 296"/>
                <a:gd name="T5" fmla="*/ 134 h 210"/>
                <a:gd name="T6" fmla="*/ 287 w 296"/>
                <a:gd name="T7" fmla="*/ 78 h 210"/>
                <a:gd name="T8" fmla="*/ 186 w 296"/>
                <a:gd name="T9" fmla="*/ 25 h 210"/>
                <a:gd name="T10" fmla="*/ 62 w 296"/>
                <a:gd name="T11" fmla="*/ 26 h 210"/>
                <a:gd name="T12" fmla="*/ 2 w 296"/>
                <a:gd name="T13" fmla="*/ 137 h 210"/>
                <a:gd name="T14" fmla="*/ 10 w 296"/>
                <a:gd name="T15" fmla="*/ 141 h 210"/>
                <a:gd name="T16" fmla="*/ 62 w 296"/>
                <a:gd name="T17" fmla="*/ 39 h 210"/>
                <a:gd name="T18" fmla="*/ 143 w 296"/>
                <a:gd name="T19" fmla="*/ 25 h 210"/>
                <a:gd name="T20" fmla="*/ 209 w 296"/>
                <a:gd name="T21" fmla="*/ 39 h 210"/>
                <a:gd name="T22" fmla="*/ 288 w 296"/>
                <a:gd name="T23" fmla="*/ 120 h 210"/>
                <a:gd name="T24" fmla="*/ 289 w 296"/>
                <a:gd name="T25" fmla="*/ 210 h 210"/>
                <a:gd name="T26" fmla="*/ 292 w 296"/>
                <a:gd name="T27" fmla="*/ 209 h 210"/>
                <a:gd name="T28" fmla="*/ 292 w 296"/>
                <a:gd name="T29" fmla="*/ 208 h 210"/>
                <a:gd name="T30" fmla="*/ 289 w 296"/>
                <a:gd name="T31" fmla="*/ 207 h 2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96" h="210">
                  <a:moveTo>
                    <a:pt x="289" y="207"/>
                  </a:moveTo>
                  <a:cubicBezTo>
                    <a:pt x="294" y="202"/>
                    <a:pt x="290" y="174"/>
                    <a:pt x="291" y="168"/>
                  </a:cubicBezTo>
                  <a:cubicBezTo>
                    <a:pt x="291" y="156"/>
                    <a:pt x="293" y="145"/>
                    <a:pt x="294" y="134"/>
                  </a:cubicBezTo>
                  <a:cubicBezTo>
                    <a:pt x="296" y="115"/>
                    <a:pt x="295" y="95"/>
                    <a:pt x="287" y="78"/>
                  </a:cubicBezTo>
                  <a:cubicBezTo>
                    <a:pt x="269" y="44"/>
                    <a:pt x="220" y="32"/>
                    <a:pt x="186" y="25"/>
                  </a:cubicBezTo>
                  <a:cubicBezTo>
                    <a:pt x="150" y="16"/>
                    <a:pt x="95" y="0"/>
                    <a:pt x="62" y="26"/>
                  </a:cubicBezTo>
                  <a:cubicBezTo>
                    <a:pt x="29" y="53"/>
                    <a:pt x="19" y="100"/>
                    <a:pt x="2" y="137"/>
                  </a:cubicBezTo>
                  <a:cubicBezTo>
                    <a:pt x="0" y="142"/>
                    <a:pt x="7" y="146"/>
                    <a:pt x="10" y="141"/>
                  </a:cubicBezTo>
                  <a:cubicBezTo>
                    <a:pt x="26" y="107"/>
                    <a:pt x="36" y="67"/>
                    <a:pt x="62" y="39"/>
                  </a:cubicBezTo>
                  <a:cubicBezTo>
                    <a:pt x="83" y="16"/>
                    <a:pt x="115" y="21"/>
                    <a:pt x="143" y="25"/>
                  </a:cubicBezTo>
                  <a:cubicBezTo>
                    <a:pt x="165" y="29"/>
                    <a:pt x="187" y="33"/>
                    <a:pt x="209" y="39"/>
                  </a:cubicBezTo>
                  <a:cubicBezTo>
                    <a:pt x="251" y="51"/>
                    <a:pt x="289" y="71"/>
                    <a:pt x="288" y="120"/>
                  </a:cubicBezTo>
                  <a:cubicBezTo>
                    <a:pt x="288" y="132"/>
                    <a:pt x="272" y="205"/>
                    <a:pt x="289" y="210"/>
                  </a:cubicBezTo>
                  <a:cubicBezTo>
                    <a:pt x="290" y="210"/>
                    <a:pt x="291" y="210"/>
                    <a:pt x="292" y="209"/>
                  </a:cubicBezTo>
                  <a:cubicBezTo>
                    <a:pt x="292" y="208"/>
                    <a:pt x="292" y="208"/>
                    <a:pt x="292" y="208"/>
                  </a:cubicBezTo>
                  <a:cubicBezTo>
                    <a:pt x="292" y="207"/>
                    <a:pt x="290" y="205"/>
                    <a:pt x="289" y="207"/>
                  </a:cubicBezTo>
                  <a:close/>
                </a:path>
              </a:pathLst>
            </a:custGeom>
            <a:solidFill>
              <a:srgbClr val="1C1D1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23" name="Freeform 492">
              <a:extLst>
                <a:ext uri="{FF2B5EF4-FFF2-40B4-BE49-F238E27FC236}">
                  <a16:creationId xmlns:a16="http://schemas.microsoft.com/office/drawing/2014/main" id="{063E7E24-C2C8-495C-B9FF-6F66A3DDC19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818066" y="2362199"/>
              <a:ext cx="261938" cy="84138"/>
            </a:xfrm>
            <a:custGeom>
              <a:avLst/>
              <a:gdLst>
                <a:gd name="T0" fmla="*/ 7 w 156"/>
                <a:gd name="T1" fmla="*/ 18 h 50"/>
                <a:gd name="T2" fmla="*/ 84 w 156"/>
                <a:gd name="T3" fmla="*/ 9 h 50"/>
                <a:gd name="T4" fmla="*/ 148 w 156"/>
                <a:gd name="T5" fmla="*/ 47 h 50"/>
                <a:gd name="T6" fmla="*/ 154 w 156"/>
                <a:gd name="T7" fmla="*/ 43 h 50"/>
                <a:gd name="T8" fmla="*/ 88 w 156"/>
                <a:gd name="T9" fmla="*/ 4 h 50"/>
                <a:gd name="T10" fmla="*/ 34 w 156"/>
                <a:gd name="T11" fmla="*/ 2 h 50"/>
                <a:gd name="T12" fmla="*/ 3 w 156"/>
                <a:gd name="T13" fmla="*/ 15 h 50"/>
                <a:gd name="T14" fmla="*/ 7 w 156"/>
                <a:gd name="T15" fmla="*/ 18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56" h="50">
                  <a:moveTo>
                    <a:pt x="7" y="18"/>
                  </a:moveTo>
                  <a:cubicBezTo>
                    <a:pt x="21" y="0"/>
                    <a:pt x="63" y="7"/>
                    <a:pt x="84" y="9"/>
                  </a:cubicBezTo>
                  <a:cubicBezTo>
                    <a:pt x="109" y="13"/>
                    <a:pt x="134" y="24"/>
                    <a:pt x="148" y="47"/>
                  </a:cubicBezTo>
                  <a:cubicBezTo>
                    <a:pt x="150" y="50"/>
                    <a:pt x="156" y="47"/>
                    <a:pt x="154" y="43"/>
                  </a:cubicBezTo>
                  <a:cubicBezTo>
                    <a:pt x="143" y="19"/>
                    <a:pt x="112" y="7"/>
                    <a:pt x="88" y="4"/>
                  </a:cubicBezTo>
                  <a:cubicBezTo>
                    <a:pt x="70" y="2"/>
                    <a:pt x="52" y="3"/>
                    <a:pt x="34" y="2"/>
                  </a:cubicBezTo>
                  <a:cubicBezTo>
                    <a:pt x="22" y="2"/>
                    <a:pt x="10" y="5"/>
                    <a:pt x="3" y="15"/>
                  </a:cubicBezTo>
                  <a:cubicBezTo>
                    <a:pt x="0" y="18"/>
                    <a:pt x="5" y="21"/>
                    <a:pt x="7" y="18"/>
                  </a:cubicBezTo>
                  <a:close/>
                </a:path>
              </a:pathLst>
            </a:custGeom>
            <a:solidFill>
              <a:srgbClr val="1C1D1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24" name="Freeform 493">
              <a:extLst>
                <a:ext uri="{FF2B5EF4-FFF2-40B4-BE49-F238E27FC236}">
                  <a16:creationId xmlns:a16="http://schemas.microsoft.com/office/drawing/2014/main" id="{F871455A-2BCC-44D0-9504-D73320785D3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283330" y="2728913"/>
              <a:ext cx="269875" cy="246063"/>
            </a:xfrm>
            <a:custGeom>
              <a:avLst/>
              <a:gdLst>
                <a:gd name="T0" fmla="*/ 5 w 161"/>
                <a:gd name="T1" fmla="*/ 144 h 146"/>
                <a:gd name="T2" fmla="*/ 39 w 161"/>
                <a:gd name="T3" fmla="*/ 51 h 146"/>
                <a:gd name="T4" fmla="*/ 157 w 161"/>
                <a:gd name="T5" fmla="*/ 14 h 146"/>
                <a:gd name="T6" fmla="*/ 157 w 161"/>
                <a:gd name="T7" fmla="*/ 7 h 146"/>
                <a:gd name="T8" fmla="*/ 48 w 161"/>
                <a:gd name="T9" fmla="*/ 26 h 146"/>
                <a:gd name="T10" fmla="*/ 26 w 161"/>
                <a:gd name="T11" fmla="*/ 69 h 146"/>
                <a:gd name="T12" fmla="*/ 1 w 161"/>
                <a:gd name="T13" fmla="*/ 141 h 146"/>
                <a:gd name="T14" fmla="*/ 5 w 161"/>
                <a:gd name="T15" fmla="*/ 144 h 1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61" h="146">
                  <a:moveTo>
                    <a:pt x="5" y="144"/>
                  </a:moveTo>
                  <a:cubicBezTo>
                    <a:pt x="27" y="116"/>
                    <a:pt x="25" y="82"/>
                    <a:pt x="39" y="51"/>
                  </a:cubicBezTo>
                  <a:cubicBezTo>
                    <a:pt x="61" y="5"/>
                    <a:pt x="115" y="13"/>
                    <a:pt x="157" y="14"/>
                  </a:cubicBezTo>
                  <a:cubicBezTo>
                    <a:pt x="160" y="14"/>
                    <a:pt x="161" y="8"/>
                    <a:pt x="157" y="7"/>
                  </a:cubicBezTo>
                  <a:cubicBezTo>
                    <a:pt x="122" y="2"/>
                    <a:pt x="76" y="0"/>
                    <a:pt x="48" y="26"/>
                  </a:cubicBezTo>
                  <a:cubicBezTo>
                    <a:pt x="35" y="37"/>
                    <a:pt x="30" y="54"/>
                    <a:pt x="26" y="69"/>
                  </a:cubicBezTo>
                  <a:cubicBezTo>
                    <a:pt x="19" y="95"/>
                    <a:pt x="11" y="117"/>
                    <a:pt x="1" y="141"/>
                  </a:cubicBezTo>
                  <a:cubicBezTo>
                    <a:pt x="0" y="144"/>
                    <a:pt x="3" y="146"/>
                    <a:pt x="5" y="144"/>
                  </a:cubicBezTo>
                  <a:close/>
                </a:path>
              </a:pathLst>
            </a:custGeom>
            <a:solidFill>
              <a:srgbClr val="1C1D1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25" name="Freeform 494">
              <a:extLst>
                <a:ext uri="{FF2B5EF4-FFF2-40B4-BE49-F238E27FC236}">
                  <a16:creationId xmlns:a16="http://schemas.microsoft.com/office/drawing/2014/main" id="{44D7281A-88FC-46AD-AC78-B9B021AC2AE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81780" y="2749550"/>
              <a:ext cx="182563" cy="257175"/>
            </a:xfrm>
            <a:custGeom>
              <a:avLst/>
              <a:gdLst>
                <a:gd name="T0" fmla="*/ 2 w 108"/>
                <a:gd name="T1" fmla="*/ 3 h 153"/>
                <a:gd name="T2" fmla="*/ 46 w 108"/>
                <a:gd name="T3" fmla="*/ 12 h 153"/>
                <a:gd name="T4" fmla="*/ 95 w 108"/>
                <a:gd name="T5" fmla="*/ 41 h 153"/>
                <a:gd name="T6" fmla="*/ 95 w 108"/>
                <a:gd name="T7" fmla="*/ 100 h 153"/>
                <a:gd name="T8" fmla="*/ 99 w 108"/>
                <a:gd name="T9" fmla="*/ 149 h 153"/>
                <a:gd name="T10" fmla="*/ 107 w 108"/>
                <a:gd name="T11" fmla="*/ 146 h 153"/>
                <a:gd name="T12" fmla="*/ 106 w 108"/>
                <a:gd name="T13" fmla="*/ 75 h 153"/>
                <a:gd name="T14" fmla="*/ 96 w 108"/>
                <a:gd name="T15" fmla="*/ 33 h 153"/>
                <a:gd name="T16" fmla="*/ 58 w 108"/>
                <a:gd name="T17" fmla="*/ 11 h 153"/>
                <a:gd name="T18" fmla="*/ 3 w 108"/>
                <a:gd name="T19" fmla="*/ 0 h 153"/>
                <a:gd name="T20" fmla="*/ 2 w 108"/>
                <a:gd name="T21" fmla="*/ 3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08" h="153">
                  <a:moveTo>
                    <a:pt x="2" y="3"/>
                  </a:moveTo>
                  <a:cubicBezTo>
                    <a:pt x="15" y="10"/>
                    <a:pt x="32" y="7"/>
                    <a:pt x="46" y="12"/>
                  </a:cubicBezTo>
                  <a:cubicBezTo>
                    <a:pt x="60" y="17"/>
                    <a:pt x="87" y="28"/>
                    <a:pt x="95" y="41"/>
                  </a:cubicBezTo>
                  <a:cubicBezTo>
                    <a:pt x="106" y="58"/>
                    <a:pt x="98" y="82"/>
                    <a:pt x="95" y="100"/>
                  </a:cubicBezTo>
                  <a:cubicBezTo>
                    <a:pt x="93" y="117"/>
                    <a:pt x="92" y="133"/>
                    <a:pt x="99" y="149"/>
                  </a:cubicBezTo>
                  <a:cubicBezTo>
                    <a:pt x="101" y="153"/>
                    <a:pt x="108" y="150"/>
                    <a:pt x="107" y="146"/>
                  </a:cubicBezTo>
                  <a:cubicBezTo>
                    <a:pt x="100" y="122"/>
                    <a:pt x="104" y="100"/>
                    <a:pt x="106" y="75"/>
                  </a:cubicBezTo>
                  <a:cubicBezTo>
                    <a:pt x="106" y="61"/>
                    <a:pt x="106" y="45"/>
                    <a:pt x="96" y="33"/>
                  </a:cubicBezTo>
                  <a:cubicBezTo>
                    <a:pt x="87" y="22"/>
                    <a:pt x="70" y="17"/>
                    <a:pt x="58" y="11"/>
                  </a:cubicBezTo>
                  <a:cubicBezTo>
                    <a:pt x="40" y="3"/>
                    <a:pt x="22" y="5"/>
                    <a:pt x="3" y="0"/>
                  </a:cubicBezTo>
                  <a:cubicBezTo>
                    <a:pt x="2" y="0"/>
                    <a:pt x="0" y="2"/>
                    <a:pt x="2" y="3"/>
                  </a:cubicBezTo>
                  <a:close/>
                </a:path>
              </a:pathLst>
            </a:custGeom>
            <a:solidFill>
              <a:srgbClr val="1C1D1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26" name="Freeform 495">
              <a:extLst>
                <a:ext uri="{FF2B5EF4-FFF2-40B4-BE49-F238E27FC236}">
                  <a16:creationId xmlns:a16="http://schemas.microsoft.com/office/drawing/2014/main" id="{37AB5D82-877B-4733-9E94-3941F93FD0D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402393" y="2705100"/>
              <a:ext cx="327026" cy="100013"/>
            </a:xfrm>
            <a:custGeom>
              <a:avLst/>
              <a:gdLst>
                <a:gd name="T0" fmla="*/ 5 w 195"/>
                <a:gd name="T1" fmla="*/ 29 h 59"/>
                <a:gd name="T2" fmla="*/ 48 w 195"/>
                <a:gd name="T3" fmla="*/ 10 h 59"/>
                <a:gd name="T4" fmla="*/ 99 w 195"/>
                <a:gd name="T5" fmla="*/ 13 h 59"/>
                <a:gd name="T6" fmla="*/ 188 w 195"/>
                <a:gd name="T7" fmla="*/ 56 h 59"/>
                <a:gd name="T8" fmla="*/ 194 w 195"/>
                <a:gd name="T9" fmla="*/ 53 h 59"/>
                <a:gd name="T10" fmla="*/ 107 w 195"/>
                <a:gd name="T11" fmla="*/ 7 h 59"/>
                <a:gd name="T12" fmla="*/ 54 w 195"/>
                <a:gd name="T13" fmla="*/ 2 h 59"/>
                <a:gd name="T14" fmla="*/ 2 w 195"/>
                <a:gd name="T15" fmla="*/ 25 h 59"/>
                <a:gd name="T16" fmla="*/ 5 w 195"/>
                <a:gd name="T17" fmla="*/ 29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5" h="59">
                  <a:moveTo>
                    <a:pt x="5" y="29"/>
                  </a:moveTo>
                  <a:cubicBezTo>
                    <a:pt x="18" y="21"/>
                    <a:pt x="33" y="13"/>
                    <a:pt x="48" y="10"/>
                  </a:cubicBezTo>
                  <a:cubicBezTo>
                    <a:pt x="66" y="6"/>
                    <a:pt x="82" y="11"/>
                    <a:pt x="99" y="13"/>
                  </a:cubicBezTo>
                  <a:cubicBezTo>
                    <a:pt x="135" y="17"/>
                    <a:pt x="169" y="22"/>
                    <a:pt x="188" y="56"/>
                  </a:cubicBezTo>
                  <a:cubicBezTo>
                    <a:pt x="190" y="59"/>
                    <a:pt x="195" y="56"/>
                    <a:pt x="194" y="53"/>
                  </a:cubicBezTo>
                  <a:cubicBezTo>
                    <a:pt x="181" y="18"/>
                    <a:pt x="140" y="9"/>
                    <a:pt x="107" y="7"/>
                  </a:cubicBezTo>
                  <a:cubicBezTo>
                    <a:pt x="90" y="5"/>
                    <a:pt x="72" y="0"/>
                    <a:pt x="54" y="2"/>
                  </a:cubicBezTo>
                  <a:cubicBezTo>
                    <a:pt x="35" y="4"/>
                    <a:pt x="18" y="14"/>
                    <a:pt x="2" y="25"/>
                  </a:cubicBezTo>
                  <a:cubicBezTo>
                    <a:pt x="0" y="26"/>
                    <a:pt x="2" y="30"/>
                    <a:pt x="5" y="29"/>
                  </a:cubicBezTo>
                  <a:close/>
                </a:path>
              </a:pathLst>
            </a:custGeom>
            <a:solidFill>
              <a:srgbClr val="1C1D1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27" name="Freeform 496">
              <a:extLst>
                <a:ext uri="{FF2B5EF4-FFF2-40B4-BE49-F238E27FC236}">
                  <a16:creationId xmlns:a16="http://schemas.microsoft.com/office/drawing/2014/main" id="{E621784F-B00C-40FD-929F-01CBD7B51C8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688143" y="2813049"/>
              <a:ext cx="41275" cy="30163"/>
            </a:xfrm>
            <a:custGeom>
              <a:avLst/>
              <a:gdLst>
                <a:gd name="T0" fmla="*/ 3 w 25"/>
                <a:gd name="T1" fmla="*/ 6 h 18"/>
                <a:gd name="T2" fmla="*/ 22 w 25"/>
                <a:gd name="T3" fmla="*/ 17 h 18"/>
                <a:gd name="T4" fmla="*/ 24 w 25"/>
                <a:gd name="T5" fmla="*/ 14 h 18"/>
                <a:gd name="T6" fmla="*/ 5 w 25"/>
                <a:gd name="T7" fmla="*/ 2 h 18"/>
                <a:gd name="T8" fmla="*/ 3 w 25"/>
                <a:gd name="T9" fmla="*/ 6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5" h="18">
                  <a:moveTo>
                    <a:pt x="3" y="6"/>
                  </a:moveTo>
                  <a:cubicBezTo>
                    <a:pt x="9" y="9"/>
                    <a:pt x="15" y="13"/>
                    <a:pt x="22" y="17"/>
                  </a:cubicBezTo>
                  <a:cubicBezTo>
                    <a:pt x="23" y="18"/>
                    <a:pt x="25" y="15"/>
                    <a:pt x="24" y="14"/>
                  </a:cubicBezTo>
                  <a:cubicBezTo>
                    <a:pt x="19" y="8"/>
                    <a:pt x="11" y="5"/>
                    <a:pt x="5" y="2"/>
                  </a:cubicBezTo>
                  <a:cubicBezTo>
                    <a:pt x="2" y="0"/>
                    <a:pt x="0" y="5"/>
                    <a:pt x="3" y="6"/>
                  </a:cubicBezTo>
                  <a:close/>
                </a:path>
              </a:pathLst>
            </a:custGeom>
            <a:solidFill>
              <a:srgbClr val="1C1D1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28" name="Freeform 497">
              <a:extLst>
                <a:ext uri="{FF2B5EF4-FFF2-40B4-BE49-F238E27FC236}">
                  <a16:creationId xmlns:a16="http://schemas.microsoft.com/office/drawing/2014/main" id="{F708F2F9-781A-4B86-92E0-20876BDBBDA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686555" y="2841625"/>
              <a:ext cx="36513" cy="22225"/>
            </a:xfrm>
            <a:custGeom>
              <a:avLst/>
              <a:gdLst>
                <a:gd name="T0" fmla="*/ 2 w 22"/>
                <a:gd name="T1" fmla="*/ 4 h 13"/>
                <a:gd name="T2" fmla="*/ 16 w 22"/>
                <a:gd name="T3" fmla="*/ 12 h 13"/>
                <a:gd name="T4" fmla="*/ 19 w 22"/>
                <a:gd name="T5" fmla="*/ 6 h 13"/>
                <a:gd name="T6" fmla="*/ 4 w 22"/>
                <a:gd name="T7" fmla="*/ 0 h 13"/>
                <a:gd name="T8" fmla="*/ 2 w 22"/>
                <a:gd name="T9" fmla="*/ 4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" h="13">
                  <a:moveTo>
                    <a:pt x="2" y="4"/>
                  </a:moveTo>
                  <a:cubicBezTo>
                    <a:pt x="7" y="6"/>
                    <a:pt x="11" y="9"/>
                    <a:pt x="16" y="12"/>
                  </a:cubicBezTo>
                  <a:cubicBezTo>
                    <a:pt x="19" y="13"/>
                    <a:pt x="22" y="9"/>
                    <a:pt x="19" y="6"/>
                  </a:cubicBezTo>
                  <a:cubicBezTo>
                    <a:pt x="14" y="3"/>
                    <a:pt x="9" y="1"/>
                    <a:pt x="4" y="0"/>
                  </a:cubicBezTo>
                  <a:cubicBezTo>
                    <a:pt x="1" y="0"/>
                    <a:pt x="0" y="3"/>
                    <a:pt x="2" y="4"/>
                  </a:cubicBezTo>
                  <a:close/>
                </a:path>
              </a:pathLst>
            </a:custGeom>
            <a:solidFill>
              <a:srgbClr val="1C1D1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29" name="Freeform 498">
              <a:extLst>
                <a:ext uri="{FF2B5EF4-FFF2-40B4-BE49-F238E27FC236}">
                  <a16:creationId xmlns:a16="http://schemas.microsoft.com/office/drawing/2014/main" id="{75004A49-2106-48CA-B88B-0200CA48D22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694493" y="2879725"/>
              <a:ext cx="25400" cy="22225"/>
            </a:xfrm>
            <a:custGeom>
              <a:avLst/>
              <a:gdLst>
                <a:gd name="T0" fmla="*/ 2 w 15"/>
                <a:gd name="T1" fmla="*/ 6 h 13"/>
                <a:gd name="T2" fmla="*/ 12 w 15"/>
                <a:gd name="T3" fmla="*/ 13 h 13"/>
                <a:gd name="T4" fmla="*/ 14 w 15"/>
                <a:gd name="T5" fmla="*/ 10 h 13"/>
                <a:gd name="T6" fmla="*/ 5 w 15"/>
                <a:gd name="T7" fmla="*/ 1 h 13"/>
                <a:gd name="T8" fmla="*/ 1 w 15"/>
                <a:gd name="T9" fmla="*/ 2 h 13"/>
                <a:gd name="T10" fmla="*/ 2 w 15"/>
                <a:gd name="T11" fmla="*/ 6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5" h="13">
                  <a:moveTo>
                    <a:pt x="2" y="6"/>
                  </a:moveTo>
                  <a:cubicBezTo>
                    <a:pt x="5" y="9"/>
                    <a:pt x="8" y="12"/>
                    <a:pt x="12" y="13"/>
                  </a:cubicBezTo>
                  <a:cubicBezTo>
                    <a:pt x="14" y="13"/>
                    <a:pt x="15" y="11"/>
                    <a:pt x="14" y="10"/>
                  </a:cubicBezTo>
                  <a:cubicBezTo>
                    <a:pt x="12" y="6"/>
                    <a:pt x="8" y="4"/>
                    <a:pt x="5" y="1"/>
                  </a:cubicBezTo>
                  <a:cubicBezTo>
                    <a:pt x="4" y="0"/>
                    <a:pt x="2" y="1"/>
                    <a:pt x="1" y="2"/>
                  </a:cubicBezTo>
                  <a:cubicBezTo>
                    <a:pt x="0" y="4"/>
                    <a:pt x="1" y="5"/>
                    <a:pt x="2" y="6"/>
                  </a:cubicBezTo>
                  <a:close/>
                </a:path>
              </a:pathLst>
            </a:custGeom>
            <a:solidFill>
              <a:srgbClr val="1C1D1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30" name="Freeform 499">
              <a:extLst>
                <a:ext uri="{FF2B5EF4-FFF2-40B4-BE49-F238E27FC236}">
                  <a16:creationId xmlns:a16="http://schemas.microsoft.com/office/drawing/2014/main" id="{9953229C-73AC-4BA3-9B33-BB15360A5B2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692905" y="2909887"/>
              <a:ext cx="17463" cy="20638"/>
            </a:xfrm>
            <a:custGeom>
              <a:avLst/>
              <a:gdLst>
                <a:gd name="T0" fmla="*/ 2 w 10"/>
                <a:gd name="T1" fmla="*/ 7 h 12"/>
                <a:gd name="T2" fmla="*/ 5 w 10"/>
                <a:gd name="T3" fmla="*/ 10 h 12"/>
                <a:gd name="T4" fmla="*/ 8 w 10"/>
                <a:gd name="T5" fmla="*/ 8 h 12"/>
                <a:gd name="T6" fmla="*/ 6 w 10"/>
                <a:gd name="T7" fmla="*/ 4 h 12"/>
                <a:gd name="T8" fmla="*/ 2 w 10"/>
                <a:gd name="T9" fmla="*/ 7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" h="12">
                  <a:moveTo>
                    <a:pt x="2" y="7"/>
                  </a:moveTo>
                  <a:cubicBezTo>
                    <a:pt x="3" y="8"/>
                    <a:pt x="4" y="9"/>
                    <a:pt x="5" y="10"/>
                  </a:cubicBezTo>
                  <a:cubicBezTo>
                    <a:pt x="7" y="12"/>
                    <a:pt x="10" y="10"/>
                    <a:pt x="8" y="8"/>
                  </a:cubicBezTo>
                  <a:cubicBezTo>
                    <a:pt x="8" y="6"/>
                    <a:pt x="7" y="5"/>
                    <a:pt x="6" y="4"/>
                  </a:cubicBezTo>
                  <a:cubicBezTo>
                    <a:pt x="5" y="0"/>
                    <a:pt x="0" y="4"/>
                    <a:pt x="2" y="7"/>
                  </a:cubicBezTo>
                  <a:close/>
                </a:path>
              </a:pathLst>
            </a:custGeom>
            <a:solidFill>
              <a:srgbClr val="1C1D1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31" name="Freeform 500">
              <a:extLst>
                <a:ext uri="{FF2B5EF4-FFF2-40B4-BE49-F238E27FC236}">
                  <a16:creationId xmlns:a16="http://schemas.microsoft.com/office/drawing/2014/main" id="{23510792-02AC-483B-8302-90F748D741E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046668" y="2489200"/>
              <a:ext cx="39689" cy="30163"/>
            </a:xfrm>
            <a:custGeom>
              <a:avLst/>
              <a:gdLst>
                <a:gd name="T0" fmla="*/ 3 w 24"/>
                <a:gd name="T1" fmla="*/ 6 h 18"/>
                <a:gd name="T2" fmla="*/ 19 w 24"/>
                <a:gd name="T3" fmla="*/ 17 h 18"/>
                <a:gd name="T4" fmla="*/ 21 w 24"/>
                <a:gd name="T5" fmla="*/ 12 h 18"/>
                <a:gd name="T6" fmla="*/ 6 w 24"/>
                <a:gd name="T7" fmla="*/ 2 h 18"/>
                <a:gd name="T8" fmla="*/ 3 w 24"/>
                <a:gd name="T9" fmla="*/ 6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" h="18">
                  <a:moveTo>
                    <a:pt x="3" y="6"/>
                  </a:moveTo>
                  <a:cubicBezTo>
                    <a:pt x="8" y="10"/>
                    <a:pt x="13" y="14"/>
                    <a:pt x="19" y="17"/>
                  </a:cubicBezTo>
                  <a:cubicBezTo>
                    <a:pt x="22" y="18"/>
                    <a:pt x="24" y="14"/>
                    <a:pt x="21" y="12"/>
                  </a:cubicBezTo>
                  <a:cubicBezTo>
                    <a:pt x="16" y="9"/>
                    <a:pt x="11" y="5"/>
                    <a:pt x="6" y="2"/>
                  </a:cubicBezTo>
                  <a:cubicBezTo>
                    <a:pt x="3" y="0"/>
                    <a:pt x="0" y="4"/>
                    <a:pt x="3" y="6"/>
                  </a:cubicBezTo>
                  <a:close/>
                </a:path>
              </a:pathLst>
            </a:custGeom>
            <a:solidFill>
              <a:srgbClr val="1C1D1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32" name="Freeform 501">
              <a:extLst>
                <a:ext uri="{FF2B5EF4-FFF2-40B4-BE49-F238E27FC236}">
                  <a16:creationId xmlns:a16="http://schemas.microsoft.com/office/drawing/2014/main" id="{BA1D74F3-6BC4-41D4-96A5-2946D2A16D7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060956" y="2528888"/>
              <a:ext cx="26988" cy="23813"/>
            </a:xfrm>
            <a:custGeom>
              <a:avLst/>
              <a:gdLst>
                <a:gd name="T0" fmla="*/ 2 w 16"/>
                <a:gd name="T1" fmla="*/ 7 h 14"/>
                <a:gd name="T2" fmla="*/ 10 w 16"/>
                <a:gd name="T3" fmla="*/ 12 h 14"/>
                <a:gd name="T4" fmla="*/ 13 w 16"/>
                <a:gd name="T5" fmla="*/ 8 h 14"/>
                <a:gd name="T6" fmla="*/ 5 w 16"/>
                <a:gd name="T7" fmla="*/ 3 h 14"/>
                <a:gd name="T8" fmla="*/ 2 w 16"/>
                <a:gd name="T9" fmla="*/ 7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" h="14">
                  <a:moveTo>
                    <a:pt x="2" y="7"/>
                  </a:moveTo>
                  <a:cubicBezTo>
                    <a:pt x="5" y="9"/>
                    <a:pt x="8" y="10"/>
                    <a:pt x="10" y="12"/>
                  </a:cubicBezTo>
                  <a:cubicBezTo>
                    <a:pt x="13" y="14"/>
                    <a:pt x="16" y="10"/>
                    <a:pt x="13" y="8"/>
                  </a:cubicBezTo>
                  <a:cubicBezTo>
                    <a:pt x="11" y="6"/>
                    <a:pt x="8" y="4"/>
                    <a:pt x="5" y="3"/>
                  </a:cubicBezTo>
                  <a:cubicBezTo>
                    <a:pt x="3" y="0"/>
                    <a:pt x="0" y="5"/>
                    <a:pt x="2" y="7"/>
                  </a:cubicBezTo>
                  <a:close/>
                </a:path>
              </a:pathLst>
            </a:custGeom>
            <a:solidFill>
              <a:srgbClr val="1C1D1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33" name="Freeform 502">
              <a:extLst>
                <a:ext uri="{FF2B5EF4-FFF2-40B4-BE49-F238E27FC236}">
                  <a16:creationId xmlns:a16="http://schemas.microsoft.com/office/drawing/2014/main" id="{11800400-D775-497B-A070-9EF923069D0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181606" y="2782888"/>
              <a:ext cx="1019176" cy="227013"/>
            </a:xfrm>
            <a:custGeom>
              <a:avLst/>
              <a:gdLst>
                <a:gd name="T0" fmla="*/ 1 w 606"/>
                <a:gd name="T1" fmla="*/ 4 h 135"/>
                <a:gd name="T2" fmla="*/ 26 w 606"/>
                <a:gd name="T3" fmla="*/ 13 h 135"/>
                <a:gd name="T4" fmla="*/ 115 w 606"/>
                <a:gd name="T5" fmla="*/ 34 h 135"/>
                <a:gd name="T6" fmla="*/ 270 w 606"/>
                <a:gd name="T7" fmla="*/ 67 h 135"/>
                <a:gd name="T8" fmla="*/ 444 w 606"/>
                <a:gd name="T9" fmla="*/ 104 h 135"/>
                <a:gd name="T10" fmla="*/ 531 w 606"/>
                <a:gd name="T11" fmla="*/ 122 h 135"/>
                <a:gd name="T12" fmla="*/ 602 w 606"/>
                <a:gd name="T13" fmla="*/ 135 h 135"/>
                <a:gd name="T14" fmla="*/ 602 w 606"/>
                <a:gd name="T15" fmla="*/ 129 h 135"/>
                <a:gd name="T16" fmla="*/ 524 w 606"/>
                <a:gd name="T17" fmla="*/ 113 h 135"/>
                <a:gd name="T18" fmla="*/ 437 w 606"/>
                <a:gd name="T19" fmla="*/ 95 h 135"/>
                <a:gd name="T20" fmla="*/ 280 w 606"/>
                <a:gd name="T21" fmla="*/ 61 h 135"/>
                <a:gd name="T22" fmla="*/ 246 w 606"/>
                <a:gd name="T23" fmla="*/ 57 h 135"/>
                <a:gd name="T24" fmla="*/ 208 w 606"/>
                <a:gd name="T25" fmla="*/ 48 h 135"/>
                <a:gd name="T26" fmla="*/ 131 w 606"/>
                <a:gd name="T27" fmla="*/ 31 h 135"/>
                <a:gd name="T28" fmla="*/ 53 w 606"/>
                <a:gd name="T29" fmla="*/ 12 h 135"/>
                <a:gd name="T30" fmla="*/ 3 w 606"/>
                <a:gd name="T31" fmla="*/ 2 h 135"/>
                <a:gd name="T32" fmla="*/ 1 w 606"/>
                <a:gd name="T33" fmla="*/ 4 h 1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606" h="135">
                  <a:moveTo>
                    <a:pt x="1" y="4"/>
                  </a:moveTo>
                  <a:cubicBezTo>
                    <a:pt x="5" y="12"/>
                    <a:pt x="17" y="12"/>
                    <a:pt x="26" y="13"/>
                  </a:cubicBezTo>
                  <a:cubicBezTo>
                    <a:pt x="56" y="19"/>
                    <a:pt x="85" y="27"/>
                    <a:pt x="115" y="34"/>
                  </a:cubicBezTo>
                  <a:cubicBezTo>
                    <a:pt x="167" y="46"/>
                    <a:pt x="218" y="58"/>
                    <a:pt x="270" y="67"/>
                  </a:cubicBezTo>
                  <a:cubicBezTo>
                    <a:pt x="328" y="78"/>
                    <a:pt x="386" y="92"/>
                    <a:pt x="444" y="104"/>
                  </a:cubicBezTo>
                  <a:cubicBezTo>
                    <a:pt x="473" y="110"/>
                    <a:pt x="502" y="116"/>
                    <a:pt x="531" y="122"/>
                  </a:cubicBezTo>
                  <a:cubicBezTo>
                    <a:pt x="554" y="127"/>
                    <a:pt x="578" y="135"/>
                    <a:pt x="602" y="135"/>
                  </a:cubicBezTo>
                  <a:cubicBezTo>
                    <a:pt x="606" y="135"/>
                    <a:pt x="606" y="129"/>
                    <a:pt x="602" y="129"/>
                  </a:cubicBezTo>
                  <a:cubicBezTo>
                    <a:pt x="576" y="128"/>
                    <a:pt x="550" y="119"/>
                    <a:pt x="524" y="113"/>
                  </a:cubicBezTo>
                  <a:cubicBezTo>
                    <a:pt x="495" y="107"/>
                    <a:pt x="466" y="101"/>
                    <a:pt x="437" y="95"/>
                  </a:cubicBezTo>
                  <a:cubicBezTo>
                    <a:pt x="385" y="84"/>
                    <a:pt x="331" y="74"/>
                    <a:pt x="280" y="61"/>
                  </a:cubicBezTo>
                  <a:cubicBezTo>
                    <a:pt x="268" y="59"/>
                    <a:pt x="257" y="58"/>
                    <a:pt x="246" y="57"/>
                  </a:cubicBezTo>
                  <a:cubicBezTo>
                    <a:pt x="233" y="55"/>
                    <a:pt x="221" y="51"/>
                    <a:pt x="208" y="48"/>
                  </a:cubicBezTo>
                  <a:cubicBezTo>
                    <a:pt x="182" y="42"/>
                    <a:pt x="156" y="37"/>
                    <a:pt x="131" y="31"/>
                  </a:cubicBezTo>
                  <a:cubicBezTo>
                    <a:pt x="105" y="24"/>
                    <a:pt x="79" y="18"/>
                    <a:pt x="53" y="12"/>
                  </a:cubicBezTo>
                  <a:cubicBezTo>
                    <a:pt x="41" y="10"/>
                    <a:pt x="10" y="11"/>
                    <a:pt x="3" y="2"/>
                  </a:cubicBezTo>
                  <a:cubicBezTo>
                    <a:pt x="2" y="0"/>
                    <a:pt x="0" y="2"/>
                    <a:pt x="1" y="4"/>
                  </a:cubicBezTo>
                  <a:close/>
                </a:path>
              </a:pathLst>
            </a:custGeom>
            <a:solidFill>
              <a:srgbClr val="1C1D1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34" name="Freeform 503">
              <a:extLst>
                <a:ext uri="{FF2B5EF4-FFF2-40B4-BE49-F238E27FC236}">
                  <a16:creationId xmlns:a16="http://schemas.microsoft.com/office/drawing/2014/main" id="{10CBF9B1-5A7D-46F9-99EE-48B17A849D1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119694" y="2686050"/>
              <a:ext cx="1201740" cy="266700"/>
            </a:xfrm>
            <a:custGeom>
              <a:avLst/>
              <a:gdLst>
                <a:gd name="T0" fmla="*/ 1 w 714"/>
                <a:gd name="T1" fmla="*/ 3 h 159"/>
                <a:gd name="T2" fmla="*/ 22 w 714"/>
                <a:gd name="T3" fmla="*/ 11 h 159"/>
                <a:gd name="T4" fmla="*/ 65 w 714"/>
                <a:gd name="T5" fmla="*/ 19 h 159"/>
                <a:gd name="T6" fmla="*/ 162 w 714"/>
                <a:gd name="T7" fmla="*/ 42 h 159"/>
                <a:gd name="T8" fmla="*/ 260 w 714"/>
                <a:gd name="T9" fmla="*/ 63 h 159"/>
                <a:gd name="T10" fmla="*/ 337 w 714"/>
                <a:gd name="T11" fmla="*/ 94 h 159"/>
                <a:gd name="T12" fmla="*/ 392 w 714"/>
                <a:gd name="T13" fmla="*/ 105 h 159"/>
                <a:gd name="T14" fmla="*/ 409 w 714"/>
                <a:gd name="T15" fmla="*/ 103 h 159"/>
                <a:gd name="T16" fmla="*/ 439 w 714"/>
                <a:gd name="T17" fmla="*/ 101 h 159"/>
                <a:gd name="T18" fmla="*/ 458 w 714"/>
                <a:gd name="T19" fmla="*/ 104 h 159"/>
                <a:gd name="T20" fmla="*/ 515 w 714"/>
                <a:gd name="T21" fmla="*/ 115 h 159"/>
                <a:gd name="T22" fmla="*/ 708 w 714"/>
                <a:gd name="T23" fmla="*/ 158 h 159"/>
                <a:gd name="T24" fmla="*/ 710 w 714"/>
                <a:gd name="T25" fmla="*/ 153 h 159"/>
                <a:gd name="T26" fmla="*/ 524 w 714"/>
                <a:gd name="T27" fmla="*/ 112 h 159"/>
                <a:gd name="T28" fmla="*/ 435 w 714"/>
                <a:gd name="T29" fmla="*/ 94 h 159"/>
                <a:gd name="T30" fmla="*/ 413 w 714"/>
                <a:gd name="T31" fmla="*/ 94 h 159"/>
                <a:gd name="T32" fmla="*/ 384 w 714"/>
                <a:gd name="T33" fmla="*/ 98 h 159"/>
                <a:gd name="T34" fmla="*/ 366 w 714"/>
                <a:gd name="T35" fmla="*/ 94 h 159"/>
                <a:gd name="T36" fmla="*/ 307 w 714"/>
                <a:gd name="T37" fmla="*/ 78 h 159"/>
                <a:gd name="T38" fmla="*/ 279 w 714"/>
                <a:gd name="T39" fmla="*/ 62 h 159"/>
                <a:gd name="T40" fmla="*/ 184 w 714"/>
                <a:gd name="T41" fmla="*/ 43 h 159"/>
                <a:gd name="T42" fmla="*/ 99 w 714"/>
                <a:gd name="T43" fmla="*/ 21 h 159"/>
                <a:gd name="T44" fmla="*/ 52 w 714"/>
                <a:gd name="T45" fmla="*/ 12 h 159"/>
                <a:gd name="T46" fmla="*/ 4 w 714"/>
                <a:gd name="T47" fmla="*/ 1 h 159"/>
                <a:gd name="T48" fmla="*/ 1 w 714"/>
                <a:gd name="T49" fmla="*/ 3 h 1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714" h="159">
                  <a:moveTo>
                    <a:pt x="1" y="3"/>
                  </a:moveTo>
                  <a:cubicBezTo>
                    <a:pt x="8" y="9"/>
                    <a:pt x="15" y="9"/>
                    <a:pt x="22" y="11"/>
                  </a:cubicBezTo>
                  <a:cubicBezTo>
                    <a:pt x="37" y="13"/>
                    <a:pt x="51" y="17"/>
                    <a:pt x="65" y="19"/>
                  </a:cubicBezTo>
                  <a:cubicBezTo>
                    <a:pt x="97" y="25"/>
                    <a:pt x="130" y="33"/>
                    <a:pt x="162" y="42"/>
                  </a:cubicBezTo>
                  <a:cubicBezTo>
                    <a:pt x="194" y="51"/>
                    <a:pt x="227" y="56"/>
                    <a:pt x="260" y="63"/>
                  </a:cubicBezTo>
                  <a:cubicBezTo>
                    <a:pt x="288" y="69"/>
                    <a:pt x="308" y="88"/>
                    <a:pt x="337" y="94"/>
                  </a:cubicBezTo>
                  <a:cubicBezTo>
                    <a:pt x="355" y="98"/>
                    <a:pt x="374" y="103"/>
                    <a:pt x="392" y="105"/>
                  </a:cubicBezTo>
                  <a:cubicBezTo>
                    <a:pt x="400" y="107"/>
                    <a:pt x="402" y="106"/>
                    <a:pt x="409" y="103"/>
                  </a:cubicBezTo>
                  <a:cubicBezTo>
                    <a:pt x="426" y="98"/>
                    <a:pt x="423" y="98"/>
                    <a:pt x="439" y="101"/>
                  </a:cubicBezTo>
                  <a:cubicBezTo>
                    <a:pt x="445" y="102"/>
                    <a:pt x="451" y="103"/>
                    <a:pt x="458" y="104"/>
                  </a:cubicBezTo>
                  <a:cubicBezTo>
                    <a:pt x="477" y="107"/>
                    <a:pt x="496" y="111"/>
                    <a:pt x="515" y="115"/>
                  </a:cubicBezTo>
                  <a:cubicBezTo>
                    <a:pt x="580" y="129"/>
                    <a:pt x="644" y="145"/>
                    <a:pt x="708" y="158"/>
                  </a:cubicBezTo>
                  <a:cubicBezTo>
                    <a:pt x="712" y="159"/>
                    <a:pt x="714" y="154"/>
                    <a:pt x="710" y="153"/>
                  </a:cubicBezTo>
                  <a:cubicBezTo>
                    <a:pt x="648" y="140"/>
                    <a:pt x="586" y="125"/>
                    <a:pt x="524" y="112"/>
                  </a:cubicBezTo>
                  <a:cubicBezTo>
                    <a:pt x="495" y="105"/>
                    <a:pt x="465" y="100"/>
                    <a:pt x="435" y="94"/>
                  </a:cubicBezTo>
                  <a:cubicBezTo>
                    <a:pt x="427" y="93"/>
                    <a:pt x="421" y="93"/>
                    <a:pt x="413" y="94"/>
                  </a:cubicBezTo>
                  <a:cubicBezTo>
                    <a:pt x="404" y="96"/>
                    <a:pt x="395" y="99"/>
                    <a:pt x="384" y="98"/>
                  </a:cubicBezTo>
                  <a:cubicBezTo>
                    <a:pt x="378" y="97"/>
                    <a:pt x="372" y="95"/>
                    <a:pt x="366" y="94"/>
                  </a:cubicBezTo>
                  <a:cubicBezTo>
                    <a:pt x="347" y="90"/>
                    <a:pt x="325" y="89"/>
                    <a:pt x="307" y="78"/>
                  </a:cubicBezTo>
                  <a:cubicBezTo>
                    <a:pt x="298" y="73"/>
                    <a:pt x="290" y="66"/>
                    <a:pt x="279" y="62"/>
                  </a:cubicBezTo>
                  <a:cubicBezTo>
                    <a:pt x="249" y="52"/>
                    <a:pt x="215" y="50"/>
                    <a:pt x="184" y="43"/>
                  </a:cubicBezTo>
                  <a:cubicBezTo>
                    <a:pt x="156" y="36"/>
                    <a:pt x="127" y="28"/>
                    <a:pt x="99" y="21"/>
                  </a:cubicBezTo>
                  <a:cubicBezTo>
                    <a:pt x="83" y="17"/>
                    <a:pt x="68" y="14"/>
                    <a:pt x="52" y="12"/>
                  </a:cubicBezTo>
                  <a:cubicBezTo>
                    <a:pt x="37" y="9"/>
                    <a:pt x="17" y="8"/>
                    <a:pt x="4" y="1"/>
                  </a:cubicBezTo>
                  <a:cubicBezTo>
                    <a:pt x="2" y="0"/>
                    <a:pt x="0" y="2"/>
                    <a:pt x="1" y="3"/>
                  </a:cubicBezTo>
                  <a:close/>
                </a:path>
              </a:pathLst>
            </a:custGeom>
            <a:solidFill>
              <a:srgbClr val="1C1D1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35" name="Freeform 504">
              <a:extLst>
                <a:ext uri="{FF2B5EF4-FFF2-40B4-BE49-F238E27FC236}">
                  <a16:creationId xmlns:a16="http://schemas.microsoft.com/office/drawing/2014/main" id="{8E834B74-DD5E-418D-B3D0-337194F030E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773871" y="4038600"/>
              <a:ext cx="39689" cy="68263"/>
            </a:xfrm>
            <a:custGeom>
              <a:avLst/>
              <a:gdLst>
                <a:gd name="T0" fmla="*/ 18 w 24"/>
                <a:gd name="T1" fmla="*/ 3 h 41"/>
                <a:gd name="T2" fmla="*/ 2 w 24"/>
                <a:gd name="T3" fmla="*/ 33 h 41"/>
                <a:gd name="T4" fmla="*/ 8 w 24"/>
                <a:gd name="T5" fmla="*/ 38 h 41"/>
                <a:gd name="T6" fmla="*/ 23 w 24"/>
                <a:gd name="T7" fmla="*/ 4 h 41"/>
                <a:gd name="T8" fmla="*/ 18 w 24"/>
                <a:gd name="T9" fmla="*/ 3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" h="41">
                  <a:moveTo>
                    <a:pt x="18" y="3"/>
                  </a:moveTo>
                  <a:cubicBezTo>
                    <a:pt x="15" y="14"/>
                    <a:pt x="9" y="23"/>
                    <a:pt x="2" y="33"/>
                  </a:cubicBezTo>
                  <a:cubicBezTo>
                    <a:pt x="0" y="37"/>
                    <a:pt x="5" y="41"/>
                    <a:pt x="8" y="38"/>
                  </a:cubicBezTo>
                  <a:cubicBezTo>
                    <a:pt x="16" y="28"/>
                    <a:pt x="21" y="16"/>
                    <a:pt x="23" y="4"/>
                  </a:cubicBezTo>
                  <a:cubicBezTo>
                    <a:pt x="24" y="1"/>
                    <a:pt x="19" y="0"/>
                    <a:pt x="18" y="3"/>
                  </a:cubicBezTo>
                  <a:close/>
                </a:path>
              </a:pathLst>
            </a:custGeom>
            <a:solidFill>
              <a:srgbClr val="1C1D1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36" name="Freeform 505">
              <a:extLst>
                <a:ext uri="{FF2B5EF4-FFF2-40B4-BE49-F238E27FC236}">
                  <a16:creationId xmlns:a16="http://schemas.microsoft.com/office/drawing/2014/main" id="{C16D978E-42A7-413B-8EB4-EB00A4CDA00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786571" y="4110037"/>
              <a:ext cx="14288" cy="20638"/>
            </a:xfrm>
            <a:custGeom>
              <a:avLst/>
              <a:gdLst>
                <a:gd name="T0" fmla="*/ 4 w 8"/>
                <a:gd name="T1" fmla="*/ 3 h 12"/>
                <a:gd name="T2" fmla="*/ 1 w 8"/>
                <a:gd name="T3" fmla="*/ 9 h 12"/>
                <a:gd name="T4" fmla="*/ 3 w 8"/>
                <a:gd name="T5" fmla="*/ 11 h 12"/>
                <a:gd name="T6" fmla="*/ 7 w 8"/>
                <a:gd name="T7" fmla="*/ 4 h 12"/>
                <a:gd name="T8" fmla="*/ 4 w 8"/>
                <a:gd name="T9" fmla="*/ 3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12">
                  <a:moveTo>
                    <a:pt x="4" y="3"/>
                  </a:moveTo>
                  <a:cubicBezTo>
                    <a:pt x="3" y="5"/>
                    <a:pt x="2" y="7"/>
                    <a:pt x="1" y="9"/>
                  </a:cubicBezTo>
                  <a:cubicBezTo>
                    <a:pt x="0" y="10"/>
                    <a:pt x="2" y="12"/>
                    <a:pt x="3" y="11"/>
                  </a:cubicBezTo>
                  <a:cubicBezTo>
                    <a:pt x="5" y="9"/>
                    <a:pt x="7" y="6"/>
                    <a:pt x="7" y="4"/>
                  </a:cubicBezTo>
                  <a:cubicBezTo>
                    <a:pt x="8" y="1"/>
                    <a:pt x="4" y="0"/>
                    <a:pt x="4" y="3"/>
                  </a:cubicBezTo>
                  <a:close/>
                </a:path>
              </a:pathLst>
            </a:custGeom>
            <a:solidFill>
              <a:srgbClr val="1C1D1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37" name="Freeform 506">
              <a:extLst>
                <a:ext uri="{FF2B5EF4-FFF2-40B4-BE49-F238E27FC236}">
                  <a16:creationId xmlns:a16="http://schemas.microsoft.com/office/drawing/2014/main" id="{1B047998-6ACB-4421-A382-4A406335085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372233" y="3014662"/>
              <a:ext cx="279400" cy="252413"/>
            </a:xfrm>
            <a:custGeom>
              <a:avLst/>
              <a:gdLst>
                <a:gd name="T0" fmla="*/ 3 w 166"/>
                <a:gd name="T1" fmla="*/ 122 h 150"/>
                <a:gd name="T2" fmla="*/ 16 w 166"/>
                <a:gd name="T3" fmla="*/ 48 h 150"/>
                <a:gd name="T4" fmla="*/ 53 w 166"/>
                <a:gd name="T5" fmla="*/ 15 h 150"/>
                <a:gd name="T6" fmla="*/ 90 w 166"/>
                <a:gd name="T7" fmla="*/ 17 h 150"/>
                <a:gd name="T8" fmla="*/ 125 w 166"/>
                <a:gd name="T9" fmla="*/ 31 h 150"/>
                <a:gd name="T10" fmla="*/ 150 w 166"/>
                <a:gd name="T11" fmla="*/ 71 h 150"/>
                <a:gd name="T12" fmla="*/ 141 w 166"/>
                <a:gd name="T13" fmla="*/ 144 h 150"/>
                <a:gd name="T14" fmla="*/ 149 w 166"/>
                <a:gd name="T15" fmla="*/ 146 h 150"/>
                <a:gd name="T16" fmla="*/ 158 w 166"/>
                <a:gd name="T17" fmla="*/ 50 h 150"/>
                <a:gd name="T18" fmla="*/ 98 w 166"/>
                <a:gd name="T19" fmla="*/ 9 h 150"/>
                <a:gd name="T20" fmla="*/ 18 w 166"/>
                <a:gd name="T21" fmla="*/ 22 h 150"/>
                <a:gd name="T22" fmla="*/ 8 w 166"/>
                <a:gd name="T23" fmla="*/ 61 h 150"/>
                <a:gd name="T24" fmla="*/ 0 w 166"/>
                <a:gd name="T25" fmla="*/ 121 h 150"/>
                <a:gd name="T26" fmla="*/ 3 w 166"/>
                <a:gd name="T27" fmla="*/ 122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66" h="150">
                  <a:moveTo>
                    <a:pt x="3" y="122"/>
                  </a:moveTo>
                  <a:cubicBezTo>
                    <a:pt x="9" y="98"/>
                    <a:pt x="11" y="72"/>
                    <a:pt x="16" y="48"/>
                  </a:cubicBezTo>
                  <a:cubicBezTo>
                    <a:pt x="20" y="28"/>
                    <a:pt x="32" y="17"/>
                    <a:pt x="53" y="15"/>
                  </a:cubicBezTo>
                  <a:cubicBezTo>
                    <a:pt x="65" y="14"/>
                    <a:pt x="77" y="15"/>
                    <a:pt x="90" y="17"/>
                  </a:cubicBezTo>
                  <a:cubicBezTo>
                    <a:pt x="103" y="19"/>
                    <a:pt x="114" y="24"/>
                    <a:pt x="125" y="31"/>
                  </a:cubicBezTo>
                  <a:cubicBezTo>
                    <a:pt x="142" y="41"/>
                    <a:pt x="151" y="50"/>
                    <a:pt x="150" y="71"/>
                  </a:cubicBezTo>
                  <a:cubicBezTo>
                    <a:pt x="149" y="96"/>
                    <a:pt x="142" y="120"/>
                    <a:pt x="141" y="144"/>
                  </a:cubicBezTo>
                  <a:cubicBezTo>
                    <a:pt x="141" y="149"/>
                    <a:pt x="148" y="150"/>
                    <a:pt x="149" y="146"/>
                  </a:cubicBezTo>
                  <a:cubicBezTo>
                    <a:pt x="155" y="118"/>
                    <a:pt x="166" y="78"/>
                    <a:pt x="158" y="50"/>
                  </a:cubicBezTo>
                  <a:cubicBezTo>
                    <a:pt x="152" y="28"/>
                    <a:pt x="119" y="14"/>
                    <a:pt x="98" y="9"/>
                  </a:cubicBezTo>
                  <a:cubicBezTo>
                    <a:pt x="77" y="5"/>
                    <a:pt x="34" y="0"/>
                    <a:pt x="18" y="22"/>
                  </a:cubicBezTo>
                  <a:cubicBezTo>
                    <a:pt x="11" y="32"/>
                    <a:pt x="11" y="50"/>
                    <a:pt x="8" y="61"/>
                  </a:cubicBezTo>
                  <a:cubicBezTo>
                    <a:pt x="4" y="81"/>
                    <a:pt x="3" y="101"/>
                    <a:pt x="0" y="121"/>
                  </a:cubicBezTo>
                  <a:cubicBezTo>
                    <a:pt x="0" y="122"/>
                    <a:pt x="2" y="123"/>
                    <a:pt x="3" y="122"/>
                  </a:cubicBezTo>
                  <a:close/>
                </a:path>
              </a:pathLst>
            </a:custGeom>
            <a:solidFill>
              <a:srgbClr val="1C1D1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38" name="Freeform 507">
              <a:extLst>
                <a:ext uri="{FF2B5EF4-FFF2-40B4-BE49-F238E27FC236}">
                  <a16:creationId xmlns:a16="http://schemas.microsoft.com/office/drawing/2014/main" id="{4BC5BAA8-5301-41B3-9AAF-C2F95A9758B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56382" y="3255963"/>
              <a:ext cx="255588" cy="290513"/>
            </a:xfrm>
            <a:custGeom>
              <a:avLst/>
              <a:gdLst>
                <a:gd name="T0" fmla="*/ 33 w 152"/>
                <a:gd name="T1" fmla="*/ 7 h 172"/>
                <a:gd name="T2" fmla="*/ 99 w 152"/>
                <a:gd name="T3" fmla="*/ 23 h 172"/>
                <a:gd name="T4" fmla="*/ 132 w 152"/>
                <a:gd name="T5" fmla="*/ 41 h 172"/>
                <a:gd name="T6" fmla="*/ 136 w 152"/>
                <a:gd name="T7" fmla="*/ 84 h 172"/>
                <a:gd name="T8" fmla="*/ 126 w 152"/>
                <a:gd name="T9" fmla="*/ 127 h 172"/>
                <a:gd name="T10" fmla="*/ 91 w 152"/>
                <a:gd name="T11" fmla="*/ 160 h 172"/>
                <a:gd name="T12" fmla="*/ 6 w 152"/>
                <a:gd name="T13" fmla="*/ 158 h 172"/>
                <a:gd name="T14" fmla="*/ 6 w 152"/>
                <a:gd name="T15" fmla="*/ 167 h 172"/>
                <a:gd name="T16" fmla="*/ 63 w 152"/>
                <a:gd name="T17" fmla="*/ 170 h 172"/>
                <a:gd name="T18" fmla="*/ 107 w 152"/>
                <a:gd name="T19" fmla="*/ 167 h 172"/>
                <a:gd name="T20" fmla="*/ 145 w 152"/>
                <a:gd name="T21" fmla="*/ 95 h 172"/>
                <a:gd name="T22" fmla="*/ 133 w 152"/>
                <a:gd name="T23" fmla="*/ 25 h 172"/>
                <a:gd name="T24" fmla="*/ 97 w 152"/>
                <a:gd name="T25" fmla="*/ 14 h 172"/>
                <a:gd name="T26" fmla="*/ 35 w 152"/>
                <a:gd name="T27" fmla="*/ 1 h 172"/>
                <a:gd name="T28" fmla="*/ 33 w 152"/>
                <a:gd name="T29" fmla="*/ 7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52" h="172">
                  <a:moveTo>
                    <a:pt x="33" y="7"/>
                  </a:moveTo>
                  <a:cubicBezTo>
                    <a:pt x="54" y="17"/>
                    <a:pt x="77" y="19"/>
                    <a:pt x="99" y="23"/>
                  </a:cubicBezTo>
                  <a:cubicBezTo>
                    <a:pt x="113" y="26"/>
                    <a:pt x="126" y="28"/>
                    <a:pt x="132" y="41"/>
                  </a:cubicBezTo>
                  <a:cubicBezTo>
                    <a:pt x="138" y="53"/>
                    <a:pt x="137" y="70"/>
                    <a:pt x="136" y="84"/>
                  </a:cubicBezTo>
                  <a:cubicBezTo>
                    <a:pt x="136" y="99"/>
                    <a:pt x="131" y="112"/>
                    <a:pt x="126" y="127"/>
                  </a:cubicBezTo>
                  <a:cubicBezTo>
                    <a:pt x="119" y="146"/>
                    <a:pt x="113" y="157"/>
                    <a:pt x="91" y="160"/>
                  </a:cubicBezTo>
                  <a:cubicBezTo>
                    <a:pt x="63" y="164"/>
                    <a:pt x="34" y="156"/>
                    <a:pt x="6" y="158"/>
                  </a:cubicBezTo>
                  <a:cubicBezTo>
                    <a:pt x="0" y="158"/>
                    <a:pt x="1" y="166"/>
                    <a:pt x="6" y="167"/>
                  </a:cubicBezTo>
                  <a:cubicBezTo>
                    <a:pt x="25" y="169"/>
                    <a:pt x="44" y="169"/>
                    <a:pt x="63" y="170"/>
                  </a:cubicBezTo>
                  <a:cubicBezTo>
                    <a:pt x="78" y="171"/>
                    <a:pt x="93" y="172"/>
                    <a:pt x="107" y="167"/>
                  </a:cubicBezTo>
                  <a:cubicBezTo>
                    <a:pt x="132" y="158"/>
                    <a:pt x="142" y="119"/>
                    <a:pt x="145" y="95"/>
                  </a:cubicBezTo>
                  <a:cubicBezTo>
                    <a:pt x="148" y="75"/>
                    <a:pt x="152" y="39"/>
                    <a:pt x="133" y="25"/>
                  </a:cubicBezTo>
                  <a:cubicBezTo>
                    <a:pt x="122" y="18"/>
                    <a:pt x="109" y="16"/>
                    <a:pt x="97" y="14"/>
                  </a:cubicBezTo>
                  <a:cubicBezTo>
                    <a:pt x="76" y="10"/>
                    <a:pt x="55" y="7"/>
                    <a:pt x="35" y="1"/>
                  </a:cubicBezTo>
                  <a:cubicBezTo>
                    <a:pt x="32" y="0"/>
                    <a:pt x="30" y="5"/>
                    <a:pt x="33" y="7"/>
                  </a:cubicBezTo>
                  <a:close/>
                </a:path>
              </a:pathLst>
            </a:custGeom>
            <a:solidFill>
              <a:srgbClr val="1C1D1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39" name="Freeform 508">
              <a:extLst>
                <a:ext uri="{FF2B5EF4-FFF2-40B4-BE49-F238E27FC236}">
                  <a16:creationId xmlns:a16="http://schemas.microsoft.com/office/drawing/2014/main" id="{32948165-810D-405B-AF67-CD1AEED6506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113469" y="3176588"/>
              <a:ext cx="265113" cy="296863"/>
            </a:xfrm>
            <a:custGeom>
              <a:avLst/>
              <a:gdLst>
                <a:gd name="T0" fmla="*/ 156 w 158"/>
                <a:gd name="T1" fmla="*/ 24 h 177"/>
                <a:gd name="T2" fmla="*/ 61 w 158"/>
                <a:gd name="T3" fmla="*/ 0 h 177"/>
                <a:gd name="T4" fmla="*/ 13 w 158"/>
                <a:gd name="T5" fmla="*/ 57 h 177"/>
                <a:gd name="T6" fmla="*/ 2 w 158"/>
                <a:gd name="T7" fmla="*/ 107 h 177"/>
                <a:gd name="T8" fmla="*/ 10 w 158"/>
                <a:gd name="T9" fmla="*/ 137 h 177"/>
                <a:gd name="T10" fmla="*/ 49 w 158"/>
                <a:gd name="T11" fmla="*/ 158 h 177"/>
                <a:gd name="T12" fmla="*/ 105 w 158"/>
                <a:gd name="T13" fmla="*/ 176 h 177"/>
                <a:gd name="T14" fmla="*/ 108 w 158"/>
                <a:gd name="T15" fmla="*/ 171 h 177"/>
                <a:gd name="T16" fmla="*/ 32 w 158"/>
                <a:gd name="T17" fmla="*/ 143 h 177"/>
                <a:gd name="T18" fmla="*/ 11 w 158"/>
                <a:gd name="T19" fmla="*/ 121 h 177"/>
                <a:gd name="T20" fmla="*/ 13 w 158"/>
                <a:gd name="T21" fmla="*/ 98 h 177"/>
                <a:gd name="T22" fmla="*/ 19 w 158"/>
                <a:gd name="T23" fmla="*/ 65 h 177"/>
                <a:gd name="T24" fmla="*/ 34 w 158"/>
                <a:gd name="T25" fmla="*/ 25 h 177"/>
                <a:gd name="T26" fmla="*/ 79 w 158"/>
                <a:gd name="T27" fmla="*/ 11 h 177"/>
                <a:gd name="T28" fmla="*/ 122 w 158"/>
                <a:gd name="T29" fmla="*/ 21 h 177"/>
                <a:gd name="T30" fmla="*/ 155 w 158"/>
                <a:gd name="T31" fmla="*/ 29 h 177"/>
                <a:gd name="T32" fmla="*/ 156 w 158"/>
                <a:gd name="T33" fmla="*/ 24 h 1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8" h="177">
                  <a:moveTo>
                    <a:pt x="156" y="24"/>
                  </a:moveTo>
                  <a:cubicBezTo>
                    <a:pt x="125" y="16"/>
                    <a:pt x="93" y="0"/>
                    <a:pt x="61" y="0"/>
                  </a:cubicBezTo>
                  <a:cubicBezTo>
                    <a:pt x="30" y="0"/>
                    <a:pt x="19" y="33"/>
                    <a:pt x="13" y="57"/>
                  </a:cubicBezTo>
                  <a:cubicBezTo>
                    <a:pt x="9" y="74"/>
                    <a:pt x="6" y="90"/>
                    <a:pt x="2" y="107"/>
                  </a:cubicBezTo>
                  <a:cubicBezTo>
                    <a:pt x="0" y="119"/>
                    <a:pt x="1" y="128"/>
                    <a:pt x="10" y="137"/>
                  </a:cubicBezTo>
                  <a:cubicBezTo>
                    <a:pt x="21" y="148"/>
                    <a:pt x="35" y="153"/>
                    <a:pt x="49" y="158"/>
                  </a:cubicBezTo>
                  <a:cubicBezTo>
                    <a:pt x="67" y="165"/>
                    <a:pt x="86" y="172"/>
                    <a:pt x="105" y="176"/>
                  </a:cubicBezTo>
                  <a:cubicBezTo>
                    <a:pt x="108" y="177"/>
                    <a:pt x="111" y="173"/>
                    <a:pt x="108" y="171"/>
                  </a:cubicBezTo>
                  <a:cubicBezTo>
                    <a:pt x="84" y="159"/>
                    <a:pt x="56" y="155"/>
                    <a:pt x="32" y="143"/>
                  </a:cubicBezTo>
                  <a:cubicBezTo>
                    <a:pt x="22" y="137"/>
                    <a:pt x="15" y="133"/>
                    <a:pt x="11" y="121"/>
                  </a:cubicBezTo>
                  <a:cubicBezTo>
                    <a:pt x="8" y="112"/>
                    <a:pt x="11" y="107"/>
                    <a:pt x="13" y="98"/>
                  </a:cubicBezTo>
                  <a:cubicBezTo>
                    <a:pt x="16" y="87"/>
                    <a:pt x="17" y="76"/>
                    <a:pt x="19" y="65"/>
                  </a:cubicBezTo>
                  <a:cubicBezTo>
                    <a:pt x="22" y="51"/>
                    <a:pt x="26" y="37"/>
                    <a:pt x="34" y="25"/>
                  </a:cubicBezTo>
                  <a:cubicBezTo>
                    <a:pt x="45" y="7"/>
                    <a:pt x="59" y="7"/>
                    <a:pt x="79" y="11"/>
                  </a:cubicBezTo>
                  <a:cubicBezTo>
                    <a:pt x="93" y="14"/>
                    <a:pt x="108" y="18"/>
                    <a:pt x="122" y="21"/>
                  </a:cubicBezTo>
                  <a:cubicBezTo>
                    <a:pt x="133" y="24"/>
                    <a:pt x="144" y="29"/>
                    <a:pt x="155" y="29"/>
                  </a:cubicBezTo>
                  <a:cubicBezTo>
                    <a:pt x="158" y="29"/>
                    <a:pt x="158" y="25"/>
                    <a:pt x="156" y="24"/>
                  </a:cubicBezTo>
                  <a:close/>
                </a:path>
              </a:pathLst>
            </a:custGeom>
            <a:solidFill>
              <a:srgbClr val="1C1D1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40" name="Freeform 509">
              <a:extLst>
                <a:ext uri="{FF2B5EF4-FFF2-40B4-BE49-F238E27FC236}">
                  <a16:creationId xmlns:a16="http://schemas.microsoft.com/office/drawing/2014/main" id="{D6474AF1-4425-4FA3-A249-9A1F41100F7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267456" y="3459162"/>
              <a:ext cx="301626" cy="236538"/>
            </a:xfrm>
            <a:custGeom>
              <a:avLst/>
              <a:gdLst>
                <a:gd name="T0" fmla="*/ 6 w 179"/>
                <a:gd name="T1" fmla="*/ 4 h 141"/>
                <a:gd name="T2" fmla="*/ 9 w 179"/>
                <a:gd name="T3" fmla="*/ 73 h 141"/>
                <a:gd name="T4" fmla="*/ 13 w 179"/>
                <a:gd name="T5" fmla="*/ 106 h 141"/>
                <a:gd name="T6" fmla="*/ 84 w 179"/>
                <a:gd name="T7" fmla="*/ 131 h 141"/>
                <a:gd name="T8" fmla="*/ 149 w 179"/>
                <a:gd name="T9" fmla="*/ 122 h 141"/>
                <a:gd name="T10" fmla="*/ 164 w 179"/>
                <a:gd name="T11" fmla="*/ 84 h 141"/>
                <a:gd name="T12" fmla="*/ 178 w 179"/>
                <a:gd name="T13" fmla="*/ 39 h 141"/>
                <a:gd name="T14" fmla="*/ 170 w 179"/>
                <a:gd name="T15" fmla="*/ 37 h 141"/>
                <a:gd name="T16" fmla="*/ 156 w 179"/>
                <a:gd name="T17" fmla="*/ 81 h 141"/>
                <a:gd name="T18" fmla="*/ 132 w 179"/>
                <a:gd name="T19" fmla="*/ 124 h 141"/>
                <a:gd name="T20" fmla="*/ 87 w 179"/>
                <a:gd name="T21" fmla="*/ 123 h 141"/>
                <a:gd name="T22" fmla="*/ 39 w 179"/>
                <a:gd name="T23" fmla="*/ 114 h 141"/>
                <a:gd name="T24" fmla="*/ 24 w 179"/>
                <a:gd name="T25" fmla="*/ 27 h 141"/>
                <a:gd name="T26" fmla="*/ 6 w 179"/>
                <a:gd name="T27" fmla="*/ 0 h 141"/>
                <a:gd name="T28" fmla="*/ 6 w 179"/>
                <a:gd name="T29" fmla="*/ 4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79" h="141">
                  <a:moveTo>
                    <a:pt x="6" y="4"/>
                  </a:moveTo>
                  <a:cubicBezTo>
                    <a:pt x="29" y="8"/>
                    <a:pt x="11" y="60"/>
                    <a:pt x="9" y="73"/>
                  </a:cubicBezTo>
                  <a:cubicBezTo>
                    <a:pt x="8" y="84"/>
                    <a:pt x="8" y="96"/>
                    <a:pt x="13" y="106"/>
                  </a:cubicBezTo>
                  <a:cubicBezTo>
                    <a:pt x="26" y="127"/>
                    <a:pt x="62" y="129"/>
                    <a:pt x="84" y="131"/>
                  </a:cubicBezTo>
                  <a:cubicBezTo>
                    <a:pt x="103" y="133"/>
                    <a:pt x="135" y="141"/>
                    <a:pt x="149" y="122"/>
                  </a:cubicBezTo>
                  <a:cubicBezTo>
                    <a:pt x="157" y="112"/>
                    <a:pt x="160" y="96"/>
                    <a:pt x="164" y="84"/>
                  </a:cubicBezTo>
                  <a:cubicBezTo>
                    <a:pt x="168" y="69"/>
                    <a:pt x="172" y="54"/>
                    <a:pt x="178" y="39"/>
                  </a:cubicBezTo>
                  <a:cubicBezTo>
                    <a:pt x="179" y="34"/>
                    <a:pt x="171" y="32"/>
                    <a:pt x="170" y="37"/>
                  </a:cubicBezTo>
                  <a:cubicBezTo>
                    <a:pt x="165" y="51"/>
                    <a:pt x="161" y="66"/>
                    <a:pt x="156" y="81"/>
                  </a:cubicBezTo>
                  <a:cubicBezTo>
                    <a:pt x="152" y="96"/>
                    <a:pt x="148" y="117"/>
                    <a:pt x="132" y="124"/>
                  </a:cubicBezTo>
                  <a:cubicBezTo>
                    <a:pt x="121" y="129"/>
                    <a:pt x="98" y="124"/>
                    <a:pt x="87" y="123"/>
                  </a:cubicBezTo>
                  <a:cubicBezTo>
                    <a:pt x="71" y="121"/>
                    <a:pt x="54" y="119"/>
                    <a:pt x="39" y="114"/>
                  </a:cubicBezTo>
                  <a:cubicBezTo>
                    <a:pt x="0" y="100"/>
                    <a:pt x="24" y="56"/>
                    <a:pt x="24" y="27"/>
                  </a:cubicBezTo>
                  <a:cubicBezTo>
                    <a:pt x="24" y="14"/>
                    <a:pt x="22" y="0"/>
                    <a:pt x="6" y="0"/>
                  </a:cubicBezTo>
                  <a:cubicBezTo>
                    <a:pt x="4" y="0"/>
                    <a:pt x="3" y="4"/>
                    <a:pt x="6" y="4"/>
                  </a:cubicBezTo>
                  <a:close/>
                </a:path>
              </a:pathLst>
            </a:custGeom>
            <a:solidFill>
              <a:srgbClr val="1C1D1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41" name="Freeform 510">
              <a:extLst>
                <a:ext uri="{FF2B5EF4-FFF2-40B4-BE49-F238E27FC236}">
                  <a16:creationId xmlns:a16="http://schemas.microsoft.com/office/drawing/2014/main" id="{84ED909F-D671-48DA-9A25-C5C74D4A7FC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54795" y="3305175"/>
              <a:ext cx="201613" cy="193675"/>
            </a:xfrm>
            <a:custGeom>
              <a:avLst/>
              <a:gdLst>
                <a:gd name="T0" fmla="*/ 82 w 120"/>
                <a:gd name="T1" fmla="*/ 27 h 115"/>
                <a:gd name="T2" fmla="*/ 22 w 120"/>
                <a:gd name="T3" fmla="*/ 44 h 115"/>
                <a:gd name="T4" fmla="*/ 41 w 120"/>
                <a:gd name="T5" fmla="*/ 105 h 115"/>
                <a:gd name="T6" fmla="*/ 104 w 120"/>
                <a:gd name="T7" fmla="*/ 80 h 115"/>
                <a:gd name="T8" fmla="*/ 80 w 120"/>
                <a:gd name="T9" fmla="*/ 25 h 115"/>
                <a:gd name="T10" fmla="*/ 78 w 120"/>
                <a:gd name="T11" fmla="*/ 28 h 115"/>
                <a:gd name="T12" fmla="*/ 97 w 120"/>
                <a:gd name="T13" fmla="*/ 42 h 115"/>
                <a:gd name="T14" fmla="*/ 96 w 120"/>
                <a:gd name="T15" fmla="*/ 78 h 115"/>
                <a:gd name="T16" fmla="*/ 44 w 120"/>
                <a:gd name="T17" fmla="*/ 97 h 115"/>
                <a:gd name="T18" fmla="*/ 79 w 120"/>
                <a:gd name="T19" fmla="*/ 30 h 115"/>
                <a:gd name="T20" fmla="*/ 82 w 120"/>
                <a:gd name="T21" fmla="*/ 27 h 1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20" h="115">
                  <a:moveTo>
                    <a:pt x="82" y="27"/>
                  </a:moveTo>
                  <a:cubicBezTo>
                    <a:pt x="61" y="9"/>
                    <a:pt x="33" y="21"/>
                    <a:pt x="22" y="44"/>
                  </a:cubicBezTo>
                  <a:cubicBezTo>
                    <a:pt x="12" y="64"/>
                    <a:pt x="19" y="95"/>
                    <a:pt x="41" y="105"/>
                  </a:cubicBezTo>
                  <a:cubicBezTo>
                    <a:pt x="64" y="115"/>
                    <a:pt x="92" y="100"/>
                    <a:pt x="104" y="80"/>
                  </a:cubicBezTo>
                  <a:cubicBezTo>
                    <a:pt x="120" y="54"/>
                    <a:pt x="105" y="35"/>
                    <a:pt x="80" y="25"/>
                  </a:cubicBezTo>
                  <a:cubicBezTo>
                    <a:pt x="78" y="24"/>
                    <a:pt x="76" y="27"/>
                    <a:pt x="78" y="28"/>
                  </a:cubicBezTo>
                  <a:cubicBezTo>
                    <a:pt x="84" y="33"/>
                    <a:pt x="91" y="37"/>
                    <a:pt x="97" y="42"/>
                  </a:cubicBezTo>
                  <a:cubicBezTo>
                    <a:pt x="107" y="53"/>
                    <a:pt x="103" y="67"/>
                    <a:pt x="96" y="78"/>
                  </a:cubicBezTo>
                  <a:cubicBezTo>
                    <a:pt x="85" y="92"/>
                    <a:pt x="62" y="105"/>
                    <a:pt x="44" y="97"/>
                  </a:cubicBezTo>
                  <a:cubicBezTo>
                    <a:pt x="0" y="79"/>
                    <a:pt x="37" y="0"/>
                    <a:pt x="79" y="30"/>
                  </a:cubicBezTo>
                  <a:cubicBezTo>
                    <a:pt x="81" y="32"/>
                    <a:pt x="84" y="29"/>
                    <a:pt x="82" y="27"/>
                  </a:cubicBezTo>
                  <a:close/>
                </a:path>
              </a:pathLst>
            </a:custGeom>
            <a:solidFill>
              <a:srgbClr val="1C1D1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42" name="Freeform 511">
              <a:extLst>
                <a:ext uri="{FF2B5EF4-FFF2-40B4-BE49-F238E27FC236}">
                  <a16:creationId xmlns:a16="http://schemas.microsoft.com/office/drawing/2014/main" id="{56AE586A-E239-4F76-A3C6-5D4A5BE183A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437322" y="3109912"/>
              <a:ext cx="142875" cy="125413"/>
            </a:xfrm>
            <a:custGeom>
              <a:avLst/>
              <a:gdLst>
                <a:gd name="T0" fmla="*/ 54 w 85"/>
                <a:gd name="T1" fmla="*/ 8 h 74"/>
                <a:gd name="T2" fmla="*/ 7 w 85"/>
                <a:gd name="T3" fmla="*/ 25 h 74"/>
                <a:gd name="T4" fmla="*/ 23 w 85"/>
                <a:gd name="T5" fmla="*/ 67 h 74"/>
                <a:gd name="T6" fmla="*/ 69 w 85"/>
                <a:gd name="T7" fmla="*/ 58 h 74"/>
                <a:gd name="T8" fmla="*/ 60 w 85"/>
                <a:gd name="T9" fmla="*/ 4 h 74"/>
                <a:gd name="T10" fmla="*/ 56 w 85"/>
                <a:gd name="T11" fmla="*/ 9 h 74"/>
                <a:gd name="T12" fmla="*/ 69 w 85"/>
                <a:gd name="T13" fmla="*/ 32 h 74"/>
                <a:gd name="T14" fmla="*/ 61 w 85"/>
                <a:gd name="T15" fmla="*/ 55 h 74"/>
                <a:gd name="T16" fmla="*/ 27 w 85"/>
                <a:gd name="T17" fmla="*/ 61 h 74"/>
                <a:gd name="T18" fmla="*/ 10 w 85"/>
                <a:gd name="T19" fmla="*/ 31 h 74"/>
                <a:gd name="T20" fmla="*/ 53 w 85"/>
                <a:gd name="T21" fmla="*/ 10 h 74"/>
                <a:gd name="T22" fmla="*/ 54 w 85"/>
                <a:gd name="T23" fmla="*/ 8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85" h="74">
                  <a:moveTo>
                    <a:pt x="54" y="8"/>
                  </a:moveTo>
                  <a:cubicBezTo>
                    <a:pt x="37" y="0"/>
                    <a:pt x="15" y="7"/>
                    <a:pt x="7" y="25"/>
                  </a:cubicBezTo>
                  <a:cubicBezTo>
                    <a:pt x="0" y="41"/>
                    <a:pt x="8" y="59"/>
                    <a:pt x="23" y="67"/>
                  </a:cubicBezTo>
                  <a:cubicBezTo>
                    <a:pt x="37" y="74"/>
                    <a:pt x="58" y="71"/>
                    <a:pt x="69" y="58"/>
                  </a:cubicBezTo>
                  <a:cubicBezTo>
                    <a:pt x="85" y="41"/>
                    <a:pt x="78" y="16"/>
                    <a:pt x="60" y="4"/>
                  </a:cubicBezTo>
                  <a:cubicBezTo>
                    <a:pt x="56" y="1"/>
                    <a:pt x="52" y="6"/>
                    <a:pt x="56" y="9"/>
                  </a:cubicBezTo>
                  <a:cubicBezTo>
                    <a:pt x="62" y="16"/>
                    <a:pt x="68" y="22"/>
                    <a:pt x="69" y="32"/>
                  </a:cubicBezTo>
                  <a:cubicBezTo>
                    <a:pt x="70" y="40"/>
                    <a:pt x="68" y="49"/>
                    <a:pt x="61" y="55"/>
                  </a:cubicBezTo>
                  <a:cubicBezTo>
                    <a:pt x="52" y="63"/>
                    <a:pt x="37" y="65"/>
                    <a:pt x="27" y="61"/>
                  </a:cubicBezTo>
                  <a:cubicBezTo>
                    <a:pt x="15" y="56"/>
                    <a:pt x="8" y="43"/>
                    <a:pt x="10" y="31"/>
                  </a:cubicBezTo>
                  <a:cubicBezTo>
                    <a:pt x="14" y="12"/>
                    <a:pt x="37" y="4"/>
                    <a:pt x="53" y="10"/>
                  </a:cubicBezTo>
                  <a:cubicBezTo>
                    <a:pt x="55" y="11"/>
                    <a:pt x="55" y="9"/>
                    <a:pt x="54" y="8"/>
                  </a:cubicBezTo>
                  <a:close/>
                </a:path>
              </a:pathLst>
            </a:custGeom>
            <a:solidFill>
              <a:srgbClr val="1C1D1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43" name="Freeform 512">
              <a:extLst>
                <a:ext uri="{FF2B5EF4-FFF2-40B4-BE49-F238E27FC236}">
                  <a16:creationId xmlns:a16="http://schemas.microsoft.com/office/drawing/2014/main" id="{30331210-DD8A-44AC-98B0-683AA6D879E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176971" y="3240087"/>
              <a:ext cx="163514" cy="153988"/>
            </a:xfrm>
            <a:custGeom>
              <a:avLst/>
              <a:gdLst>
                <a:gd name="T0" fmla="*/ 69 w 97"/>
                <a:gd name="T1" fmla="*/ 12 h 92"/>
                <a:gd name="T2" fmla="*/ 11 w 97"/>
                <a:gd name="T3" fmla="*/ 24 h 92"/>
                <a:gd name="T4" fmla="*/ 21 w 97"/>
                <a:gd name="T5" fmla="*/ 78 h 92"/>
                <a:gd name="T6" fmla="*/ 81 w 97"/>
                <a:gd name="T7" fmla="*/ 68 h 92"/>
                <a:gd name="T8" fmla="*/ 72 w 97"/>
                <a:gd name="T9" fmla="*/ 5 h 92"/>
                <a:gd name="T10" fmla="*/ 68 w 97"/>
                <a:gd name="T11" fmla="*/ 9 h 92"/>
                <a:gd name="T12" fmla="*/ 82 w 97"/>
                <a:gd name="T13" fmla="*/ 27 h 92"/>
                <a:gd name="T14" fmla="*/ 74 w 97"/>
                <a:gd name="T15" fmla="*/ 63 h 92"/>
                <a:gd name="T16" fmla="*/ 24 w 97"/>
                <a:gd name="T17" fmla="*/ 71 h 92"/>
                <a:gd name="T18" fmla="*/ 15 w 97"/>
                <a:gd name="T19" fmla="*/ 32 h 92"/>
                <a:gd name="T20" fmla="*/ 67 w 97"/>
                <a:gd name="T21" fmla="*/ 16 h 92"/>
                <a:gd name="T22" fmla="*/ 69 w 97"/>
                <a:gd name="T23" fmla="*/ 12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7" h="92">
                  <a:moveTo>
                    <a:pt x="69" y="12"/>
                  </a:moveTo>
                  <a:cubicBezTo>
                    <a:pt x="50" y="0"/>
                    <a:pt x="24" y="4"/>
                    <a:pt x="11" y="24"/>
                  </a:cubicBezTo>
                  <a:cubicBezTo>
                    <a:pt x="0" y="41"/>
                    <a:pt x="5" y="66"/>
                    <a:pt x="21" y="78"/>
                  </a:cubicBezTo>
                  <a:cubicBezTo>
                    <a:pt x="40" y="92"/>
                    <a:pt x="67" y="86"/>
                    <a:pt x="81" y="68"/>
                  </a:cubicBezTo>
                  <a:cubicBezTo>
                    <a:pt x="97" y="46"/>
                    <a:pt x="97" y="20"/>
                    <a:pt x="72" y="5"/>
                  </a:cubicBezTo>
                  <a:cubicBezTo>
                    <a:pt x="70" y="3"/>
                    <a:pt x="67" y="6"/>
                    <a:pt x="68" y="9"/>
                  </a:cubicBezTo>
                  <a:cubicBezTo>
                    <a:pt x="73" y="15"/>
                    <a:pt x="79" y="20"/>
                    <a:pt x="82" y="27"/>
                  </a:cubicBezTo>
                  <a:cubicBezTo>
                    <a:pt x="88" y="39"/>
                    <a:pt x="81" y="52"/>
                    <a:pt x="74" y="63"/>
                  </a:cubicBezTo>
                  <a:cubicBezTo>
                    <a:pt x="62" y="77"/>
                    <a:pt x="40" y="83"/>
                    <a:pt x="24" y="71"/>
                  </a:cubicBezTo>
                  <a:cubicBezTo>
                    <a:pt x="13" y="62"/>
                    <a:pt x="9" y="45"/>
                    <a:pt x="15" y="32"/>
                  </a:cubicBezTo>
                  <a:cubicBezTo>
                    <a:pt x="23" y="12"/>
                    <a:pt x="48" y="7"/>
                    <a:pt x="67" y="16"/>
                  </a:cubicBezTo>
                  <a:cubicBezTo>
                    <a:pt x="69" y="17"/>
                    <a:pt x="71" y="13"/>
                    <a:pt x="69" y="12"/>
                  </a:cubicBezTo>
                  <a:close/>
                </a:path>
              </a:pathLst>
            </a:custGeom>
            <a:solidFill>
              <a:srgbClr val="1C1D1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44" name="Freeform 513">
              <a:extLst>
                <a:ext uri="{FF2B5EF4-FFF2-40B4-BE49-F238E27FC236}">
                  <a16:creationId xmlns:a16="http://schemas.microsoft.com/office/drawing/2014/main" id="{1077125D-CB46-4BDE-8F8E-E7F213479DC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348422" y="3473449"/>
              <a:ext cx="182563" cy="174625"/>
            </a:xfrm>
            <a:custGeom>
              <a:avLst/>
              <a:gdLst>
                <a:gd name="T0" fmla="*/ 54 w 109"/>
                <a:gd name="T1" fmla="*/ 8 h 104"/>
                <a:gd name="T2" fmla="*/ 6 w 109"/>
                <a:gd name="T3" fmla="*/ 42 h 104"/>
                <a:gd name="T4" fmla="*/ 38 w 109"/>
                <a:gd name="T5" fmla="*/ 91 h 104"/>
                <a:gd name="T6" fmla="*/ 54 w 109"/>
                <a:gd name="T7" fmla="*/ 1 h 104"/>
                <a:gd name="T8" fmla="*/ 52 w 109"/>
                <a:gd name="T9" fmla="*/ 8 h 104"/>
                <a:gd name="T10" fmla="*/ 80 w 109"/>
                <a:gd name="T11" fmla="*/ 42 h 104"/>
                <a:gd name="T12" fmla="*/ 36 w 109"/>
                <a:gd name="T13" fmla="*/ 81 h 104"/>
                <a:gd name="T14" fmla="*/ 14 w 109"/>
                <a:gd name="T15" fmla="*/ 39 h 104"/>
                <a:gd name="T16" fmla="*/ 54 w 109"/>
                <a:gd name="T17" fmla="*/ 12 h 104"/>
                <a:gd name="T18" fmla="*/ 54 w 109"/>
                <a:gd name="T19" fmla="*/ 8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09" h="104">
                  <a:moveTo>
                    <a:pt x="54" y="8"/>
                  </a:moveTo>
                  <a:cubicBezTo>
                    <a:pt x="33" y="8"/>
                    <a:pt x="11" y="20"/>
                    <a:pt x="6" y="42"/>
                  </a:cubicBezTo>
                  <a:cubicBezTo>
                    <a:pt x="0" y="67"/>
                    <a:pt x="14" y="86"/>
                    <a:pt x="38" y="91"/>
                  </a:cubicBezTo>
                  <a:cubicBezTo>
                    <a:pt x="95" y="104"/>
                    <a:pt x="109" y="13"/>
                    <a:pt x="54" y="1"/>
                  </a:cubicBezTo>
                  <a:cubicBezTo>
                    <a:pt x="50" y="0"/>
                    <a:pt x="48" y="6"/>
                    <a:pt x="52" y="8"/>
                  </a:cubicBezTo>
                  <a:cubicBezTo>
                    <a:pt x="67" y="16"/>
                    <a:pt x="78" y="24"/>
                    <a:pt x="80" y="42"/>
                  </a:cubicBezTo>
                  <a:cubicBezTo>
                    <a:pt x="83" y="68"/>
                    <a:pt x="61" y="86"/>
                    <a:pt x="36" y="81"/>
                  </a:cubicBezTo>
                  <a:cubicBezTo>
                    <a:pt x="17" y="76"/>
                    <a:pt x="8" y="58"/>
                    <a:pt x="14" y="39"/>
                  </a:cubicBezTo>
                  <a:cubicBezTo>
                    <a:pt x="18" y="22"/>
                    <a:pt x="37" y="12"/>
                    <a:pt x="54" y="12"/>
                  </a:cubicBezTo>
                  <a:cubicBezTo>
                    <a:pt x="56" y="11"/>
                    <a:pt x="56" y="8"/>
                    <a:pt x="54" y="8"/>
                  </a:cubicBezTo>
                  <a:close/>
                </a:path>
              </a:pathLst>
            </a:custGeom>
            <a:solidFill>
              <a:srgbClr val="1C1D1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45" name="Freeform 514">
              <a:extLst>
                <a:ext uri="{FF2B5EF4-FFF2-40B4-BE49-F238E27FC236}">
                  <a16:creationId xmlns:a16="http://schemas.microsoft.com/office/drawing/2014/main" id="{C0F1FB0D-3211-4FB3-AE3A-4D45029FD89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494345" y="2776537"/>
              <a:ext cx="14288" cy="52388"/>
            </a:xfrm>
            <a:custGeom>
              <a:avLst/>
              <a:gdLst>
                <a:gd name="T0" fmla="*/ 4 w 9"/>
                <a:gd name="T1" fmla="*/ 2 h 31"/>
                <a:gd name="T2" fmla="*/ 2 w 9"/>
                <a:gd name="T3" fmla="*/ 28 h 31"/>
                <a:gd name="T4" fmla="*/ 7 w 9"/>
                <a:gd name="T5" fmla="*/ 28 h 31"/>
                <a:gd name="T6" fmla="*/ 8 w 9"/>
                <a:gd name="T7" fmla="*/ 3 h 31"/>
                <a:gd name="T8" fmla="*/ 4 w 9"/>
                <a:gd name="T9" fmla="*/ 2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" h="31">
                  <a:moveTo>
                    <a:pt x="4" y="2"/>
                  </a:moveTo>
                  <a:cubicBezTo>
                    <a:pt x="1" y="10"/>
                    <a:pt x="0" y="19"/>
                    <a:pt x="2" y="28"/>
                  </a:cubicBezTo>
                  <a:cubicBezTo>
                    <a:pt x="3" y="30"/>
                    <a:pt x="6" y="31"/>
                    <a:pt x="7" y="28"/>
                  </a:cubicBezTo>
                  <a:cubicBezTo>
                    <a:pt x="8" y="20"/>
                    <a:pt x="5" y="12"/>
                    <a:pt x="8" y="3"/>
                  </a:cubicBezTo>
                  <a:cubicBezTo>
                    <a:pt x="9" y="1"/>
                    <a:pt x="5" y="0"/>
                    <a:pt x="4" y="2"/>
                  </a:cubicBezTo>
                  <a:close/>
                </a:path>
              </a:pathLst>
            </a:custGeom>
            <a:solidFill>
              <a:srgbClr val="1C1D1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46" name="Freeform 515">
              <a:extLst>
                <a:ext uri="{FF2B5EF4-FFF2-40B4-BE49-F238E27FC236}">
                  <a16:creationId xmlns:a16="http://schemas.microsoft.com/office/drawing/2014/main" id="{32B447CF-BF0B-40AC-B3D4-9D028307411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427670" y="2757488"/>
              <a:ext cx="22226" cy="49213"/>
            </a:xfrm>
            <a:custGeom>
              <a:avLst/>
              <a:gdLst>
                <a:gd name="T0" fmla="*/ 8 w 13"/>
                <a:gd name="T1" fmla="*/ 2 h 29"/>
                <a:gd name="T2" fmla="*/ 3 w 13"/>
                <a:gd name="T3" fmla="*/ 12 h 29"/>
                <a:gd name="T4" fmla="*/ 1 w 13"/>
                <a:gd name="T5" fmla="*/ 25 h 29"/>
                <a:gd name="T6" fmla="*/ 7 w 13"/>
                <a:gd name="T7" fmla="*/ 26 h 29"/>
                <a:gd name="T8" fmla="*/ 9 w 13"/>
                <a:gd name="T9" fmla="*/ 15 h 29"/>
                <a:gd name="T10" fmla="*/ 10 w 13"/>
                <a:gd name="T11" fmla="*/ 10 h 29"/>
                <a:gd name="T12" fmla="*/ 12 w 13"/>
                <a:gd name="T13" fmla="*/ 4 h 29"/>
                <a:gd name="T14" fmla="*/ 8 w 13"/>
                <a:gd name="T15" fmla="*/ 2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3" h="29">
                  <a:moveTo>
                    <a:pt x="8" y="2"/>
                  </a:moveTo>
                  <a:cubicBezTo>
                    <a:pt x="7" y="6"/>
                    <a:pt x="4" y="8"/>
                    <a:pt x="3" y="12"/>
                  </a:cubicBezTo>
                  <a:cubicBezTo>
                    <a:pt x="2" y="16"/>
                    <a:pt x="1" y="20"/>
                    <a:pt x="1" y="25"/>
                  </a:cubicBezTo>
                  <a:cubicBezTo>
                    <a:pt x="0" y="28"/>
                    <a:pt x="6" y="29"/>
                    <a:pt x="7" y="26"/>
                  </a:cubicBezTo>
                  <a:cubicBezTo>
                    <a:pt x="8" y="22"/>
                    <a:pt x="9" y="19"/>
                    <a:pt x="9" y="15"/>
                  </a:cubicBezTo>
                  <a:cubicBezTo>
                    <a:pt x="10" y="13"/>
                    <a:pt x="10" y="11"/>
                    <a:pt x="10" y="10"/>
                  </a:cubicBezTo>
                  <a:cubicBezTo>
                    <a:pt x="11" y="7"/>
                    <a:pt x="12" y="6"/>
                    <a:pt x="12" y="4"/>
                  </a:cubicBezTo>
                  <a:cubicBezTo>
                    <a:pt x="13" y="1"/>
                    <a:pt x="9" y="0"/>
                    <a:pt x="8" y="2"/>
                  </a:cubicBezTo>
                  <a:close/>
                </a:path>
              </a:pathLst>
            </a:custGeom>
            <a:solidFill>
              <a:srgbClr val="1C1D1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47" name="Freeform 516">
              <a:extLst>
                <a:ext uri="{FF2B5EF4-FFF2-40B4-BE49-F238E27FC236}">
                  <a16:creationId xmlns:a16="http://schemas.microsoft.com/office/drawing/2014/main" id="{D85B2E22-45E2-432D-AF9E-CE57E76F20D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360995" y="2743199"/>
              <a:ext cx="26988" cy="52388"/>
            </a:xfrm>
            <a:custGeom>
              <a:avLst/>
              <a:gdLst>
                <a:gd name="T0" fmla="*/ 11 w 16"/>
                <a:gd name="T1" fmla="*/ 3 h 32"/>
                <a:gd name="T2" fmla="*/ 6 w 16"/>
                <a:gd name="T3" fmla="*/ 14 h 32"/>
                <a:gd name="T4" fmla="*/ 2 w 16"/>
                <a:gd name="T5" fmla="*/ 26 h 32"/>
                <a:gd name="T6" fmla="*/ 7 w 16"/>
                <a:gd name="T7" fmla="*/ 29 h 32"/>
                <a:gd name="T8" fmla="*/ 12 w 16"/>
                <a:gd name="T9" fmla="*/ 19 h 32"/>
                <a:gd name="T10" fmla="*/ 16 w 16"/>
                <a:gd name="T11" fmla="*/ 4 h 32"/>
                <a:gd name="T12" fmla="*/ 11 w 16"/>
                <a:gd name="T13" fmla="*/ 3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" h="32">
                  <a:moveTo>
                    <a:pt x="11" y="3"/>
                  </a:moveTo>
                  <a:cubicBezTo>
                    <a:pt x="9" y="7"/>
                    <a:pt x="7" y="10"/>
                    <a:pt x="6" y="14"/>
                  </a:cubicBezTo>
                  <a:cubicBezTo>
                    <a:pt x="5" y="18"/>
                    <a:pt x="4" y="22"/>
                    <a:pt x="2" y="26"/>
                  </a:cubicBezTo>
                  <a:cubicBezTo>
                    <a:pt x="0" y="29"/>
                    <a:pt x="5" y="32"/>
                    <a:pt x="7" y="29"/>
                  </a:cubicBezTo>
                  <a:cubicBezTo>
                    <a:pt x="10" y="26"/>
                    <a:pt x="11" y="23"/>
                    <a:pt x="12" y="19"/>
                  </a:cubicBezTo>
                  <a:cubicBezTo>
                    <a:pt x="13" y="14"/>
                    <a:pt x="15" y="9"/>
                    <a:pt x="16" y="4"/>
                  </a:cubicBezTo>
                  <a:cubicBezTo>
                    <a:pt x="16" y="1"/>
                    <a:pt x="12" y="0"/>
                    <a:pt x="11" y="3"/>
                  </a:cubicBezTo>
                  <a:close/>
                </a:path>
              </a:pathLst>
            </a:custGeom>
            <a:solidFill>
              <a:srgbClr val="1C1D1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48" name="Freeform 517">
              <a:extLst>
                <a:ext uri="{FF2B5EF4-FFF2-40B4-BE49-F238E27FC236}">
                  <a16:creationId xmlns:a16="http://schemas.microsoft.com/office/drawing/2014/main" id="{731A3E07-7DD5-4FB1-953D-0E2E21997A0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284795" y="2725737"/>
              <a:ext cx="34925" cy="60325"/>
            </a:xfrm>
            <a:custGeom>
              <a:avLst/>
              <a:gdLst>
                <a:gd name="T0" fmla="*/ 13 w 21"/>
                <a:gd name="T1" fmla="*/ 3 h 36"/>
                <a:gd name="T2" fmla="*/ 0 w 21"/>
                <a:gd name="T3" fmla="*/ 30 h 36"/>
                <a:gd name="T4" fmla="*/ 6 w 21"/>
                <a:gd name="T5" fmla="*/ 32 h 36"/>
                <a:gd name="T6" fmla="*/ 18 w 21"/>
                <a:gd name="T7" fmla="*/ 7 h 36"/>
                <a:gd name="T8" fmla="*/ 13 w 21"/>
                <a:gd name="T9" fmla="*/ 3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1" h="36">
                  <a:moveTo>
                    <a:pt x="13" y="3"/>
                  </a:moveTo>
                  <a:cubicBezTo>
                    <a:pt x="6" y="10"/>
                    <a:pt x="1" y="20"/>
                    <a:pt x="0" y="30"/>
                  </a:cubicBezTo>
                  <a:cubicBezTo>
                    <a:pt x="0" y="34"/>
                    <a:pt x="5" y="36"/>
                    <a:pt x="6" y="32"/>
                  </a:cubicBezTo>
                  <a:cubicBezTo>
                    <a:pt x="9" y="23"/>
                    <a:pt x="12" y="14"/>
                    <a:pt x="18" y="7"/>
                  </a:cubicBezTo>
                  <a:cubicBezTo>
                    <a:pt x="21" y="4"/>
                    <a:pt x="16" y="0"/>
                    <a:pt x="13" y="3"/>
                  </a:cubicBezTo>
                  <a:close/>
                </a:path>
              </a:pathLst>
            </a:custGeom>
            <a:solidFill>
              <a:srgbClr val="1C1D1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49" name="Freeform 518">
              <a:extLst>
                <a:ext uri="{FF2B5EF4-FFF2-40B4-BE49-F238E27FC236}">
                  <a16:creationId xmlns:a16="http://schemas.microsoft.com/office/drawing/2014/main" id="{D20D1373-9325-4C50-B2BE-7E6CFE9F497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284795" y="3124199"/>
              <a:ext cx="180975" cy="104775"/>
            </a:xfrm>
            <a:custGeom>
              <a:avLst/>
              <a:gdLst>
                <a:gd name="T0" fmla="*/ 14 w 107"/>
                <a:gd name="T1" fmla="*/ 4 h 62"/>
                <a:gd name="T2" fmla="*/ 24 w 107"/>
                <a:gd name="T3" fmla="*/ 49 h 62"/>
                <a:gd name="T4" fmla="*/ 72 w 107"/>
                <a:gd name="T5" fmla="*/ 62 h 62"/>
                <a:gd name="T6" fmla="*/ 97 w 107"/>
                <a:gd name="T7" fmla="*/ 50 h 62"/>
                <a:gd name="T8" fmla="*/ 93 w 107"/>
                <a:gd name="T9" fmla="*/ 11 h 62"/>
                <a:gd name="T10" fmla="*/ 47 w 107"/>
                <a:gd name="T11" fmla="*/ 2 h 62"/>
                <a:gd name="T12" fmla="*/ 8 w 107"/>
                <a:gd name="T13" fmla="*/ 4 h 62"/>
                <a:gd name="T14" fmla="*/ 10 w 107"/>
                <a:gd name="T15" fmla="*/ 11 h 62"/>
                <a:gd name="T16" fmla="*/ 94 w 107"/>
                <a:gd name="T17" fmla="*/ 39 h 62"/>
                <a:gd name="T18" fmla="*/ 48 w 107"/>
                <a:gd name="T19" fmla="*/ 49 h 62"/>
                <a:gd name="T20" fmla="*/ 24 w 107"/>
                <a:gd name="T21" fmla="*/ 43 h 62"/>
                <a:gd name="T22" fmla="*/ 16 w 107"/>
                <a:gd name="T23" fmla="*/ 5 h 62"/>
                <a:gd name="T24" fmla="*/ 14 w 107"/>
                <a:gd name="T25" fmla="*/ 4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07" h="62">
                  <a:moveTo>
                    <a:pt x="14" y="4"/>
                  </a:moveTo>
                  <a:cubicBezTo>
                    <a:pt x="3" y="23"/>
                    <a:pt x="0" y="39"/>
                    <a:pt x="24" y="49"/>
                  </a:cubicBezTo>
                  <a:cubicBezTo>
                    <a:pt x="38" y="55"/>
                    <a:pt x="57" y="61"/>
                    <a:pt x="72" y="62"/>
                  </a:cubicBezTo>
                  <a:cubicBezTo>
                    <a:pt x="82" y="62"/>
                    <a:pt x="91" y="58"/>
                    <a:pt x="97" y="50"/>
                  </a:cubicBezTo>
                  <a:cubicBezTo>
                    <a:pt x="107" y="38"/>
                    <a:pt x="107" y="20"/>
                    <a:pt x="93" y="11"/>
                  </a:cubicBezTo>
                  <a:cubicBezTo>
                    <a:pt x="81" y="3"/>
                    <a:pt x="62" y="3"/>
                    <a:pt x="47" y="2"/>
                  </a:cubicBezTo>
                  <a:cubicBezTo>
                    <a:pt x="34" y="1"/>
                    <a:pt x="21" y="0"/>
                    <a:pt x="8" y="4"/>
                  </a:cubicBezTo>
                  <a:cubicBezTo>
                    <a:pt x="3" y="5"/>
                    <a:pt x="6" y="11"/>
                    <a:pt x="10" y="11"/>
                  </a:cubicBezTo>
                  <a:cubicBezTo>
                    <a:pt x="28" y="11"/>
                    <a:pt x="107" y="5"/>
                    <a:pt x="94" y="39"/>
                  </a:cubicBezTo>
                  <a:cubicBezTo>
                    <a:pt x="86" y="58"/>
                    <a:pt x="64" y="52"/>
                    <a:pt x="48" y="49"/>
                  </a:cubicBezTo>
                  <a:cubicBezTo>
                    <a:pt x="40" y="47"/>
                    <a:pt x="32" y="46"/>
                    <a:pt x="24" y="43"/>
                  </a:cubicBezTo>
                  <a:cubicBezTo>
                    <a:pt x="8" y="35"/>
                    <a:pt x="10" y="20"/>
                    <a:pt x="16" y="5"/>
                  </a:cubicBezTo>
                  <a:cubicBezTo>
                    <a:pt x="17" y="4"/>
                    <a:pt x="15" y="3"/>
                    <a:pt x="14" y="4"/>
                  </a:cubicBezTo>
                  <a:close/>
                </a:path>
              </a:pathLst>
            </a:custGeom>
            <a:solidFill>
              <a:srgbClr val="1C1D1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50" name="Freeform 519">
              <a:extLst>
                <a:ext uri="{FF2B5EF4-FFF2-40B4-BE49-F238E27FC236}">
                  <a16:creationId xmlns:a16="http://schemas.microsoft.com/office/drawing/2014/main" id="{E721FEF3-967F-4F68-A2CB-FCEB0F8C32A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792796" y="3221037"/>
              <a:ext cx="147638" cy="106363"/>
            </a:xfrm>
            <a:custGeom>
              <a:avLst/>
              <a:gdLst>
                <a:gd name="T0" fmla="*/ 18 w 88"/>
                <a:gd name="T1" fmla="*/ 2 h 63"/>
                <a:gd name="T2" fmla="*/ 3 w 88"/>
                <a:gd name="T3" fmla="*/ 38 h 63"/>
                <a:gd name="T4" fmla="*/ 5 w 88"/>
                <a:gd name="T5" fmla="*/ 56 h 63"/>
                <a:gd name="T6" fmla="*/ 35 w 88"/>
                <a:gd name="T7" fmla="*/ 61 h 63"/>
                <a:gd name="T8" fmla="*/ 60 w 88"/>
                <a:gd name="T9" fmla="*/ 59 h 63"/>
                <a:gd name="T10" fmla="*/ 85 w 88"/>
                <a:gd name="T11" fmla="*/ 57 h 63"/>
                <a:gd name="T12" fmla="*/ 85 w 88"/>
                <a:gd name="T13" fmla="*/ 51 h 63"/>
                <a:gd name="T14" fmla="*/ 28 w 88"/>
                <a:gd name="T15" fmla="*/ 52 h 63"/>
                <a:gd name="T16" fmla="*/ 9 w 88"/>
                <a:gd name="T17" fmla="*/ 48 h 63"/>
                <a:gd name="T18" fmla="*/ 13 w 88"/>
                <a:gd name="T19" fmla="*/ 32 h 63"/>
                <a:gd name="T20" fmla="*/ 21 w 88"/>
                <a:gd name="T21" fmla="*/ 4 h 63"/>
                <a:gd name="T22" fmla="*/ 18 w 88"/>
                <a:gd name="T23" fmla="*/ 2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88" h="63">
                  <a:moveTo>
                    <a:pt x="18" y="2"/>
                  </a:moveTo>
                  <a:cubicBezTo>
                    <a:pt x="12" y="14"/>
                    <a:pt x="7" y="26"/>
                    <a:pt x="3" y="38"/>
                  </a:cubicBezTo>
                  <a:cubicBezTo>
                    <a:pt x="1" y="44"/>
                    <a:pt x="0" y="51"/>
                    <a:pt x="5" y="56"/>
                  </a:cubicBezTo>
                  <a:cubicBezTo>
                    <a:pt x="11" y="63"/>
                    <a:pt x="26" y="61"/>
                    <a:pt x="35" y="61"/>
                  </a:cubicBezTo>
                  <a:cubicBezTo>
                    <a:pt x="43" y="60"/>
                    <a:pt x="51" y="59"/>
                    <a:pt x="60" y="59"/>
                  </a:cubicBezTo>
                  <a:cubicBezTo>
                    <a:pt x="68" y="59"/>
                    <a:pt x="77" y="60"/>
                    <a:pt x="85" y="57"/>
                  </a:cubicBezTo>
                  <a:cubicBezTo>
                    <a:pt x="88" y="56"/>
                    <a:pt x="88" y="52"/>
                    <a:pt x="85" y="51"/>
                  </a:cubicBezTo>
                  <a:cubicBezTo>
                    <a:pt x="68" y="46"/>
                    <a:pt x="45" y="52"/>
                    <a:pt x="28" y="52"/>
                  </a:cubicBezTo>
                  <a:cubicBezTo>
                    <a:pt x="22" y="53"/>
                    <a:pt x="12" y="55"/>
                    <a:pt x="9" y="48"/>
                  </a:cubicBezTo>
                  <a:cubicBezTo>
                    <a:pt x="7" y="44"/>
                    <a:pt x="12" y="34"/>
                    <a:pt x="13" y="32"/>
                  </a:cubicBezTo>
                  <a:cubicBezTo>
                    <a:pt x="15" y="22"/>
                    <a:pt x="18" y="13"/>
                    <a:pt x="21" y="4"/>
                  </a:cubicBezTo>
                  <a:cubicBezTo>
                    <a:pt x="22" y="2"/>
                    <a:pt x="19" y="0"/>
                    <a:pt x="18" y="2"/>
                  </a:cubicBezTo>
                  <a:close/>
                </a:path>
              </a:pathLst>
            </a:custGeom>
            <a:solidFill>
              <a:srgbClr val="1C1D1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51" name="Freeform 520">
              <a:extLst>
                <a:ext uri="{FF2B5EF4-FFF2-40B4-BE49-F238E27FC236}">
                  <a16:creationId xmlns:a16="http://schemas.microsoft.com/office/drawing/2014/main" id="{1374B8D9-F0E4-46F3-ADD8-378719FF2CF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811845" y="3219449"/>
              <a:ext cx="125413" cy="90488"/>
            </a:xfrm>
            <a:custGeom>
              <a:avLst/>
              <a:gdLst>
                <a:gd name="T0" fmla="*/ 3 w 75"/>
                <a:gd name="T1" fmla="*/ 7 h 54"/>
                <a:gd name="T2" fmla="*/ 38 w 75"/>
                <a:gd name="T3" fmla="*/ 31 h 54"/>
                <a:gd name="T4" fmla="*/ 68 w 75"/>
                <a:gd name="T5" fmla="*/ 52 h 54"/>
                <a:gd name="T6" fmla="*/ 72 w 75"/>
                <a:gd name="T7" fmla="*/ 46 h 54"/>
                <a:gd name="T8" fmla="*/ 29 w 75"/>
                <a:gd name="T9" fmla="*/ 13 h 54"/>
                <a:gd name="T10" fmla="*/ 2 w 75"/>
                <a:gd name="T11" fmla="*/ 3 h 54"/>
                <a:gd name="T12" fmla="*/ 3 w 75"/>
                <a:gd name="T13" fmla="*/ 7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5" h="54">
                  <a:moveTo>
                    <a:pt x="3" y="7"/>
                  </a:moveTo>
                  <a:cubicBezTo>
                    <a:pt x="16" y="6"/>
                    <a:pt x="29" y="24"/>
                    <a:pt x="38" y="31"/>
                  </a:cubicBezTo>
                  <a:cubicBezTo>
                    <a:pt x="48" y="39"/>
                    <a:pt x="57" y="48"/>
                    <a:pt x="68" y="52"/>
                  </a:cubicBezTo>
                  <a:cubicBezTo>
                    <a:pt x="72" y="54"/>
                    <a:pt x="75" y="48"/>
                    <a:pt x="72" y="46"/>
                  </a:cubicBezTo>
                  <a:cubicBezTo>
                    <a:pt x="56" y="37"/>
                    <a:pt x="43" y="25"/>
                    <a:pt x="29" y="13"/>
                  </a:cubicBezTo>
                  <a:cubicBezTo>
                    <a:pt x="21" y="6"/>
                    <a:pt x="13" y="0"/>
                    <a:pt x="2" y="3"/>
                  </a:cubicBezTo>
                  <a:cubicBezTo>
                    <a:pt x="0" y="3"/>
                    <a:pt x="1" y="7"/>
                    <a:pt x="3" y="7"/>
                  </a:cubicBezTo>
                  <a:close/>
                </a:path>
              </a:pathLst>
            </a:custGeom>
            <a:solidFill>
              <a:srgbClr val="1C1D1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52" name="Freeform 521">
              <a:extLst>
                <a:ext uri="{FF2B5EF4-FFF2-40B4-BE49-F238E27FC236}">
                  <a16:creationId xmlns:a16="http://schemas.microsoft.com/office/drawing/2014/main" id="{143A9192-24DB-4884-98BB-8C8812FE65D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965834" y="2997199"/>
              <a:ext cx="79375" cy="36513"/>
            </a:xfrm>
            <a:custGeom>
              <a:avLst/>
              <a:gdLst>
                <a:gd name="T0" fmla="*/ 2 w 47"/>
                <a:gd name="T1" fmla="*/ 4 h 21"/>
                <a:gd name="T2" fmla="*/ 43 w 47"/>
                <a:gd name="T3" fmla="*/ 20 h 21"/>
                <a:gd name="T4" fmla="*/ 45 w 47"/>
                <a:gd name="T5" fmla="*/ 16 h 21"/>
                <a:gd name="T6" fmla="*/ 26 w 47"/>
                <a:gd name="T7" fmla="*/ 8 h 21"/>
                <a:gd name="T8" fmla="*/ 4 w 47"/>
                <a:gd name="T9" fmla="*/ 1 h 21"/>
                <a:gd name="T10" fmla="*/ 2 w 47"/>
                <a:gd name="T11" fmla="*/ 4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7" h="21">
                  <a:moveTo>
                    <a:pt x="2" y="4"/>
                  </a:moveTo>
                  <a:cubicBezTo>
                    <a:pt x="13" y="13"/>
                    <a:pt x="30" y="17"/>
                    <a:pt x="43" y="20"/>
                  </a:cubicBezTo>
                  <a:cubicBezTo>
                    <a:pt x="46" y="21"/>
                    <a:pt x="47" y="17"/>
                    <a:pt x="45" y="16"/>
                  </a:cubicBezTo>
                  <a:cubicBezTo>
                    <a:pt x="39" y="13"/>
                    <a:pt x="33" y="10"/>
                    <a:pt x="26" y="8"/>
                  </a:cubicBezTo>
                  <a:cubicBezTo>
                    <a:pt x="19" y="6"/>
                    <a:pt x="11" y="4"/>
                    <a:pt x="4" y="1"/>
                  </a:cubicBezTo>
                  <a:cubicBezTo>
                    <a:pt x="2" y="0"/>
                    <a:pt x="0" y="2"/>
                    <a:pt x="2" y="4"/>
                  </a:cubicBezTo>
                  <a:close/>
                </a:path>
              </a:pathLst>
            </a:custGeom>
            <a:solidFill>
              <a:srgbClr val="1C1D1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53" name="Freeform 522">
              <a:extLst>
                <a:ext uri="{FF2B5EF4-FFF2-40B4-BE49-F238E27FC236}">
                  <a16:creationId xmlns:a16="http://schemas.microsoft.com/office/drawing/2014/main" id="{B196908F-0CB2-40DE-90D0-322C371682A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986473" y="3032124"/>
              <a:ext cx="42863" cy="15875"/>
            </a:xfrm>
            <a:custGeom>
              <a:avLst/>
              <a:gdLst>
                <a:gd name="T0" fmla="*/ 2 w 25"/>
                <a:gd name="T1" fmla="*/ 4 h 10"/>
                <a:gd name="T2" fmla="*/ 22 w 25"/>
                <a:gd name="T3" fmla="*/ 10 h 10"/>
                <a:gd name="T4" fmla="*/ 23 w 25"/>
                <a:gd name="T5" fmla="*/ 7 h 10"/>
                <a:gd name="T6" fmla="*/ 4 w 25"/>
                <a:gd name="T7" fmla="*/ 1 h 10"/>
                <a:gd name="T8" fmla="*/ 2 w 25"/>
                <a:gd name="T9" fmla="*/ 4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5" h="10">
                  <a:moveTo>
                    <a:pt x="2" y="4"/>
                  </a:moveTo>
                  <a:cubicBezTo>
                    <a:pt x="8" y="7"/>
                    <a:pt x="15" y="9"/>
                    <a:pt x="22" y="10"/>
                  </a:cubicBezTo>
                  <a:cubicBezTo>
                    <a:pt x="24" y="10"/>
                    <a:pt x="25" y="8"/>
                    <a:pt x="23" y="7"/>
                  </a:cubicBezTo>
                  <a:cubicBezTo>
                    <a:pt x="17" y="5"/>
                    <a:pt x="10" y="4"/>
                    <a:pt x="4" y="1"/>
                  </a:cubicBezTo>
                  <a:cubicBezTo>
                    <a:pt x="2" y="0"/>
                    <a:pt x="0" y="3"/>
                    <a:pt x="2" y="4"/>
                  </a:cubicBezTo>
                  <a:close/>
                </a:path>
              </a:pathLst>
            </a:custGeom>
            <a:solidFill>
              <a:srgbClr val="1C1D1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54" name="Freeform 523">
              <a:extLst>
                <a:ext uri="{FF2B5EF4-FFF2-40B4-BE49-F238E27FC236}">
                  <a16:creationId xmlns:a16="http://schemas.microsoft.com/office/drawing/2014/main" id="{802AC4A1-8948-4247-8197-7C10306BCF6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278446" y="2862263"/>
              <a:ext cx="276226" cy="60325"/>
            </a:xfrm>
            <a:custGeom>
              <a:avLst/>
              <a:gdLst>
                <a:gd name="T0" fmla="*/ 1 w 164"/>
                <a:gd name="T1" fmla="*/ 3 h 36"/>
                <a:gd name="T2" fmla="*/ 160 w 164"/>
                <a:gd name="T3" fmla="*/ 36 h 36"/>
                <a:gd name="T4" fmla="*/ 161 w 164"/>
                <a:gd name="T5" fmla="*/ 32 h 36"/>
                <a:gd name="T6" fmla="*/ 83 w 164"/>
                <a:gd name="T7" fmla="*/ 18 h 36"/>
                <a:gd name="T8" fmla="*/ 2 w 164"/>
                <a:gd name="T9" fmla="*/ 0 h 36"/>
                <a:gd name="T10" fmla="*/ 1 w 164"/>
                <a:gd name="T11" fmla="*/ 3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64" h="36">
                  <a:moveTo>
                    <a:pt x="1" y="3"/>
                  </a:moveTo>
                  <a:cubicBezTo>
                    <a:pt x="54" y="16"/>
                    <a:pt x="107" y="27"/>
                    <a:pt x="160" y="36"/>
                  </a:cubicBezTo>
                  <a:cubicBezTo>
                    <a:pt x="163" y="36"/>
                    <a:pt x="164" y="32"/>
                    <a:pt x="161" y="32"/>
                  </a:cubicBezTo>
                  <a:cubicBezTo>
                    <a:pt x="135" y="25"/>
                    <a:pt x="109" y="22"/>
                    <a:pt x="83" y="18"/>
                  </a:cubicBezTo>
                  <a:cubicBezTo>
                    <a:pt x="55" y="13"/>
                    <a:pt x="29" y="6"/>
                    <a:pt x="2" y="0"/>
                  </a:cubicBezTo>
                  <a:cubicBezTo>
                    <a:pt x="0" y="0"/>
                    <a:pt x="0" y="3"/>
                    <a:pt x="1" y="3"/>
                  </a:cubicBezTo>
                  <a:close/>
                </a:path>
              </a:pathLst>
            </a:custGeom>
            <a:solidFill>
              <a:srgbClr val="1C1D1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55" name="Freeform 524">
              <a:extLst>
                <a:ext uri="{FF2B5EF4-FFF2-40B4-BE49-F238E27FC236}">
                  <a16:creationId xmlns:a16="http://schemas.microsoft.com/office/drawing/2014/main" id="{D853A3AE-7D6A-4C5C-BD04-F5665322FB1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568955" y="2916237"/>
              <a:ext cx="33338" cy="26988"/>
            </a:xfrm>
            <a:custGeom>
              <a:avLst/>
              <a:gdLst>
                <a:gd name="T0" fmla="*/ 3 w 20"/>
                <a:gd name="T1" fmla="*/ 5 h 16"/>
                <a:gd name="T2" fmla="*/ 16 w 20"/>
                <a:gd name="T3" fmla="*/ 15 h 16"/>
                <a:gd name="T4" fmla="*/ 19 w 20"/>
                <a:gd name="T5" fmla="*/ 12 h 16"/>
                <a:gd name="T6" fmla="*/ 4 w 20"/>
                <a:gd name="T7" fmla="*/ 1 h 16"/>
                <a:gd name="T8" fmla="*/ 3 w 20"/>
                <a:gd name="T9" fmla="*/ 5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" h="16">
                  <a:moveTo>
                    <a:pt x="3" y="5"/>
                  </a:moveTo>
                  <a:cubicBezTo>
                    <a:pt x="7" y="8"/>
                    <a:pt x="12" y="11"/>
                    <a:pt x="16" y="15"/>
                  </a:cubicBezTo>
                  <a:cubicBezTo>
                    <a:pt x="17" y="16"/>
                    <a:pt x="20" y="14"/>
                    <a:pt x="19" y="12"/>
                  </a:cubicBezTo>
                  <a:cubicBezTo>
                    <a:pt x="15" y="7"/>
                    <a:pt x="10" y="4"/>
                    <a:pt x="4" y="1"/>
                  </a:cubicBezTo>
                  <a:cubicBezTo>
                    <a:pt x="2" y="0"/>
                    <a:pt x="0" y="4"/>
                    <a:pt x="3" y="5"/>
                  </a:cubicBezTo>
                  <a:close/>
                </a:path>
              </a:pathLst>
            </a:custGeom>
            <a:solidFill>
              <a:srgbClr val="1C1D1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56" name="Freeform 525">
              <a:extLst>
                <a:ext uri="{FF2B5EF4-FFF2-40B4-BE49-F238E27FC236}">
                  <a16:creationId xmlns:a16="http://schemas.microsoft.com/office/drawing/2014/main" id="{998BFCE3-9FD2-4C7E-A125-9FF939ADE75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611812" y="2936874"/>
              <a:ext cx="34925" cy="22225"/>
            </a:xfrm>
            <a:custGeom>
              <a:avLst/>
              <a:gdLst>
                <a:gd name="T0" fmla="*/ 3 w 21"/>
                <a:gd name="T1" fmla="*/ 8 h 13"/>
                <a:gd name="T2" fmla="*/ 16 w 21"/>
                <a:gd name="T3" fmla="*/ 12 h 13"/>
                <a:gd name="T4" fmla="*/ 20 w 21"/>
                <a:gd name="T5" fmla="*/ 10 h 13"/>
                <a:gd name="T6" fmla="*/ 18 w 21"/>
                <a:gd name="T7" fmla="*/ 6 h 13"/>
                <a:gd name="T8" fmla="*/ 8 w 21"/>
                <a:gd name="T9" fmla="*/ 2 h 13"/>
                <a:gd name="T10" fmla="*/ 3 w 21"/>
                <a:gd name="T11" fmla="*/ 8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1" h="13">
                  <a:moveTo>
                    <a:pt x="3" y="8"/>
                  </a:moveTo>
                  <a:cubicBezTo>
                    <a:pt x="7" y="10"/>
                    <a:pt x="12" y="12"/>
                    <a:pt x="16" y="12"/>
                  </a:cubicBezTo>
                  <a:cubicBezTo>
                    <a:pt x="18" y="13"/>
                    <a:pt x="20" y="12"/>
                    <a:pt x="20" y="10"/>
                  </a:cubicBezTo>
                  <a:cubicBezTo>
                    <a:pt x="21" y="9"/>
                    <a:pt x="20" y="6"/>
                    <a:pt x="18" y="6"/>
                  </a:cubicBezTo>
                  <a:cubicBezTo>
                    <a:pt x="15" y="5"/>
                    <a:pt x="11" y="4"/>
                    <a:pt x="8" y="2"/>
                  </a:cubicBezTo>
                  <a:cubicBezTo>
                    <a:pt x="4" y="0"/>
                    <a:pt x="0" y="5"/>
                    <a:pt x="3" y="8"/>
                  </a:cubicBezTo>
                  <a:close/>
                </a:path>
              </a:pathLst>
            </a:custGeom>
            <a:solidFill>
              <a:srgbClr val="1C1D1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57" name="Freeform 526">
              <a:extLst>
                <a:ext uri="{FF2B5EF4-FFF2-40B4-BE49-F238E27FC236}">
                  <a16:creationId xmlns:a16="http://schemas.microsoft.com/office/drawing/2014/main" id="{40DA50AB-89BA-4B35-A8ED-9B3403C2DCE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689593" y="2949575"/>
              <a:ext cx="234950" cy="65088"/>
            </a:xfrm>
            <a:custGeom>
              <a:avLst/>
              <a:gdLst>
                <a:gd name="T0" fmla="*/ 3 w 140"/>
                <a:gd name="T1" fmla="*/ 6 h 39"/>
                <a:gd name="T2" fmla="*/ 65 w 140"/>
                <a:gd name="T3" fmla="*/ 25 h 39"/>
                <a:gd name="T4" fmla="*/ 135 w 140"/>
                <a:gd name="T5" fmla="*/ 38 h 39"/>
                <a:gd name="T6" fmla="*/ 136 w 140"/>
                <a:gd name="T7" fmla="*/ 32 h 39"/>
                <a:gd name="T8" fmla="*/ 64 w 140"/>
                <a:gd name="T9" fmla="*/ 15 h 39"/>
                <a:gd name="T10" fmla="*/ 5 w 140"/>
                <a:gd name="T11" fmla="*/ 1 h 39"/>
                <a:gd name="T12" fmla="*/ 3 w 140"/>
                <a:gd name="T13" fmla="*/ 6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0" h="39">
                  <a:moveTo>
                    <a:pt x="3" y="6"/>
                  </a:moveTo>
                  <a:cubicBezTo>
                    <a:pt x="21" y="16"/>
                    <a:pt x="45" y="20"/>
                    <a:pt x="65" y="25"/>
                  </a:cubicBezTo>
                  <a:cubicBezTo>
                    <a:pt x="88" y="30"/>
                    <a:pt x="111" y="35"/>
                    <a:pt x="135" y="38"/>
                  </a:cubicBezTo>
                  <a:cubicBezTo>
                    <a:pt x="138" y="39"/>
                    <a:pt x="140" y="33"/>
                    <a:pt x="136" y="32"/>
                  </a:cubicBezTo>
                  <a:cubicBezTo>
                    <a:pt x="112" y="25"/>
                    <a:pt x="88" y="20"/>
                    <a:pt x="64" y="15"/>
                  </a:cubicBezTo>
                  <a:cubicBezTo>
                    <a:pt x="45" y="12"/>
                    <a:pt x="23" y="9"/>
                    <a:pt x="5" y="1"/>
                  </a:cubicBezTo>
                  <a:cubicBezTo>
                    <a:pt x="2" y="0"/>
                    <a:pt x="0" y="5"/>
                    <a:pt x="3" y="6"/>
                  </a:cubicBezTo>
                  <a:close/>
                </a:path>
              </a:pathLst>
            </a:custGeom>
            <a:solidFill>
              <a:srgbClr val="1C1D1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58" name="Freeform 527">
              <a:extLst>
                <a:ext uri="{FF2B5EF4-FFF2-40B4-BE49-F238E27FC236}">
                  <a16:creationId xmlns:a16="http://schemas.microsoft.com/office/drawing/2014/main" id="{1F1ED688-50AE-4A51-AAB9-4B8DD149BC6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735638" y="1025525"/>
              <a:ext cx="120650" cy="1843088"/>
            </a:xfrm>
            <a:custGeom>
              <a:avLst/>
              <a:gdLst>
                <a:gd name="T0" fmla="*/ 42 w 72"/>
                <a:gd name="T1" fmla="*/ 5 h 1097"/>
                <a:gd name="T2" fmla="*/ 45 w 72"/>
                <a:gd name="T3" fmla="*/ 53 h 1097"/>
                <a:gd name="T4" fmla="*/ 47 w 72"/>
                <a:gd name="T5" fmla="*/ 111 h 1097"/>
                <a:gd name="T6" fmla="*/ 54 w 72"/>
                <a:gd name="T7" fmla="*/ 220 h 1097"/>
                <a:gd name="T8" fmla="*/ 52 w 72"/>
                <a:gd name="T9" fmla="*/ 436 h 1097"/>
                <a:gd name="T10" fmla="*/ 9 w 72"/>
                <a:gd name="T11" fmla="*/ 868 h 1097"/>
                <a:gd name="T12" fmla="*/ 5 w 72"/>
                <a:gd name="T13" fmla="*/ 980 h 1097"/>
                <a:gd name="T14" fmla="*/ 11 w 72"/>
                <a:gd name="T15" fmla="*/ 1087 h 1097"/>
                <a:gd name="T16" fmla="*/ 24 w 72"/>
                <a:gd name="T17" fmla="*/ 1081 h 1097"/>
                <a:gd name="T18" fmla="*/ 19 w 72"/>
                <a:gd name="T19" fmla="*/ 1076 h 1097"/>
                <a:gd name="T20" fmla="*/ 8 w 72"/>
                <a:gd name="T21" fmla="*/ 1088 h 1097"/>
                <a:gd name="T22" fmla="*/ 13 w 72"/>
                <a:gd name="T23" fmla="*/ 1092 h 1097"/>
                <a:gd name="T24" fmla="*/ 27 w 72"/>
                <a:gd name="T25" fmla="*/ 1087 h 1097"/>
                <a:gd name="T26" fmla="*/ 22 w 72"/>
                <a:gd name="T27" fmla="*/ 988 h 1097"/>
                <a:gd name="T28" fmla="*/ 25 w 72"/>
                <a:gd name="T29" fmla="*/ 879 h 1097"/>
                <a:gd name="T30" fmla="*/ 46 w 72"/>
                <a:gd name="T31" fmla="*/ 660 h 1097"/>
                <a:gd name="T32" fmla="*/ 68 w 72"/>
                <a:gd name="T33" fmla="*/ 433 h 1097"/>
                <a:gd name="T34" fmla="*/ 67 w 72"/>
                <a:gd name="T35" fmla="*/ 220 h 1097"/>
                <a:gd name="T36" fmla="*/ 58 w 72"/>
                <a:gd name="T37" fmla="*/ 107 h 1097"/>
                <a:gd name="T38" fmla="*/ 55 w 72"/>
                <a:gd name="T39" fmla="*/ 42 h 1097"/>
                <a:gd name="T40" fmla="*/ 47 w 72"/>
                <a:gd name="T41" fmla="*/ 3 h 1097"/>
                <a:gd name="T42" fmla="*/ 42 w 72"/>
                <a:gd name="T43" fmla="*/ 5 h 10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72" h="1097">
                  <a:moveTo>
                    <a:pt x="42" y="5"/>
                  </a:moveTo>
                  <a:cubicBezTo>
                    <a:pt x="49" y="21"/>
                    <a:pt x="46" y="37"/>
                    <a:pt x="45" y="53"/>
                  </a:cubicBezTo>
                  <a:cubicBezTo>
                    <a:pt x="44" y="72"/>
                    <a:pt x="46" y="92"/>
                    <a:pt x="47" y="111"/>
                  </a:cubicBezTo>
                  <a:cubicBezTo>
                    <a:pt x="51" y="147"/>
                    <a:pt x="54" y="183"/>
                    <a:pt x="54" y="220"/>
                  </a:cubicBezTo>
                  <a:cubicBezTo>
                    <a:pt x="54" y="292"/>
                    <a:pt x="57" y="364"/>
                    <a:pt x="52" y="436"/>
                  </a:cubicBezTo>
                  <a:cubicBezTo>
                    <a:pt x="42" y="580"/>
                    <a:pt x="19" y="724"/>
                    <a:pt x="9" y="868"/>
                  </a:cubicBezTo>
                  <a:cubicBezTo>
                    <a:pt x="6" y="905"/>
                    <a:pt x="5" y="942"/>
                    <a:pt x="5" y="980"/>
                  </a:cubicBezTo>
                  <a:cubicBezTo>
                    <a:pt x="5" y="1016"/>
                    <a:pt x="9" y="1051"/>
                    <a:pt x="11" y="1087"/>
                  </a:cubicBezTo>
                  <a:cubicBezTo>
                    <a:pt x="15" y="1085"/>
                    <a:pt x="20" y="1083"/>
                    <a:pt x="24" y="1081"/>
                  </a:cubicBezTo>
                  <a:cubicBezTo>
                    <a:pt x="23" y="1079"/>
                    <a:pt x="21" y="1078"/>
                    <a:pt x="19" y="1076"/>
                  </a:cubicBezTo>
                  <a:cubicBezTo>
                    <a:pt x="12" y="1069"/>
                    <a:pt x="0" y="1080"/>
                    <a:pt x="8" y="1088"/>
                  </a:cubicBezTo>
                  <a:cubicBezTo>
                    <a:pt x="10" y="1089"/>
                    <a:pt x="11" y="1091"/>
                    <a:pt x="13" y="1092"/>
                  </a:cubicBezTo>
                  <a:cubicBezTo>
                    <a:pt x="18" y="1097"/>
                    <a:pt x="27" y="1094"/>
                    <a:pt x="27" y="1087"/>
                  </a:cubicBezTo>
                  <a:cubicBezTo>
                    <a:pt x="26" y="1054"/>
                    <a:pt x="22" y="1021"/>
                    <a:pt x="22" y="988"/>
                  </a:cubicBezTo>
                  <a:cubicBezTo>
                    <a:pt x="22" y="952"/>
                    <a:pt x="23" y="915"/>
                    <a:pt x="25" y="879"/>
                  </a:cubicBezTo>
                  <a:cubicBezTo>
                    <a:pt x="30" y="805"/>
                    <a:pt x="38" y="733"/>
                    <a:pt x="46" y="660"/>
                  </a:cubicBezTo>
                  <a:cubicBezTo>
                    <a:pt x="54" y="584"/>
                    <a:pt x="63" y="508"/>
                    <a:pt x="68" y="433"/>
                  </a:cubicBezTo>
                  <a:cubicBezTo>
                    <a:pt x="72" y="362"/>
                    <a:pt x="68" y="291"/>
                    <a:pt x="67" y="220"/>
                  </a:cubicBezTo>
                  <a:cubicBezTo>
                    <a:pt x="66" y="182"/>
                    <a:pt x="62" y="145"/>
                    <a:pt x="58" y="107"/>
                  </a:cubicBezTo>
                  <a:cubicBezTo>
                    <a:pt x="56" y="85"/>
                    <a:pt x="54" y="64"/>
                    <a:pt x="55" y="42"/>
                  </a:cubicBezTo>
                  <a:cubicBezTo>
                    <a:pt x="55" y="27"/>
                    <a:pt x="54" y="16"/>
                    <a:pt x="47" y="3"/>
                  </a:cubicBezTo>
                  <a:cubicBezTo>
                    <a:pt x="45" y="0"/>
                    <a:pt x="41" y="2"/>
                    <a:pt x="42" y="5"/>
                  </a:cubicBezTo>
                  <a:close/>
                </a:path>
              </a:pathLst>
            </a:custGeom>
            <a:solidFill>
              <a:srgbClr val="04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</p:grpSp>
    </p:spTree>
    <p:extLst>
      <p:ext uri="{BB962C8B-B14F-4D97-AF65-F5344CB8AC3E}">
        <p14:creationId xmlns:p14="http://schemas.microsoft.com/office/powerpoint/2010/main" val="285333427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日期占位符 2">
            <a:extLst>
              <a:ext uri="{FF2B5EF4-FFF2-40B4-BE49-F238E27FC236}">
                <a16:creationId xmlns:a16="http://schemas.microsoft.com/office/drawing/2014/main" id="{9888B6D7-9D3F-49D7-BACE-73A9D1149A7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111B58-95E9-48C1-92A1-D8998A876859}" type="datetime1">
              <a:rPr lang="zh-CN" altLang="en-US" smtClean="0"/>
              <a:t>2019/12/8</a:t>
            </a:fld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7AC997A4-1DD8-4731-B9FD-42398A20FF8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Web Analytics Group Project</a:t>
            </a:r>
            <a:endParaRPr lang="zh-CN" altLang="en-US"/>
          </a:p>
        </p:txBody>
      </p:sp>
      <p:sp>
        <p:nvSpPr>
          <p:cNvPr id="5" name="灯片编号占位符 4">
            <a:extLst>
              <a:ext uri="{FF2B5EF4-FFF2-40B4-BE49-F238E27FC236}">
                <a16:creationId xmlns:a16="http://schemas.microsoft.com/office/drawing/2014/main" id="{DBA9825E-1876-42AD-ABCF-E0E100F351C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  <p:sp>
        <p:nvSpPr>
          <p:cNvPr id="6" name="标题 5">
            <a:extLst>
              <a:ext uri="{FF2B5EF4-FFF2-40B4-BE49-F238E27FC236}">
                <a16:creationId xmlns:a16="http://schemas.microsoft.com/office/drawing/2014/main" id="{D124F9DB-C87A-423F-9657-38C7A29014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/>
              <a:t>Click to edit Master title style</a:t>
            </a:r>
            <a:endParaRPr lang="zh-CN" altLang="en-US"/>
          </a:p>
        </p:txBody>
      </p:sp>
      <p:sp>
        <p:nvSpPr>
          <p:cNvPr id="8" name="内容占位符 7">
            <a:extLst>
              <a:ext uri="{FF2B5EF4-FFF2-40B4-BE49-F238E27FC236}">
                <a16:creationId xmlns:a16="http://schemas.microsoft.com/office/drawing/2014/main" id="{2070191C-4093-409C-8FD5-7369A79637AD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669925" y="1130299"/>
            <a:ext cx="10850563" cy="500697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altLang="zh-CN"/>
              <a:t>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  <a:p>
            <a:pPr lvl="3"/>
            <a:r>
              <a:rPr lang="en-US" altLang="zh-CN"/>
              <a:t>Fourth level</a:t>
            </a:r>
          </a:p>
          <a:p>
            <a:pPr lvl="4"/>
            <a:r>
              <a:rPr lang="en-US" altLang="zh-CN"/>
              <a:t>Fifth level</a:t>
            </a:r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67759340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 userDrawn="1">
  <p:cSld name="仅标题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21C7A1C-3684-4AAF-A408-C63B6CB6410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/>
              <a:t>Click to edit Master title style</a:t>
            </a:r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986EA5F-D77D-4318-90E9-C04AA8ADC0D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F664569-80C0-43DB-A3C2-ACDD769F2F59}" type="datetime1">
              <a:rPr lang="zh-CN" altLang="en-US" smtClean="0"/>
              <a:t>2019/12/8</a:t>
            </a:fld>
            <a:endParaRPr lang="zh-CN" alt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0832621-D9D9-445E-BFF9-F8348FA1E26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Web Analytics Group Project</a:t>
            </a:r>
            <a:endParaRPr lang="zh-CN" alt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371151B-F790-4A9F-962F-B8718A9560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28417621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1772862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末尾幻灯片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矩形 1">
            <a:extLst>
              <a:ext uri="{FF2B5EF4-FFF2-40B4-BE49-F238E27FC236}">
                <a16:creationId xmlns:a16="http://schemas.microsoft.com/office/drawing/2014/main" id="{C6B7A677-01B4-4A75-9D55-FAB0D0BE707C}"/>
              </a:ext>
            </a:extLst>
          </p:cNvPr>
          <p:cNvSpPr/>
          <p:nvPr userDrawn="1"/>
        </p:nvSpPr>
        <p:spPr>
          <a:xfrm>
            <a:off x="0" y="3434862"/>
            <a:ext cx="12192000" cy="342313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grpSp>
        <p:nvGrpSpPr>
          <p:cNvPr id="5" name="组合 4">
            <a:extLst>
              <a:ext uri="{FF2B5EF4-FFF2-40B4-BE49-F238E27FC236}">
                <a16:creationId xmlns:a16="http://schemas.microsoft.com/office/drawing/2014/main" id="{0616C827-675F-42C3-8F2C-4212736A8A21}"/>
              </a:ext>
            </a:extLst>
          </p:cNvPr>
          <p:cNvGrpSpPr/>
          <p:nvPr userDrawn="1"/>
        </p:nvGrpSpPr>
        <p:grpSpPr>
          <a:xfrm>
            <a:off x="682128" y="0"/>
            <a:ext cx="10838360" cy="4313340"/>
            <a:chOff x="-3175" y="1001713"/>
            <a:chExt cx="12198350" cy="4854575"/>
          </a:xfrm>
        </p:grpSpPr>
        <p:sp>
          <p:nvSpPr>
            <p:cNvPr id="7" name="AutoShape 3">
              <a:extLst>
                <a:ext uri="{FF2B5EF4-FFF2-40B4-BE49-F238E27FC236}">
                  <a16:creationId xmlns:a16="http://schemas.microsoft.com/office/drawing/2014/main" id="{ED940ED5-083E-4ADA-9EB8-13530E488A75}"/>
                </a:ext>
              </a:extLst>
            </p:cNvPr>
            <p:cNvSpPr>
              <a:spLocks noChangeAspect="1" noChangeArrowheads="1" noTextEdit="1"/>
            </p:cNvSpPr>
            <p:nvPr userDrawn="1"/>
          </p:nvSpPr>
          <p:spPr bwMode="auto">
            <a:xfrm>
              <a:off x="0" y="1006475"/>
              <a:ext cx="12192000" cy="48450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grpSp>
          <p:nvGrpSpPr>
            <p:cNvPr id="8" name="Group 205">
              <a:extLst>
                <a:ext uri="{FF2B5EF4-FFF2-40B4-BE49-F238E27FC236}">
                  <a16:creationId xmlns:a16="http://schemas.microsoft.com/office/drawing/2014/main" id="{F37D743C-094E-4613-B17C-71A8ECD7455D}"/>
                </a:ext>
              </a:extLst>
            </p:cNvPr>
            <p:cNvGrpSpPr>
              <a:grpSpLocks/>
            </p:cNvGrpSpPr>
            <p:nvPr userDrawn="1"/>
          </p:nvGrpSpPr>
          <p:grpSpPr bwMode="auto">
            <a:xfrm>
              <a:off x="2820988" y="1001713"/>
              <a:ext cx="9345613" cy="4830763"/>
              <a:chOff x="1777" y="631"/>
              <a:chExt cx="5887" cy="3043"/>
            </a:xfrm>
          </p:grpSpPr>
          <p:sp>
            <p:nvSpPr>
              <p:cNvPr id="333" name="Freeform 5">
                <a:extLst>
                  <a:ext uri="{FF2B5EF4-FFF2-40B4-BE49-F238E27FC236}">
                    <a16:creationId xmlns:a16="http://schemas.microsoft.com/office/drawing/2014/main" id="{9A5BC5D8-1CC3-46D7-85C5-A456AC5EEDA2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635" y="683"/>
                <a:ext cx="15" cy="984"/>
              </a:xfrm>
              <a:custGeom>
                <a:avLst/>
                <a:gdLst>
                  <a:gd name="T0" fmla="*/ 5 w 14"/>
                  <a:gd name="T1" fmla="*/ 2 h 930"/>
                  <a:gd name="T2" fmla="*/ 1 w 14"/>
                  <a:gd name="T3" fmla="*/ 459 h 930"/>
                  <a:gd name="T4" fmla="*/ 0 w 14"/>
                  <a:gd name="T5" fmla="*/ 920 h 930"/>
                  <a:gd name="T6" fmla="*/ 14 w 14"/>
                  <a:gd name="T7" fmla="*/ 919 h 930"/>
                  <a:gd name="T8" fmla="*/ 13 w 14"/>
                  <a:gd name="T9" fmla="*/ 462 h 930"/>
                  <a:gd name="T10" fmla="*/ 9 w 14"/>
                  <a:gd name="T11" fmla="*/ 2 h 930"/>
                  <a:gd name="T12" fmla="*/ 5 w 14"/>
                  <a:gd name="T13" fmla="*/ 2 h 9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4" h="930">
                    <a:moveTo>
                      <a:pt x="5" y="2"/>
                    </a:moveTo>
                    <a:cubicBezTo>
                      <a:pt x="1" y="155"/>
                      <a:pt x="1" y="307"/>
                      <a:pt x="1" y="459"/>
                    </a:cubicBezTo>
                    <a:cubicBezTo>
                      <a:pt x="1" y="613"/>
                      <a:pt x="0" y="767"/>
                      <a:pt x="0" y="920"/>
                    </a:cubicBezTo>
                    <a:cubicBezTo>
                      <a:pt x="0" y="930"/>
                      <a:pt x="14" y="928"/>
                      <a:pt x="14" y="919"/>
                    </a:cubicBezTo>
                    <a:cubicBezTo>
                      <a:pt x="14" y="766"/>
                      <a:pt x="14" y="614"/>
                      <a:pt x="13" y="462"/>
                    </a:cubicBezTo>
                    <a:cubicBezTo>
                      <a:pt x="13" y="309"/>
                      <a:pt x="14" y="155"/>
                      <a:pt x="9" y="2"/>
                    </a:cubicBezTo>
                    <a:cubicBezTo>
                      <a:pt x="9" y="0"/>
                      <a:pt x="5" y="0"/>
                      <a:pt x="5" y="2"/>
                    </a:cubicBezTo>
                  </a:path>
                </a:pathLst>
              </a:custGeom>
              <a:solidFill>
                <a:srgbClr val="04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334" name="Freeform 6">
                <a:extLst>
                  <a:ext uri="{FF2B5EF4-FFF2-40B4-BE49-F238E27FC236}">
                    <a16:creationId xmlns:a16="http://schemas.microsoft.com/office/drawing/2014/main" id="{CD417B1B-87F6-4BF4-A0D8-7B29E583CD6C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6939" y="1851"/>
                <a:ext cx="183" cy="185"/>
              </a:xfrm>
              <a:custGeom>
                <a:avLst/>
                <a:gdLst>
                  <a:gd name="T0" fmla="*/ 51 w 172"/>
                  <a:gd name="T1" fmla="*/ 153 h 174"/>
                  <a:gd name="T2" fmla="*/ 76 w 172"/>
                  <a:gd name="T3" fmla="*/ 171 h 174"/>
                  <a:gd name="T4" fmla="*/ 90 w 172"/>
                  <a:gd name="T5" fmla="*/ 173 h 174"/>
                  <a:gd name="T6" fmla="*/ 104 w 172"/>
                  <a:gd name="T7" fmla="*/ 173 h 174"/>
                  <a:gd name="T8" fmla="*/ 100 w 172"/>
                  <a:gd name="T9" fmla="*/ 170 h 174"/>
                  <a:gd name="T10" fmla="*/ 62 w 172"/>
                  <a:gd name="T11" fmla="*/ 160 h 174"/>
                  <a:gd name="T12" fmla="*/ 53 w 172"/>
                  <a:gd name="T13" fmla="*/ 143 h 174"/>
                  <a:gd name="T14" fmla="*/ 121 w 172"/>
                  <a:gd name="T15" fmla="*/ 124 h 174"/>
                  <a:gd name="T16" fmla="*/ 153 w 172"/>
                  <a:gd name="T17" fmla="*/ 126 h 174"/>
                  <a:gd name="T18" fmla="*/ 167 w 172"/>
                  <a:gd name="T19" fmla="*/ 121 h 174"/>
                  <a:gd name="T20" fmla="*/ 150 w 172"/>
                  <a:gd name="T21" fmla="*/ 121 h 174"/>
                  <a:gd name="T22" fmla="*/ 4 w 172"/>
                  <a:gd name="T23" fmla="*/ 50 h 174"/>
                  <a:gd name="T24" fmla="*/ 1 w 172"/>
                  <a:gd name="T25" fmla="*/ 70 h 174"/>
                  <a:gd name="T26" fmla="*/ 1 w 172"/>
                  <a:gd name="T27" fmla="*/ 70 h 174"/>
                  <a:gd name="T28" fmla="*/ 2 w 172"/>
                  <a:gd name="T29" fmla="*/ 93 h 174"/>
                  <a:gd name="T30" fmla="*/ 2 w 172"/>
                  <a:gd name="T31" fmla="*/ 93 h 174"/>
                  <a:gd name="T32" fmla="*/ 12 w 172"/>
                  <a:gd name="T33" fmla="*/ 106 h 174"/>
                  <a:gd name="T34" fmla="*/ 57 w 172"/>
                  <a:gd name="T35" fmla="*/ 112 h 174"/>
                  <a:gd name="T36" fmla="*/ 58 w 172"/>
                  <a:gd name="T37" fmla="*/ 116 h 174"/>
                  <a:gd name="T38" fmla="*/ 60 w 172"/>
                  <a:gd name="T39" fmla="*/ 108 h 174"/>
                  <a:gd name="T40" fmla="*/ 10 w 172"/>
                  <a:gd name="T41" fmla="*/ 97 h 174"/>
                  <a:gd name="T42" fmla="*/ 4 w 172"/>
                  <a:gd name="T43" fmla="*/ 50 h 174"/>
                  <a:gd name="T44" fmla="*/ 65 w 172"/>
                  <a:gd name="T45" fmla="*/ 12 h 174"/>
                  <a:gd name="T46" fmla="*/ 65 w 172"/>
                  <a:gd name="T47" fmla="*/ 10 h 174"/>
                  <a:gd name="T48" fmla="*/ 95 w 172"/>
                  <a:gd name="T49" fmla="*/ 88 h 174"/>
                  <a:gd name="T50" fmla="*/ 98 w 172"/>
                  <a:gd name="T51" fmla="*/ 67 h 174"/>
                  <a:gd name="T52" fmla="*/ 99 w 172"/>
                  <a:gd name="T53" fmla="*/ 63 h 174"/>
                  <a:gd name="T54" fmla="*/ 89 w 172"/>
                  <a:gd name="T55" fmla="*/ 91 h 174"/>
                  <a:gd name="T56" fmla="*/ 91 w 172"/>
                  <a:gd name="T57" fmla="*/ 88 h 174"/>
                  <a:gd name="T58" fmla="*/ 80 w 172"/>
                  <a:gd name="T59" fmla="*/ 0 h 174"/>
                  <a:gd name="T60" fmla="*/ 68 w 172"/>
                  <a:gd name="T61" fmla="*/ 40 h 174"/>
                  <a:gd name="T62" fmla="*/ 57 w 172"/>
                  <a:gd name="T63" fmla="*/ 48 h 174"/>
                  <a:gd name="T64" fmla="*/ 49 w 172"/>
                  <a:gd name="T65" fmla="*/ 53 h 174"/>
                  <a:gd name="T66" fmla="*/ 30 w 172"/>
                  <a:gd name="T67" fmla="*/ 49 h 174"/>
                  <a:gd name="T68" fmla="*/ 25 w 172"/>
                  <a:gd name="T69" fmla="*/ 48 h 174"/>
                  <a:gd name="T70" fmla="*/ 22 w 172"/>
                  <a:gd name="T71" fmla="*/ 48 h 174"/>
                  <a:gd name="T72" fmla="*/ 17 w 172"/>
                  <a:gd name="T73" fmla="*/ 49 h 174"/>
                  <a:gd name="T74" fmla="*/ 11 w 172"/>
                  <a:gd name="T75" fmla="*/ 59 h 174"/>
                  <a:gd name="T76" fmla="*/ 36 w 172"/>
                  <a:gd name="T77" fmla="*/ 96 h 174"/>
                  <a:gd name="T78" fmla="*/ 63 w 172"/>
                  <a:gd name="T79" fmla="*/ 100 h 174"/>
                  <a:gd name="T80" fmla="*/ 67 w 172"/>
                  <a:gd name="T81" fmla="*/ 105 h 174"/>
                  <a:gd name="T82" fmla="*/ 62 w 172"/>
                  <a:gd name="T83" fmla="*/ 142 h 174"/>
                  <a:gd name="T84" fmla="*/ 97 w 172"/>
                  <a:gd name="T85" fmla="*/ 161 h 174"/>
                  <a:gd name="T86" fmla="*/ 111 w 172"/>
                  <a:gd name="T87" fmla="*/ 158 h 174"/>
                  <a:gd name="T88" fmla="*/ 111 w 172"/>
                  <a:gd name="T89" fmla="*/ 155 h 174"/>
                  <a:gd name="T90" fmla="*/ 115 w 172"/>
                  <a:gd name="T91" fmla="*/ 124 h 174"/>
                  <a:gd name="T92" fmla="*/ 116 w 172"/>
                  <a:gd name="T93" fmla="*/ 124 h 174"/>
                  <a:gd name="T94" fmla="*/ 120 w 172"/>
                  <a:gd name="T95" fmla="*/ 112 h 174"/>
                  <a:gd name="T96" fmla="*/ 144 w 172"/>
                  <a:gd name="T97" fmla="*/ 112 h 174"/>
                  <a:gd name="T98" fmla="*/ 160 w 172"/>
                  <a:gd name="T99" fmla="*/ 114 h 174"/>
                  <a:gd name="T100" fmla="*/ 171 w 172"/>
                  <a:gd name="T101" fmla="*/ 97 h 174"/>
                  <a:gd name="T102" fmla="*/ 144 w 172"/>
                  <a:gd name="T103" fmla="*/ 68 h 174"/>
                  <a:gd name="T104" fmla="*/ 120 w 172"/>
                  <a:gd name="T105" fmla="*/ 65 h 174"/>
                  <a:gd name="T106" fmla="*/ 114 w 172"/>
                  <a:gd name="T107" fmla="*/ 62 h 174"/>
                  <a:gd name="T108" fmla="*/ 115 w 172"/>
                  <a:gd name="T109" fmla="*/ 62 h 174"/>
                  <a:gd name="T110" fmla="*/ 114 w 172"/>
                  <a:gd name="T111" fmla="*/ 56 h 174"/>
                  <a:gd name="T112" fmla="*/ 115 w 172"/>
                  <a:gd name="T113" fmla="*/ 32 h 174"/>
                  <a:gd name="T114" fmla="*/ 119 w 172"/>
                  <a:gd name="T115" fmla="*/ 20 h 174"/>
                  <a:gd name="T116" fmla="*/ 119 w 172"/>
                  <a:gd name="T117" fmla="*/ 19 h 174"/>
                  <a:gd name="T118" fmla="*/ 100 w 172"/>
                  <a:gd name="T119" fmla="*/ 4 h 1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172" h="174">
                    <a:moveTo>
                      <a:pt x="53" y="143"/>
                    </a:moveTo>
                    <a:cubicBezTo>
                      <a:pt x="52" y="146"/>
                      <a:pt x="51" y="149"/>
                      <a:pt x="51" y="153"/>
                    </a:cubicBezTo>
                    <a:cubicBezTo>
                      <a:pt x="51" y="157"/>
                      <a:pt x="52" y="161"/>
                      <a:pt x="56" y="164"/>
                    </a:cubicBezTo>
                    <a:cubicBezTo>
                      <a:pt x="62" y="166"/>
                      <a:pt x="69" y="167"/>
                      <a:pt x="76" y="171"/>
                    </a:cubicBezTo>
                    <a:cubicBezTo>
                      <a:pt x="80" y="172"/>
                      <a:pt x="84" y="173"/>
                      <a:pt x="88" y="173"/>
                    </a:cubicBezTo>
                    <a:cubicBezTo>
                      <a:pt x="89" y="173"/>
                      <a:pt x="90" y="173"/>
                      <a:pt x="90" y="173"/>
                    </a:cubicBezTo>
                    <a:cubicBezTo>
                      <a:pt x="92" y="174"/>
                      <a:pt x="95" y="174"/>
                      <a:pt x="98" y="174"/>
                    </a:cubicBezTo>
                    <a:cubicBezTo>
                      <a:pt x="100" y="174"/>
                      <a:pt x="103" y="174"/>
                      <a:pt x="104" y="173"/>
                    </a:cubicBezTo>
                    <a:cubicBezTo>
                      <a:pt x="106" y="172"/>
                      <a:pt x="107" y="171"/>
                      <a:pt x="108" y="169"/>
                    </a:cubicBezTo>
                    <a:cubicBezTo>
                      <a:pt x="106" y="170"/>
                      <a:pt x="103" y="170"/>
                      <a:pt x="100" y="170"/>
                    </a:cubicBezTo>
                    <a:cubicBezTo>
                      <a:pt x="96" y="170"/>
                      <a:pt x="92" y="170"/>
                      <a:pt x="88" y="169"/>
                    </a:cubicBezTo>
                    <a:cubicBezTo>
                      <a:pt x="80" y="168"/>
                      <a:pt x="70" y="164"/>
                      <a:pt x="62" y="160"/>
                    </a:cubicBezTo>
                    <a:cubicBezTo>
                      <a:pt x="58" y="159"/>
                      <a:pt x="56" y="156"/>
                      <a:pt x="54" y="152"/>
                    </a:cubicBezTo>
                    <a:cubicBezTo>
                      <a:pt x="53" y="149"/>
                      <a:pt x="52" y="146"/>
                      <a:pt x="53" y="143"/>
                    </a:cubicBezTo>
                    <a:moveTo>
                      <a:pt x="122" y="119"/>
                    </a:moveTo>
                    <a:cubicBezTo>
                      <a:pt x="122" y="121"/>
                      <a:pt x="122" y="122"/>
                      <a:pt x="121" y="124"/>
                    </a:cubicBezTo>
                    <a:cubicBezTo>
                      <a:pt x="126" y="124"/>
                      <a:pt x="131" y="124"/>
                      <a:pt x="137" y="124"/>
                    </a:cubicBezTo>
                    <a:cubicBezTo>
                      <a:pt x="140" y="125"/>
                      <a:pt x="147" y="126"/>
                      <a:pt x="153" y="126"/>
                    </a:cubicBezTo>
                    <a:cubicBezTo>
                      <a:pt x="158" y="126"/>
                      <a:pt x="163" y="125"/>
                      <a:pt x="166" y="122"/>
                    </a:cubicBezTo>
                    <a:cubicBezTo>
                      <a:pt x="166" y="122"/>
                      <a:pt x="167" y="122"/>
                      <a:pt x="167" y="121"/>
                    </a:cubicBezTo>
                    <a:cubicBezTo>
                      <a:pt x="164" y="122"/>
                      <a:pt x="162" y="122"/>
                      <a:pt x="159" y="122"/>
                    </a:cubicBezTo>
                    <a:cubicBezTo>
                      <a:pt x="156" y="122"/>
                      <a:pt x="153" y="122"/>
                      <a:pt x="150" y="121"/>
                    </a:cubicBezTo>
                    <a:cubicBezTo>
                      <a:pt x="141" y="120"/>
                      <a:pt x="132" y="120"/>
                      <a:pt x="122" y="119"/>
                    </a:cubicBezTo>
                    <a:moveTo>
                      <a:pt x="4" y="50"/>
                    </a:moveTo>
                    <a:cubicBezTo>
                      <a:pt x="1" y="53"/>
                      <a:pt x="1" y="59"/>
                      <a:pt x="1" y="63"/>
                    </a:cubicBezTo>
                    <a:cubicBezTo>
                      <a:pt x="1" y="66"/>
                      <a:pt x="1" y="68"/>
                      <a:pt x="1" y="70"/>
                    </a:cubicBezTo>
                    <a:cubicBezTo>
                      <a:pt x="1" y="70"/>
                      <a:pt x="1" y="70"/>
                      <a:pt x="1" y="70"/>
                    </a:cubicBezTo>
                    <a:cubicBezTo>
                      <a:pt x="1" y="70"/>
                      <a:pt x="1" y="70"/>
                      <a:pt x="1" y="70"/>
                    </a:cubicBezTo>
                    <a:cubicBezTo>
                      <a:pt x="1" y="72"/>
                      <a:pt x="1" y="74"/>
                      <a:pt x="1" y="77"/>
                    </a:cubicBezTo>
                    <a:cubicBezTo>
                      <a:pt x="1" y="82"/>
                      <a:pt x="1" y="88"/>
                      <a:pt x="2" y="93"/>
                    </a:cubicBezTo>
                    <a:cubicBezTo>
                      <a:pt x="2" y="93"/>
                      <a:pt x="2" y="93"/>
                      <a:pt x="2" y="93"/>
                    </a:cubicBezTo>
                    <a:cubicBezTo>
                      <a:pt x="2" y="93"/>
                      <a:pt x="2" y="93"/>
                      <a:pt x="2" y="93"/>
                    </a:cubicBezTo>
                    <a:cubicBezTo>
                      <a:pt x="2" y="94"/>
                      <a:pt x="2" y="94"/>
                      <a:pt x="2" y="94"/>
                    </a:cubicBezTo>
                    <a:cubicBezTo>
                      <a:pt x="2" y="101"/>
                      <a:pt x="5" y="104"/>
                      <a:pt x="12" y="106"/>
                    </a:cubicBezTo>
                    <a:cubicBezTo>
                      <a:pt x="26" y="106"/>
                      <a:pt x="39" y="112"/>
                      <a:pt x="53" y="112"/>
                    </a:cubicBezTo>
                    <a:cubicBezTo>
                      <a:pt x="54" y="112"/>
                      <a:pt x="55" y="112"/>
                      <a:pt x="57" y="112"/>
                    </a:cubicBezTo>
                    <a:cubicBezTo>
                      <a:pt x="58" y="116"/>
                      <a:pt x="58" y="116"/>
                      <a:pt x="58" y="116"/>
                    </a:cubicBezTo>
                    <a:cubicBezTo>
                      <a:pt x="58" y="116"/>
                      <a:pt x="58" y="116"/>
                      <a:pt x="58" y="116"/>
                    </a:cubicBezTo>
                    <a:cubicBezTo>
                      <a:pt x="58" y="117"/>
                      <a:pt x="58" y="118"/>
                      <a:pt x="58" y="119"/>
                    </a:cubicBezTo>
                    <a:cubicBezTo>
                      <a:pt x="58" y="115"/>
                      <a:pt x="59" y="112"/>
                      <a:pt x="60" y="108"/>
                    </a:cubicBezTo>
                    <a:cubicBezTo>
                      <a:pt x="51" y="108"/>
                      <a:pt x="42" y="106"/>
                      <a:pt x="33" y="104"/>
                    </a:cubicBezTo>
                    <a:cubicBezTo>
                      <a:pt x="26" y="102"/>
                      <a:pt x="16" y="103"/>
                      <a:pt x="10" y="97"/>
                    </a:cubicBezTo>
                    <a:cubicBezTo>
                      <a:pt x="0" y="89"/>
                      <a:pt x="3" y="68"/>
                      <a:pt x="3" y="57"/>
                    </a:cubicBezTo>
                    <a:cubicBezTo>
                      <a:pt x="3" y="55"/>
                      <a:pt x="3" y="52"/>
                      <a:pt x="4" y="50"/>
                    </a:cubicBezTo>
                    <a:moveTo>
                      <a:pt x="66" y="10"/>
                    </a:moveTo>
                    <a:cubicBezTo>
                      <a:pt x="65" y="10"/>
                      <a:pt x="65" y="11"/>
                      <a:pt x="65" y="12"/>
                    </a:cubicBezTo>
                    <a:cubicBezTo>
                      <a:pt x="63" y="17"/>
                      <a:pt x="63" y="22"/>
                      <a:pt x="62" y="27"/>
                    </a:cubicBezTo>
                    <a:cubicBezTo>
                      <a:pt x="63" y="22"/>
                      <a:pt x="64" y="16"/>
                      <a:pt x="65" y="10"/>
                    </a:cubicBezTo>
                    <a:cubicBezTo>
                      <a:pt x="66" y="10"/>
                      <a:pt x="66" y="10"/>
                      <a:pt x="66" y="10"/>
                    </a:cubicBezTo>
                    <a:moveTo>
                      <a:pt x="95" y="88"/>
                    </a:moveTo>
                    <a:cubicBezTo>
                      <a:pt x="99" y="88"/>
                      <a:pt x="101" y="86"/>
                      <a:pt x="103" y="81"/>
                    </a:cubicBezTo>
                    <a:cubicBezTo>
                      <a:pt x="104" y="76"/>
                      <a:pt x="104" y="69"/>
                      <a:pt x="98" y="67"/>
                    </a:cubicBezTo>
                    <a:cubicBezTo>
                      <a:pt x="96" y="66"/>
                      <a:pt x="97" y="63"/>
                      <a:pt x="99" y="63"/>
                    </a:cubicBezTo>
                    <a:cubicBezTo>
                      <a:pt x="99" y="63"/>
                      <a:pt x="99" y="63"/>
                      <a:pt x="99" y="63"/>
                    </a:cubicBezTo>
                    <a:cubicBezTo>
                      <a:pt x="117" y="65"/>
                      <a:pt x="108" y="95"/>
                      <a:pt x="96" y="95"/>
                    </a:cubicBezTo>
                    <a:cubicBezTo>
                      <a:pt x="94" y="95"/>
                      <a:pt x="91" y="94"/>
                      <a:pt x="89" y="91"/>
                    </a:cubicBezTo>
                    <a:cubicBezTo>
                      <a:pt x="88" y="90"/>
                      <a:pt x="88" y="88"/>
                      <a:pt x="90" y="88"/>
                    </a:cubicBezTo>
                    <a:cubicBezTo>
                      <a:pt x="90" y="88"/>
                      <a:pt x="90" y="88"/>
                      <a:pt x="91" y="88"/>
                    </a:cubicBezTo>
                    <a:cubicBezTo>
                      <a:pt x="92" y="88"/>
                      <a:pt x="93" y="88"/>
                      <a:pt x="95" y="88"/>
                    </a:cubicBezTo>
                    <a:moveTo>
                      <a:pt x="80" y="0"/>
                    </a:moveTo>
                    <a:cubicBezTo>
                      <a:pt x="79" y="0"/>
                      <a:pt x="78" y="0"/>
                      <a:pt x="77" y="0"/>
                    </a:cubicBezTo>
                    <a:cubicBezTo>
                      <a:pt x="70" y="11"/>
                      <a:pt x="73" y="29"/>
                      <a:pt x="68" y="40"/>
                    </a:cubicBezTo>
                    <a:cubicBezTo>
                      <a:pt x="67" y="41"/>
                      <a:pt x="66" y="42"/>
                      <a:pt x="66" y="42"/>
                    </a:cubicBezTo>
                    <a:cubicBezTo>
                      <a:pt x="64" y="45"/>
                      <a:pt x="61" y="47"/>
                      <a:pt x="57" y="48"/>
                    </a:cubicBezTo>
                    <a:cubicBezTo>
                      <a:pt x="57" y="50"/>
                      <a:pt x="52" y="53"/>
                      <a:pt x="52" y="53"/>
                    </a:cubicBezTo>
                    <a:cubicBezTo>
                      <a:pt x="51" y="53"/>
                      <a:pt x="50" y="53"/>
                      <a:pt x="49" y="53"/>
                    </a:cubicBezTo>
                    <a:cubicBezTo>
                      <a:pt x="45" y="53"/>
                      <a:pt x="42" y="52"/>
                      <a:pt x="39" y="51"/>
                    </a:cubicBezTo>
                    <a:cubicBezTo>
                      <a:pt x="36" y="50"/>
                      <a:pt x="33" y="49"/>
                      <a:pt x="30" y="49"/>
                    </a:cubicBezTo>
                    <a:cubicBezTo>
                      <a:pt x="30" y="49"/>
                      <a:pt x="30" y="49"/>
                      <a:pt x="30" y="49"/>
                    </a:cubicBezTo>
                    <a:cubicBezTo>
                      <a:pt x="28" y="48"/>
                      <a:pt x="26" y="48"/>
                      <a:pt x="25" y="48"/>
                    </a:cubicBezTo>
                    <a:cubicBezTo>
                      <a:pt x="24" y="48"/>
                      <a:pt x="24" y="48"/>
                      <a:pt x="23" y="48"/>
                    </a:cubicBezTo>
                    <a:cubicBezTo>
                      <a:pt x="23" y="48"/>
                      <a:pt x="23" y="48"/>
                      <a:pt x="22" y="48"/>
                    </a:cubicBezTo>
                    <a:cubicBezTo>
                      <a:pt x="21" y="48"/>
                      <a:pt x="21" y="48"/>
                      <a:pt x="20" y="48"/>
                    </a:cubicBezTo>
                    <a:cubicBezTo>
                      <a:pt x="19" y="48"/>
                      <a:pt x="18" y="49"/>
                      <a:pt x="17" y="49"/>
                    </a:cubicBezTo>
                    <a:cubicBezTo>
                      <a:pt x="15" y="49"/>
                      <a:pt x="13" y="48"/>
                      <a:pt x="12" y="48"/>
                    </a:cubicBezTo>
                    <a:cubicBezTo>
                      <a:pt x="10" y="51"/>
                      <a:pt x="11" y="54"/>
                      <a:pt x="11" y="59"/>
                    </a:cubicBezTo>
                    <a:cubicBezTo>
                      <a:pt x="11" y="67"/>
                      <a:pt x="10" y="77"/>
                      <a:pt x="12" y="85"/>
                    </a:cubicBezTo>
                    <a:cubicBezTo>
                      <a:pt x="16" y="96"/>
                      <a:pt x="26" y="94"/>
                      <a:pt x="36" y="96"/>
                    </a:cubicBezTo>
                    <a:cubicBezTo>
                      <a:pt x="44" y="98"/>
                      <a:pt x="52" y="100"/>
                      <a:pt x="61" y="100"/>
                    </a:cubicBezTo>
                    <a:cubicBezTo>
                      <a:pt x="62" y="100"/>
                      <a:pt x="63" y="100"/>
                      <a:pt x="63" y="100"/>
                    </a:cubicBezTo>
                    <a:cubicBezTo>
                      <a:pt x="63" y="100"/>
                      <a:pt x="64" y="100"/>
                      <a:pt x="64" y="100"/>
                    </a:cubicBezTo>
                    <a:cubicBezTo>
                      <a:pt x="67" y="100"/>
                      <a:pt x="68" y="103"/>
                      <a:pt x="67" y="105"/>
                    </a:cubicBezTo>
                    <a:cubicBezTo>
                      <a:pt x="68" y="106"/>
                      <a:pt x="68" y="107"/>
                      <a:pt x="68" y="108"/>
                    </a:cubicBezTo>
                    <a:cubicBezTo>
                      <a:pt x="69" y="120"/>
                      <a:pt x="62" y="131"/>
                      <a:pt x="62" y="142"/>
                    </a:cubicBezTo>
                    <a:cubicBezTo>
                      <a:pt x="63" y="151"/>
                      <a:pt x="69" y="152"/>
                      <a:pt x="76" y="155"/>
                    </a:cubicBezTo>
                    <a:cubicBezTo>
                      <a:pt x="83" y="157"/>
                      <a:pt x="89" y="160"/>
                      <a:pt x="97" y="161"/>
                    </a:cubicBezTo>
                    <a:cubicBezTo>
                      <a:pt x="100" y="161"/>
                      <a:pt x="102" y="162"/>
                      <a:pt x="104" y="162"/>
                    </a:cubicBezTo>
                    <a:cubicBezTo>
                      <a:pt x="106" y="162"/>
                      <a:pt x="108" y="161"/>
                      <a:pt x="111" y="158"/>
                    </a:cubicBezTo>
                    <a:cubicBezTo>
                      <a:pt x="111" y="158"/>
                      <a:pt x="111" y="158"/>
                      <a:pt x="111" y="158"/>
                    </a:cubicBezTo>
                    <a:cubicBezTo>
                      <a:pt x="111" y="157"/>
                      <a:pt x="111" y="156"/>
                      <a:pt x="111" y="155"/>
                    </a:cubicBezTo>
                    <a:cubicBezTo>
                      <a:pt x="111" y="152"/>
                      <a:pt x="111" y="148"/>
                      <a:pt x="111" y="145"/>
                    </a:cubicBezTo>
                    <a:cubicBezTo>
                      <a:pt x="111" y="137"/>
                      <a:pt x="112" y="130"/>
                      <a:pt x="115" y="124"/>
                    </a:cubicBezTo>
                    <a:cubicBezTo>
                      <a:pt x="115" y="124"/>
                      <a:pt x="115" y="124"/>
                      <a:pt x="115" y="124"/>
                    </a:cubicBezTo>
                    <a:cubicBezTo>
                      <a:pt x="116" y="124"/>
                      <a:pt x="116" y="124"/>
                      <a:pt x="116" y="124"/>
                    </a:cubicBezTo>
                    <a:cubicBezTo>
                      <a:pt x="117" y="122"/>
                      <a:pt x="117" y="120"/>
                      <a:pt x="118" y="118"/>
                    </a:cubicBezTo>
                    <a:cubicBezTo>
                      <a:pt x="115" y="117"/>
                      <a:pt x="116" y="112"/>
                      <a:pt x="120" y="112"/>
                    </a:cubicBezTo>
                    <a:cubicBezTo>
                      <a:pt x="123" y="111"/>
                      <a:pt x="128" y="111"/>
                      <a:pt x="132" y="111"/>
                    </a:cubicBezTo>
                    <a:cubicBezTo>
                      <a:pt x="136" y="111"/>
                      <a:pt x="140" y="111"/>
                      <a:pt x="144" y="112"/>
                    </a:cubicBezTo>
                    <a:cubicBezTo>
                      <a:pt x="149" y="112"/>
                      <a:pt x="153" y="114"/>
                      <a:pt x="158" y="114"/>
                    </a:cubicBezTo>
                    <a:cubicBezTo>
                      <a:pt x="159" y="114"/>
                      <a:pt x="159" y="114"/>
                      <a:pt x="160" y="114"/>
                    </a:cubicBezTo>
                    <a:cubicBezTo>
                      <a:pt x="165" y="113"/>
                      <a:pt x="168" y="111"/>
                      <a:pt x="170" y="108"/>
                    </a:cubicBezTo>
                    <a:cubicBezTo>
                      <a:pt x="170" y="104"/>
                      <a:pt x="170" y="100"/>
                      <a:pt x="171" y="97"/>
                    </a:cubicBezTo>
                    <a:cubicBezTo>
                      <a:pt x="171" y="91"/>
                      <a:pt x="172" y="80"/>
                      <a:pt x="166" y="74"/>
                    </a:cubicBezTo>
                    <a:cubicBezTo>
                      <a:pt x="159" y="70"/>
                      <a:pt x="149" y="70"/>
                      <a:pt x="144" y="68"/>
                    </a:cubicBezTo>
                    <a:cubicBezTo>
                      <a:pt x="136" y="68"/>
                      <a:pt x="129" y="66"/>
                      <a:pt x="124" y="65"/>
                    </a:cubicBezTo>
                    <a:cubicBezTo>
                      <a:pt x="122" y="65"/>
                      <a:pt x="121" y="65"/>
                      <a:pt x="120" y="65"/>
                    </a:cubicBezTo>
                    <a:cubicBezTo>
                      <a:pt x="118" y="65"/>
                      <a:pt x="117" y="64"/>
                      <a:pt x="114" y="62"/>
                    </a:cubicBezTo>
                    <a:cubicBezTo>
                      <a:pt x="114" y="62"/>
                      <a:pt x="114" y="62"/>
                      <a:pt x="114" y="62"/>
                    </a:cubicBezTo>
                    <a:cubicBezTo>
                      <a:pt x="114" y="62"/>
                      <a:pt x="114" y="62"/>
                      <a:pt x="114" y="62"/>
                    </a:cubicBezTo>
                    <a:cubicBezTo>
                      <a:pt x="115" y="62"/>
                      <a:pt x="115" y="62"/>
                      <a:pt x="115" y="62"/>
                    </a:cubicBezTo>
                    <a:cubicBezTo>
                      <a:pt x="114" y="62"/>
                      <a:pt x="114" y="61"/>
                      <a:pt x="114" y="60"/>
                    </a:cubicBezTo>
                    <a:cubicBezTo>
                      <a:pt x="114" y="59"/>
                      <a:pt x="114" y="58"/>
                      <a:pt x="114" y="56"/>
                    </a:cubicBezTo>
                    <a:cubicBezTo>
                      <a:pt x="114" y="54"/>
                      <a:pt x="114" y="52"/>
                      <a:pt x="114" y="50"/>
                    </a:cubicBezTo>
                    <a:cubicBezTo>
                      <a:pt x="114" y="44"/>
                      <a:pt x="115" y="37"/>
                      <a:pt x="115" y="32"/>
                    </a:cubicBezTo>
                    <a:cubicBezTo>
                      <a:pt x="116" y="29"/>
                      <a:pt x="117" y="27"/>
                      <a:pt x="118" y="25"/>
                    </a:cubicBezTo>
                    <a:cubicBezTo>
                      <a:pt x="118" y="23"/>
                      <a:pt x="118" y="22"/>
                      <a:pt x="119" y="20"/>
                    </a:cubicBezTo>
                    <a:cubicBezTo>
                      <a:pt x="119" y="20"/>
                      <a:pt x="119" y="20"/>
                      <a:pt x="119" y="20"/>
                    </a:cubicBezTo>
                    <a:cubicBezTo>
                      <a:pt x="119" y="20"/>
                      <a:pt x="119" y="20"/>
                      <a:pt x="119" y="19"/>
                    </a:cubicBezTo>
                    <a:cubicBezTo>
                      <a:pt x="119" y="18"/>
                      <a:pt x="118" y="16"/>
                      <a:pt x="118" y="15"/>
                    </a:cubicBezTo>
                    <a:cubicBezTo>
                      <a:pt x="114" y="8"/>
                      <a:pt x="107" y="6"/>
                      <a:pt x="100" y="4"/>
                    </a:cubicBezTo>
                    <a:cubicBezTo>
                      <a:pt x="94" y="3"/>
                      <a:pt x="86" y="0"/>
                      <a:pt x="80" y="0"/>
                    </a:cubicBezTo>
                  </a:path>
                </a:pathLst>
              </a:custGeom>
              <a:solidFill>
                <a:srgbClr val="F9CE8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335" name="Freeform 7">
                <a:extLst>
                  <a:ext uri="{FF2B5EF4-FFF2-40B4-BE49-F238E27FC236}">
                    <a16:creationId xmlns:a16="http://schemas.microsoft.com/office/drawing/2014/main" id="{139B5565-908D-4B77-9B5C-4498EA10D6B5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6493" y="1829"/>
                <a:ext cx="71" cy="68"/>
              </a:xfrm>
              <a:custGeom>
                <a:avLst/>
                <a:gdLst>
                  <a:gd name="T0" fmla="*/ 3 w 67"/>
                  <a:gd name="T1" fmla="*/ 17 h 64"/>
                  <a:gd name="T2" fmla="*/ 2 w 67"/>
                  <a:gd name="T3" fmla="*/ 20 h 64"/>
                  <a:gd name="T4" fmla="*/ 0 w 67"/>
                  <a:gd name="T5" fmla="*/ 32 h 64"/>
                  <a:gd name="T6" fmla="*/ 5 w 67"/>
                  <a:gd name="T7" fmla="*/ 49 h 64"/>
                  <a:gd name="T8" fmla="*/ 35 w 67"/>
                  <a:gd name="T9" fmla="*/ 64 h 64"/>
                  <a:gd name="T10" fmla="*/ 42 w 67"/>
                  <a:gd name="T11" fmla="*/ 63 h 64"/>
                  <a:gd name="T12" fmla="*/ 58 w 67"/>
                  <a:gd name="T13" fmla="*/ 55 h 64"/>
                  <a:gd name="T14" fmla="*/ 56 w 67"/>
                  <a:gd name="T15" fmla="*/ 56 h 64"/>
                  <a:gd name="T16" fmla="*/ 41 w 67"/>
                  <a:gd name="T17" fmla="*/ 59 h 64"/>
                  <a:gd name="T18" fmla="*/ 4 w 67"/>
                  <a:gd name="T19" fmla="*/ 35 h 64"/>
                  <a:gd name="T20" fmla="*/ 3 w 67"/>
                  <a:gd name="T21" fmla="*/ 17 h 64"/>
                  <a:gd name="T22" fmla="*/ 44 w 67"/>
                  <a:gd name="T23" fmla="*/ 0 h 64"/>
                  <a:gd name="T24" fmla="*/ 41 w 67"/>
                  <a:gd name="T25" fmla="*/ 1 h 64"/>
                  <a:gd name="T26" fmla="*/ 26 w 67"/>
                  <a:gd name="T27" fmla="*/ 3 h 64"/>
                  <a:gd name="T28" fmla="*/ 17 w 67"/>
                  <a:gd name="T29" fmla="*/ 5 h 64"/>
                  <a:gd name="T30" fmla="*/ 16 w 67"/>
                  <a:gd name="T31" fmla="*/ 5 h 64"/>
                  <a:gd name="T32" fmla="*/ 14 w 67"/>
                  <a:gd name="T33" fmla="*/ 39 h 64"/>
                  <a:gd name="T34" fmla="*/ 41 w 67"/>
                  <a:gd name="T35" fmla="*/ 52 h 64"/>
                  <a:gd name="T36" fmla="*/ 58 w 67"/>
                  <a:gd name="T37" fmla="*/ 47 h 64"/>
                  <a:gd name="T38" fmla="*/ 66 w 67"/>
                  <a:gd name="T39" fmla="*/ 38 h 64"/>
                  <a:gd name="T40" fmla="*/ 67 w 67"/>
                  <a:gd name="T41" fmla="*/ 33 h 64"/>
                  <a:gd name="T42" fmla="*/ 62 w 67"/>
                  <a:gd name="T43" fmla="*/ 17 h 64"/>
                  <a:gd name="T44" fmla="*/ 44 w 67"/>
                  <a:gd name="T45" fmla="*/ 0 h 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67" h="64">
                    <a:moveTo>
                      <a:pt x="3" y="17"/>
                    </a:moveTo>
                    <a:cubicBezTo>
                      <a:pt x="3" y="18"/>
                      <a:pt x="2" y="19"/>
                      <a:pt x="2" y="20"/>
                    </a:cubicBezTo>
                    <a:cubicBezTo>
                      <a:pt x="1" y="23"/>
                      <a:pt x="0" y="28"/>
                      <a:pt x="0" y="32"/>
                    </a:cubicBezTo>
                    <a:cubicBezTo>
                      <a:pt x="0" y="38"/>
                      <a:pt x="1" y="44"/>
                      <a:pt x="5" y="49"/>
                    </a:cubicBezTo>
                    <a:cubicBezTo>
                      <a:pt x="12" y="59"/>
                      <a:pt x="23" y="64"/>
                      <a:pt x="35" y="64"/>
                    </a:cubicBezTo>
                    <a:cubicBezTo>
                      <a:pt x="37" y="64"/>
                      <a:pt x="40" y="64"/>
                      <a:pt x="42" y="63"/>
                    </a:cubicBezTo>
                    <a:cubicBezTo>
                      <a:pt x="48" y="62"/>
                      <a:pt x="54" y="59"/>
                      <a:pt x="58" y="55"/>
                    </a:cubicBezTo>
                    <a:cubicBezTo>
                      <a:pt x="57" y="55"/>
                      <a:pt x="56" y="56"/>
                      <a:pt x="56" y="56"/>
                    </a:cubicBezTo>
                    <a:cubicBezTo>
                      <a:pt x="51" y="58"/>
                      <a:pt x="46" y="59"/>
                      <a:pt x="41" y="59"/>
                    </a:cubicBezTo>
                    <a:cubicBezTo>
                      <a:pt x="25" y="59"/>
                      <a:pt x="10" y="50"/>
                      <a:pt x="4" y="35"/>
                    </a:cubicBezTo>
                    <a:cubicBezTo>
                      <a:pt x="2" y="29"/>
                      <a:pt x="2" y="23"/>
                      <a:pt x="3" y="17"/>
                    </a:cubicBezTo>
                    <a:moveTo>
                      <a:pt x="44" y="0"/>
                    </a:moveTo>
                    <a:cubicBezTo>
                      <a:pt x="43" y="0"/>
                      <a:pt x="42" y="1"/>
                      <a:pt x="41" y="1"/>
                    </a:cubicBezTo>
                    <a:cubicBezTo>
                      <a:pt x="26" y="3"/>
                      <a:pt x="26" y="3"/>
                      <a:pt x="26" y="3"/>
                    </a:cubicBezTo>
                    <a:cubicBezTo>
                      <a:pt x="22" y="3"/>
                      <a:pt x="20" y="4"/>
                      <a:pt x="17" y="5"/>
                    </a:cubicBezTo>
                    <a:cubicBezTo>
                      <a:pt x="17" y="5"/>
                      <a:pt x="16" y="5"/>
                      <a:pt x="16" y="5"/>
                    </a:cubicBezTo>
                    <a:cubicBezTo>
                      <a:pt x="8" y="14"/>
                      <a:pt x="8" y="29"/>
                      <a:pt x="14" y="39"/>
                    </a:cubicBezTo>
                    <a:cubicBezTo>
                      <a:pt x="20" y="48"/>
                      <a:pt x="31" y="52"/>
                      <a:pt x="41" y="52"/>
                    </a:cubicBezTo>
                    <a:cubicBezTo>
                      <a:pt x="47" y="52"/>
                      <a:pt x="53" y="50"/>
                      <a:pt x="58" y="47"/>
                    </a:cubicBezTo>
                    <a:cubicBezTo>
                      <a:pt x="62" y="45"/>
                      <a:pt x="64" y="42"/>
                      <a:pt x="66" y="38"/>
                    </a:cubicBezTo>
                    <a:cubicBezTo>
                      <a:pt x="67" y="37"/>
                      <a:pt x="67" y="35"/>
                      <a:pt x="67" y="33"/>
                    </a:cubicBezTo>
                    <a:cubicBezTo>
                      <a:pt x="67" y="28"/>
                      <a:pt x="65" y="22"/>
                      <a:pt x="62" y="17"/>
                    </a:cubicBezTo>
                    <a:cubicBezTo>
                      <a:pt x="58" y="10"/>
                      <a:pt x="51" y="0"/>
                      <a:pt x="44" y="0"/>
                    </a:cubicBezTo>
                  </a:path>
                </a:pathLst>
              </a:custGeom>
              <a:solidFill>
                <a:srgbClr val="F9CE8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336" name="Freeform 8">
                <a:extLst>
                  <a:ext uri="{FF2B5EF4-FFF2-40B4-BE49-F238E27FC236}">
                    <a16:creationId xmlns:a16="http://schemas.microsoft.com/office/drawing/2014/main" id="{DFF2111C-B711-4522-90C9-2B92B4606DDC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6284" y="1791"/>
                <a:ext cx="83" cy="77"/>
              </a:xfrm>
              <a:custGeom>
                <a:avLst/>
                <a:gdLst>
                  <a:gd name="T0" fmla="*/ 5 w 78"/>
                  <a:gd name="T1" fmla="*/ 23 h 73"/>
                  <a:gd name="T2" fmla="*/ 5 w 78"/>
                  <a:gd name="T3" fmla="*/ 24 h 73"/>
                  <a:gd name="T4" fmla="*/ 0 w 78"/>
                  <a:gd name="T5" fmla="*/ 43 h 73"/>
                  <a:gd name="T6" fmla="*/ 2 w 78"/>
                  <a:gd name="T7" fmla="*/ 50 h 73"/>
                  <a:gd name="T8" fmla="*/ 14 w 78"/>
                  <a:gd name="T9" fmla="*/ 67 h 73"/>
                  <a:gd name="T10" fmla="*/ 38 w 78"/>
                  <a:gd name="T11" fmla="*/ 72 h 73"/>
                  <a:gd name="T12" fmla="*/ 49 w 78"/>
                  <a:gd name="T13" fmla="*/ 73 h 73"/>
                  <a:gd name="T14" fmla="*/ 69 w 78"/>
                  <a:gd name="T15" fmla="*/ 65 h 73"/>
                  <a:gd name="T16" fmla="*/ 70 w 78"/>
                  <a:gd name="T17" fmla="*/ 63 h 73"/>
                  <a:gd name="T18" fmla="*/ 51 w 78"/>
                  <a:gd name="T19" fmla="*/ 67 h 73"/>
                  <a:gd name="T20" fmla="*/ 44 w 78"/>
                  <a:gd name="T21" fmla="*/ 67 h 73"/>
                  <a:gd name="T22" fmla="*/ 11 w 78"/>
                  <a:gd name="T23" fmla="*/ 55 h 73"/>
                  <a:gd name="T24" fmla="*/ 5 w 78"/>
                  <a:gd name="T25" fmla="*/ 26 h 73"/>
                  <a:gd name="T26" fmla="*/ 5 w 78"/>
                  <a:gd name="T27" fmla="*/ 23 h 73"/>
                  <a:gd name="T28" fmla="*/ 42 w 78"/>
                  <a:gd name="T29" fmla="*/ 0 h 73"/>
                  <a:gd name="T30" fmla="*/ 26 w 78"/>
                  <a:gd name="T31" fmla="*/ 5 h 73"/>
                  <a:gd name="T32" fmla="*/ 12 w 78"/>
                  <a:gd name="T33" fmla="*/ 25 h 73"/>
                  <a:gd name="T34" fmla="*/ 47 w 78"/>
                  <a:gd name="T35" fmla="*/ 61 h 73"/>
                  <a:gd name="T36" fmla="*/ 56 w 78"/>
                  <a:gd name="T37" fmla="*/ 61 h 73"/>
                  <a:gd name="T38" fmla="*/ 76 w 78"/>
                  <a:gd name="T39" fmla="*/ 51 h 73"/>
                  <a:gd name="T40" fmla="*/ 77 w 78"/>
                  <a:gd name="T41" fmla="*/ 50 h 73"/>
                  <a:gd name="T42" fmla="*/ 78 w 78"/>
                  <a:gd name="T43" fmla="*/ 42 h 73"/>
                  <a:gd name="T44" fmla="*/ 78 w 78"/>
                  <a:gd name="T45" fmla="*/ 38 h 73"/>
                  <a:gd name="T46" fmla="*/ 48 w 78"/>
                  <a:gd name="T47" fmla="*/ 1 h 73"/>
                  <a:gd name="T48" fmla="*/ 42 w 78"/>
                  <a:gd name="T49" fmla="*/ 0 h 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78" h="73">
                    <a:moveTo>
                      <a:pt x="5" y="23"/>
                    </a:moveTo>
                    <a:cubicBezTo>
                      <a:pt x="5" y="24"/>
                      <a:pt x="5" y="24"/>
                      <a:pt x="5" y="24"/>
                    </a:cubicBezTo>
                    <a:cubicBezTo>
                      <a:pt x="3" y="31"/>
                      <a:pt x="0" y="37"/>
                      <a:pt x="0" y="43"/>
                    </a:cubicBezTo>
                    <a:cubicBezTo>
                      <a:pt x="0" y="46"/>
                      <a:pt x="1" y="48"/>
                      <a:pt x="2" y="50"/>
                    </a:cubicBezTo>
                    <a:cubicBezTo>
                      <a:pt x="4" y="57"/>
                      <a:pt x="8" y="64"/>
                      <a:pt x="14" y="67"/>
                    </a:cubicBezTo>
                    <a:cubicBezTo>
                      <a:pt x="21" y="71"/>
                      <a:pt x="31" y="72"/>
                      <a:pt x="38" y="72"/>
                    </a:cubicBezTo>
                    <a:cubicBezTo>
                      <a:pt x="42" y="73"/>
                      <a:pt x="45" y="73"/>
                      <a:pt x="49" y="73"/>
                    </a:cubicBezTo>
                    <a:cubicBezTo>
                      <a:pt x="56" y="73"/>
                      <a:pt x="63" y="71"/>
                      <a:pt x="69" y="65"/>
                    </a:cubicBezTo>
                    <a:cubicBezTo>
                      <a:pt x="69" y="64"/>
                      <a:pt x="70" y="64"/>
                      <a:pt x="70" y="63"/>
                    </a:cubicBezTo>
                    <a:cubicBezTo>
                      <a:pt x="65" y="66"/>
                      <a:pt x="58" y="67"/>
                      <a:pt x="51" y="67"/>
                    </a:cubicBezTo>
                    <a:cubicBezTo>
                      <a:pt x="49" y="67"/>
                      <a:pt x="46" y="67"/>
                      <a:pt x="44" y="67"/>
                    </a:cubicBezTo>
                    <a:cubicBezTo>
                      <a:pt x="32" y="66"/>
                      <a:pt x="20" y="66"/>
                      <a:pt x="11" y="55"/>
                    </a:cubicBezTo>
                    <a:cubicBezTo>
                      <a:pt x="4" y="47"/>
                      <a:pt x="2" y="36"/>
                      <a:pt x="5" y="26"/>
                    </a:cubicBezTo>
                    <a:cubicBezTo>
                      <a:pt x="5" y="25"/>
                      <a:pt x="5" y="24"/>
                      <a:pt x="5" y="23"/>
                    </a:cubicBezTo>
                    <a:moveTo>
                      <a:pt x="42" y="0"/>
                    </a:moveTo>
                    <a:cubicBezTo>
                      <a:pt x="37" y="1"/>
                      <a:pt x="31" y="2"/>
                      <a:pt x="26" y="5"/>
                    </a:cubicBezTo>
                    <a:cubicBezTo>
                      <a:pt x="20" y="9"/>
                      <a:pt x="15" y="15"/>
                      <a:pt x="12" y="25"/>
                    </a:cubicBezTo>
                    <a:cubicBezTo>
                      <a:pt x="5" y="51"/>
                      <a:pt x="26" y="58"/>
                      <a:pt x="47" y="61"/>
                    </a:cubicBezTo>
                    <a:cubicBezTo>
                      <a:pt x="50" y="61"/>
                      <a:pt x="53" y="61"/>
                      <a:pt x="56" y="61"/>
                    </a:cubicBezTo>
                    <a:cubicBezTo>
                      <a:pt x="64" y="61"/>
                      <a:pt x="70" y="59"/>
                      <a:pt x="76" y="51"/>
                    </a:cubicBezTo>
                    <a:cubicBezTo>
                      <a:pt x="77" y="50"/>
                      <a:pt x="77" y="50"/>
                      <a:pt x="77" y="50"/>
                    </a:cubicBezTo>
                    <a:cubicBezTo>
                      <a:pt x="78" y="47"/>
                      <a:pt x="78" y="44"/>
                      <a:pt x="78" y="42"/>
                    </a:cubicBezTo>
                    <a:cubicBezTo>
                      <a:pt x="78" y="41"/>
                      <a:pt x="78" y="39"/>
                      <a:pt x="78" y="38"/>
                    </a:cubicBezTo>
                    <a:cubicBezTo>
                      <a:pt x="75" y="20"/>
                      <a:pt x="63" y="7"/>
                      <a:pt x="48" y="1"/>
                    </a:cubicBezTo>
                    <a:cubicBezTo>
                      <a:pt x="42" y="0"/>
                      <a:pt x="42" y="0"/>
                      <a:pt x="42" y="0"/>
                    </a:cubicBezTo>
                  </a:path>
                </a:pathLst>
              </a:custGeom>
              <a:solidFill>
                <a:srgbClr val="F9CE8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337" name="Freeform 9">
                <a:extLst>
                  <a:ext uri="{FF2B5EF4-FFF2-40B4-BE49-F238E27FC236}">
                    <a16:creationId xmlns:a16="http://schemas.microsoft.com/office/drawing/2014/main" id="{778C7AB6-951E-4C0D-947B-7EA941452D15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6380" y="1887"/>
                <a:ext cx="85" cy="78"/>
              </a:xfrm>
              <a:custGeom>
                <a:avLst/>
                <a:gdLst>
                  <a:gd name="T0" fmla="*/ 3 w 80"/>
                  <a:gd name="T1" fmla="*/ 21 h 73"/>
                  <a:gd name="T2" fmla="*/ 1 w 80"/>
                  <a:gd name="T3" fmla="*/ 30 h 73"/>
                  <a:gd name="T4" fmla="*/ 0 w 80"/>
                  <a:gd name="T5" fmla="*/ 33 h 73"/>
                  <a:gd name="T6" fmla="*/ 15 w 80"/>
                  <a:gd name="T7" fmla="*/ 63 h 73"/>
                  <a:gd name="T8" fmla="*/ 35 w 80"/>
                  <a:gd name="T9" fmla="*/ 72 h 73"/>
                  <a:gd name="T10" fmla="*/ 45 w 80"/>
                  <a:gd name="T11" fmla="*/ 73 h 73"/>
                  <a:gd name="T12" fmla="*/ 64 w 80"/>
                  <a:gd name="T13" fmla="*/ 66 h 73"/>
                  <a:gd name="T14" fmla="*/ 65 w 80"/>
                  <a:gd name="T15" fmla="*/ 65 h 73"/>
                  <a:gd name="T16" fmla="*/ 50 w 80"/>
                  <a:gd name="T17" fmla="*/ 69 h 73"/>
                  <a:gd name="T18" fmla="*/ 46 w 80"/>
                  <a:gd name="T19" fmla="*/ 68 h 73"/>
                  <a:gd name="T20" fmla="*/ 3 w 80"/>
                  <a:gd name="T21" fmla="*/ 21 h 73"/>
                  <a:gd name="T22" fmla="*/ 33 w 80"/>
                  <a:gd name="T23" fmla="*/ 0 h 73"/>
                  <a:gd name="T24" fmla="*/ 22 w 80"/>
                  <a:gd name="T25" fmla="*/ 2 h 73"/>
                  <a:gd name="T26" fmla="*/ 11 w 80"/>
                  <a:gd name="T27" fmla="*/ 22 h 73"/>
                  <a:gd name="T28" fmla="*/ 47 w 80"/>
                  <a:gd name="T29" fmla="*/ 61 h 73"/>
                  <a:gd name="T30" fmla="*/ 51 w 80"/>
                  <a:gd name="T31" fmla="*/ 61 h 73"/>
                  <a:gd name="T32" fmla="*/ 79 w 80"/>
                  <a:gd name="T33" fmla="*/ 41 h 73"/>
                  <a:gd name="T34" fmla="*/ 79 w 80"/>
                  <a:gd name="T35" fmla="*/ 39 h 73"/>
                  <a:gd name="T36" fmla="*/ 80 w 80"/>
                  <a:gd name="T37" fmla="*/ 33 h 73"/>
                  <a:gd name="T38" fmla="*/ 70 w 80"/>
                  <a:gd name="T39" fmla="*/ 8 h 73"/>
                  <a:gd name="T40" fmla="*/ 45 w 80"/>
                  <a:gd name="T41" fmla="*/ 1 h 73"/>
                  <a:gd name="T42" fmla="*/ 45 w 80"/>
                  <a:gd name="T43" fmla="*/ 1 h 73"/>
                  <a:gd name="T44" fmla="*/ 33 w 80"/>
                  <a:gd name="T45" fmla="*/ 0 h 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80" h="73">
                    <a:moveTo>
                      <a:pt x="3" y="21"/>
                    </a:moveTo>
                    <a:cubicBezTo>
                      <a:pt x="2" y="24"/>
                      <a:pt x="1" y="27"/>
                      <a:pt x="1" y="30"/>
                    </a:cubicBezTo>
                    <a:cubicBezTo>
                      <a:pt x="0" y="31"/>
                      <a:pt x="0" y="32"/>
                      <a:pt x="0" y="33"/>
                    </a:cubicBezTo>
                    <a:cubicBezTo>
                      <a:pt x="0" y="43"/>
                      <a:pt x="6" y="55"/>
                      <a:pt x="15" y="63"/>
                    </a:cubicBezTo>
                    <a:cubicBezTo>
                      <a:pt x="21" y="68"/>
                      <a:pt x="28" y="70"/>
                      <a:pt x="35" y="72"/>
                    </a:cubicBezTo>
                    <a:cubicBezTo>
                      <a:pt x="39" y="73"/>
                      <a:pt x="42" y="73"/>
                      <a:pt x="45" y="73"/>
                    </a:cubicBezTo>
                    <a:cubicBezTo>
                      <a:pt x="51" y="73"/>
                      <a:pt x="57" y="71"/>
                      <a:pt x="64" y="66"/>
                    </a:cubicBezTo>
                    <a:cubicBezTo>
                      <a:pt x="64" y="66"/>
                      <a:pt x="65" y="65"/>
                      <a:pt x="65" y="65"/>
                    </a:cubicBezTo>
                    <a:cubicBezTo>
                      <a:pt x="61" y="67"/>
                      <a:pt x="55" y="69"/>
                      <a:pt x="50" y="69"/>
                    </a:cubicBezTo>
                    <a:cubicBezTo>
                      <a:pt x="49" y="69"/>
                      <a:pt x="47" y="68"/>
                      <a:pt x="46" y="68"/>
                    </a:cubicBezTo>
                    <a:cubicBezTo>
                      <a:pt x="23" y="65"/>
                      <a:pt x="0" y="46"/>
                      <a:pt x="3" y="21"/>
                    </a:cubicBezTo>
                    <a:moveTo>
                      <a:pt x="33" y="0"/>
                    </a:moveTo>
                    <a:cubicBezTo>
                      <a:pt x="30" y="0"/>
                      <a:pt x="26" y="1"/>
                      <a:pt x="22" y="2"/>
                    </a:cubicBezTo>
                    <a:cubicBezTo>
                      <a:pt x="17" y="7"/>
                      <a:pt x="12" y="15"/>
                      <a:pt x="11" y="22"/>
                    </a:cubicBezTo>
                    <a:cubicBezTo>
                      <a:pt x="8" y="43"/>
                      <a:pt x="28" y="58"/>
                      <a:pt x="47" y="61"/>
                    </a:cubicBezTo>
                    <a:cubicBezTo>
                      <a:pt x="48" y="61"/>
                      <a:pt x="49" y="61"/>
                      <a:pt x="51" y="61"/>
                    </a:cubicBezTo>
                    <a:cubicBezTo>
                      <a:pt x="63" y="61"/>
                      <a:pt x="73" y="53"/>
                      <a:pt x="79" y="41"/>
                    </a:cubicBezTo>
                    <a:cubicBezTo>
                      <a:pt x="79" y="41"/>
                      <a:pt x="79" y="40"/>
                      <a:pt x="79" y="39"/>
                    </a:cubicBezTo>
                    <a:cubicBezTo>
                      <a:pt x="79" y="38"/>
                      <a:pt x="80" y="36"/>
                      <a:pt x="80" y="33"/>
                    </a:cubicBezTo>
                    <a:cubicBezTo>
                      <a:pt x="80" y="25"/>
                      <a:pt x="76" y="14"/>
                      <a:pt x="70" y="8"/>
                    </a:cubicBezTo>
                    <a:cubicBezTo>
                      <a:pt x="64" y="3"/>
                      <a:pt x="52" y="1"/>
                      <a:pt x="45" y="1"/>
                    </a:cubicBezTo>
                    <a:cubicBezTo>
                      <a:pt x="45" y="1"/>
                      <a:pt x="45" y="1"/>
                      <a:pt x="45" y="1"/>
                    </a:cubicBezTo>
                    <a:cubicBezTo>
                      <a:pt x="41" y="1"/>
                      <a:pt x="37" y="0"/>
                      <a:pt x="33" y="0"/>
                    </a:cubicBezTo>
                  </a:path>
                </a:pathLst>
              </a:custGeom>
              <a:solidFill>
                <a:srgbClr val="F9CE8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338" name="Freeform 10">
                <a:extLst>
                  <a:ext uri="{FF2B5EF4-FFF2-40B4-BE49-F238E27FC236}">
                    <a16:creationId xmlns:a16="http://schemas.microsoft.com/office/drawing/2014/main" id="{2CA04826-BF42-4023-81E8-7240ED1B4A15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6387" y="1732"/>
                <a:ext cx="77" cy="78"/>
              </a:xfrm>
              <a:custGeom>
                <a:avLst/>
                <a:gdLst>
                  <a:gd name="T0" fmla="*/ 4 w 72"/>
                  <a:gd name="T1" fmla="*/ 20 h 74"/>
                  <a:gd name="T2" fmla="*/ 1 w 72"/>
                  <a:gd name="T3" fmla="*/ 28 h 74"/>
                  <a:gd name="T4" fmla="*/ 0 w 72"/>
                  <a:gd name="T5" fmla="*/ 35 h 74"/>
                  <a:gd name="T6" fmla="*/ 33 w 72"/>
                  <a:gd name="T7" fmla="*/ 74 h 74"/>
                  <a:gd name="T8" fmla="*/ 36 w 72"/>
                  <a:gd name="T9" fmla="*/ 74 h 74"/>
                  <a:gd name="T10" fmla="*/ 59 w 72"/>
                  <a:gd name="T11" fmla="*/ 65 h 74"/>
                  <a:gd name="T12" fmla="*/ 44 w 72"/>
                  <a:gd name="T13" fmla="*/ 69 h 74"/>
                  <a:gd name="T14" fmla="*/ 34 w 72"/>
                  <a:gd name="T15" fmla="*/ 67 h 74"/>
                  <a:gd name="T16" fmla="*/ 4 w 72"/>
                  <a:gd name="T17" fmla="*/ 20 h 74"/>
                  <a:gd name="T18" fmla="*/ 26 w 72"/>
                  <a:gd name="T19" fmla="*/ 0 h 74"/>
                  <a:gd name="T20" fmla="*/ 23 w 72"/>
                  <a:gd name="T21" fmla="*/ 0 h 74"/>
                  <a:gd name="T22" fmla="*/ 16 w 72"/>
                  <a:gd name="T23" fmla="*/ 8 h 74"/>
                  <a:gd name="T24" fmla="*/ 10 w 72"/>
                  <a:gd name="T25" fmla="*/ 31 h 74"/>
                  <a:gd name="T26" fmla="*/ 43 w 72"/>
                  <a:gd name="T27" fmla="*/ 63 h 74"/>
                  <a:gd name="T28" fmla="*/ 44 w 72"/>
                  <a:gd name="T29" fmla="*/ 63 h 74"/>
                  <a:gd name="T30" fmla="*/ 71 w 72"/>
                  <a:gd name="T31" fmla="*/ 45 h 74"/>
                  <a:gd name="T32" fmla="*/ 72 w 72"/>
                  <a:gd name="T33" fmla="*/ 37 h 74"/>
                  <a:gd name="T34" fmla="*/ 71 w 72"/>
                  <a:gd name="T35" fmla="*/ 32 h 74"/>
                  <a:gd name="T36" fmla="*/ 57 w 72"/>
                  <a:gd name="T37" fmla="*/ 5 h 74"/>
                  <a:gd name="T38" fmla="*/ 41 w 72"/>
                  <a:gd name="T39" fmla="*/ 1 h 74"/>
                  <a:gd name="T40" fmla="*/ 37 w 72"/>
                  <a:gd name="T41" fmla="*/ 1 h 74"/>
                  <a:gd name="T42" fmla="*/ 26 w 72"/>
                  <a:gd name="T43" fmla="*/ 0 h 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72" h="74">
                    <a:moveTo>
                      <a:pt x="4" y="20"/>
                    </a:moveTo>
                    <a:cubicBezTo>
                      <a:pt x="3" y="23"/>
                      <a:pt x="2" y="26"/>
                      <a:pt x="1" y="28"/>
                    </a:cubicBezTo>
                    <a:cubicBezTo>
                      <a:pt x="1" y="31"/>
                      <a:pt x="0" y="33"/>
                      <a:pt x="0" y="35"/>
                    </a:cubicBezTo>
                    <a:cubicBezTo>
                      <a:pt x="0" y="53"/>
                      <a:pt x="13" y="70"/>
                      <a:pt x="33" y="74"/>
                    </a:cubicBezTo>
                    <a:cubicBezTo>
                      <a:pt x="34" y="74"/>
                      <a:pt x="35" y="74"/>
                      <a:pt x="36" y="74"/>
                    </a:cubicBezTo>
                    <a:cubicBezTo>
                      <a:pt x="45" y="74"/>
                      <a:pt x="53" y="70"/>
                      <a:pt x="59" y="65"/>
                    </a:cubicBezTo>
                    <a:cubicBezTo>
                      <a:pt x="55" y="67"/>
                      <a:pt x="50" y="69"/>
                      <a:pt x="44" y="69"/>
                    </a:cubicBezTo>
                    <a:cubicBezTo>
                      <a:pt x="41" y="69"/>
                      <a:pt x="38" y="68"/>
                      <a:pt x="34" y="67"/>
                    </a:cubicBezTo>
                    <a:cubicBezTo>
                      <a:pt x="15" y="62"/>
                      <a:pt x="0" y="41"/>
                      <a:pt x="4" y="20"/>
                    </a:cubicBezTo>
                    <a:moveTo>
                      <a:pt x="26" y="0"/>
                    </a:moveTo>
                    <a:cubicBezTo>
                      <a:pt x="25" y="0"/>
                      <a:pt x="24" y="0"/>
                      <a:pt x="23" y="0"/>
                    </a:cubicBezTo>
                    <a:cubicBezTo>
                      <a:pt x="20" y="2"/>
                      <a:pt x="18" y="4"/>
                      <a:pt x="16" y="8"/>
                    </a:cubicBezTo>
                    <a:cubicBezTo>
                      <a:pt x="12" y="15"/>
                      <a:pt x="10" y="23"/>
                      <a:pt x="10" y="31"/>
                    </a:cubicBezTo>
                    <a:cubicBezTo>
                      <a:pt x="12" y="47"/>
                      <a:pt x="27" y="63"/>
                      <a:pt x="43" y="63"/>
                    </a:cubicBezTo>
                    <a:cubicBezTo>
                      <a:pt x="43" y="63"/>
                      <a:pt x="44" y="63"/>
                      <a:pt x="44" y="63"/>
                    </a:cubicBezTo>
                    <a:cubicBezTo>
                      <a:pt x="57" y="63"/>
                      <a:pt x="66" y="55"/>
                      <a:pt x="71" y="45"/>
                    </a:cubicBezTo>
                    <a:cubicBezTo>
                      <a:pt x="71" y="43"/>
                      <a:pt x="72" y="40"/>
                      <a:pt x="72" y="37"/>
                    </a:cubicBezTo>
                    <a:cubicBezTo>
                      <a:pt x="72" y="36"/>
                      <a:pt x="72" y="34"/>
                      <a:pt x="71" y="32"/>
                    </a:cubicBezTo>
                    <a:cubicBezTo>
                      <a:pt x="70" y="22"/>
                      <a:pt x="65" y="13"/>
                      <a:pt x="57" y="5"/>
                    </a:cubicBezTo>
                    <a:cubicBezTo>
                      <a:pt x="52" y="2"/>
                      <a:pt x="49" y="1"/>
                      <a:pt x="41" y="1"/>
                    </a:cubicBezTo>
                    <a:cubicBezTo>
                      <a:pt x="37" y="1"/>
                      <a:pt x="37" y="1"/>
                      <a:pt x="37" y="1"/>
                    </a:cubicBezTo>
                    <a:cubicBezTo>
                      <a:pt x="34" y="1"/>
                      <a:pt x="30" y="0"/>
                      <a:pt x="26" y="0"/>
                    </a:cubicBezTo>
                  </a:path>
                </a:pathLst>
              </a:custGeom>
              <a:solidFill>
                <a:srgbClr val="F9CE8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339" name="Freeform 11">
                <a:extLst>
                  <a:ext uri="{FF2B5EF4-FFF2-40B4-BE49-F238E27FC236}">
                    <a16:creationId xmlns:a16="http://schemas.microsoft.com/office/drawing/2014/main" id="{A595E888-7F65-4426-9989-DA078A8BCA6B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6159" y="1677"/>
                <a:ext cx="1061" cy="522"/>
              </a:xfrm>
              <a:custGeom>
                <a:avLst/>
                <a:gdLst>
                  <a:gd name="T0" fmla="*/ 3 w 1001"/>
                  <a:gd name="T1" fmla="*/ 183 h 493"/>
                  <a:gd name="T2" fmla="*/ 124 w 1001"/>
                  <a:gd name="T3" fmla="*/ 376 h 493"/>
                  <a:gd name="T4" fmla="*/ 242 w 1001"/>
                  <a:gd name="T5" fmla="*/ 410 h 493"/>
                  <a:gd name="T6" fmla="*/ 365 w 1001"/>
                  <a:gd name="T7" fmla="*/ 383 h 493"/>
                  <a:gd name="T8" fmla="*/ 413 w 1001"/>
                  <a:gd name="T9" fmla="*/ 386 h 493"/>
                  <a:gd name="T10" fmla="*/ 640 w 1001"/>
                  <a:gd name="T11" fmla="*/ 423 h 493"/>
                  <a:gd name="T12" fmla="*/ 704 w 1001"/>
                  <a:gd name="T13" fmla="*/ 463 h 493"/>
                  <a:gd name="T14" fmla="*/ 796 w 1001"/>
                  <a:gd name="T15" fmla="*/ 492 h 493"/>
                  <a:gd name="T16" fmla="*/ 833 w 1001"/>
                  <a:gd name="T17" fmla="*/ 491 h 493"/>
                  <a:gd name="T18" fmla="*/ 922 w 1001"/>
                  <a:gd name="T19" fmla="*/ 466 h 493"/>
                  <a:gd name="T20" fmla="*/ 825 w 1001"/>
                  <a:gd name="T21" fmla="*/ 488 h 493"/>
                  <a:gd name="T22" fmla="*/ 696 w 1001"/>
                  <a:gd name="T23" fmla="*/ 452 h 493"/>
                  <a:gd name="T24" fmla="*/ 643 w 1001"/>
                  <a:gd name="T25" fmla="*/ 414 h 493"/>
                  <a:gd name="T26" fmla="*/ 445 w 1001"/>
                  <a:gd name="T27" fmla="*/ 385 h 493"/>
                  <a:gd name="T28" fmla="*/ 379 w 1001"/>
                  <a:gd name="T29" fmla="*/ 378 h 493"/>
                  <a:gd name="T30" fmla="*/ 250 w 1001"/>
                  <a:gd name="T31" fmla="*/ 405 h 493"/>
                  <a:gd name="T32" fmla="*/ 31 w 1001"/>
                  <a:gd name="T33" fmla="*/ 273 h 493"/>
                  <a:gd name="T34" fmla="*/ 39 w 1001"/>
                  <a:gd name="T35" fmla="*/ 166 h 493"/>
                  <a:gd name="T36" fmla="*/ 45 w 1001"/>
                  <a:gd name="T37" fmla="*/ 160 h 493"/>
                  <a:gd name="T38" fmla="*/ 47 w 1001"/>
                  <a:gd name="T39" fmla="*/ 162 h 493"/>
                  <a:gd name="T40" fmla="*/ 39 w 1001"/>
                  <a:gd name="T41" fmla="*/ 166 h 493"/>
                  <a:gd name="T42" fmla="*/ 64 w 1001"/>
                  <a:gd name="T43" fmla="*/ 22 h 493"/>
                  <a:gd name="T44" fmla="*/ 66 w 1001"/>
                  <a:gd name="T45" fmla="*/ 309 h 493"/>
                  <a:gd name="T46" fmla="*/ 249 w 1001"/>
                  <a:gd name="T47" fmla="*/ 398 h 493"/>
                  <a:gd name="T48" fmla="*/ 385 w 1001"/>
                  <a:gd name="T49" fmla="*/ 371 h 493"/>
                  <a:gd name="T50" fmla="*/ 648 w 1001"/>
                  <a:gd name="T51" fmla="*/ 407 h 493"/>
                  <a:gd name="T52" fmla="*/ 767 w 1001"/>
                  <a:gd name="T53" fmla="*/ 471 h 493"/>
                  <a:gd name="T54" fmla="*/ 882 w 1001"/>
                  <a:gd name="T55" fmla="*/ 471 h 493"/>
                  <a:gd name="T56" fmla="*/ 1001 w 1001"/>
                  <a:gd name="T57" fmla="*/ 370 h 493"/>
                  <a:gd name="T58" fmla="*/ 930 w 1001"/>
                  <a:gd name="T59" fmla="*/ 437 h 493"/>
                  <a:gd name="T60" fmla="*/ 852 w 1001"/>
                  <a:gd name="T61" fmla="*/ 461 h 493"/>
                  <a:gd name="T62" fmla="*/ 727 w 1001"/>
                  <a:gd name="T63" fmla="*/ 437 h 493"/>
                  <a:gd name="T64" fmla="*/ 643 w 1001"/>
                  <a:gd name="T65" fmla="*/ 383 h 493"/>
                  <a:gd name="T66" fmla="*/ 643 w 1001"/>
                  <a:gd name="T67" fmla="*/ 382 h 493"/>
                  <a:gd name="T68" fmla="*/ 429 w 1001"/>
                  <a:gd name="T69" fmla="*/ 356 h 493"/>
                  <a:gd name="T70" fmla="*/ 370 w 1001"/>
                  <a:gd name="T71" fmla="*/ 350 h 493"/>
                  <a:gd name="T72" fmla="*/ 252 w 1001"/>
                  <a:gd name="T73" fmla="*/ 379 h 493"/>
                  <a:gd name="T74" fmla="*/ 157 w 1001"/>
                  <a:gd name="T75" fmla="*/ 348 h 493"/>
                  <a:gd name="T76" fmla="*/ 72 w 1001"/>
                  <a:gd name="T77" fmla="*/ 278 h 493"/>
                  <a:gd name="T78" fmla="*/ 37 w 1001"/>
                  <a:gd name="T79" fmla="*/ 207 h 493"/>
                  <a:gd name="T80" fmla="*/ 43 w 1001"/>
                  <a:gd name="T81" fmla="*/ 201 h 493"/>
                  <a:gd name="T82" fmla="*/ 43 w 1001"/>
                  <a:gd name="T83" fmla="*/ 195 h 493"/>
                  <a:gd name="T84" fmla="*/ 40 w 1001"/>
                  <a:gd name="T85" fmla="*/ 189 h 493"/>
                  <a:gd name="T86" fmla="*/ 33 w 1001"/>
                  <a:gd name="T87" fmla="*/ 173 h 493"/>
                  <a:gd name="T88" fmla="*/ 40 w 1001"/>
                  <a:gd name="T89" fmla="*/ 169 h 493"/>
                  <a:gd name="T90" fmla="*/ 56 w 1001"/>
                  <a:gd name="T91" fmla="*/ 138 h 493"/>
                  <a:gd name="T92" fmla="*/ 64 w 1001"/>
                  <a:gd name="T93" fmla="*/ 90 h 493"/>
                  <a:gd name="T94" fmla="*/ 42 w 1001"/>
                  <a:gd name="T95" fmla="*/ 144 h 493"/>
                  <a:gd name="T96" fmla="*/ 40 w 1001"/>
                  <a:gd name="T97" fmla="*/ 144 h 493"/>
                  <a:gd name="T98" fmla="*/ 89 w 1001"/>
                  <a:gd name="T99" fmla="*/ 0 h 4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1001" h="493">
                    <a:moveTo>
                      <a:pt x="15" y="102"/>
                    </a:moveTo>
                    <a:cubicBezTo>
                      <a:pt x="7" y="128"/>
                      <a:pt x="3" y="156"/>
                      <a:pt x="3" y="183"/>
                    </a:cubicBezTo>
                    <a:cubicBezTo>
                      <a:pt x="2" y="221"/>
                      <a:pt x="16" y="262"/>
                      <a:pt x="37" y="294"/>
                    </a:cubicBezTo>
                    <a:cubicBezTo>
                      <a:pt x="60" y="329"/>
                      <a:pt x="89" y="358"/>
                      <a:pt x="124" y="376"/>
                    </a:cubicBezTo>
                    <a:cubicBezTo>
                      <a:pt x="152" y="389"/>
                      <a:pt x="181" y="402"/>
                      <a:pt x="210" y="407"/>
                    </a:cubicBezTo>
                    <a:cubicBezTo>
                      <a:pt x="221" y="409"/>
                      <a:pt x="232" y="410"/>
                      <a:pt x="242" y="410"/>
                    </a:cubicBezTo>
                    <a:cubicBezTo>
                      <a:pt x="268" y="410"/>
                      <a:pt x="294" y="404"/>
                      <a:pt x="319" y="396"/>
                    </a:cubicBezTo>
                    <a:cubicBezTo>
                      <a:pt x="334" y="390"/>
                      <a:pt x="349" y="386"/>
                      <a:pt x="365" y="383"/>
                    </a:cubicBezTo>
                    <a:cubicBezTo>
                      <a:pt x="369" y="383"/>
                      <a:pt x="372" y="383"/>
                      <a:pt x="375" y="383"/>
                    </a:cubicBezTo>
                    <a:cubicBezTo>
                      <a:pt x="388" y="383"/>
                      <a:pt x="401" y="385"/>
                      <a:pt x="413" y="386"/>
                    </a:cubicBezTo>
                    <a:cubicBezTo>
                      <a:pt x="489" y="397"/>
                      <a:pt x="565" y="406"/>
                      <a:pt x="640" y="419"/>
                    </a:cubicBezTo>
                    <a:cubicBezTo>
                      <a:pt x="640" y="423"/>
                      <a:pt x="640" y="423"/>
                      <a:pt x="640" y="423"/>
                    </a:cubicBezTo>
                    <a:cubicBezTo>
                      <a:pt x="646" y="428"/>
                      <a:pt x="654" y="432"/>
                      <a:pt x="661" y="436"/>
                    </a:cubicBezTo>
                    <a:cubicBezTo>
                      <a:pt x="676" y="446"/>
                      <a:pt x="691" y="456"/>
                      <a:pt x="704" y="463"/>
                    </a:cubicBezTo>
                    <a:cubicBezTo>
                      <a:pt x="717" y="471"/>
                      <a:pt x="730" y="474"/>
                      <a:pt x="744" y="480"/>
                    </a:cubicBezTo>
                    <a:cubicBezTo>
                      <a:pt x="760" y="484"/>
                      <a:pt x="778" y="489"/>
                      <a:pt x="796" y="492"/>
                    </a:cubicBezTo>
                    <a:cubicBezTo>
                      <a:pt x="801" y="492"/>
                      <a:pt x="805" y="493"/>
                      <a:pt x="810" y="493"/>
                    </a:cubicBezTo>
                    <a:cubicBezTo>
                      <a:pt x="818" y="493"/>
                      <a:pt x="826" y="492"/>
                      <a:pt x="833" y="491"/>
                    </a:cubicBezTo>
                    <a:cubicBezTo>
                      <a:pt x="851" y="490"/>
                      <a:pt x="869" y="487"/>
                      <a:pt x="888" y="480"/>
                    </a:cubicBezTo>
                    <a:cubicBezTo>
                      <a:pt x="900" y="477"/>
                      <a:pt x="911" y="472"/>
                      <a:pt x="922" y="466"/>
                    </a:cubicBezTo>
                    <a:cubicBezTo>
                      <a:pt x="910" y="472"/>
                      <a:pt x="898" y="476"/>
                      <a:pt x="886" y="480"/>
                    </a:cubicBezTo>
                    <a:cubicBezTo>
                      <a:pt x="865" y="485"/>
                      <a:pt x="845" y="488"/>
                      <a:pt x="825" y="488"/>
                    </a:cubicBezTo>
                    <a:cubicBezTo>
                      <a:pt x="802" y="488"/>
                      <a:pt x="779" y="484"/>
                      <a:pt x="756" y="478"/>
                    </a:cubicBezTo>
                    <a:cubicBezTo>
                      <a:pt x="735" y="472"/>
                      <a:pt x="715" y="463"/>
                      <a:pt x="696" y="452"/>
                    </a:cubicBezTo>
                    <a:cubicBezTo>
                      <a:pt x="679" y="442"/>
                      <a:pt x="657" y="431"/>
                      <a:pt x="644" y="416"/>
                    </a:cubicBezTo>
                    <a:cubicBezTo>
                      <a:pt x="643" y="416"/>
                      <a:pt x="643" y="415"/>
                      <a:pt x="643" y="414"/>
                    </a:cubicBezTo>
                    <a:cubicBezTo>
                      <a:pt x="599" y="406"/>
                      <a:pt x="554" y="400"/>
                      <a:pt x="510" y="394"/>
                    </a:cubicBezTo>
                    <a:cubicBezTo>
                      <a:pt x="488" y="391"/>
                      <a:pt x="467" y="388"/>
                      <a:pt x="445" y="385"/>
                    </a:cubicBezTo>
                    <a:cubicBezTo>
                      <a:pt x="425" y="382"/>
                      <a:pt x="405" y="378"/>
                      <a:pt x="385" y="378"/>
                    </a:cubicBezTo>
                    <a:cubicBezTo>
                      <a:pt x="383" y="378"/>
                      <a:pt x="381" y="378"/>
                      <a:pt x="379" y="378"/>
                    </a:cubicBezTo>
                    <a:cubicBezTo>
                      <a:pt x="344" y="380"/>
                      <a:pt x="311" y="398"/>
                      <a:pt x="276" y="403"/>
                    </a:cubicBezTo>
                    <a:cubicBezTo>
                      <a:pt x="267" y="404"/>
                      <a:pt x="258" y="405"/>
                      <a:pt x="250" y="405"/>
                    </a:cubicBezTo>
                    <a:cubicBezTo>
                      <a:pt x="225" y="405"/>
                      <a:pt x="201" y="400"/>
                      <a:pt x="178" y="392"/>
                    </a:cubicBezTo>
                    <a:cubicBezTo>
                      <a:pt x="116" y="370"/>
                      <a:pt x="62" y="333"/>
                      <a:pt x="31" y="273"/>
                    </a:cubicBezTo>
                    <a:cubicBezTo>
                      <a:pt x="3" y="219"/>
                      <a:pt x="0" y="160"/>
                      <a:pt x="15" y="102"/>
                    </a:cubicBezTo>
                    <a:moveTo>
                      <a:pt x="39" y="166"/>
                    </a:moveTo>
                    <a:cubicBezTo>
                      <a:pt x="38" y="166"/>
                      <a:pt x="37" y="165"/>
                      <a:pt x="38" y="164"/>
                    </a:cubicBezTo>
                    <a:cubicBezTo>
                      <a:pt x="40" y="162"/>
                      <a:pt x="43" y="161"/>
                      <a:pt x="45" y="160"/>
                    </a:cubicBezTo>
                    <a:cubicBezTo>
                      <a:pt x="45" y="160"/>
                      <a:pt x="46" y="159"/>
                      <a:pt x="46" y="159"/>
                    </a:cubicBezTo>
                    <a:cubicBezTo>
                      <a:pt x="47" y="159"/>
                      <a:pt x="48" y="162"/>
                      <a:pt x="47" y="162"/>
                    </a:cubicBezTo>
                    <a:cubicBezTo>
                      <a:pt x="44" y="164"/>
                      <a:pt x="42" y="165"/>
                      <a:pt x="40" y="166"/>
                    </a:cubicBezTo>
                    <a:cubicBezTo>
                      <a:pt x="39" y="166"/>
                      <a:pt x="39" y="166"/>
                      <a:pt x="39" y="166"/>
                    </a:cubicBezTo>
                    <a:moveTo>
                      <a:pt x="89" y="0"/>
                    </a:moveTo>
                    <a:cubicBezTo>
                      <a:pt x="80" y="7"/>
                      <a:pt x="72" y="14"/>
                      <a:pt x="64" y="22"/>
                    </a:cubicBezTo>
                    <a:cubicBezTo>
                      <a:pt x="42" y="47"/>
                      <a:pt x="29" y="78"/>
                      <a:pt x="21" y="111"/>
                    </a:cubicBezTo>
                    <a:cubicBezTo>
                      <a:pt x="4" y="182"/>
                      <a:pt x="19" y="253"/>
                      <a:pt x="66" y="309"/>
                    </a:cubicBezTo>
                    <a:cubicBezTo>
                      <a:pt x="108" y="360"/>
                      <a:pt x="180" y="397"/>
                      <a:pt x="246" y="398"/>
                    </a:cubicBezTo>
                    <a:cubicBezTo>
                      <a:pt x="247" y="398"/>
                      <a:pt x="248" y="398"/>
                      <a:pt x="249" y="398"/>
                    </a:cubicBezTo>
                    <a:cubicBezTo>
                      <a:pt x="284" y="398"/>
                      <a:pt x="316" y="385"/>
                      <a:pt x="350" y="376"/>
                    </a:cubicBezTo>
                    <a:cubicBezTo>
                      <a:pt x="362" y="373"/>
                      <a:pt x="374" y="371"/>
                      <a:pt x="385" y="371"/>
                    </a:cubicBezTo>
                    <a:cubicBezTo>
                      <a:pt x="403" y="371"/>
                      <a:pt x="420" y="374"/>
                      <a:pt x="438" y="377"/>
                    </a:cubicBezTo>
                    <a:cubicBezTo>
                      <a:pt x="508" y="387"/>
                      <a:pt x="578" y="395"/>
                      <a:pt x="648" y="407"/>
                    </a:cubicBezTo>
                    <a:cubicBezTo>
                      <a:pt x="651" y="407"/>
                      <a:pt x="651" y="411"/>
                      <a:pt x="650" y="413"/>
                    </a:cubicBezTo>
                    <a:cubicBezTo>
                      <a:pt x="689" y="434"/>
                      <a:pt x="723" y="459"/>
                      <a:pt x="767" y="471"/>
                    </a:cubicBezTo>
                    <a:cubicBezTo>
                      <a:pt x="786" y="476"/>
                      <a:pt x="805" y="478"/>
                      <a:pt x="824" y="478"/>
                    </a:cubicBezTo>
                    <a:cubicBezTo>
                      <a:pt x="844" y="478"/>
                      <a:pt x="863" y="476"/>
                      <a:pt x="882" y="471"/>
                    </a:cubicBezTo>
                    <a:cubicBezTo>
                      <a:pt x="920" y="461"/>
                      <a:pt x="953" y="439"/>
                      <a:pt x="979" y="410"/>
                    </a:cubicBezTo>
                    <a:cubicBezTo>
                      <a:pt x="989" y="397"/>
                      <a:pt x="996" y="384"/>
                      <a:pt x="1001" y="370"/>
                    </a:cubicBezTo>
                    <a:cubicBezTo>
                      <a:pt x="995" y="379"/>
                      <a:pt x="987" y="388"/>
                      <a:pt x="979" y="396"/>
                    </a:cubicBezTo>
                    <a:cubicBezTo>
                      <a:pt x="965" y="411"/>
                      <a:pt x="949" y="426"/>
                      <a:pt x="930" y="437"/>
                    </a:cubicBezTo>
                    <a:cubicBezTo>
                      <a:pt x="925" y="442"/>
                      <a:pt x="919" y="445"/>
                      <a:pt x="912" y="448"/>
                    </a:cubicBezTo>
                    <a:cubicBezTo>
                      <a:pt x="894" y="459"/>
                      <a:pt x="873" y="461"/>
                      <a:pt x="852" y="461"/>
                    </a:cubicBezTo>
                    <a:cubicBezTo>
                      <a:pt x="850" y="461"/>
                      <a:pt x="848" y="461"/>
                      <a:pt x="845" y="461"/>
                    </a:cubicBezTo>
                    <a:cubicBezTo>
                      <a:pt x="805" y="460"/>
                      <a:pt x="761" y="458"/>
                      <a:pt x="727" y="437"/>
                    </a:cubicBezTo>
                    <a:cubicBezTo>
                      <a:pt x="698" y="421"/>
                      <a:pt x="674" y="397"/>
                      <a:pt x="643" y="383"/>
                    </a:cubicBezTo>
                    <a:cubicBezTo>
                      <a:pt x="643" y="383"/>
                      <a:pt x="643" y="383"/>
                      <a:pt x="643" y="383"/>
                    </a:cubicBezTo>
                    <a:cubicBezTo>
                      <a:pt x="643" y="383"/>
                      <a:pt x="643" y="383"/>
                      <a:pt x="643" y="383"/>
                    </a:cubicBezTo>
                    <a:cubicBezTo>
                      <a:pt x="643" y="382"/>
                      <a:pt x="643" y="382"/>
                      <a:pt x="643" y="382"/>
                    </a:cubicBezTo>
                    <a:cubicBezTo>
                      <a:pt x="605" y="377"/>
                      <a:pt x="570" y="369"/>
                      <a:pt x="532" y="366"/>
                    </a:cubicBezTo>
                    <a:cubicBezTo>
                      <a:pt x="498" y="363"/>
                      <a:pt x="462" y="359"/>
                      <a:pt x="429" y="356"/>
                    </a:cubicBezTo>
                    <a:cubicBezTo>
                      <a:pt x="413" y="353"/>
                      <a:pt x="397" y="349"/>
                      <a:pt x="381" y="349"/>
                    </a:cubicBezTo>
                    <a:cubicBezTo>
                      <a:pt x="377" y="349"/>
                      <a:pt x="374" y="349"/>
                      <a:pt x="370" y="350"/>
                    </a:cubicBezTo>
                    <a:cubicBezTo>
                      <a:pt x="349" y="352"/>
                      <a:pt x="329" y="362"/>
                      <a:pt x="310" y="368"/>
                    </a:cubicBezTo>
                    <a:cubicBezTo>
                      <a:pt x="292" y="375"/>
                      <a:pt x="272" y="379"/>
                      <a:pt x="252" y="379"/>
                    </a:cubicBezTo>
                    <a:cubicBezTo>
                      <a:pt x="237" y="379"/>
                      <a:pt x="220" y="372"/>
                      <a:pt x="205" y="369"/>
                    </a:cubicBezTo>
                    <a:cubicBezTo>
                      <a:pt x="190" y="362"/>
                      <a:pt x="172" y="356"/>
                      <a:pt x="157" y="348"/>
                    </a:cubicBezTo>
                    <a:cubicBezTo>
                      <a:pt x="143" y="342"/>
                      <a:pt x="131" y="331"/>
                      <a:pt x="118" y="322"/>
                    </a:cubicBezTo>
                    <a:cubicBezTo>
                      <a:pt x="102" y="310"/>
                      <a:pt x="84" y="295"/>
                      <a:pt x="72" y="278"/>
                    </a:cubicBezTo>
                    <a:cubicBezTo>
                      <a:pt x="61" y="262"/>
                      <a:pt x="52" y="244"/>
                      <a:pt x="46" y="225"/>
                    </a:cubicBezTo>
                    <a:cubicBezTo>
                      <a:pt x="37" y="207"/>
                      <a:pt x="37" y="207"/>
                      <a:pt x="37" y="207"/>
                    </a:cubicBezTo>
                    <a:cubicBezTo>
                      <a:pt x="37" y="207"/>
                      <a:pt x="37" y="207"/>
                      <a:pt x="37" y="207"/>
                    </a:cubicBezTo>
                    <a:cubicBezTo>
                      <a:pt x="39" y="205"/>
                      <a:pt x="41" y="203"/>
                      <a:pt x="43" y="201"/>
                    </a:cubicBezTo>
                    <a:cubicBezTo>
                      <a:pt x="41" y="201"/>
                      <a:pt x="40" y="199"/>
                      <a:pt x="41" y="197"/>
                    </a:cubicBezTo>
                    <a:cubicBezTo>
                      <a:pt x="42" y="197"/>
                      <a:pt x="42" y="196"/>
                      <a:pt x="43" y="195"/>
                    </a:cubicBezTo>
                    <a:cubicBezTo>
                      <a:pt x="41" y="191"/>
                      <a:pt x="41" y="191"/>
                      <a:pt x="41" y="191"/>
                    </a:cubicBezTo>
                    <a:cubicBezTo>
                      <a:pt x="40" y="189"/>
                      <a:pt x="40" y="189"/>
                      <a:pt x="40" y="189"/>
                    </a:cubicBezTo>
                    <a:cubicBezTo>
                      <a:pt x="39" y="189"/>
                      <a:pt x="37" y="187"/>
                      <a:pt x="38" y="185"/>
                    </a:cubicBezTo>
                    <a:cubicBezTo>
                      <a:pt x="33" y="173"/>
                      <a:pt x="33" y="173"/>
                      <a:pt x="33" y="173"/>
                    </a:cubicBezTo>
                    <a:cubicBezTo>
                      <a:pt x="33" y="173"/>
                      <a:pt x="33" y="173"/>
                      <a:pt x="33" y="173"/>
                    </a:cubicBezTo>
                    <a:cubicBezTo>
                      <a:pt x="35" y="172"/>
                      <a:pt x="37" y="171"/>
                      <a:pt x="40" y="169"/>
                    </a:cubicBezTo>
                    <a:cubicBezTo>
                      <a:pt x="59" y="167"/>
                      <a:pt x="59" y="167"/>
                      <a:pt x="59" y="167"/>
                    </a:cubicBezTo>
                    <a:cubicBezTo>
                      <a:pt x="57" y="157"/>
                      <a:pt x="56" y="147"/>
                      <a:pt x="56" y="138"/>
                    </a:cubicBezTo>
                    <a:cubicBezTo>
                      <a:pt x="56" y="130"/>
                      <a:pt x="57" y="122"/>
                      <a:pt x="58" y="115"/>
                    </a:cubicBezTo>
                    <a:cubicBezTo>
                      <a:pt x="59" y="106"/>
                      <a:pt x="61" y="98"/>
                      <a:pt x="64" y="90"/>
                    </a:cubicBezTo>
                    <a:cubicBezTo>
                      <a:pt x="50" y="90"/>
                      <a:pt x="50" y="90"/>
                      <a:pt x="50" y="90"/>
                    </a:cubicBezTo>
                    <a:cubicBezTo>
                      <a:pt x="45" y="108"/>
                      <a:pt x="42" y="126"/>
                      <a:pt x="42" y="144"/>
                    </a:cubicBezTo>
                    <a:cubicBezTo>
                      <a:pt x="42" y="145"/>
                      <a:pt x="41" y="145"/>
                      <a:pt x="41" y="145"/>
                    </a:cubicBezTo>
                    <a:cubicBezTo>
                      <a:pt x="40" y="145"/>
                      <a:pt x="40" y="145"/>
                      <a:pt x="40" y="144"/>
                    </a:cubicBezTo>
                    <a:cubicBezTo>
                      <a:pt x="34" y="113"/>
                      <a:pt x="46" y="76"/>
                      <a:pt x="59" y="47"/>
                    </a:cubicBezTo>
                    <a:cubicBezTo>
                      <a:pt x="66" y="30"/>
                      <a:pt x="77" y="14"/>
                      <a:pt x="89" y="0"/>
                    </a:cubicBezTo>
                  </a:path>
                </a:pathLst>
              </a:custGeom>
              <a:solidFill>
                <a:srgbClr val="6F686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340" name="Freeform 12">
                <a:extLst>
                  <a:ext uri="{FF2B5EF4-FFF2-40B4-BE49-F238E27FC236}">
                    <a16:creationId xmlns:a16="http://schemas.microsoft.com/office/drawing/2014/main" id="{96943C00-5592-4266-A9C4-6110CA6282B7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6194" y="1631"/>
                <a:ext cx="1040" cy="534"/>
              </a:xfrm>
              <a:custGeom>
                <a:avLst/>
                <a:gdLst>
                  <a:gd name="T0" fmla="*/ 575 w 981"/>
                  <a:gd name="T1" fmla="*/ 263 h 504"/>
                  <a:gd name="T2" fmla="*/ 575 w 981"/>
                  <a:gd name="T3" fmla="*/ 263 h 504"/>
                  <a:gd name="T4" fmla="*/ 733 w 981"/>
                  <a:gd name="T5" fmla="*/ 257 h 504"/>
                  <a:gd name="T6" fmla="*/ 472 w 981"/>
                  <a:gd name="T7" fmla="*/ 246 h 504"/>
                  <a:gd name="T8" fmla="*/ 516 w 981"/>
                  <a:gd name="T9" fmla="*/ 284 h 504"/>
                  <a:gd name="T10" fmla="*/ 245 w 981"/>
                  <a:gd name="T11" fmla="*/ 250 h 504"/>
                  <a:gd name="T12" fmla="*/ 821 w 981"/>
                  <a:gd name="T13" fmla="*/ 233 h 504"/>
                  <a:gd name="T14" fmla="*/ 817 w 981"/>
                  <a:gd name="T15" fmla="*/ 270 h 504"/>
                  <a:gd name="T16" fmla="*/ 876 w 981"/>
                  <a:gd name="T17" fmla="*/ 287 h 504"/>
                  <a:gd name="T18" fmla="*/ 803 w 981"/>
                  <a:gd name="T19" fmla="*/ 212 h 504"/>
                  <a:gd name="T20" fmla="*/ 617 w 981"/>
                  <a:gd name="T21" fmla="*/ 194 h 504"/>
                  <a:gd name="T22" fmla="*/ 542 w 981"/>
                  <a:gd name="T23" fmla="*/ 186 h 504"/>
                  <a:gd name="T24" fmla="*/ 467 w 981"/>
                  <a:gd name="T25" fmla="*/ 162 h 504"/>
                  <a:gd name="T26" fmla="*/ 467 w 981"/>
                  <a:gd name="T27" fmla="*/ 162 h 504"/>
                  <a:gd name="T28" fmla="*/ 239 w 981"/>
                  <a:gd name="T29" fmla="*/ 100 h 504"/>
                  <a:gd name="T30" fmla="*/ 783 w 981"/>
                  <a:gd name="T31" fmla="*/ 410 h 504"/>
                  <a:gd name="T32" fmla="*/ 795 w 981"/>
                  <a:gd name="T33" fmla="*/ 420 h 504"/>
                  <a:gd name="T34" fmla="*/ 230 w 981"/>
                  <a:gd name="T35" fmla="*/ 390 h 504"/>
                  <a:gd name="T36" fmla="*/ 377 w 981"/>
                  <a:gd name="T37" fmla="*/ 318 h 504"/>
                  <a:gd name="T38" fmla="*/ 571 w 981"/>
                  <a:gd name="T39" fmla="*/ 257 h 504"/>
                  <a:gd name="T40" fmla="*/ 609 w 981"/>
                  <a:gd name="T41" fmla="*/ 322 h 504"/>
                  <a:gd name="T42" fmla="*/ 519 w 981"/>
                  <a:gd name="T43" fmla="*/ 308 h 504"/>
                  <a:gd name="T44" fmla="*/ 470 w 981"/>
                  <a:gd name="T45" fmla="*/ 281 h 504"/>
                  <a:gd name="T46" fmla="*/ 233 w 981"/>
                  <a:gd name="T47" fmla="*/ 234 h 504"/>
                  <a:gd name="T48" fmla="*/ 178 w 981"/>
                  <a:gd name="T49" fmla="*/ 263 h 504"/>
                  <a:gd name="T50" fmla="*/ 827 w 981"/>
                  <a:gd name="T51" fmla="*/ 260 h 504"/>
                  <a:gd name="T52" fmla="*/ 872 w 981"/>
                  <a:gd name="T53" fmla="*/ 329 h 504"/>
                  <a:gd name="T54" fmla="*/ 801 w 981"/>
                  <a:gd name="T55" fmla="*/ 382 h 504"/>
                  <a:gd name="T56" fmla="*/ 761 w 981"/>
                  <a:gd name="T57" fmla="*/ 324 h 504"/>
                  <a:gd name="T58" fmla="*/ 704 w 981"/>
                  <a:gd name="T59" fmla="*/ 278 h 504"/>
                  <a:gd name="T60" fmla="*/ 760 w 981"/>
                  <a:gd name="T61" fmla="*/ 249 h 504"/>
                  <a:gd name="T62" fmla="*/ 621 w 981"/>
                  <a:gd name="T63" fmla="*/ 185 h 504"/>
                  <a:gd name="T64" fmla="*/ 623 w 981"/>
                  <a:gd name="T65" fmla="*/ 212 h 504"/>
                  <a:gd name="T66" fmla="*/ 334 w 981"/>
                  <a:gd name="T67" fmla="*/ 177 h 504"/>
                  <a:gd name="T68" fmla="*/ 285 w 981"/>
                  <a:gd name="T69" fmla="*/ 204 h 504"/>
                  <a:gd name="T70" fmla="*/ 349 w 981"/>
                  <a:gd name="T71" fmla="*/ 220 h 504"/>
                  <a:gd name="T72" fmla="*/ 546 w 981"/>
                  <a:gd name="T73" fmla="*/ 174 h 504"/>
                  <a:gd name="T74" fmla="*/ 542 w 981"/>
                  <a:gd name="T75" fmla="*/ 194 h 504"/>
                  <a:gd name="T76" fmla="*/ 532 w 981"/>
                  <a:gd name="T77" fmla="*/ 185 h 504"/>
                  <a:gd name="T78" fmla="*/ 864 w 981"/>
                  <a:gd name="T79" fmla="*/ 385 h 504"/>
                  <a:gd name="T80" fmla="*/ 674 w 981"/>
                  <a:gd name="T81" fmla="*/ 274 h 504"/>
                  <a:gd name="T82" fmla="*/ 455 w 981"/>
                  <a:gd name="T83" fmla="*/ 165 h 504"/>
                  <a:gd name="T84" fmla="*/ 462 w 981"/>
                  <a:gd name="T85" fmla="*/ 185 h 504"/>
                  <a:gd name="T86" fmla="*/ 111 w 981"/>
                  <a:gd name="T87" fmla="*/ 156 h 504"/>
                  <a:gd name="T88" fmla="*/ 140 w 981"/>
                  <a:gd name="T89" fmla="*/ 143 h 504"/>
                  <a:gd name="T90" fmla="*/ 90 w 981"/>
                  <a:gd name="T91" fmla="*/ 175 h 504"/>
                  <a:gd name="T92" fmla="*/ 218 w 981"/>
                  <a:gd name="T93" fmla="*/ 169 h 504"/>
                  <a:gd name="T94" fmla="*/ 137 w 981"/>
                  <a:gd name="T95" fmla="*/ 22 h 504"/>
                  <a:gd name="T96" fmla="*/ 257 w 981"/>
                  <a:gd name="T97" fmla="*/ 26 h 504"/>
                  <a:gd name="T98" fmla="*/ 157 w 981"/>
                  <a:gd name="T99" fmla="*/ 0 h 504"/>
                  <a:gd name="T100" fmla="*/ 26 w 981"/>
                  <a:gd name="T101" fmla="*/ 210 h 504"/>
                  <a:gd name="T102" fmla="*/ 15 w 981"/>
                  <a:gd name="T103" fmla="*/ 229 h 504"/>
                  <a:gd name="T104" fmla="*/ 12 w 981"/>
                  <a:gd name="T105" fmla="*/ 243 h 504"/>
                  <a:gd name="T106" fmla="*/ 172 w 981"/>
                  <a:gd name="T107" fmla="*/ 412 h 504"/>
                  <a:gd name="T108" fmla="*/ 610 w 981"/>
                  <a:gd name="T109" fmla="*/ 426 h 504"/>
                  <a:gd name="T110" fmla="*/ 780 w 981"/>
                  <a:gd name="T111" fmla="*/ 497 h 504"/>
                  <a:gd name="T112" fmla="*/ 111 w 981"/>
                  <a:gd name="T113" fmla="*/ 377 h 504"/>
                  <a:gd name="T114" fmla="*/ 311 w 981"/>
                  <a:gd name="T115" fmla="*/ 386 h 504"/>
                  <a:gd name="T116" fmla="*/ 862 w 981"/>
                  <a:gd name="T117" fmla="*/ 489 h 504"/>
                  <a:gd name="T118" fmla="*/ 702 w 981"/>
                  <a:gd name="T119" fmla="*/ 85 h 5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981" h="504">
                    <a:moveTo>
                      <a:pt x="818" y="332"/>
                    </a:moveTo>
                    <a:cubicBezTo>
                      <a:pt x="818" y="332"/>
                      <a:pt x="818" y="332"/>
                      <a:pt x="818" y="332"/>
                    </a:cubicBezTo>
                    <a:cubicBezTo>
                      <a:pt x="815" y="338"/>
                      <a:pt x="814" y="345"/>
                      <a:pt x="814" y="353"/>
                    </a:cubicBezTo>
                    <a:cubicBezTo>
                      <a:pt x="814" y="356"/>
                      <a:pt x="814" y="360"/>
                      <a:pt x="814" y="363"/>
                    </a:cubicBezTo>
                    <a:cubicBezTo>
                      <a:pt x="814" y="364"/>
                      <a:pt x="814" y="365"/>
                      <a:pt x="814" y="366"/>
                    </a:cubicBezTo>
                    <a:cubicBezTo>
                      <a:pt x="819" y="361"/>
                      <a:pt x="818" y="354"/>
                      <a:pt x="818" y="347"/>
                    </a:cubicBezTo>
                    <a:cubicBezTo>
                      <a:pt x="818" y="342"/>
                      <a:pt x="818" y="337"/>
                      <a:pt x="819" y="332"/>
                    </a:cubicBezTo>
                    <a:cubicBezTo>
                      <a:pt x="819" y="332"/>
                      <a:pt x="819" y="332"/>
                      <a:pt x="818" y="332"/>
                    </a:cubicBezTo>
                    <a:moveTo>
                      <a:pt x="575" y="263"/>
                    </a:moveTo>
                    <a:cubicBezTo>
                      <a:pt x="575" y="263"/>
                      <a:pt x="574" y="264"/>
                      <a:pt x="573" y="264"/>
                    </a:cubicBezTo>
                    <a:cubicBezTo>
                      <a:pt x="569" y="266"/>
                      <a:pt x="569" y="268"/>
                      <a:pt x="570" y="270"/>
                    </a:cubicBezTo>
                    <a:cubicBezTo>
                      <a:pt x="579" y="271"/>
                      <a:pt x="589" y="285"/>
                      <a:pt x="595" y="290"/>
                    </a:cubicBezTo>
                    <a:cubicBezTo>
                      <a:pt x="605" y="297"/>
                      <a:pt x="621" y="306"/>
                      <a:pt x="623" y="319"/>
                    </a:cubicBezTo>
                    <a:cubicBezTo>
                      <a:pt x="626" y="319"/>
                      <a:pt x="629" y="316"/>
                      <a:pt x="628" y="311"/>
                    </a:cubicBezTo>
                    <a:cubicBezTo>
                      <a:pt x="628" y="309"/>
                      <a:pt x="625" y="306"/>
                      <a:pt x="624" y="304"/>
                    </a:cubicBezTo>
                    <a:cubicBezTo>
                      <a:pt x="620" y="298"/>
                      <a:pt x="614" y="293"/>
                      <a:pt x="608" y="289"/>
                    </a:cubicBezTo>
                    <a:cubicBezTo>
                      <a:pt x="600" y="282"/>
                      <a:pt x="591" y="275"/>
                      <a:pt x="582" y="268"/>
                    </a:cubicBezTo>
                    <a:cubicBezTo>
                      <a:pt x="579" y="266"/>
                      <a:pt x="578" y="263"/>
                      <a:pt x="575" y="263"/>
                    </a:cubicBezTo>
                    <a:moveTo>
                      <a:pt x="727" y="251"/>
                    </a:moveTo>
                    <a:cubicBezTo>
                      <a:pt x="726" y="251"/>
                      <a:pt x="725" y="251"/>
                      <a:pt x="723" y="251"/>
                    </a:cubicBezTo>
                    <a:cubicBezTo>
                      <a:pt x="718" y="252"/>
                      <a:pt x="716" y="254"/>
                      <a:pt x="715" y="256"/>
                    </a:cubicBezTo>
                    <a:cubicBezTo>
                      <a:pt x="716" y="256"/>
                      <a:pt x="718" y="257"/>
                      <a:pt x="720" y="257"/>
                    </a:cubicBezTo>
                    <a:cubicBezTo>
                      <a:pt x="721" y="257"/>
                      <a:pt x="722" y="256"/>
                      <a:pt x="723" y="256"/>
                    </a:cubicBezTo>
                    <a:cubicBezTo>
                      <a:pt x="724" y="256"/>
                      <a:pt x="724" y="256"/>
                      <a:pt x="725" y="256"/>
                    </a:cubicBezTo>
                    <a:cubicBezTo>
                      <a:pt x="726" y="256"/>
                      <a:pt x="726" y="256"/>
                      <a:pt x="726" y="256"/>
                    </a:cubicBezTo>
                    <a:cubicBezTo>
                      <a:pt x="727" y="256"/>
                      <a:pt x="727" y="256"/>
                      <a:pt x="728" y="256"/>
                    </a:cubicBezTo>
                    <a:cubicBezTo>
                      <a:pt x="729" y="256"/>
                      <a:pt x="731" y="256"/>
                      <a:pt x="733" y="257"/>
                    </a:cubicBezTo>
                    <a:cubicBezTo>
                      <a:pt x="733" y="257"/>
                      <a:pt x="733" y="257"/>
                      <a:pt x="733" y="257"/>
                    </a:cubicBezTo>
                    <a:cubicBezTo>
                      <a:pt x="736" y="257"/>
                      <a:pt x="739" y="258"/>
                      <a:pt x="742" y="259"/>
                    </a:cubicBezTo>
                    <a:cubicBezTo>
                      <a:pt x="745" y="260"/>
                      <a:pt x="748" y="261"/>
                      <a:pt x="752" y="261"/>
                    </a:cubicBezTo>
                    <a:cubicBezTo>
                      <a:pt x="753" y="261"/>
                      <a:pt x="754" y="261"/>
                      <a:pt x="755" y="261"/>
                    </a:cubicBezTo>
                    <a:cubicBezTo>
                      <a:pt x="755" y="261"/>
                      <a:pt x="760" y="258"/>
                      <a:pt x="760" y="256"/>
                    </a:cubicBezTo>
                    <a:cubicBezTo>
                      <a:pt x="759" y="256"/>
                      <a:pt x="758" y="256"/>
                      <a:pt x="757" y="256"/>
                    </a:cubicBezTo>
                    <a:cubicBezTo>
                      <a:pt x="757" y="256"/>
                      <a:pt x="757" y="256"/>
                      <a:pt x="757" y="256"/>
                    </a:cubicBezTo>
                    <a:cubicBezTo>
                      <a:pt x="747" y="256"/>
                      <a:pt x="738" y="251"/>
                      <a:pt x="727" y="251"/>
                    </a:cubicBezTo>
                    <a:moveTo>
                      <a:pt x="472" y="246"/>
                    </a:moveTo>
                    <a:cubicBezTo>
                      <a:pt x="471" y="246"/>
                      <a:pt x="471" y="246"/>
                      <a:pt x="471" y="246"/>
                    </a:cubicBezTo>
                    <a:cubicBezTo>
                      <a:pt x="466" y="247"/>
                      <a:pt x="465" y="249"/>
                      <a:pt x="465" y="252"/>
                    </a:cubicBezTo>
                    <a:cubicBezTo>
                      <a:pt x="466" y="252"/>
                      <a:pt x="467" y="252"/>
                      <a:pt x="469" y="253"/>
                    </a:cubicBezTo>
                    <a:cubicBezTo>
                      <a:pt x="476" y="253"/>
                      <a:pt x="482" y="258"/>
                      <a:pt x="488" y="263"/>
                    </a:cubicBezTo>
                    <a:cubicBezTo>
                      <a:pt x="494" y="269"/>
                      <a:pt x="502" y="275"/>
                      <a:pt x="507" y="282"/>
                    </a:cubicBezTo>
                    <a:cubicBezTo>
                      <a:pt x="510" y="285"/>
                      <a:pt x="512" y="289"/>
                      <a:pt x="514" y="294"/>
                    </a:cubicBezTo>
                    <a:cubicBezTo>
                      <a:pt x="516" y="296"/>
                      <a:pt x="517" y="298"/>
                      <a:pt x="518" y="301"/>
                    </a:cubicBezTo>
                    <a:cubicBezTo>
                      <a:pt x="519" y="300"/>
                      <a:pt x="519" y="300"/>
                      <a:pt x="520" y="299"/>
                    </a:cubicBezTo>
                    <a:cubicBezTo>
                      <a:pt x="524" y="293"/>
                      <a:pt x="520" y="289"/>
                      <a:pt x="516" y="284"/>
                    </a:cubicBezTo>
                    <a:cubicBezTo>
                      <a:pt x="507" y="272"/>
                      <a:pt x="496" y="262"/>
                      <a:pt x="484" y="253"/>
                    </a:cubicBezTo>
                    <a:cubicBezTo>
                      <a:pt x="482" y="251"/>
                      <a:pt x="476" y="246"/>
                      <a:pt x="472" y="246"/>
                    </a:cubicBezTo>
                    <a:moveTo>
                      <a:pt x="216" y="237"/>
                    </a:moveTo>
                    <a:cubicBezTo>
                      <a:pt x="211" y="237"/>
                      <a:pt x="206" y="238"/>
                      <a:pt x="200" y="242"/>
                    </a:cubicBezTo>
                    <a:cubicBezTo>
                      <a:pt x="199" y="242"/>
                      <a:pt x="198" y="243"/>
                      <a:pt x="197" y="244"/>
                    </a:cubicBezTo>
                    <a:cubicBezTo>
                      <a:pt x="201" y="243"/>
                      <a:pt x="205" y="242"/>
                      <a:pt x="208" y="242"/>
                    </a:cubicBezTo>
                    <a:cubicBezTo>
                      <a:pt x="212" y="242"/>
                      <a:pt x="216" y="243"/>
                      <a:pt x="220" y="243"/>
                    </a:cubicBezTo>
                    <a:cubicBezTo>
                      <a:pt x="220" y="243"/>
                      <a:pt x="220" y="243"/>
                      <a:pt x="220" y="243"/>
                    </a:cubicBezTo>
                    <a:cubicBezTo>
                      <a:pt x="227" y="243"/>
                      <a:pt x="239" y="245"/>
                      <a:pt x="245" y="250"/>
                    </a:cubicBezTo>
                    <a:cubicBezTo>
                      <a:pt x="251" y="256"/>
                      <a:pt x="255" y="267"/>
                      <a:pt x="255" y="275"/>
                    </a:cubicBezTo>
                    <a:cubicBezTo>
                      <a:pt x="255" y="278"/>
                      <a:pt x="254" y="280"/>
                      <a:pt x="254" y="281"/>
                    </a:cubicBezTo>
                    <a:cubicBezTo>
                      <a:pt x="254" y="282"/>
                      <a:pt x="254" y="283"/>
                      <a:pt x="254" y="283"/>
                    </a:cubicBezTo>
                    <a:cubicBezTo>
                      <a:pt x="256" y="278"/>
                      <a:pt x="258" y="272"/>
                      <a:pt x="258" y="266"/>
                    </a:cubicBezTo>
                    <a:cubicBezTo>
                      <a:pt x="257" y="249"/>
                      <a:pt x="248" y="240"/>
                      <a:pt x="234" y="237"/>
                    </a:cubicBezTo>
                    <a:cubicBezTo>
                      <a:pt x="234" y="238"/>
                      <a:pt x="233" y="239"/>
                      <a:pt x="232" y="239"/>
                    </a:cubicBezTo>
                    <a:cubicBezTo>
                      <a:pt x="232" y="239"/>
                      <a:pt x="232" y="239"/>
                      <a:pt x="231" y="239"/>
                    </a:cubicBezTo>
                    <a:cubicBezTo>
                      <a:pt x="226" y="238"/>
                      <a:pt x="221" y="237"/>
                      <a:pt x="216" y="237"/>
                    </a:cubicBezTo>
                    <a:moveTo>
                      <a:pt x="821" y="233"/>
                    </a:moveTo>
                    <a:cubicBezTo>
                      <a:pt x="820" y="235"/>
                      <a:pt x="819" y="237"/>
                      <a:pt x="818" y="240"/>
                    </a:cubicBezTo>
                    <a:cubicBezTo>
                      <a:pt x="818" y="245"/>
                      <a:pt x="817" y="252"/>
                      <a:pt x="817" y="258"/>
                    </a:cubicBezTo>
                    <a:cubicBezTo>
                      <a:pt x="817" y="260"/>
                      <a:pt x="817" y="262"/>
                      <a:pt x="817" y="264"/>
                    </a:cubicBezTo>
                    <a:cubicBezTo>
                      <a:pt x="817" y="264"/>
                      <a:pt x="817" y="264"/>
                      <a:pt x="817" y="264"/>
                    </a:cubicBezTo>
                    <a:cubicBezTo>
                      <a:pt x="817" y="266"/>
                      <a:pt x="817" y="267"/>
                      <a:pt x="817" y="268"/>
                    </a:cubicBezTo>
                    <a:cubicBezTo>
                      <a:pt x="817" y="269"/>
                      <a:pt x="817" y="270"/>
                      <a:pt x="818" y="270"/>
                    </a:cubicBezTo>
                    <a:cubicBezTo>
                      <a:pt x="818" y="270"/>
                      <a:pt x="818" y="270"/>
                      <a:pt x="818" y="270"/>
                    </a:cubicBezTo>
                    <a:cubicBezTo>
                      <a:pt x="817" y="270"/>
                      <a:pt x="817" y="270"/>
                      <a:pt x="817" y="270"/>
                    </a:cubicBezTo>
                    <a:cubicBezTo>
                      <a:pt x="817" y="270"/>
                      <a:pt x="817" y="270"/>
                      <a:pt x="817" y="270"/>
                    </a:cubicBezTo>
                    <a:cubicBezTo>
                      <a:pt x="820" y="272"/>
                      <a:pt x="821" y="273"/>
                      <a:pt x="823" y="273"/>
                    </a:cubicBezTo>
                    <a:cubicBezTo>
                      <a:pt x="824" y="273"/>
                      <a:pt x="825" y="273"/>
                      <a:pt x="827" y="273"/>
                    </a:cubicBezTo>
                    <a:cubicBezTo>
                      <a:pt x="832" y="274"/>
                      <a:pt x="839" y="276"/>
                      <a:pt x="847" y="276"/>
                    </a:cubicBezTo>
                    <a:cubicBezTo>
                      <a:pt x="852" y="278"/>
                      <a:pt x="862" y="278"/>
                      <a:pt x="869" y="282"/>
                    </a:cubicBezTo>
                    <a:cubicBezTo>
                      <a:pt x="875" y="288"/>
                      <a:pt x="874" y="299"/>
                      <a:pt x="874" y="305"/>
                    </a:cubicBezTo>
                    <a:cubicBezTo>
                      <a:pt x="874" y="305"/>
                      <a:pt x="874" y="305"/>
                      <a:pt x="874" y="305"/>
                    </a:cubicBezTo>
                    <a:cubicBezTo>
                      <a:pt x="873" y="308"/>
                      <a:pt x="873" y="312"/>
                      <a:pt x="873" y="316"/>
                    </a:cubicBezTo>
                    <a:cubicBezTo>
                      <a:pt x="875" y="313"/>
                      <a:pt x="875" y="308"/>
                      <a:pt x="876" y="303"/>
                    </a:cubicBezTo>
                    <a:cubicBezTo>
                      <a:pt x="876" y="298"/>
                      <a:pt x="877" y="293"/>
                      <a:pt x="876" y="287"/>
                    </a:cubicBezTo>
                    <a:cubicBezTo>
                      <a:pt x="873" y="263"/>
                      <a:pt x="834" y="278"/>
                      <a:pt x="821" y="263"/>
                    </a:cubicBezTo>
                    <a:cubicBezTo>
                      <a:pt x="821" y="262"/>
                      <a:pt x="821" y="262"/>
                      <a:pt x="821" y="262"/>
                    </a:cubicBezTo>
                    <a:cubicBezTo>
                      <a:pt x="818" y="258"/>
                      <a:pt x="819" y="252"/>
                      <a:pt x="820" y="247"/>
                    </a:cubicBezTo>
                    <a:cubicBezTo>
                      <a:pt x="820" y="243"/>
                      <a:pt x="820" y="238"/>
                      <a:pt x="821" y="233"/>
                    </a:cubicBezTo>
                    <a:moveTo>
                      <a:pt x="791" y="204"/>
                    </a:moveTo>
                    <a:cubicBezTo>
                      <a:pt x="786" y="204"/>
                      <a:pt x="782" y="205"/>
                      <a:pt x="780" y="208"/>
                    </a:cubicBezTo>
                    <a:cubicBezTo>
                      <a:pt x="780" y="208"/>
                      <a:pt x="780" y="208"/>
                      <a:pt x="780" y="208"/>
                    </a:cubicBezTo>
                    <a:cubicBezTo>
                      <a:pt x="781" y="208"/>
                      <a:pt x="782" y="208"/>
                      <a:pt x="783" y="208"/>
                    </a:cubicBezTo>
                    <a:cubicBezTo>
                      <a:pt x="789" y="208"/>
                      <a:pt x="797" y="211"/>
                      <a:pt x="803" y="212"/>
                    </a:cubicBezTo>
                    <a:cubicBezTo>
                      <a:pt x="810" y="214"/>
                      <a:pt x="817" y="216"/>
                      <a:pt x="821" y="223"/>
                    </a:cubicBezTo>
                    <a:cubicBezTo>
                      <a:pt x="821" y="224"/>
                      <a:pt x="822" y="226"/>
                      <a:pt x="822" y="227"/>
                    </a:cubicBezTo>
                    <a:cubicBezTo>
                      <a:pt x="822" y="228"/>
                      <a:pt x="822" y="228"/>
                      <a:pt x="822" y="228"/>
                    </a:cubicBezTo>
                    <a:cubicBezTo>
                      <a:pt x="824" y="218"/>
                      <a:pt x="823" y="213"/>
                      <a:pt x="812" y="209"/>
                    </a:cubicBezTo>
                    <a:cubicBezTo>
                      <a:pt x="807" y="207"/>
                      <a:pt x="798" y="204"/>
                      <a:pt x="791" y="204"/>
                    </a:cubicBezTo>
                    <a:moveTo>
                      <a:pt x="621" y="190"/>
                    </a:moveTo>
                    <a:cubicBezTo>
                      <a:pt x="620" y="190"/>
                      <a:pt x="618" y="190"/>
                      <a:pt x="617" y="191"/>
                    </a:cubicBezTo>
                    <a:cubicBezTo>
                      <a:pt x="616" y="192"/>
                      <a:pt x="616" y="192"/>
                      <a:pt x="615" y="193"/>
                    </a:cubicBezTo>
                    <a:cubicBezTo>
                      <a:pt x="616" y="194"/>
                      <a:pt x="616" y="194"/>
                      <a:pt x="617" y="194"/>
                    </a:cubicBezTo>
                    <a:cubicBezTo>
                      <a:pt x="618" y="195"/>
                      <a:pt x="619" y="196"/>
                      <a:pt x="620" y="197"/>
                    </a:cubicBezTo>
                    <a:cubicBezTo>
                      <a:pt x="622" y="197"/>
                      <a:pt x="624" y="198"/>
                      <a:pt x="625" y="200"/>
                    </a:cubicBezTo>
                    <a:cubicBezTo>
                      <a:pt x="627" y="198"/>
                      <a:pt x="628" y="196"/>
                      <a:pt x="629" y="195"/>
                    </a:cubicBezTo>
                    <a:cubicBezTo>
                      <a:pt x="629" y="194"/>
                      <a:pt x="630" y="194"/>
                      <a:pt x="630" y="194"/>
                    </a:cubicBezTo>
                    <a:cubicBezTo>
                      <a:pt x="628" y="191"/>
                      <a:pt x="625" y="190"/>
                      <a:pt x="621" y="190"/>
                    </a:cubicBezTo>
                    <a:moveTo>
                      <a:pt x="545" y="178"/>
                    </a:moveTo>
                    <a:cubicBezTo>
                      <a:pt x="542" y="178"/>
                      <a:pt x="541" y="180"/>
                      <a:pt x="541" y="183"/>
                    </a:cubicBezTo>
                    <a:cubicBezTo>
                      <a:pt x="541" y="183"/>
                      <a:pt x="541" y="183"/>
                      <a:pt x="542" y="184"/>
                    </a:cubicBezTo>
                    <a:cubicBezTo>
                      <a:pt x="542" y="184"/>
                      <a:pt x="542" y="185"/>
                      <a:pt x="542" y="186"/>
                    </a:cubicBezTo>
                    <a:cubicBezTo>
                      <a:pt x="543" y="187"/>
                      <a:pt x="544" y="188"/>
                      <a:pt x="544" y="190"/>
                    </a:cubicBezTo>
                    <a:cubicBezTo>
                      <a:pt x="544" y="190"/>
                      <a:pt x="544" y="190"/>
                      <a:pt x="544" y="190"/>
                    </a:cubicBezTo>
                    <a:cubicBezTo>
                      <a:pt x="545" y="190"/>
                      <a:pt x="545" y="190"/>
                      <a:pt x="545" y="190"/>
                    </a:cubicBezTo>
                    <a:cubicBezTo>
                      <a:pt x="548" y="189"/>
                      <a:pt x="547" y="185"/>
                      <a:pt x="548" y="183"/>
                    </a:cubicBezTo>
                    <a:cubicBezTo>
                      <a:pt x="548" y="182"/>
                      <a:pt x="549" y="181"/>
                      <a:pt x="550" y="181"/>
                    </a:cubicBezTo>
                    <a:cubicBezTo>
                      <a:pt x="551" y="181"/>
                      <a:pt x="552" y="181"/>
                      <a:pt x="552" y="182"/>
                    </a:cubicBezTo>
                    <a:cubicBezTo>
                      <a:pt x="551" y="180"/>
                      <a:pt x="549" y="179"/>
                      <a:pt x="547" y="178"/>
                    </a:cubicBezTo>
                    <a:cubicBezTo>
                      <a:pt x="546" y="178"/>
                      <a:pt x="546" y="178"/>
                      <a:pt x="545" y="178"/>
                    </a:cubicBezTo>
                    <a:moveTo>
                      <a:pt x="467" y="162"/>
                    </a:moveTo>
                    <a:cubicBezTo>
                      <a:pt x="465" y="162"/>
                      <a:pt x="463" y="163"/>
                      <a:pt x="462" y="165"/>
                    </a:cubicBezTo>
                    <a:cubicBezTo>
                      <a:pt x="461" y="166"/>
                      <a:pt x="461" y="166"/>
                      <a:pt x="461" y="166"/>
                    </a:cubicBezTo>
                    <a:cubicBezTo>
                      <a:pt x="461" y="167"/>
                      <a:pt x="461" y="167"/>
                      <a:pt x="461" y="167"/>
                    </a:cubicBezTo>
                    <a:cubicBezTo>
                      <a:pt x="462" y="167"/>
                      <a:pt x="462" y="167"/>
                      <a:pt x="462" y="167"/>
                    </a:cubicBezTo>
                    <a:cubicBezTo>
                      <a:pt x="463" y="167"/>
                      <a:pt x="463" y="167"/>
                      <a:pt x="464" y="167"/>
                    </a:cubicBezTo>
                    <a:cubicBezTo>
                      <a:pt x="467" y="167"/>
                      <a:pt x="470" y="169"/>
                      <a:pt x="471" y="172"/>
                    </a:cubicBezTo>
                    <a:cubicBezTo>
                      <a:pt x="472" y="172"/>
                      <a:pt x="472" y="171"/>
                      <a:pt x="473" y="171"/>
                    </a:cubicBezTo>
                    <a:cubicBezTo>
                      <a:pt x="473" y="168"/>
                      <a:pt x="471" y="164"/>
                      <a:pt x="469" y="163"/>
                    </a:cubicBezTo>
                    <a:cubicBezTo>
                      <a:pt x="469" y="162"/>
                      <a:pt x="468" y="162"/>
                      <a:pt x="467" y="162"/>
                    </a:cubicBezTo>
                    <a:moveTo>
                      <a:pt x="232" y="89"/>
                    </a:moveTo>
                    <a:cubicBezTo>
                      <a:pt x="232" y="91"/>
                      <a:pt x="231" y="93"/>
                      <a:pt x="229" y="93"/>
                    </a:cubicBezTo>
                    <a:cubicBezTo>
                      <a:pt x="229" y="93"/>
                      <a:pt x="229" y="93"/>
                      <a:pt x="228" y="93"/>
                    </a:cubicBezTo>
                    <a:cubicBezTo>
                      <a:pt x="225" y="92"/>
                      <a:pt x="221" y="92"/>
                      <a:pt x="218" y="92"/>
                    </a:cubicBezTo>
                    <a:cubicBezTo>
                      <a:pt x="213" y="92"/>
                      <a:pt x="209" y="93"/>
                      <a:pt x="205" y="95"/>
                    </a:cubicBezTo>
                    <a:cubicBezTo>
                      <a:pt x="206" y="95"/>
                      <a:pt x="207" y="95"/>
                      <a:pt x="208" y="95"/>
                    </a:cubicBezTo>
                    <a:cubicBezTo>
                      <a:pt x="212" y="95"/>
                      <a:pt x="216" y="96"/>
                      <a:pt x="219" y="96"/>
                    </a:cubicBezTo>
                    <a:cubicBezTo>
                      <a:pt x="223" y="96"/>
                      <a:pt x="223" y="96"/>
                      <a:pt x="223" y="96"/>
                    </a:cubicBezTo>
                    <a:cubicBezTo>
                      <a:pt x="231" y="96"/>
                      <a:pt x="234" y="97"/>
                      <a:pt x="239" y="100"/>
                    </a:cubicBezTo>
                    <a:cubicBezTo>
                      <a:pt x="247" y="108"/>
                      <a:pt x="252" y="117"/>
                      <a:pt x="253" y="127"/>
                    </a:cubicBezTo>
                    <a:cubicBezTo>
                      <a:pt x="254" y="129"/>
                      <a:pt x="254" y="131"/>
                      <a:pt x="254" y="132"/>
                    </a:cubicBezTo>
                    <a:cubicBezTo>
                      <a:pt x="254" y="135"/>
                      <a:pt x="253" y="138"/>
                      <a:pt x="253" y="140"/>
                    </a:cubicBezTo>
                    <a:cubicBezTo>
                      <a:pt x="262" y="122"/>
                      <a:pt x="255" y="94"/>
                      <a:pt x="232" y="89"/>
                    </a:cubicBezTo>
                    <a:moveTo>
                      <a:pt x="776" y="414"/>
                    </a:moveTo>
                    <a:cubicBezTo>
                      <a:pt x="774" y="414"/>
                      <a:pt x="773" y="412"/>
                      <a:pt x="774" y="411"/>
                    </a:cubicBezTo>
                    <a:cubicBezTo>
                      <a:pt x="777" y="410"/>
                      <a:pt x="779" y="408"/>
                      <a:pt x="781" y="407"/>
                    </a:cubicBezTo>
                    <a:cubicBezTo>
                      <a:pt x="782" y="407"/>
                      <a:pt x="782" y="407"/>
                      <a:pt x="782" y="407"/>
                    </a:cubicBezTo>
                    <a:cubicBezTo>
                      <a:pt x="784" y="407"/>
                      <a:pt x="785" y="409"/>
                      <a:pt x="783" y="410"/>
                    </a:cubicBezTo>
                    <a:cubicBezTo>
                      <a:pt x="781" y="412"/>
                      <a:pt x="779" y="413"/>
                      <a:pt x="776" y="414"/>
                    </a:cubicBezTo>
                    <a:cubicBezTo>
                      <a:pt x="776" y="414"/>
                      <a:pt x="776" y="414"/>
                      <a:pt x="776" y="414"/>
                    </a:cubicBezTo>
                    <a:moveTo>
                      <a:pt x="795" y="420"/>
                    </a:moveTo>
                    <a:cubicBezTo>
                      <a:pt x="794" y="420"/>
                      <a:pt x="793" y="418"/>
                      <a:pt x="794" y="417"/>
                    </a:cubicBezTo>
                    <a:cubicBezTo>
                      <a:pt x="800" y="412"/>
                      <a:pt x="805" y="408"/>
                      <a:pt x="809" y="402"/>
                    </a:cubicBezTo>
                    <a:cubicBezTo>
                      <a:pt x="810" y="401"/>
                      <a:pt x="810" y="401"/>
                      <a:pt x="811" y="401"/>
                    </a:cubicBezTo>
                    <a:cubicBezTo>
                      <a:pt x="812" y="401"/>
                      <a:pt x="814" y="402"/>
                      <a:pt x="813" y="404"/>
                    </a:cubicBezTo>
                    <a:cubicBezTo>
                      <a:pt x="809" y="411"/>
                      <a:pt x="803" y="417"/>
                      <a:pt x="796" y="420"/>
                    </a:cubicBezTo>
                    <a:cubicBezTo>
                      <a:pt x="796" y="420"/>
                      <a:pt x="795" y="420"/>
                      <a:pt x="795" y="420"/>
                    </a:cubicBezTo>
                    <a:moveTo>
                      <a:pt x="216" y="391"/>
                    </a:moveTo>
                    <a:cubicBezTo>
                      <a:pt x="213" y="391"/>
                      <a:pt x="210" y="391"/>
                      <a:pt x="207" y="390"/>
                    </a:cubicBezTo>
                    <a:cubicBezTo>
                      <a:pt x="207" y="390"/>
                      <a:pt x="207" y="389"/>
                      <a:pt x="207" y="389"/>
                    </a:cubicBezTo>
                    <a:cubicBezTo>
                      <a:pt x="207" y="389"/>
                      <a:pt x="207" y="389"/>
                      <a:pt x="207" y="389"/>
                    </a:cubicBezTo>
                    <a:cubicBezTo>
                      <a:pt x="211" y="390"/>
                      <a:pt x="214" y="390"/>
                      <a:pt x="217" y="390"/>
                    </a:cubicBezTo>
                    <a:cubicBezTo>
                      <a:pt x="219" y="390"/>
                      <a:pt x="221" y="390"/>
                      <a:pt x="223" y="390"/>
                    </a:cubicBezTo>
                    <a:cubicBezTo>
                      <a:pt x="225" y="390"/>
                      <a:pt x="227" y="390"/>
                      <a:pt x="230" y="390"/>
                    </a:cubicBezTo>
                    <a:cubicBezTo>
                      <a:pt x="230" y="390"/>
                      <a:pt x="230" y="390"/>
                      <a:pt x="230" y="390"/>
                    </a:cubicBezTo>
                    <a:cubicBezTo>
                      <a:pt x="230" y="390"/>
                      <a:pt x="230" y="390"/>
                      <a:pt x="230" y="390"/>
                    </a:cubicBezTo>
                    <a:cubicBezTo>
                      <a:pt x="226" y="390"/>
                      <a:pt x="221" y="391"/>
                      <a:pt x="216" y="391"/>
                    </a:cubicBezTo>
                    <a:moveTo>
                      <a:pt x="127" y="366"/>
                    </a:moveTo>
                    <a:cubicBezTo>
                      <a:pt x="119" y="362"/>
                      <a:pt x="112" y="357"/>
                      <a:pt x="106" y="351"/>
                    </a:cubicBezTo>
                    <a:cubicBezTo>
                      <a:pt x="106" y="351"/>
                      <a:pt x="106" y="351"/>
                      <a:pt x="106" y="351"/>
                    </a:cubicBezTo>
                    <a:cubicBezTo>
                      <a:pt x="113" y="356"/>
                      <a:pt x="119" y="362"/>
                      <a:pt x="127" y="366"/>
                    </a:cubicBezTo>
                    <a:cubicBezTo>
                      <a:pt x="127" y="366"/>
                      <a:pt x="127" y="366"/>
                      <a:pt x="127" y="366"/>
                    </a:cubicBezTo>
                    <a:moveTo>
                      <a:pt x="349" y="350"/>
                    </a:moveTo>
                    <a:cubicBezTo>
                      <a:pt x="349" y="350"/>
                      <a:pt x="349" y="349"/>
                      <a:pt x="349" y="349"/>
                    </a:cubicBezTo>
                    <a:cubicBezTo>
                      <a:pt x="359" y="338"/>
                      <a:pt x="369" y="330"/>
                      <a:pt x="377" y="318"/>
                    </a:cubicBezTo>
                    <a:cubicBezTo>
                      <a:pt x="385" y="305"/>
                      <a:pt x="393" y="291"/>
                      <a:pt x="401" y="278"/>
                    </a:cubicBezTo>
                    <a:cubicBezTo>
                      <a:pt x="401" y="278"/>
                      <a:pt x="401" y="278"/>
                      <a:pt x="401" y="278"/>
                    </a:cubicBezTo>
                    <a:cubicBezTo>
                      <a:pt x="402" y="278"/>
                      <a:pt x="403" y="278"/>
                      <a:pt x="402" y="279"/>
                    </a:cubicBezTo>
                    <a:cubicBezTo>
                      <a:pt x="394" y="293"/>
                      <a:pt x="388" y="307"/>
                      <a:pt x="379" y="321"/>
                    </a:cubicBezTo>
                    <a:cubicBezTo>
                      <a:pt x="371" y="333"/>
                      <a:pt x="360" y="340"/>
                      <a:pt x="350" y="350"/>
                    </a:cubicBezTo>
                    <a:cubicBezTo>
                      <a:pt x="350" y="350"/>
                      <a:pt x="350" y="350"/>
                      <a:pt x="349" y="350"/>
                    </a:cubicBezTo>
                    <a:moveTo>
                      <a:pt x="564" y="269"/>
                    </a:moveTo>
                    <a:cubicBezTo>
                      <a:pt x="564" y="265"/>
                      <a:pt x="565" y="259"/>
                      <a:pt x="569" y="258"/>
                    </a:cubicBezTo>
                    <a:cubicBezTo>
                      <a:pt x="570" y="257"/>
                      <a:pt x="571" y="257"/>
                      <a:pt x="571" y="257"/>
                    </a:cubicBezTo>
                    <a:cubicBezTo>
                      <a:pt x="575" y="257"/>
                      <a:pt x="579" y="262"/>
                      <a:pt x="582" y="264"/>
                    </a:cubicBezTo>
                    <a:cubicBezTo>
                      <a:pt x="600" y="275"/>
                      <a:pt x="624" y="285"/>
                      <a:pt x="633" y="305"/>
                    </a:cubicBezTo>
                    <a:cubicBezTo>
                      <a:pt x="636" y="311"/>
                      <a:pt x="637" y="317"/>
                      <a:pt x="632" y="322"/>
                    </a:cubicBezTo>
                    <a:cubicBezTo>
                      <a:pt x="629" y="324"/>
                      <a:pt x="627" y="325"/>
                      <a:pt x="624" y="325"/>
                    </a:cubicBezTo>
                    <a:cubicBezTo>
                      <a:pt x="623" y="325"/>
                      <a:pt x="622" y="324"/>
                      <a:pt x="621" y="324"/>
                    </a:cubicBezTo>
                    <a:cubicBezTo>
                      <a:pt x="620" y="325"/>
                      <a:pt x="620" y="325"/>
                      <a:pt x="619" y="325"/>
                    </a:cubicBezTo>
                    <a:cubicBezTo>
                      <a:pt x="618" y="325"/>
                      <a:pt x="617" y="324"/>
                      <a:pt x="616" y="323"/>
                    </a:cubicBezTo>
                    <a:cubicBezTo>
                      <a:pt x="615" y="324"/>
                      <a:pt x="614" y="324"/>
                      <a:pt x="613" y="324"/>
                    </a:cubicBezTo>
                    <a:cubicBezTo>
                      <a:pt x="612" y="324"/>
                      <a:pt x="610" y="324"/>
                      <a:pt x="609" y="322"/>
                    </a:cubicBezTo>
                    <a:cubicBezTo>
                      <a:pt x="609" y="322"/>
                      <a:pt x="608" y="322"/>
                      <a:pt x="608" y="321"/>
                    </a:cubicBezTo>
                    <a:cubicBezTo>
                      <a:pt x="593" y="306"/>
                      <a:pt x="573" y="297"/>
                      <a:pt x="559" y="280"/>
                    </a:cubicBezTo>
                    <a:cubicBezTo>
                      <a:pt x="555" y="276"/>
                      <a:pt x="559" y="270"/>
                      <a:pt x="564" y="269"/>
                    </a:cubicBezTo>
                    <a:moveTo>
                      <a:pt x="459" y="252"/>
                    </a:moveTo>
                    <a:cubicBezTo>
                      <a:pt x="457" y="244"/>
                      <a:pt x="463" y="240"/>
                      <a:pt x="470" y="240"/>
                    </a:cubicBezTo>
                    <a:cubicBezTo>
                      <a:pt x="473" y="240"/>
                      <a:pt x="476" y="241"/>
                      <a:pt x="479" y="242"/>
                    </a:cubicBezTo>
                    <a:cubicBezTo>
                      <a:pt x="497" y="249"/>
                      <a:pt x="518" y="271"/>
                      <a:pt x="526" y="288"/>
                    </a:cubicBezTo>
                    <a:cubicBezTo>
                      <a:pt x="529" y="293"/>
                      <a:pt x="530" y="299"/>
                      <a:pt x="527" y="303"/>
                    </a:cubicBezTo>
                    <a:cubicBezTo>
                      <a:pt x="526" y="307"/>
                      <a:pt x="523" y="308"/>
                      <a:pt x="519" y="308"/>
                    </a:cubicBezTo>
                    <a:cubicBezTo>
                      <a:pt x="519" y="311"/>
                      <a:pt x="516" y="314"/>
                      <a:pt x="511" y="314"/>
                    </a:cubicBezTo>
                    <a:cubicBezTo>
                      <a:pt x="508" y="315"/>
                      <a:pt x="506" y="315"/>
                      <a:pt x="503" y="315"/>
                    </a:cubicBezTo>
                    <a:cubicBezTo>
                      <a:pt x="503" y="311"/>
                      <a:pt x="503" y="311"/>
                      <a:pt x="503" y="311"/>
                    </a:cubicBezTo>
                    <a:cubicBezTo>
                      <a:pt x="502" y="311"/>
                      <a:pt x="502" y="311"/>
                      <a:pt x="502" y="310"/>
                    </a:cubicBezTo>
                    <a:cubicBezTo>
                      <a:pt x="502" y="310"/>
                      <a:pt x="502" y="310"/>
                      <a:pt x="502" y="310"/>
                    </a:cubicBezTo>
                    <a:cubicBezTo>
                      <a:pt x="502" y="310"/>
                      <a:pt x="501" y="310"/>
                      <a:pt x="500" y="310"/>
                    </a:cubicBezTo>
                    <a:cubicBezTo>
                      <a:pt x="499" y="310"/>
                      <a:pt x="498" y="310"/>
                      <a:pt x="497" y="309"/>
                    </a:cubicBezTo>
                    <a:cubicBezTo>
                      <a:pt x="492" y="306"/>
                      <a:pt x="488" y="301"/>
                      <a:pt x="484" y="296"/>
                    </a:cubicBezTo>
                    <a:cubicBezTo>
                      <a:pt x="479" y="292"/>
                      <a:pt x="475" y="287"/>
                      <a:pt x="470" y="281"/>
                    </a:cubicBezTo>
                    <a:cubicBezTo>
                      <a:pt x="464" y="276"/>
                      <a:pt x="457" y="270"/>
                      <a:pt x="450" y="265"/>
                    </a:cubicBezTo>
                    <a:cubicBezTo>
                      <a:pt x="444" y="260"/>
                      <a:pt x="449" y="251"/>
                      <a:pt x="455" y="251"/>
                    </a:cubicBezTo>
                    <a:cubicBezTo>
                      <a:pt x="456" y="251"/>
                      <a:pt x="457" y="251"/>
                      <a:pt x="458" y="252"/>
                    </a:cubicBezTo>
                    <a:cubicBezTo>
                      <a:pt x="458" y="252"/>
                      <a:pt x="459" y="252"/>
                      <a:pt x="459" y="252"/>
                    </a:cubicBezTo>
                    <a:moveTo>
                      <a:pt x="178" y="263"/>
                    </a:moveTo>
                    <a:cubicBezTo>
                      <a:pt x="178" y="262"/>
                      <a:pt x="178" y="262"/>
                      <a:pt x="178" y="261"/>
                    </a:cubicBezTo>
                    <a:cubicBezTo>
                      <a:pt x="182" y="241"/>
                      <a:pt x="199" y="231"/>
                      <a:pt x="217" y="231"/>
                    </a:cubicBezTo>
                    <a:cubicBezTo>
                      <a:pt x="222" y="231"/>
                      <a:pt x="227" y="232"/>
                      <a:pt x="232" y="234"/>
                    </a:cubicBezTo>
                    <a:cubicBezTo>
                      <a:pt x="233" y="234"/>
                      <a:pt x="233" y="234"/>
                      <a:pt x="233" y="234"/>
                    </a:cubicBezTo>
                    <a:cubicBezTo>
                      <a:pt x="253" y="236"/>
                      <a:pt x="266" y="247"/>
                      <a:pt x="264" y="270"/>
                    </a:cubicBezTo>
                    <a:cubicBezTo>
                      <a:pt x="263" y="286"/>
                      <a:pt x="254" y="301"/>
                      <a:pt x="240" y="307"/>
                    </a:cubicBezTo>
                    <a:cubicBezTo>
                      <a:pt x="240" y="307"/>
                      <a:pt x="239" y="308"/>
                      <a:pt x="239" y="308"/>
                    </a:cubicBezTo>
                    <a:cubicBezTo>
                      <a:pt x="232" y="313"/>
                      <a:pt x="226" y="315"/>
                      <a:pt x="220" y="315"/>
                    </a:cubicBezTo>
                    <a:cubicBezTo>
                      <a:pt x="217" y="315"/>
                      <a:pt x="214" y="315"/>
                      <a:pt x="210" y="314"/>
                    </a:cubicBezTo>
                    <a:cubicBezTo>
                      <a:pt x="203" y="312"/>
                      <a:pt x="196" y="310"/>
                      <a:pt x="190" y="305"/>
                    </a:cubicBezTo>
                    <a:cubicBezTo>
                      <a:pt x="181" y="297"/>
                      <a:pt x="175" y="285"/>
                      <a:pt x="175" y="275"/>
                    </a:cubicBezTo>
                    <a:cubicBezTo>
                      <a:pt x="175" y="274"/>
                      <a:pt x="175" y="273"/>
                      <a:pt x="176" y="272"/>
                    </a:cubicBezTo>
                    <a:cubicBezTo>
                      <a:pt x="176" y="269"/>
                      <a:pt x="177" y="266"/>
                      <a:pt x="178" y="263"/>
                    </a:cubicBezTo>
                    <a:moveTo>
                      <a:pt x="769" y="218"/>
                    </a:moveTo>
                    <a:cubicBezTo>
                      <a:pt x="770" y="212"/>
                      <a:pt x="771" y="205"/>
                      <a:pt x="775" y="201"/>
                    </a:cubicBezTo>
                    <a:cubicBezTo>
                      <a:pt x="779" y="197"/>
                      <a:pt x="784" y="196"/>
                      <a:pt x="789" y="196"/>
                    </a:cubicBezTo>
                    <a:cubicBezTo>
                      <a:pt x="794" y="196"/>
                      <a:pt x="798" y="197"/>
                      <a:pt x="803" y="198"/>
                    </a:cubicBezTo>
                    <a:cubicBezTo>
                      <a:pt x="812" y="200"/>
                      <a:pt x="827" y="203"/>
                      <a:pt x="831" y="214"/>
                    </a:cubicBezTo>
                    <a:cubicBezTo>
                      <a:pt x="834" y="221"/>
                      <a:pt x="829" y="229"/>
                      <a:pt x="828" y="236"/>
                    </a:cubicBezTo>
                    <a:cubicBezTo>
                      <a:pt x="828" y="240"/>
                      <a:pt x="827" y="244"/>
                      <a:pt x="827" y="248"/>
                    </a:cubicBezTo>
                    <a:cubicBezTo>
                      <a:pt x="827" y="248"/>
                      <a:pt x="827" y="248"/>
                      <a:pt x="827" y="248"/>
                    </a:cubicBezTo>
                    <a:cubicBezTo>
                      <a:pt x="827" y="248"/>
                      <a:pt x="827" y="260"/>
                      <a:pt x="827" y="260"/>
                    </a:cubicBezTo>
                    <a:cubicBezTo>
                      <a:pt x="828" y="260"/>
                      <a:pt x="828" y="261"/>
                      <a:pt x="828" y="261"/>
                    </a:cubicBezTo>
                    <a:cubicBezTo>
                      <a:pt x="828" y="261"/>
                      <a:pt x="828" y="261"/>
                      <a:pt x="828" y="261"/>
                    </a:cubicBezTo>
                    <a:cubicBezTo>
                      <a:pt x="829" y="261"/>
                      <a:pt x="829" y="261"/>
                      <a:pt x="830" y="261"/>
                    </a:cubicBezTo>
                    <a:cubicBezTo>
                      <a:pt x="830" y="261"/>
                      <a:pt x="831" y="261"/>
                      <a:pt x="832" y="261"/>
                    </a:cubicBezTo>
                    <a:cubicBezTo>
                      <a:pt x="832" y="261"/>
                      <a:pt x="833" y="261"/>
                      <a:pt x="834" y="261"/>
                    </a:cubicBezTo>
                    <a:cubicBezTo>
                      <a:pt x="839" y="261"/>
                      <a:pt x="844" y="263"/>
                      <a:pt x="849" y="264"/>
                    </a:cubicBezTo>
                    <a:cubicBezTo>
                      <a:pt x="857" y="265"/>
                      <a:pt x="864" y="266"/>
                      <a:pt x="872" y="268"/>
                    </a:cubicBezTo>
                    <a:cubicBezTo>
                      <a:pt x="884" y="273"/>
                      <a:pt x="885" y="286"/>
                      <a:pt x="884" y="298"/>
                    </a:cubicBezTo>
                    <a:cubicBezTo>
                      <a:pt x="883" y="309"/>
                      <a:pt x="884" y="324"/>
                      <a:pt x="872" y="329"/>
                    </a:cubicBezTo>
                    <a:cubicBezTo>
                      <a:pt x="871" y="329"/>
                      <a:pt x="871" y="329"/>
                      <a:pt x="870" y="329"/>
                    </a:cubicBezTo>
                    <a:cubicBezTo>
                      <a:pt x="870" y="330"/>
                      <a:pt x="869" y="330"/>
                      <a:pt x="869" y="330"/>
                    </a:cubicBezTo>
                    <a:cubicBezTo>
                      <a:pt x="866" y="333"/>
                      <a:pt x="861" y="334"/>
                      <a:pt x="856" y="334"/>
                    </a:cubicBezTo>
                    <a:cubicBezTo>
                      <a:pt x="850" y="334"/>
                      <a:pt x="843" y="333"/>
                      <a:pt x="840" y="332"/>
                    </a:cubicBezTo>
                    <a:cubicBezTo>
                      <a:pt x="834" y="332"/>
                      <a:pt x="829" y="332"/>
                      <a:pt x="824" y="332"/>
                    </a:cubicBezTo>
                    <a:cubicBezTo>
                      <a:pt x="822" y="344"/>
                      <a:pt x="827" y="356"/>
                      <a:pt x="822" y="368"/>
                    </a:cubicBezTo>
                    <a:cubicBezTo>
                      <a:pt x="819" y="373"/>
                      <a:pt x="816" y="376"/>
                      <a:pt x="811" y="377"/>
                    </a:cubicBezTo>
                    <a:cubicBezTo>
                      <a:pt x="810" y="379"/>
                      <a:pt x="809" y="380"/>
                      <a:pt x="807" y="381"/>
                    </a:cubicBezTo>
                    <a:cubicBezTo>
                      <a:pt x="806" y="382"/>
                      <a:pt x="803" y="382"/>
                      <a:pt x="801" y="382"/>
                    </a:cubicBezTo>
                    <a:cubicBezTo>
                      <a:pt x="798" y="382"/>
                      <a:pt x="795" y="382"/>
                      <a:pt x="793" y="381"/>
                    </a:cubicBezTo>
                    <a:cubicBezTo>
                      <a:pt x="793" y="381"/>
                      <a:pt x="792" y="381"/>
                      <a:pt x="791" y="381"/>
                    </a:cubicBezTo>
                    <a:cubicBezTo>
                      <a:pt x="787" y="381"/>
                      <a:pt x="783" y="380"/>
                      <a:pt x="779" y="379"/>
                    </a:cubicBezTo>
                    <a:cubicBezTo>
                      <a:pt x="772" y="375"/>
                      <a:pt x="765" y="374"/>
                      <a:pt x="759" y="372"/>
                    </a:cubicBezTo>
                    <a:cubicBezTo>
                      <a:pt x="755" y="369"/>
                      <a:pt x="754" y="365"/>
                      <a:pt x="754" y="361"/>
                    </a:cubicBezTo>
                    <a:cubicBezTo>
                      <a:pt x="754" y="357"/>
                      <a:pt x="755" y="354"/>
                      <a:pt x="756" y="351"/>
                    </a:cubicBezTo>
                    <a:cubicBezTo>
                      <a:pt x="756" y="348"/>
                      <a:pt x="756" y="346"/>
                      <a:pt x="757" y="343"/>
                    </a:cubicBezTo>
                    <a:cubicBezTo>
                      <a:pt x="758" y="338"/>
                      <a:pt x="759" y="332"/>
                      <a:pt x="761" y="327"/>
                    </a:cubicBezTo>
                    <a:cubicBezTo>
                      <a:pt x="761" y="326"/>
                      <a:pt x="761" y="325"/>
                      <a:pt x="761" y="324"/>
                    </a:cubicBezTo>
                    <a:cubicBezTo>
                      <a:pt x="761" y="324"/>
                      <a:pt x="761" y="324"/>
                      <a:pt x="761" y="324"/>
                    </a:cubicBezTo>
                    <a:cubicBezTo>
                      <a:pt x="760" y="320"/>
                      <a:pt x="760" y="320"/>
                      <a:pt x="760" y="320"/>
                    </a:cubicBezTo>
                    <a:cubicBezTo>
                      <a:pt x="758" y="320"/>
                      <a:pt x="757" y="320"/>
                      <a:pt x="756" y="320"/>
                    </a:cubicBezTo>
                    <a:cubicBezTo>
                      <a:pt x="742" y="320"/>
                      <a:pt x="729" y="314"/>
                      <a:pt x="715" y="314"/>
                    </a:cubicBezTo>
                    <a:cubicBezTo>
                      <a:pt x="708" y="312"/>
                      <a:pt x="705" y="309"/>
                      <a:pt x="705" y="302"/>
                    </a:cubicBezTo>
                    <a:cubicBezTo>
                      <a:pt x="705" y="302"/>
                      <a:pt x="705" y="302"/>
                      <a:pt x="705" y="301"/>
                    </a:cubicBezTo>
                    <a:cubicBezTo>
                      <a:pt x="705" y="301"/>
                      <a:pt x="705" y="301"/>
                      <a:pt x="705" y="301"/>
                    </a:cubicBezTo>
                    <a:cubicBezTo>
                      <a:pt x="704" y="296"/>
                      <a:pt x="704" y="290"/>
                      <a:pt x="704" y="285"/>
                    </a:cubicBezTo>
                    <a:cubicBezTo>
                      <a:pt x="704" y="282"/>
                      <a:pt x="704" y="280"/>
                      <a:pt x="704" y="278"/>
                    </a:cubicBezTo>
                    <a:cubicBezTo>
                      <a:pt x="704" y="278"/>
                      <a:pt x="704" y="278"/>
                      <a:pt x="704" y="278"/>
                    </a:cubicBezTo>
                    <a:cubicBezTo>
                      <a:pt x="704" y="276"/>
                      <a:pt x="704" y="274"/>
                      <a:pt x="704" y="271"/>
                    </a:cubicBezTo>
                    <a:cubicBezTo>
                      <a:pt x="704" y="267"/>
                      <a:pt x="704" y="261"/>
                      <a:pt x="707" y="258"/>
                    </a:cubicBezTo>
                    <a:cubicBezTo>
                      <a:pt x="708" y="251"/>
                      <a:pt x="710" y="245"/>
                      <a:pt x="718" y="243"/>
                    </a:cubicBezTo>
                    <a:cubicBezTo>
                      <a:pt x="719" y="243"/>
                      <a:pt x="720" y="243"/>
                      <a:pt x="722" y="243"/>
                    </a:cubicBezTo>
                    <a:cubicBezTo>
                      <a:pt x="727" y="243"/>
                      <a:pt x="735" y="244"/>
                      <a:pt x="740" y="245"/>
                    </a:cubicBezTo>
                    <a:cubicBezTo>
                      <a:pt x="742" y="245"/>
                      <a:pt x="745" y="246"/>
                      <a:pt x="747" y="247"/>
                    </a:cubicBezTo>
                    <a:cubicBezTo>
                      <a:pt x="751" y="248"/>
                      <a:pt x="755" y="249"/>
                      <a:pt x="759" y="249"/>
                    </a:cubicBezTo>
                    <a:cubicBezTo>
                      <a:pt x="760" y="249"/>
                      <a:pt x="760" y="249"/>
                      <a:pt x="760" y="249"/>
                    </a:cubicBezTo>
                    <a:cubicBezTo>
                      <a:pt x="761" y="249"/>
                      <a:pt x="762" y="248"/>
                      <a:pt x="763" y="248"/>
                    </a:cubicBezTo>
                    <a:cubicBezTo>
                      <a:pt x="762" y="247"/>
                      <a:pt x="762" y="246"/>
                      <a:pt x="762" y="245"/>
                    </a:cubicBezTo>
                    <a:cubicBezTo>
                      <a:pt x="762" y="245"/>
                      <a:pt x="763" y="245"/>
                      <a:pt x="763" y="244"/>
                    </a:cubicBezTo>
                    <a:cubicBezTo>
                      <a:pt x="764" y="241"/>
                      <a:pt x="764" y="238"/>
                      <a:pt x="765" y="235"/>
                    </a:cubicBezTo>
                    <a:cubicBezTo>
                      <a:pt x="766" y="230"/>
                      <a:pt x="766" y="225"/>
                      <a:pt x="768" y="220"/>
                    </a:cubicBezTo>
                    <a:cubicBezTo>
                      <a:pt x="768" y="219"/>
                      <a:pt x="768" y="218"/>
                      <a:pt x="769" y="218"/>
                    </a:cubicBezTo>
                    <a:moveTo>
                      <a:pt x="611" y="193"/>
                    </a:moveTo>
                    <a:cubicBezTo>
                      <a:pt x="611" y="191"/>
                      <a:pt x="612" y="190"/>
                      <a:pt x="613" y="188"/>
                    </a:cubicBezTo>
                    <a:cubicBezTo>
                      <a:pt x="615" y="186"/>
                      <a:pt x="618" y="185"/>
                      <a:pt x="621" y="185"/>
                    </a:cubicBezTo>
                    <a:cubicBezTo>
                      <a:pt x="630" y="185"/>
                      <a:pt x="640" y="192"/>
                      <a:pt x="635" y="200"/>
                    </a:cubicBezTo>
                    <a:cubicBezTo>
                      <a:pt x="634" y="200"/>
                      <a:pt x="634" y="200"/>
                      <a:pt x="633" y="200"/>
                    </a:cubicBezTo>
                    <a:cubicBezTo>
                      <a:pt x="633" y="200"/>
                      <a:pt x="633" y="200"/>
                      <a:pt x="633" y="200"/>
                    </a:cubicBezTo>
                    <a:cubicBezTo>
                      <a:pt x="631" y="202"/>
                      <a:pt x="629" y="203"/>
                      <a:pt x="627" y="204"/>
                    </a:cubicBezTo>
                    <a:cubicBezTo>
                      <a:pt x="627" y="205"/>
                      <a:pt x="627" y="205"/>
                      <a:pt x="627" y="205"/>
                    </a:cubicBezTo>
                    <a:cubicBezTo>
                      <a:pt x="626" y="205"/>
                      <a:pt x="626" y="205"/>
                      <a:pt x="626" y="205"/>
                    </a:cubicBezTo>
                    <a:cubicBezTo>
                      <a:pt x="626" y="205"/>
                      <a:pt x="626" y="205"/>
                      <a:pt x="625" y="205"/>
                    </a:cubicBezTo>
                    <a:cubicBezTo>
                      <a:pt x="625" y="205"/>
                      <a:pt x="625" y="205"/>
                      <a:pt x="625" y="205"/>
                    </a:cubicBezTo>
                    <a:cubicBezTo>
                      <a:pt x="625" y="208"/>
                      <a:pt x="625" y="210"/>
                      <a:pt x="623" y="212"/>
                    </a:cubicBezTo>
                    <a:cubicBezTo>
                      <a:pt x="622" y="213"/>
                      <a:pt x="620" y="213"/>
                      <a:pt x="619" y="213"/>
                    </a:cubicBezTo>
                    <a:cubicBezTo>
                      <a:pt x="618" y="213"/>
                      <a:pt x="617" y="213"/>
                      <a:pt x="617" y="213"/>
                    </a:cubicBezTo>
                    <a:cubicBezTo>
                      <a:pt x="616" y="213"/>
                      <a:pt x="614" y="212"/>
                      <a:pt x="613" y="212"/>
                    </a:cubicBezTo>
                    <a:cubicBezTo>
                      <a:pt x="611" y="211"/>
                      <a:pt x="608" y="210"/>
                      <a:pt x="607" y="206"/>
                    </a:cubicBezTo>
                    <a:cubicBezTo>
                      <a:pt x="605" y="204"/>
                      <a:pt x="604" y="201"/>
                      <a:pt x="605" y="198"/>
                    </a:cubicBezTo>
                    <a:cubicBezTo>
                      <a:pt x="605" y="195"/>
                      <a:pt x="608" y="193"/>
                      <a:pt x="611" y="193"/>
                    </a:cubicBezTo>
                    <a:moveTo>
                      <a:pt x="321" y="185"/>
                    </a:moveTo>
                    <a:cubicBezTo>
                      <a:pt x="320" y="185"/>
                      <a:pt x="319" y="183"/>
                      <a:pt x="320" y="182"/>
                    </a:cubicBezTo>
                    <a:cubicBezTo>
                      <a:pt x="326" y="180"/>
                      <a:pt x="329" y="177"/>
                      <a:pt x="334" y="177"/>
                    </a:cubicBezTo>
                    <a:cubicBezTo>
                      <a:pt x="336" y="177"/>
                      <a:pt x="338" y="177"/>
                      <a:pt x="340" y="179"/>
                    </a:cubicBezTo>
                    <a:cubicBezTo>
                      <a:pt x="348" y="183"/>
                      <a:pt x="353" y="192"/>
                      <a:pt x="356" y="200"/>
                    </a:cubicBezTo>
                    <a:cubicBezTo>
                      <a:pt x="362" y="217"/>
                      <a:pt x="355" y="234"/>
                      <a:pt x="340" y="242"/>
                    </a:cubicBezTo>
                    <a:cubicBezTo>
                      <a:pt x="336" y="246"/>
                      <a:pt x="330" y="249"/>
                      <a:pt x="324" y="250"/>
                    </a:cubicBezTo>
                    <a:cubicBezTo>
                      <a:pt x="322" y="251"/>
                      <a:pt x="319" y="251"/>
                      <a:pt x="317" y="251"/>
                    </a:cubicBezTo>
                    <a:cubicBezTo>
                      <a:pt x="305" y="251"/>
                      <a:pt x="294" y="246"/>
                      <a:pt x="287" y="236"/>
                    </a:cubicBezTo>
                    <a:cubicBezTo>
                      <a:pt x="283" y="231"/>
                      <a:pt x="282" y="225"/>
                      <a:pt x="282" y="219"/>
                    </a:cubicBezTo>
                    <a:cubicBezTo>
                      <a:pt x="282" y="215"/>
                      <a:pt x="283" y="210"/>
                      <a:pt x="284" y="207"/>
                    </a:cubicBezTo>
                    <a:cubicBezTo>
                      <a:pt x="284" y="206"/>
                      <a:pt x="285" y="205"/>
                      <a:pt x="285" y="204"/>
                    </a:cubicBezTo>
                    <a:cubicBezTo>
                      <a:pt x="288" y="190"/>
                      <a:pt x="298" y="179"/>
                      <a:pt x="314" y="178"/>
                    </a:cubicBezTo>
                    <a:cubicBezTo>
                      <a:pt x="314" y="178"/>
                      <a:pt x="314" y="178"/>
                      <a:pt x="314" y="178"/>
                    </a:cubicBezTo>
                    <a:cubicBezTo>
                      <a:pt x="318" y="178"/>
                      <a:pt x="318" y="184"/>
                      <a:pt x="315" y="185"/>
                    </a:cubicBezTo>
                    <a:cubicBezTo>
                      <a:pt x="309" y="186"/>
                      <a:pt x="303" y="188"/>
                      <a:pt x="299" y="192"/>
                    </a:cubicBezTo>
                    <a:cubicBezTo>
                      <a:pt x="302" y="191"/>
                      <a:pt x="304" y="190"/>
                      <a:pt x="308" y="190"/>
                    </a:cubicBezTo>
                    <a:cubicBezTo>
                      <a:pt x="323" y="188"/>
                      <a:pt x="323" y="188"/>
                      <a:pt x="323" y="188"/>
                    </a:cubicBezTo>
                    <a:cubicBezTo>
                      <a:pt x="324" y="188"/>
                      <a:pt x="325" y="187"/>
                      <a:pt x="326" y="187"/>
                    </a:cubicBezTo>
                    <a:cubicBezTo>
                      <a:pt x="333" y="187"/>
                      <a:pt x="340" y="197"/>
                      <a:pt x="344" y="204"/>
                    </a:cubicBezTo>
                    <a:cubicBezTo>
                      <a:pt x="347" y="209"/>
                      <a:pt x="349" y="215"/>
                      <a:pt x="349" y="220"/>
                    </a:cubicBezTo>
                    <a:cubicBezTo>
                      <a:pt x="349" y="222"/>
                      <a:pt x="349" y="224"/>
                      <a:pt x="348" y="225"/>
                    </a:cubicBezTo>
                    <a:cubicBezTo>
                      <a:pt x="353" y="217"/>
                      <a:pt x="353" y="207"/>
                      <a:pt x="349" y="198"/>
                    </a:cubicBezTo>
                    <a:cubicBezTo>
                      <a:pt x="346" y="193"/>
                      <a:pt x="340" y="183"/>
                      <a:pt x="334" y="182"/>
                    </a:cubicBezTo>
                    <a:cubicBezTo>
                      <a:pt x="333" y="182"/>
                      <a:pt x="333" y="182"/>
                      <a:pt x="332" y="182"/>
                    </a:cubicBezTo>
                    <a:cubicBezTo>
                      <a:pt x="329" y="182"/>
                      <a:pt x="325" y="184"/>
                      <a:pt x="321" y="185"/>
                    </a:cubicBezTo>
                    <a:cubicBezTo>
                      <a:pt x="321" y="185"/>
                      <a:pt x="321" y="185"/>
                      <a:pt x="321" y="185"/>
                    </a:cubicBezTo>
                    <a:moveTo>
                      <a:pt x="537" y="181"/>
                    </a:moveTo>
                    <a:cubicBezTo>
                      <a:pt x="538" y="177"/>
                      <a:pt x="540" y="174"/>
                      <a:pt x="545" y="174"/>
                    </a:cubicBezTo>
                    <a:cubicBezTo>
                      <a:pt x="545" y="174"/>
                      <a:pt x="545" y="174"/>
                      <a:pt x="546" y="174"/>
                    </a:cubicBezTo>
                    <a:cubicBezTo>
                      <a:pt x="548" y="174"/>
                      <a:pt x="551" y="176"/>
                      <a:pt x="553" y="177"/>
                    </a:cubicBezTo>
                    <a:cubicBezTo>
                      <a:pt x="556" y="180"/>
                      <a:pt x="557" y="184"/>
                      <a:pt x="558" y="187"/>
                    </a:cubicBezTo>
                    <a:cubicBezTo>
                      <a:pt x="559" y="188"/>
                      <a:pt x="558" y="189"/>
                      <a:pt x="557" y="189"/>
                    </a:cubicBezTo>
                    <a:cubicBezTo>
                      <a:pt x="557" y="189"/>
                      <a:pt x="556" y="189"/>
                      <a:pt x="556" y="188"/>
                    </a:cubicBezTo>
                    <a:cubicBezTo>
                      <a:pt x="555" y="187"/>
                      <a:pt x="554" y="185"/>
                      <a:pt x="554" y="184"/>
                    </a:cubicBezTo>
                    <a:cubicBezTo>
                      <a:pt x="555" y="188"/>
                      <a:pt x="553" y="193"/>
                      <a:pt x="548" y="195"/>
                    </a:cubicBezTo>
                    <a:cubicBezTo>
                      <a:pt x="547" y="195"/>
                      <a:pt x="547" y="195"/>
                      <a:pt x="546" y="195"/>
                    </a:cubicBezTo>
                    <a:cubicBezTo>
                      <a:pt x="545" y="195"/>
                      <a:pt x="544" y="195"/>
                      <a:pt x="543" y="194"/>
                    </a:cubicBezTo>
                    <a:cubicBezTo>
                      <a:pt x="542" y="194"/>
                      <a:pt x="542" y="194"/>
                      <a:pt x="542" y="194"/>
                    </a:cubicBezTo>
                    <a:cubicBezTo>
                      <a:pt x="542" y="195"/>
                      <a:pt x="541" y="196"/>
                      <a:pt x="539" y="196"/>
                    </a:cubicBezTo>
                    <a:cubicBezTo>
                      <a:pt x="538" y="197"/>
                      <a:pt x="537" y="197"/>
                      <a:pt x="536" y="197"/>
                    </a:cubicBezTo>
                    <a:cubicBezTo>
                      <a:pt x="536" y="197"/>
                      <a:pt x="536" y="197"/>
                      <a:pt x="536" y="197"/>
                    </a:cubicBezTo>
                    <a:cubicBezTo>
                      <a:pt x="534" y="197"/>
                      <a:pt x="532" y="196"/>
                      <a:pt x="531" y="194"/>
                    </a:cubicBezTo>
                    <a:cubicBezTo>
                      <a:pt x="530" y="192"/>
                      <a:pt x="530" y="189"/>
                      <a:pt x="532" y="188"/>
                    </a:cubicBezTo>
                    <a:cubicBezTo>
                      <a:pt x="532" y="188"/>
                      <a:pt x="532" y="188"/>
                      <a:pt x="532" y="188"/>
                    </a:cubicBezTo>
                    <a:cubicBezTo>
                      <a:pt x="532" y="187"/>
                      <a:pt x="532" y="187"/>
                      <a:pt x="532" y="187"/>
                    </a:cubicBezTo>
                    <a:cubicBezTo>
                      <a:pt x="532" y="187"/>
                      <a:pt x="532" y="186"/>
                      <a:pt x="532" y="185"/>
                    </a:cubicBezTo>
                    <a:cubicBezTo>
                      <a:pt x="532" y="185"/>
                      <a:pt x="532" y="185"/>
                      <a:pt x="532" y="185"/>
                    </a:cubicBezTo>
                    <a:cubicBezTo>
                      <a:pt x="532" y="184"/>
                      <a:pt x="533" y="183"/>
                      <a:pt x="533" y="182"/>
                    </a:cubicBezTo>
                    <a:cubicBezTo>
                      <a:pt x="534" y="181"/>
                      <a:pt x="536" y="181"/>
                      <a:pt x="537" y="181"/>
                    </a:cubicBezTo>
                    <a:cubicBezTo>
                      <a:pt x="537" y="181"/>
                      <a:pt x="537" y="181"/>
                      <a:pt x="537" y="181"/>
                    </a:cubicBezTo>
                    <a:moveTo>
                      <a:pt x="799" y="173"/>
                    </a:moveTo>
                    <a:cubicBezTo>
                      <a:pt x="797" y="173"/>
                      <a:pt x="796" y="171"/>
                      <a:pt x="798" y="171"/>
                    </a:cubicBezTo>
                    <a:cubicBezTo>
                      <a:pt x="803" y="169"/>
                      <a:pt x="807" y="169"/>
                      <a:pt x="812" y="169"/>
                    </a:cubicBezTo>
                    <a:cubicBezTo>
                      <a:pt x="850" y="169"/>
                      <a:pt x="887" y="216"/>
                      <a:pt x="899" y="246"/>
                    </a:cubicBezTo>
                    <a:cubicBezTo>
                      <a:pt x="907" y="267"/>
                      <a:pt x="905" y="290"/>
                      <a:pt x="904" y="312"/>
                    </a:cubicBezTo>
                    <a:cubicBezTo>
                      <a:pt x="901" y="344"/>
                      <a:pt x="890" y="366"/>
                      <a:pt x="864" y="385"/>
                    </a:cubicBezTo>
                    <a:cubicBezTo>
                      <a:pt x="864" y="384"/>
                      <a:pt x="864" y="384"/>
                      <a:pt x="864" y="384"/>
                    </a:cubicBezTo>
                    <a:cubicBezTo>
                      <a:pt x="889" y="365"/>
                      <a:pt x="897" y="344"/>
                      <a:pt x="899" y="311"/>
                    </a:cubicBezTo>
                    <a:cubicBezTo>
                      <a:pt x="900" y="288"/>
                      <a:pt x="900" y="265"/>
                      <a:pt x="890" y="244"/>
                    </a:cubicBezTo>
                    <a:cubicBezTo>
                      <a:pt x="874" y="208"/>
                      <a:pt x="840" y="173"/>
                      <a:pt x="799" y="173"/>
                    </a:cubicBezTo>
                    <a:cubicBezTo>
                      <a:pt x="799" y="173"/>
                      <a:pt x="799" y="173"/>
                      <a:pt x="799" y="173"/>
                    </a:cubicBezTo>
                    <a:cubicBezTo>
                      <a:pt x="799" y="173"/>
                      <a:pt x="799" y="173"/>
                      <a:pt x="799" y="173"/>
                    </a:cubicBezTo>
                    <a:moveTo>
                      <a:pt x="749" y="397"/>
                    </a:moveTo>
                    <a:cubicBezTo>
                      <a:pt x="749" y="397"/>
                      <a:pt x="749" y="397"/>
                      <a:pt x="749" y="397"/>
                    </a:cubicBezTo>
                    <a:cubicBezTo>
                      <a:pt x="693" y="385"/>
                      <a:pt x="674" y="325"/>
                      <a:pt x="674" y="274"/>
                    </a:cubicBezTo>
                    <a:cubicBezTo>
                      <a:pt x="674" y="247"/>
                      <a:pt x="683" y="222"/>
                      <a:pt x="699" y="201"/>
                    </a:cubicBezTo>
                    <a:cubicBezTo>
                      <a:pt x="719" y="177"/>
                      <a:pt x="744" y="169"/>
                      <a:pt x="774" y="163"/>
                    </a:cubicBezTo>
                    <a:cubicBezTo>
                      <a:pt x="775" y="163"/>
                      <a:pt x="775" y="163"/>
                      <a:pt x="775" y="163"/>
                    </a:cubicBezTo>
                    <a:cubicBezTo>
                      <a:pt x="778" y="163"/>
                      <a:pt x="779" y="168"/>
                      <a:pt x="776" y="169"/>
                    </a:cubicBezTo>
                    <a:cubicBezTo>
                      <a:pt x="746" y="178"/>
                      <a:pt x="720" y="184"/>
                      <a:pt x="701" y="211"/>
                    </a:cubicBezTo>
                    <a:cubicBezTo>
                      <a:pt x="684" y="233"/>
                      <a:pt x="680" y="259"/>
                      <a:pt x="681" y="287"/>
                    </a:cubicBezTo>
                    <a:cubicBezTo>
                      <a:pt x="682" y="333"/>
                      <a:pt x="701" y="382"/>
                      <a:pt x="750" y="395"/>
                    </a:cubicBezTo>
                    <a:cubicBezTo>
                      <a:pt x="751" y="395"/>
                      <a:pt x="751" y="397"/>
                      <a:pt x="749" y="397"/>
                    </a:cubicBezTo>
                    <a:moveTo>
                      <a:pt x="455" y="165"/>
                    </a:moveTo>
                    <a:cubicBezTo>
                      <a:pt x="456" y="161"/>
                      <a:pt x="459" y="157"/>
                      <a:pt x="464" y="155"/>
                    </a:cubicBezTo>
                    <a:cubicBezTo>
                      <a:pt x="465" y="155"/>
                      <a:pt x="466" y="155"/>
                      <a:pt x="467" y="155"/>
                    </a:cubicBezTo>
                    <a:cubicBezTo>
                      <a:pt x="474" y="155"/>
                      <a:pt x="479" y="163"/>
                      <a:pt x="479" y="169"/>
                    </a:cubicBezTo>
                    <a:cubicBezTo>
                      <a:pt x="480" y="170"/>
                      <a:pt x="480" y="172"/>
                      <a:pt x="479" y="173"/>
                    </a:cubicBezTo>
                    <a:cubicBezTo>
                      <a:pt x="477" y="177"/>
                      <a:pt x="474" y="179"/>
                      <a:pt x="469" y="180"/>
                    </a:cubicBezTo>
                    <a:cubicBezTo>
                      <a:pt x="469" y="180"/>
                      <a:pt x="469" y="180"/>
                      <a:pt x="469" y="181"/>
                    </a:cubicBezTo>
                    <a:cubicBezTo>
                      <a:pt x="469" y="181"/>
                      <a:pt x="469" y="181"/>
                      <a:pt x="469" y="181"/>
                    </a:cubicBezTo>
                    <a:cubicBezTo>
                      <a:pt x="469" y="181"/>
                      <a:pt x="468" y="182"/>
                      <a:pt x="468" y="182"/>
                    </a:cubicBezTo>
                    <a:cubicBezTo>
                      <a:pt x="466" y="184"/>
                      <a:pt x="464" y="185"/>
                      <a:pt x="462" y="185"/>
                    </a:cubicBezTo>
                    <a:cubicBezTo>
                      <a:pt x="460" y="185"/>
                      <a:pt x="459" y="185"/>
                      <a:pt x="457" y="184"/>
                    </a:cubicBezTo>
                    <a:cubicBezTo>
                      <a:pt x="456" y="182"/>
                      <a:pt x="453" y="181"/>
                      <a:pt x="452" y="178"/>
                    </a:cubicBezTo>
                    <a:cubicBezTo>
                      <a:pt x="451" y="177"/>
                      <a:pt x="449" y="176"/>
                      <a:pt x="449" y="174"/>
                    </a:cubicBezTo>
                    <a:cubicBezTo>
                      <a:pt x="447" y="170"/>
                      <a:pt x="451" y="166"/>
                      <a:pt x="455" y="165"/>
                    </a:cubicBezTo>
                    <a:moveTo>
                      <a:pt x="90" y="174"/>
                    </a:moveTo>
                    <a:cubicBezTo>
                      <a:pt x="96" y="154"/>
                      <a:pt x="112" y="142"/>
                      <a:pt x="133" y="139"/>
                    </a:cubicBezTo>
                    <a:cubicBezTo>
                      <a:pt x="134" y="139"/>
                      <a:pt x="134" y="139"/>
                      <a:pt x="134" y="139"/>
                    </a:cubicBezTo>
                    <a:cubicBezTo>
                      <a:pt x="137" y="139"/>
                      <a:pt x="138" y="145"/>
                      <a:pt x="135" y="146"/>
                    </a:cubicBezTo>
                    <a:cubicBezTo>
                      <a:pt x="126" y="148"/>
                      <a:pt x="118" y="151"/>
                      <a:pt x="111" y="156"/>
                    </a:cubicBezTo>
                    <a:cubicBezTo>
                      <a:pt x="116" y="153"/>
                      <a:pt x="122" y="152"/>
                      <a:pt x="127" y="151"/>
                    </a:cubicBezTo>
                    <a:cubicBezTo>
                      <a:pt x="133" y="152"/>
                      <a:pt x="133" y="152"/>
                      <a:pt x="133" y="152"/>
                    </a:cubicBezTo>
                    <a:cubicBezTo>
                      <a:pt x="148" y="158"/>
                      <a:pt x="160" y="171"/>
                      <a:pt x="163" y="189"/>
                    </a:cubicBezTo>
                    <a:cubicBezTo>
                      <a:pt x="163" y="190"/>
                      <a:pt x="163" y="192"/>
                      <a:pt x="163" y="193"/>
                    </a:cubicBezTo>
                    <a:cubicBezTo>
                      <a:pt x="163" y="195"/>
                      <a:pt x="163" y="198"/>
                      <a:pt x="162" y="201"/>
                    </a:cubicBezTo>
                    <a:cubicBezTo>
                      <a:pt x="168" y="193"/>
                      <a:pt x="168" y="182"/>
                      <a:pt x="166" y="173"/>
                    </a:cubicBezTo>
                    <a:cubicBezTo>
                      <a:pt x="162" y="160"/>
                      <a:pt x="151" y="150"/>
                      <a:pt x="139" y="145"/>
                    </a:cubicBezTo>
                    <a:cubicBezTo>
                      <a:pt x="137" y="144"/>
                      <a:pt x="138" y="143"/>
                      <a:pt x="139" y="143"/>
                    </a:cubicBezTo>
                    <a:cubicBezTo>
                      <a:pt x="139" y="143"/>
                      <a:pt x="139" y="143"/>
                      <a:pt x="140" y="143"/>
                    </a:cubicBezTo>
                    <a:cubicBezTo>
                      <a:pt x="158" y="151"/>
                      <a:pt x="176" y="170"/>
                      <a:pt x="171" y="192"/>
                    </a:cubicBezTo>
                    <a:cubicBezTo>
                      <a:pt x="168" y="203"/>
                      <a:pt x="162" y="210"/>
                      <a:pt x="155" y="214"/>
                    </a:cubicBezTo>
                    <a:cubicBezTo>
                      <a:pt x="155" y="215"/>
                      <a:pt x="154" y="215"/>
                      <a:pt x="154" y="216"/>
                    </a:cubicBezTo>
                    <a:cubicBezTo>
                      <a:pt x="148" y="222"/>
                      <a:pt x="141" y="224"/>
                      <a:pt x="134" y="224"/>
                    </a:cubicBezTo>
                    <a:cubicBezTo>
                      <a:pt x="130" y="224"/>
                      <a:pt x="127" y="224"/>
                      <a:pt x="123" y="223"/>
                    </a:cubicBezTo>
                    <a:cubicBezTo>
                      <a:pt x="116" y="223"/>
                      <a:pt x="106" y="222"/>
                      <a:pt x="99" y="218"/>
                    </a:cubicBezTo>
                    <a:cubicBezTo>
                      <a:pt x="93" y="215"/>
                      <a:pt x="89" y="208"/>
                      <a:pt x="87" y="201"/>
                    </a:cubicBezTo>
                    <a:cubicBezTo>
                      <a:pt x="86" y="199"/>
                      <a:pt x="85" y="197"/>
                      <a:pt x="85" y="194"/>
                    </a:cubicBezTo>
                    <a:cubicBezTo>
                      <a:pt x="85" y="188"/>
                      <a:pt x="88" y="182"/>
                      <a:pt x="90" y="175"/>
                    </a:cubicBezTo>
                    <a:cubicBezTo>
                      <a:pt x="90" y="175"/>
                      <a:pt x="90" y="175"/>
                      <a:pt x="90" y="174"/>
                    </a:cubicBezTo>
                    <a:moveTo>
                      <a:pt x="186" y="115"/>
                    </a:moveTo>
                    <a:cubicBezTo>
                      <a:pt x="186" y="115"/>
                      <a:pt x="186" y="115"/>
                      <a:pt x="186" y="114"/>
                    </a:cubicBezTo>
                    <a:cubicBezTo>
                      <a:pt x="189" y="96"/>
                      <a:pt x="201" y="83"/>
                      <a:pt x="217" y="83"/>
                    </a:cubicBezTo>
                    <a:cubicBezTo>
                      <a:pt x="221" y="83"/>
                      <a:pt x="226" y="84"/>
                      <a:pt x="231" y="86"/>
                    </a:cubicBezTo>
                    <a:cubicBezTo>
                      <a:pt x="231" y="86"/>
                      <a:pt x="231" y="86"/>
                      <a:pt x="231" y="86"/>
                    </a:cubicBezTo>
                    <a:cubicBezTo>
                      <a:pt x="254" y="86"/>
                      <a:pt x="263" y="106"/>
                      <a:pt x="262" y="125"/>
                    </a:cubicBezTo>
                    <a:cubicBezTo>
                      <a:pt x="260" y="139"/>
                      <a:pt x="253" y="153"/>
                      <a:pt x="241" y="160"/>
                    </a:cubicBezTo>
                    <a:cubicBezTo>
                      <a:pt x="235" y="165"/>
                      <a:pt x="227" y="169"/>
                      <a:pt x="218" y="169"/>
                    </a:cubicBezTo>
                    <a:cubicBezTo>
                      <a:pt x="217" y="169"/>
                      <a:pt x="216" y="169"/>
                      <a:pt x="215" y="169"/>
                    </a:cubicBezTo>
                    <a:cubicBezTo>
                      <a:pt x="195" y="165"/>
                      <a:pt x="182" y="148"/>
                      <a:pt x="182" y="130"/>
                    </a:cubicBezTo>
                    <a:cubicBezTo>
                      <a:pt x="182" y="128"/>
                      <a:pt x="183" y="126"/>
                      <a:pt x="183" y="123"/>
                    </a:cubicBezTo>
                    <a:cubicBezTo>
                      <a:pt x="184" y="121"/>
                      <a:pt x="185" y="118"/>
                      <a:pt x="186" y="115"/>
                    </a:cubicBezTo>
                    <a:moveTo>
                      <a:pt x="49" y="265"/>
                    </a:moveTo>
                    <a:cubicBezTo>
                      <a:pt x="48" y="265"/>
                      <a:pt x="48" y="265"/>
                      <a:pt x="48" y="264"/>
                    </a:cubicBezTo>
                    <a:cubicBezTo>
                      <a:pt x="29" y="218"/>
                      <a:pt x="17" y="164"/>
                      <a:pt x="38" y="116"/>
                    </a:cubicBezTo>
                    <a:cubicBezTo>
                      <a:pt x="57" y="73"/>
                      <a:pt x="93" y="39"/>
                      <a:pt x="136" y="22"/>
                    </a:cubicBezTo>
                    <a:cubicBezTo>
                      <a:pt x="137" y="22"/>
                      <a:pt x="137" y="22"/>
                      <a:pt x="137" y="22"/>
                    </a:cubicBezTo>
                    <a:cubicBezTo>
                      <a:pt x="139" y="22"/>
                      <a:pt x="139" y="25"/>
                      <a:pt x="138" y="25"/>
                    </a:cubicBezTo>
                    <a:cubicBezTo>
                      <a:pt x="113" y="37"/>
                      <a:pt x="94" y="47"/>
                      <a:pt x="77" y="68"/>
                    </a:cubicBezTo>
                    <a:cubicBezTo>
                      <a:pt x="62" y="87"/>
                      <a:pt x="47" y="104"/>
                      <a:pt x="39" y="126"/>
                    </a:cubicBezTo>
                    <a:cubicBezTo>
                      <a:pt x="24" y="170"/>
                      <a:pt x="36" y="221"/>
                      <a:pt x="50" y="264"/>
                    </a:cubicBezTo>
                    <a:cubicBezTo>
                      <a:pt x="50" y="264"/>
                      <a:pt x="49" y="265"/>
                      <a:pt x="49" y="265"/>
                    </a:cubicBezTo>
                    <a:moveTo>
                      <a:pt x="408" y="176"/>
                    </a:moveTo>
                    <a:cubicBezTo>
                      <a:pt x="408" y="176"/>
                      <a:pt x="407" y="175"/>
                      <a:pt x="407" y="175"/>
                    </a:cubicBezTo>
                    <a:cubicBezTo>
                      <a:pt x="396" y="125"/>
                      <a:pt x="362" y="84"/>
                      <a:pt x="321" y="57"/>
                    </a:cubicBezTo>
                    <a:cubicBezTo>
                      <a:pt x="301" y="43"/>
                      <a:pt x="280" y="33"/>
                      <a:pt x="257" y="26"/>
                    </a:cubicBezTo>
                    <a:cubicBezTo>
                      <a:pt x="236" y="19"/>
                      <a:pt x="215" y="20"/>
                      <a:pt x="193" y="15"/>
                    </a:cubicBezTo>
                    <a:cubicBezTo>
                      <a:pt x="192" y="15"/>
                      <a:pt x="193" y="13"/>
                      <a:pt x="194" y="13"/>
                    </a:cubicBezTo>
                    <a:cubicBezTo>
                      <a:pt x="194" y="13"/>
                      <a:pt x="194" y="13"/>
                      <a:pt x="194" y="13"/>
                    </a:cubicBezTo>
                    <a:cubicBezTo>
                      <a:pt x="210" y="15"/>
                      <a:pt x="225" y="14"/>
                      <a:pt x="241" y="17"/>
                    </a:cubicBezTo>
                    <a:cubicBezTo>
                      <a:pt x="252" y="20"/>
                      <a:pt x="264" y="23"/>
                      <a:pt x="274" y="27"/>
                    </a:cubicBezTo>
                    <a:cubicBezTo>
                      <a:pt x="299" y="36"/>
                      <a:pt x="320" y="50"/>
                      <a:pt x="341" y="66"/>
                    </a:cubicBezTo>
                    <a:cubicBezTo>
                      <a:pt x="374" y="91"/>
                      <a:pt x="402" y="134"/>
                      <a:pt x="410" y="174"/>
                    </a:cubicBezTo>
                    <a:cubicBezTo>
                      <a:pt x="410" y="175"/>
                      <a:pt x="409" y="176"/>
                      <a:pt x="408" y="176"/>
                    </a:cubicBezTo>
                    <a:moveTo>
                      <a:pt x="157" y="0"/>
                    </a:moveTo>
                    <a:cubicBezTo>
                      <a:pt x="146" y="0"/>
                      <a:pt x="135" y="1"/>
                      <a:pt x="125" y="4"/>
                    </a:cubicBezTo>
                    <a:cubicBezTo>
                      <a:pt x="119" y="5"/>
                      <a:pt x="113" y="8"/>
                      <a:pt x="107" y="10"/>
                    </a:cubicBezTo>
                    <a:cubicBezTo>
                      <a:pt x="100" y="14"/>
                      <a:pt x="93" y="19"/>
                      <a:pt x="86" y="25"/>
                    </a:cubicBezTo>
                    <a:cubicBezTo>
                      <a:pt x="53" y="53"/>
                      <a:pt x="29" y="91"/>
                      <a:pt x="17" y="133"/>
                    </a:cubicBezTo>
                    <a:cubicBezTo>
                      <a:pt x="31" y="133"/>
                      <a:pt x="31" y="133"/>
                      <a:pt x="31" y="133"/>
                    </a:cubicBezTo>
                    <a:cubicBezTo>
                      <a:pt x="31" y="133"/>
                      <a:pt x="31" y="133"/>
                      <a:pt x="31" y="133"/>
                    </a:cubicBezTo>
                    <a:cubicBezTo>
                      <a:pt x="28" y="141"/>
                      <a:pt x="26" y="149"/>
                      <a:pt x="25" y="158"/>
                    </a:cubicBezTo>
                    <a:cubicBezTo>
                      <a:pt x="24" y="165"/>
                      <a:pt x="23" y="173"/>
                      <a:pt x="23" y="181"/>
                    </a:cubicBezTo>
                    <a:cubicBezTo>
                      <a:pt x="23" y="190"/>
                      <a:pt x="24" y="200"/>
                      <a:pt x="26" y="210"/>
                    </a:cubicBezTo>
                    <a:cubicBezTo>
                      <a:pt x="26" y="210"/>
                      <a:pt x="26" y="210"/>
                      <a:pt x="26" y="210"/>
                    </a:cubicBezTo>
                    <a:cubicBezTo>
                      <a:pt x="7" y="212"/>
                      <a:pt x="7" y="212"/>
                      <a:pt x="7" y="212"/>
                    </a:cubicBezTo>
                    <a:cubicBezTo>
                      <a:pt x="4" y="214"/>
                      <a:pt x="2" y="215"/>
                      <a:pt x="0" y="216"/>
                    </a:cubicBezTo>
                    <a:cubicBezTo>
                      <a:pt x="0" y="216"/>
                      <a:pt x="0" y="216"/>
                      <a:pt x="0" y="216"/>
                    </a:cubicBezTo>
                    <a:cubicBezTo>
                      <a:pt x="5" y="228"/>
                      <a:pt x="5" y="228"/>
                      <a:pt x="5" y="228"/>
                    </a:cubicBezTo>
                    <a:cubicBezTo>
                      <a:pt x="6" y="228"/>
                      <a:pt x="6" y="228"/>
                      <a:pt x="6" y="228"/>
                    </a:cubicBezTo>
                    <a:cubicBezTo>
                      <a:pt x="8" y="225"/>
                      <a:pt x="11" y="224"/>
                      <a:pt x="14" y="223"/>
                    </a:cubicBezTo>
                    <a:cubicBezTo>
                      <a:pt x="14" y="223"/>
                      <a:pt x="15" y="223"/>
                      <a:pt x="15" y="223"/>
                    </a:cubicBezTo>
                    <a:cubicBezTo>
                      <a:pt x="18" y="223"/>
                      <a:pt x="19" y="228"/>
                      <a:pt x="15" y="229"/>
                    </a:cubicBezTo>
                    <a:cubicBezTo>
                      <a:pt x="13" y="229"/>
                      <a:pt x="12" y="231"/>
                      <a:pt x="9" y="232"/>
                    </a:cubicBezTo>
                    <a:cubicBezTo>
                      <a:pt x="9" y="232"/>
                      <a:pt x="8" y="233"/>
                      <a:pt x="8" y="233"/>
                    </a:cubicBezTo>
                    <a:cubicBezTo>
                      <a:pt x="8" y="233"/>
                      <a:pt x="8" y="232"/>
                      <a:pt x="7" y="232"/>
                    </a:cubicBezTo>
                    <a:cubicBezTo>
                      <a:pt x="8" y="234"/>
                      <a:pt x="8" y="234"/>
                      <a:pt x="8" y="234"/>
                    </a:cubicBezTo>
                    <a:cubicBezTo>
                      <a:pt x="10" y="238"/>
                      <a:pt x="10" y="238"/>
                      <a:pt x="10" y="238"/>
                    </a:cubicBezTo>
                    <a:cubicBezTo>
                      <a:pt x="12" y="236"/>
                      <a:pt x="14" y="234"/>
                      <a:pt x="17" y="233"/>
                    </a:cubicBezTo>
                    <a:cubicBezTo>
                      <a:pt x="17" y="232"/>
                      <a:pt x="18" y="232"/>
                      <a:pt x="18" y="232"/>
                    </a:cubicBezTo>
                    <a:cubicBezTo>
                      <a:pt x="20" y="232"/>
                      <a:pt x="22" y="235"/>
                      <a:pt x="20" y="236"/>
                    </a:cubicBezTo>
                    <a:cubicBezTo>
                      <a:pt x="17" y="238"/>
                      <a:pt x="15" y="241"/>
                      <a:pt x="12" y="243"/>
                    </a:cubicBezTo>
                    <a:cubicBezTo>
                      <a:pt x="12" y="244"/>
                      <a:pt x="11" y="244"/>
                      <a:pt x="10" y="244"/>
                    </a:cubicBezTo>
                    <a:cubicBezTo>
                      <a:pt x="10" y="244"/>
                      <a:pt x="10" y="244"/>
                      <a:pt x="10" y="244"/>
                    </a:cubicBezTo>
                    <a:cubicBezTo>
                      <a:pt x="8" y="246"/>
                      <a:pt x="6" y="248"/>
                      <a:pt x="4" y="250"/>
                    </a:cubicBezTo>
                    <a:cubicBezTo>
                      <a:pt x="4" y="250"/>
                      <a:pt x="4" y="250"/>
                      <a:pt x="4" y="250"/>
                    </a:cubicBezTo>
                    <a:cubicBezTo>
                      <a:pt x="13" y="268"/>
                      <a:pt x="13" y="268"/>
                      <a:pt x="13" y="268"/>
                    </a:cubicBezTo>
                    <a:cubicBezTo>
                      <a:pt x="19" y="287"/>
                      <a:pt x="28" y="305"/>
                      <a:pt x="39" y="321"/>
                    </a:cubicBezTo>
                    <a:cubicBezTo>
                      <a:pt x="51" y="338"/>
                      <a:pt x="69" y="353"/>
                      <a:pt x="85" y="365"/>
                    </a:cubicBezTo>
                    <a:cubicBezTo>
                      <a:pt x="98" y="374"/>
                      <a:pt x="110" y="385"/>
                      <a:pt x="124" y="391"/>
                    </a:cubicBezTo>
                    <a:cubicBezTo>
                      <a:pt x="139" y="399"/>
                      <a:pt x="157" y="405"/>
                      <a:pt x="172" y="412"/>
                    </a:cubicBezTo>
                    <a:cubicBezTo>
                      <a:pt x="187" y="415"/>
                      <a:pt x="204" y="422"/>
                      <a:pt x="219" y="422"/>
                    </a:cubicBezTo>
                    <a:cubicBezTo>
                      <a:pt x="239" y="422"/>
                      <a:pt x="259" y="418"/>
                      <a:pt x="277" y="411"/>
                    </a:cubicBezTo>
                    <a:cubicBezTo>
                      <a:pt x="296" y="405"/>
                      <a:pt x="316" y="395"/>
                      <a:pt x="337" y="393"/>
                    </a:cubicBezTo>
                    <a:cubicBezTo>
                      <a:pt x="341" y="392"/>
                      <a:pt x="344" y="392"/>
                      <a:pt x="348" y="392"/>
                    </a:cubicBezTo>
                    <a:cubicBezTo>
                      <a:pt x="364" y="392"/>
                      <a:pt x="380" y="396"/>
                      <a:pt x="396" y="399"/>
                    </a:cubicBezTo>
                    <a:cubicBezTo>
                      <a:pt x="429" y="402"/>
                      <a:pt x="465" y="406"/>
                      <a:pt x="499" y="409"/>
                    </a:cubicBezTo>
                    <a:cubicBezTo>
                      <a:pt x="537" y="412"/>
                      <a:pt x="572" y="420"/>
                      <a:pt x="610" y="425"/>
                    </a:cubicBezTo>
                    <a:cubicBezTo>
                      <a:pt x="610" y="425"/>
                      <a:pt x="610" y="425"/>
                      <a:pt x="610" y="425"/>
                    </a:cubicBezTo>
                    <a:cubicBezTo>
                      <a:pt x="610" y="426"/>
                      <a:pt x="610" y="426"/>
                      <a:pt x="610" y="426"/>
                    </a:cubicBezTo>
                    <a:cubicBezTo>
                      <a:pt x="610" y="426"/>
                      <a:pt x="610" y="426"/>
                      <a:pt x="610" y="426"/>
                    </a:cubicBezTo>
                    <a:cubicBezTo>
                      <a:pt x="641" y="440"/>
                      <a:pt x="665" y="464"/>
                      <a:pt x="694" y="480"/>
                    </a:cubicBezTo>
                    <a:cubicBezTo>
                      <a:pt x="728" y="501"/>
                      <a:pt x="772" y="503"/>
                      <a:pt x="812" y="504"/>
                    </a:cubicBezTo>
                    <a:cubicBezTo>
                      <a:pt x="815" y="504"/>
                      <a:pt x="817" y="504"/>
                      <a:pt x="819" y="504"/>
                    </a:cubicBezTo>
                    <a:cubicBezTo>
                      <a:pt x="840" y="504"/>
                      <a:pt x="861" y="502"/>
                      <a:pt x="879" y="491"/>
                    </a:cubicBezTo>
                    <a:cubicBezTo>
                      <a:pt x="886" y="488"/>
                      <a:pt x="892" y="485"/>
                      <a:pt x="897" y="480"/>
                    </a:cubicBezTo>
                    <a:cubicBezTo>
                      <a:pt x="890" y="485"/>
                      <a:pt x="882" y="489"/>
                      <a:pt x="874" y="492"/>
                    </a:cubicBezTo>
                    <a:cubicBezTo>
                      <a:pt x="858" y="498"/>
                      <a:pt x="841" y="500"/>
                      <a:pt x="824" y="500"/>
                    </a:cubicBezTo>
                    <a:cubicBezTo>
                      <a:pt x="809" y="500"/>
                      <a:pt x="794" y="498"/>
                      <a:pt x="780" y="497"/>
                    </a:cubicBezTo>
                    <a:cubicBezTo>
                      <a:pt x="751" y="494"/>
                      <a:pt x="724" y="488"/>
                      <a:pt x="699" y="474"/>
                    </a:cubicBezTo>
                    <a:cubicBezTo>
                      <a:pt x="671" y="459"/>
                      <a:pt x="646" y="439"/>
                      <a:pt x="619" y="422"/>
                    </a:cubicBezTo>
                    <a:cubicBezTo>
                      <a:pt x="588" y="419"/>
                      <a:pt x="558" y="412"/>
                      <a:pt x="527" y="409"/>
                    </a:cubicBezTo>
                    <a:cubicBezTo>
                      <a:pt x="496" y="405"/>
                      <a:pt x="466" y="402"/>
                      <a:pt x="435" y="399"/>
                    </a:cubicBezTo>
                    <a:cubicBezTo>
                      <a:pt x="409" y="397"/>
                      <a:pt x="382" y="389"/>
                      <a:pt x="356" y="389"/>
                    </a:cubicBezTo>
                    <a:cubicBezTo>
                      <a:pt x="352" y="389"/>
                      <a:pt x="348" y="389"/>
                      <a:pt x="344" y="390"/>
                    </a:cubicBezTo>
                    <a:cubicBezTo>
                      <a:pt x="313" y="393"/>
                      <a:pt x="286" y="410"/>
                      <a:pt x="257" y="416"/>
                    </a:cubicBezTo>
                    <a:cubicBezTo>
                      <a:pt x="248" y="418"/>
                      <a:pt x="240" y="418"/>
                      <a:pt x="231" y="418"/>
                    </a:cubicBezTo>
                    <a:cubicBezTo>
                      <a:pt x="189" y="418"/>
                      <a:pt x="144" y="400"/>
                      <a:pt x="111" y="377"/>
                    </a:cubicBezTo>
                    <a:cubicBezTo>
                      <a:pt x="92" y="363"/>
                      <a:pt x="72" y="347"/>
                      <a:pt x="55" y="330"/>
                    </a:cubicBezTo>
                    <a:cubicBezTo>
                      <a:pt x="37" y="310"/>
                      <a:pt x="26" y="286"/>
                      <a:pt x="17" y="260"/>
                    </a:cubicBezTo>
                    <a:cubicBezTo>
                      <a:pt x="17" y="259"/>
                      <a:pt x="18" y="258"/>
                      <a:pt x="19" y="258"/>
                    </a:cubicBezTo>
                    <a:cubicBezTo>
                      <a:pt x="20" y="258"/>
                      <a:pt x="20" y="258"/>
                      <a:pt x="21" y="259"/>
                    </a:cubicBezTo>
                    <a:cubicBezTo>
                      <a:pt x="38" y="305"/>
                      <a:pt x="59" y="329"/>
                      <a:pt x="96" y="355"/>
                    </a:cubicBezTo>
                    <a:cubicBezTo>
                      <a:pt x="116" y="370"/>
                      <a:pt x="136" y="380"/>
                      <a:pt x="159" y="390"/>
                    </a:cubicBezTo>
                    <a:cubicBezTo>
                      <a:pt x="180" y="398"/>
                      <a:pt x="205" y="408"/>
                      <a:pt x="228" y="408"/>
                    </a:cubicBezTo>
                    <a:cubicBezTo>
                      <a:pt x="231" y="408"/>
                      <a:pt x="233" y="408"/>
                      <a:pt x="236" y="408"/>
                    </a:cubicBezTo>
                    <a:cubicBezTo>
                      <a:pt x="262" y="406"/>
                      <a:pt x="286" y="395"/>
                      <a:pt x="311" y="386"/>
                    </a:cubicBezTo>
                    <a:cubicBezTo>
                      <a:pt x="326" y="381"/>
                      <a:pt x="340" y="379"/>
                      <a:pt x="355" y="379"/>
                    </a:cubicBezTo>
                    <a:cubicBezTo>
                      <a:pt x="364" y="379"/>
                      <a:pt x="373" y="380"/>
                      <a:pt x="382" y="381"/>
                    </a:cubicBezTo>
                    <a:cubicBezTo>
                      <a:pt x="411" y="386"/>
                      <a:pt x="440" y="389"/>
                      <a:pt x="468" y="392"/>
                    </a:cubicBezTo>
                    <a:cubicBezTo>
                      <a:pt x="519" y="397"/>
                      <a:pt x="570" y="404"/>
                      <a:pt x="621" y="412"/>
                    </a:cubicBezTo>
                    <a:cubicBezTo>
                      <a:pt x="625" y="412"/>
                      <a:pt x="626" y="416"/>
                      <a:pt x="625" y="419"/>
                    </a:cubicBezTo>
                    <a:cubicBezTo>
                      <a:pt x="650" y="430"/>
                      <a:pt x="670" y="449"/>
                      <a:pt x="693" y="463"/>
                    </a:cubicBezTo>
                    <a:cubicBezTo>
                      <a:pt x="717" y="478"/>
                      <a:pt x="743" y="486"/>
                      <a:pt x="771" y="489"/>
                    </a:cubicBezTo>
                    <a:cubicBezTo>
                      <a:pt x="787" y="491"/>
                      <a:pt x="805" y="493"/>
                      <a:pt x="822" y="493"/>
                    </a:cubicBezTo>
                    <a:cubicBezTo>
                      <a:pt x="836" y="493"/>
                      <a:pt x="849" y="492"/>
                      <a:pt x="862" y="489"/>
                    </a:cubicBezTo>
                    <a:cubicBezTo>
                      <a:pt x="892" y="481"/>
                      <a:pt x="918" y="459"/>
                      <a:pt x="939" y="437"/>
                    </a:cubicBezTo>
                    <a:cubicBezTo>
                      <a:pt x="955" y="420"/>
                      <a:pt x="968" y="403"/>
                      <a:pt x="976" y="382"/>
                    </a:cubicBezTo>
                    <a:cubicBezTo>
                      <a:pt x="978" y="373"/>
                      <a:pt x="979" y="365"/>
                      <a:pt x="980" y="356"/>
                    </a:cubicBezTo>
                    <a:cubicBezTo>
                      <a:pt x="981" y="343"/>
                      <a:pt x="981" y="330"/>
                      <a:pt x="980" y="318"/>
                    </a:cubicBezTo>
                    <a:cubicBezTo>
                      <a:pt x="979" y="289"/>
                      <a:pt x="977" y="259"/>
                      <a:pt x="965" y="231"/>
                    </a:cubicBezTo>
                    <a:cubicBezTo>
                      <a:pt x="949" y="192"/>
                      <a:pt x="917" y="163"/>
                      <a:pt x="888" y="134"/>
                    </a:cubicBezTo>
                    <a:cubicBezTo>
                      <a:pt x="887" y="135"/>
                      <a:pt x="887" y="135"/>
                      <a:pt x="887" y="135"/>
                    </a:cubicBezTo>
                    <a:cubicBezTo>
                      <a:pt x="864" y="123"/>
                      <a:pt x="839" y="112"/>
                      <a:pt x="814" y="107"/>
                    </a:cubicBezTo>
                    <a:cubicBezTo>
                      <a:pt x="777" y="99"/>
                      <a:pt x="739" y="91"/>
                      <a:pt x="702" y="85"/>
                    </a:cubicBezTo>
                    <a:cubicBezTo>
                      <a:pt x="616" y="69"/>
                      <a:pt x="529" y="61"/>
                      <a:pt x="443" y="45"/>
                    </a:cubicBezTo>
                    <a:cubicBezTo>
                      <a:pt x="363" y="33"/>
                      <a:pt x="284" y="14"/>
                      <a:pt x="204" y="4"/>
                    </a:cubicBezTo>
                    <a:cubicBezTo>
                      <a:pt x="188" y="2"/>
                      <a:pt x="172" y="0"/>
                      <a:pt x="157" y="0"/>
                    </a:cubicBezTo>
                  </a:path>
                </a:pathLst>
              </a:custGeom>
              <a:solidFill>
                <a:srgbClr val="6F686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341" name="Freeform 13">
                <a:extLst>
                  <a:ext uri="{FF2B5EF4-FFF2-40B4-BE49-F238E27FC236}">
                    <a16:creationId xmlns:a16="http://schemas.microsoft.com/office/drawing/2014/main" id="{31AF0E4B-5BE5-4A72-81F3-51B8CF29ED7D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6782" y="1916"/>
                <a:ext cx="73" cy="59"/>
              </a:xfrm>
              <a:custGeom>
                <a:avLst/>
                <a:gdLst>
                  <a:gd name="T0" fmla="*/ 15 w 68"/>
                  <a:gd name="T1" fmla="*/ 1 h 56"/>
                  <a:gd name="T2" fmla="*/ 16 w 68"/>
                  <a:gd name="T3" fmla="*/ 4 h 56"/>
                  <a:gd name="T4" fmla="*/ 30 w 68"/>
                  <a:gd name="T5" fmla="*/ 18 h 56"/>
                  <a:gd name="T6" fmla="*/ 63 w 68"/>
                  <a:gd name="T7" fmla="*/ 43 h 56"/>
                  <a:gd name="T8" fmla="*/ 64 w 68"/>
                  <a:gd name="T9" fmla="*/ 50 h 56"/>
                  <a:gd name="T10" fmla="*/ 66 w 68"/>
                  <a:gd name="T11" fmla="*/ 51 h 56"/>
                  <a:gd name="T12" fmla="*/ 68 w 68"/>
                  <a:gd name="T13" fmla="*/ 50 h 56"/>
                  <a:gd name="T14" fmla="*/ 40 w 68"/>
                  <a:gd name="T15" fmla="*/ 21 h 56"/>
                  <a:gd name="T16" fmla="*/ 15 w 68"/>
                  <a:gd name="T17" fmla="*/ 1 h 56"/>
                  <a:gd name="T18" fmla="*/ 9 w 68"/>
                  <a:gd name="T19" fmla="*/ 0 h 56"/>
                  <a:gd name="T20" fmla="*/ 4 w 68"/>
                  <a:gd name="T21" fmla="*/ 11 h 56"/>
                  <a:gd name="T22" fmla="*/ 53 w 68"/>
                  <a:gd name="T23" fmla="*/ 52 h 56"/>
                  <a:gd name="T24" fmla="*/ 54 w 68"/>
                  <a:gd name="T25" fmla="*/ 53 h 56"/>
                  <a:gd name="T26" fmla="*/ 58 w 68"/>
                  <a:gd name="T27" fmla="*/ 55 h 56"/>
                  <a:gd name="T28" fmla="*/ 61 w 68"/>
                  <a:gd name="T29" fmla="*/ 54 h 56"/>
                  <a:gd name="T30" fmla="*/ 64 w 68"/>
                  <a:gd name="T31" fmla="*/ 56 h 56"/>
                  <a:gd name="T32" fmla="*/ 66 w 68"/>
                  <a:gd name="T33" fmla="*/ 55 h 56"/>
                  <a:gd name="T34" fmla="*/ 60 w 68"/>
                  <a:gd name="T35" fmla="*/ 51 h 56"/>
                  <a:gd name="T36" fmla="*/ 59 w 68"/>
                  <a:gd name="T37" fmla="*/ 50 h 56"/>
                  <a:gd name="T38" fmla="*/ 29 w 68"/>
                  <a:gd name="T39" fmla="*/ 27 h 56"/>
                  <a:gd name="T40" fmla="*/ 9 w 68"/>
                  <a:gd name="T41" fmla="*/ 4 h 56"/>
                  <a:gd name="T42" fmla="*/ 9 w 68"/>
                  <a:gd name="T43" fmla="*/ 0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68" h="56">
                    <a:moveTo>
                      <a:pt x="15" y="1"/>
                    </a:moveTo>
                    <a:cubicBezTo>
                      <a:pt x="15" y="2"/>
                      <a:pt x="16" y="3"/>
                      <a:pt x="16" y="4"/>
                    </a:cubicBezTo>
                    <a:cubicBezTo>
                      <a:pt x="19" y="10"/>
                      <a:pt x="26" y="14"/>
                      <a:pt x="30" y="18"/>
                    </a:cubicBezTo>
                    <a:cubicBezTo>
                      <a:pt x="41" y="27"/>
                      <a:pt x="50" y="38"/>
                      <a:pt x="63" y="43"/>
                    </a:cubicBezTo>
                    <a:cubicBezTo>
                      <a:pt x="67" y="44"/>
                      <a:pt x="66" y="48"/>
                      <a:pt x="64" y="50"/>
                    </a:cubicBezTo>
                    <a:cubicBezTo>
                      <a:pt x="65" y="50"/>
                      <a:pt x="66" y="51"/>
                      <a:pt x="66" y="51"/>
                    </a:cubicBezTo>
                    <a:cubicBezTo>
                      <a:pt x="67" y="51"/>
                      <a:pt x="67" y="51"/>
                      <a:pt x="68" y="50"/>
                    </a:cubicBezTo>
                    <a:cubicBezTo>
                      <a:pt x="66" y="37"/>
                      <a:pt x="50" y="28"/>
                      <a:pt x="40" y="21"/>
                    </a:cubicBezTo>
                    <a:cubicBezTo>
                      <a:pt x="34" y="16"/>
                      <a:pt x="24" y="2"/>
                      <a:pt x="15" y="1"/>
                    </a:cubicBezTo>
                    <a:moveTo>
                      <a:pt x="9" y="0"/>
                    </a:moveTo>
                    <a:cubicBezTo>
                      <a:pt x="4" y="1"/>
                      <a:pt x="0" y="7"/>
                      <a:pt x="4" y="11"/>
                    </a:cubicBezTo>
                    <a:cubicBezTo>
                      <a:pt x="18" y="28"/>
                      <a:pt x="38" y="37"/>
                      <a:pt x="53" y="52"/>
                    </a:cubicBezTo>
                    <a:cubicBezTo>
                      <a:pt x="53" y="53"/>
                      <a:pt x="54" y="53"/>
                      <a:pt x="54" y="53"/>
                    </a:cubicBezTo>
                    <a:cubicBezTo>
                      <a:pt x="55" y="55"/>
                      <a:pt x="57" y="55"/>
                      <a:pt x="58" y="55"/>
                    </a:cubicBezTo>
                    <a:cubicBezTo>
                      <a:pt x="59" y="55"/>
                      <a:pt x="60" y="55"/>
                      <a:pt x="61" y="54"/>
                    </a:cubicBezTo>
                    <a:cubicBezTo>
                      <a:pt x="62" y="55"/>
                      <a:pt x="63" y="56"/>
                      <a:pt x="64" y="56"/>
                    </a:cubicBezTo>
                    <a:cubicBezTo>
                      <a:pt x="65" y="56"/>
                      <a:pt x="65" y="56"/>
                      <a:pt x="66" y="55"/>
                    </a:cubicBezTo>
                    <a:cubicBezTo>
                      <a:pt x="64" y="55"/>
                      <a:pt x="61" y="53"/>
                      <a:pt x="60" y="51"/>
                    </a:cubicBezTo>
                    <a:cubicBezTo>
                      <a:pt x="59" y="51"/>
                      <a:pt x="59" y="50"/>
                      <a:pt x="59" y="50"/>
                    </a:cubicBezTo>
                    <a:cubicBezTo>
                      <a:pt x="47" y="46"/>
                      <a:pt x="38" y="35"/>
                      <a:pt x="29" y="27"/>
                    </a:cubicBezTo>
                    <a:cubicBezTo>
                      <a:pt x="22" y="20"/>
                      <a:pt x="12" y="14"/>
                      <a:pt x="9" y="4"/>
                    </a:cubicBezTo>
                    <a:cubicBezTo>
                      <a:pt x="9" y="3"/>
                      <a:pt x="9" y="2"/>
                      <a:pt x="9" y="0"/>
                    </a:cubicBezTo>
                  </a:path>
                </a:pathLst>
              </a:custGeom>
              <a:solidFill>
                <a:srgbClr val="EF827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342" name="Freeform 14">
                <a:extLst>
                  <a:ext uri="{FF2B5EF4-FFF2-40B4-BE49-F238E27FC236}">
                    <a16:creationId xmlns:a16="http://schemas.microsoft.com/office/drawing/2014/main" id="{0F06EB37-20B8-4D8F-9A4E-A179165F5D98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6756" y="1823"/>
                <a:ext cx="15" cy="17"/>
              </a:xfrm>
              <a:custGeom>
                <a:avLst/>
                <a:gdLst>
                  <a:gd name="T0" fmla="*/ 11 w 14"/>
                  <a:gd name="T1" fmla="*/ 2 h 16"/>
                  <a:gd name="T2" fmla="*/ 11 w 14"/>
                  <a:gd name="T3" fmla="*/ 3 h 16"/>
                  <a:gd name="T4" fmla="*/ 14 w 14"/>
                  <a:gd name="T5" fmla="*/ 9 h 16"/>
                  <a:gd name="T6" fmla="*/ 12 w 14"/>
                  <a:gd name="T7" fmla="*/ 5 h 16"/>
                  <a:gd name="T8" fmla="*/ 12 w 14"/>
                  <a:gd name="T9" fmla="*/ 3 h 16"/>
                  <a:gd name="T10" fmla="*/ 11 w 14"/>
                  <a:gd name="T11" fmla="*/ 2 h 16"/>
                  <a:gd name="T12" fmla="*/ 7 w 14"/>
                  <a:gd name="T13" fmla="*/ 0 h 16"/>
                  <a:gd name="T14" fmla="*/ 3 w 14"/>
                  <a:gd name="T15" fmla="*/ 1 h 16"/>
                  <a:gd name="T16" fmla="*/ 2 w 14"/>
                  <a:gd name="T17" fmla="*/ 4 h 16"/>
                  <a:gd name="T18" fmla="*/ 2 w 14"/>
                  <a:gd name="T19" fmla="*/ 4 h 16"/>
                  <a:gd name="T20" fmla="*/ 2 w 14"/>
                  <a:gd name="T21" fmla="*/ 6 h 16"/>
                  <a:gd name="T22" fmla="*/ 2 w 14"/>
                  <a:gd name="T23" fmla="*/ 7 h 16"/>
                  <a:gd name="T24" fmla="*/ 2 w 14"/>
                  <a:gd name="T25" fmla="*/ 7 h 16"/>
                  <a:gd name="T26" fmla="*/ 1 w 14"/>
                  <a:gd name="T27" fmla="*/ 13 h 16"/>
                  <a:gd name="T28" fmla="*/ 6 w 14"/>
                  <a:gd name="T29" fmla="*/ 16 h 16"/>
                  <a:gd name="T30" fmla="*/ 6 w 14"/>
                  <a:gd name="T31" fmla="*/ 16 h 16"/>
                  <a:gd name="T32" fmla="*/ 9 w 14"/>
                  <a:gd name="T33" fmla="*/ 15 h 16"/>
                  <a:gd name="T34" fmla="*/ 12 w 14"/>
                  <a:gd name="T35" fmla="*/ 13 h 16"/>
                  <a:gd name="T36" fmla="*/ 13 w 14"/>
                  <a:gd name="T37" fmla="*/ 13 h 16"/>
                  <a:gd name="T38" fmla="*/ 7 w 14"/>
                  <a:gd name="T39" fmla="*/ 4 h 16"/>
                  <a:gd name="T40" fmla="*/ 7 w 14"/>
                  <a:gd name="T41" fmla="*/ 0 h 16"/>
                  <a:gd name="T42" fmla="*/ 7 w 14"/>
                  <a:gd name="T43" fmla="*/ 0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4" h="16">
                    <a:moveTo>
                      <a:pt x="11" y="2"/>
                    </a:moveTo>
                    <a:cubicBezTo>
                      <a:pt x="11" y="2"/>
                      <a:pt x="11" y="3"/>
                      <a:pt x="11" y="3"/>
                    </a:cubicBezTo>
                    <a:cubicBezTo>
                      <a:pt x="11" y="5"/>
                      <a:pt x="12" y="8"/>
                      <a:pt x="14" y="9"/>
                    </a:cubicBezTo>
                    <a:cubicBezTo>
                      <a:pt x="14" y="7"/>
                      <a:pt x="13" y="6"/>
                      <a:pt x="12" y="5"/>
                    </a:cubicBezTo>
                    <a:cubicBezTo>
                      <a:pt x="12" y="4"/>
                      <a:pt x="12" y="3"/>
                      <a:pt x="12" y="3"/>
                    </a:cubicBezTo>
                    <a:cubicBezTo>
                      <a:pt x="11" y="2"/>
                      <a:pt x="11" y="2"/>
                      <a:pt x="11" y="2"/>
                    </a:cubicBezTo>
                    <a:moveTo>
                      <a:pt x="7" y="0"/>
                    </a:moveTo>
                    <a:cubicBezTo>
                      <a:pt x="6" y="0"/>
                      <a:pt x="4" y="0"/>
                      <a:pt x="3" y="1"/>
                    </a:cubicBezTo>
                    <a:cubicBezTo>
                      <a:pt x="3" y="2"/>
                      <a:pt x="2" y="3"/>
                      <a:pt x="2" y="4"/>
                    </a:cubicBezTo>
                    <a:cubicBezTo>
                      <a:pt x="2" y="4"/>
                      <a:pt x="2" y="4"/>
                      <a:pt x="2" y="4"/>
                    </a:cubicBezTo>
                    <a:cubicBezTo>
                      <a:pt x="2" y="5"/>
                      <a:pt x="2" y="6"/>
                      <a:pt x="2" y="6"/>
                    </a:cubicBezTo>
                    <a:cubicBezTo>
                      <a:pt x="2" y="6"/>
                      <a:pt x="2" y="6"/>
                      <a:pt x="2" y="7"/>
                    </a:cubicBezTo>
                    <a:cubicBezTo>
                      <a:pt x="2" y="7"/>
                      <a:pt x="2" y="7"/>
                      <a:pt x="2" y="7"/>
                    </a:cubicBezTo>
                    <a:cubicBezTo>
                      <a:pt x="0" y="8"/>
                      <a:pt x="0" y="11"/>
                      <a:pt x="1" y="13"/>
                    </a:cubicBezTo>
                    <a:cubicBezTo>
                      <a:pt x="2" y="15"/>
                      <a:pt x="4" y="16"/>
                      <a:pt x="6" y="16"/>
                    </a:cubicBezTo>
                    <a:cubicBezTo>
                      <a:pt x="6" y="16"/>
                      <a:pt x="6" y="16"/>
                      <a:pt x="6" y="16"/>
                    </a:cubicBezTo>
                    <a:cubicBezTo>
                      <a:pt x="7" y="16"/>
                      <a:pt x="8" y="16"/>
                      <a:pt x="9" y="15"/>
                    </a:cubicBezTo>
                    <a:cubicBezTo>
                      <a:pt x="11" y="15"/>
                      <a:pt x="12" y="14"/>
                      <a:pt x="12" y="13"/>
                    </a:cubicBezTo>
                    <a:cubicBezTo>
                      <a:pt x="12" y="13"/>
                      <a:pt x="12" y="13"/>
                      <a:pt x="13" y="13"/>
                    </a:cubicBezTo>
                    <a:cubicBezTo>
                      <a:pt x="9" y="12"/>
                      <a:pt x="7" y="8"/>
                      <a:pt x="7" y="4"/>
                    </a:cubicBezTo>
                    <a:cubicBezTo>
                      <a:pt x="7" y="3"/>
                      <a:pt x="7" y="1"/>
                      <a:pt x="7" y="0"/>
                    </a:cubicBezTo>
                    <a:cubicBezTo>
                      <a:pt x="7" y="0"/>
                      <a:pt x="7" y="0"/>
                      <a:pt x="7" y="0"/>
                    </a:cubicBezTo>
                  </a:path>
                </a:pathLst>
              </a:custGeom>
              <a:solidFill>
                <a:srgbClr val="EF827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343" name="Freeform 15">
                <a:extLst>
                  <a:ext uri="{FF2B5EF4-FFF2-40B4-BE49-F238E27FC236}">
                    <a16:creationId xmlns:a16="http://schemas.microsoft.com/office/drawing/2014/main" id="{80B7551D-464A-4119-852E-A090CD75F09C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6668" y="1806"/>
                <a:ext cx="25" cy="19"/>
              </a:xfrm>
              <a:custGeom>
                <a:avLst/>
                <a:gdLst>
                  <a:gd name="T0" fmla="*/ 14 w 24"/>
                  <a:gd name="T1" fmla="*/ 1 h 18"/>
                  <a:gd name="T2" fmla="*/ 18 w 24"/>
                  <a:gd name="T3" fmla="*/ 8 h 18"/>
                  <a:gd name="T4" fmla="*/ 20 w 24"/>
                  <a:gd name="T5" fmla="*/ 8 h 18"/>
                  <a:gd name="T6" fmla="*/ 24 w 24"/>
                  <a:gd name="T7" fmla="*/ 7 h 18"/>
                  <a:gd name="T8" fmla="*/ 17 w 24"/>
                  <a:gd name="T9" fmla="*/ 2 h 18"/>
                  <a:gd name="T10" fmla="*/ 15 w 24"/>
                  <a:gd name="T11" fmla="*/ 2 h 18"/>
                  <a:gd name="T12" fmla="*/ 15 w 24"/>
                  <a:gd name="T13" fmla="*/ 2 h 18"/>
                  <a:gd name="T14" fmla="*/ 14 w 24"/>
                  <a:gd name="T15" fmla="*/ 2 h 18"/>
                  <a:gd name="T16" fmla="*/ 14 w 24"/>
                  <a:gd name="T17" fmla="*/ 1 h 18"/>
                  <a:gd name="T18" fmla="*/ 7 w 24"/>
                  <a:gd name="T19" fmla="*/ 10 h 18"/>
                  <a:gd name="T20" fmla="*/ 7 w 24"/>
                  <a:gd name="T21" fmla="*/ 10 h 18"/>
                  <a:gd name="T22" fmla="*/ 7 w 24"/>
                  <a:gd name="T23" fmla="*/ 10 h 18"/>
                  <a:gd name="T24" fmla="*/ 7 w 24"/>
                  <a:gd name="T25" fmla="*/ 10 h 18"/>
                  <a:gd name="T26" fmla="*/ 7 w 24"/>
                  <a:gd name="T27" fmla="*/ 10 h 18"/>
                  <a:gd name="T28" fmla="*/ 7 w 24"/>
                  <a:gd name="T29" fmla="*/ 10 h 18"/>
                  <a:gd name="T30" fmla="*/ 7 w 24"/>
                  <a:gd name="T31" fmla="*/ 10 h 18"/>
                  <a:gd name="T32" fmla="*/ 7 w 24"/>
                  <a:gd name="T33" fmla="*/ 10 h 18"/>
                  <a:gd name="T34" fmla="*/ 7 w 24"/>
                  <a:gd name="T35" fmla="*/ 10 h 18"/>
                  <a:gd name="T36" fmla="*/ 7 w 24"/>
                  <a:gd name="T37" fmla="*/ 10 h 18"/>
                  <a:gd name="T38" fmla="*/ 7 w 24"/>
                  <a:gd name="T39" fmla="*/ 10 h 18"/>
                  <a:gd name="T40" fmla="*/ 7 w 24"/>
                  <a:gd name="T41" fmla="*/ 10 h 18"/>
                  <a:gd name="T42" fmla="*/ 8 w 24"/>
                  <a:gd name="T43" fmla="*/ 0 h 18"/>
                  <a:gd name="T44" fmla="*/ 2 w 24"/>
                  <a:gd name="T45" fmla="*/ 9 h 18"/>
                  <a:gd name="T46" fmla="*/ 5 w 24"/>
                  <a:gd name="T47" fmla="*/ 13 h 18"/>
                  <a:gd name="T48" fmla="*/ 8 w 24"/>
                  <a:gd name="T49" fmla="*/ 15 h 18"/>
                  <a:gd name="T50" fmla="*/ 13 w 24"/>
                  <a:gd name="T51" fmla="*/ 18 h 18"/>
                  <a:gd name="T52" fmla="*/ 14 w 24"/>
                  <a:gd name="T53" fmla="*/ 18 h 18"/>
                  <a:gd name="T54" fmla="*/ 17 w 24"/>
                  <a:gd name="T55" fmla="*/ 18 h 18"/>
                  <a:gd name="T56" fmla="*/ 17 w 24"/>
                  <a:gd name="T57" fmla="*/ 18 h 18"/>
                  <a:gd name="T58" fmla="*/ 22 w 24"/>
                  <a:gd name="T59" fmla="*/ 16 h 18"/>
                  <a:gd name="T60" fmla="*/ 22 w 24"/>
                  <a:gd name="T61" fmla="*/ 16 h 18"/>
                  <a:gd name="T62" fmla="*/ 22 w 24"/>
                  <a:gd name="T63" fmla="*/ 15 h 18"/>
                  <a:gd name="T64" fmla="*/ 22 w 24"/>
                  <a:gd name="T65" fmla="*/ 15 h 18"/>
                  <a:gd name="T66" fmla="*/ 21 w 24"/>
                  <a:gd name="T67" fmla="*/ 15 h 18"/>
                  <a:gd name="T68" fmla="*/ 15 w 24"/>
                  <a:gd name="T69" fmla="*/ 13 h 18"/>
                  <a:gd name="T70" fmla="*/ 11 w 24"/>
                  <a:gd name="T71" fmla="*/ 10 h 18"/>
                  <a:gd name="T72" fmla="*/ 8 w 24"/>
                  <a:gd name="T73" fmla="*/ 0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24" h="18">
                    <a:moveTo>
                      <a:pt x="14" y="1"/>
                    </a:moveTo>
                    <a:cubicBezTo>
                      <a:pt x="14" y="4"/>
                      <a:pt x="16" y="6"/>
                      <a:pt x="18" y="8"/>
                    </a:cubicBezTo>
                    <a:cubicBezTo>
                      <a:pt x="19" y="8"/>
                      <a:pt x="20" y="8"/>
                      <a:pt x="20" y="8"/>
                    </a:cubicBezTo>
                    <a:cubicBezTo>
                      <a:pt x="22" y="8"/>
                      <a:pt x="23" y="8"/>
                      <a:pt x="24" y="7"/>
                    </a:cubicBezTo>
                    <a:cubicBezTo>
                      <a:pt x="23" y="4"/>
                      <a:pt x="20" y="2"/>
                      <a:pt x="17" y="2"/>
                    </a:cubicBezTo>
                    <a:cubicBezTo>
                      <a:pt x="16" y="2"/>
                      <a:pt x="16" y="2"/>
                      <a:pt x="15" y="2"/>
                    </a:cubicBezTo>
                    <a:cubicBezTo>
                      <a:pt x="15" y="2"/>
                      <a:pt x="15" y="2"/>
                      <a:pt x="15" y="2"/>
                    </a:cubicBezTo>
                    <a:cubicBezTo>
                      <a:pt x="15" y="2"/>
                      <a:pt x="15" y="2"/>
                      <a:pt x="14" y="2"/>
                    </a:cubicBezTo>
                    <a:cubicBezTo>
                      <a:pt x="14" y="2"/>
                      <a:pt x="14" y="2"/>
                      <a:pt x="14" y="1"/>
                    </a:cubicBezTo>
                    <a:moveTo>
                      <a:pt x="7" y="10"/>
                    </a:moveTo>
                    <a:cubicBezTo>
                      <a:pt x="7" y="10"/>
                      <a:pt x="7" y="10"/>
                      <a:pt x="7" y="10"/>
                    </a:cubicBezTo>
                    <a:cubicBezTo>
                      <a:pt x="7" y="10"/>
                      <a:pt x="7" y="10"/>
                      <a:pt x="7" y="10"/>
                    </a:cubicBezTo>
                    <a:cubicBezTo>
                      <a:pt x="7" y="10"/>
                      <a:pt x="7" y="10"/>
                      <a:pt x="7" y="10"/>
                    </a:cubicBezTo>
                    <a:moveTo>
                      <a:pt x="7" y="10"/>
                    </a:moveTo>
                    <a:cubicBezTo>
                      <a:pt x="7" y="10"/>
                      <a:pt x="7" y="10"/>
                      <a:pt x="7" y="10"/>
                    </a:cubicBezTo>
                    <a:cubicBezTo>
                      <a:pt x="7" y="10"/>
                      <a:pt x="7" y="10"/>
                      <a:pt x="7" y="10"/>
                    </a:cubicBezTo>
                    <a:cubicBezTo>
                      <a:pt x="7" y="10"/>
                      <a:pt x="7" y="10"/>
                      <a:pt x="7" y="10"/>
                    </a:cubicBezTo>
                    <a:cubicBezTo>
                      <a:pt x="7" y="10"/>
                      <a:pt x="7" y="10"/>
                      <a:pt x="7" y="10"/>
                    </a:cubicBezTo>
                    <a:moveTo>
                      <a:pt x="7" y="10"/>
                    </a:moveTo>
                    <a:cubicBezTo>
                      <a:pt x="7" y="10"/>
                      <a:pt x="7" y="10"/>
                      <a:pt x="7" y="10"/>
                    </a:cubicBezTo>
                    <a:cubicBezTo>
                      <a:pt x="7" y="10"/>
                      <a:pt x="7" y="10"/>
                      <a:pt x="7" y="10"/>
                    </a:cubicBezTo>
                    <a:moveTo>
                      <a:pt x="8" y="0"/>
                    </a:moveTo>
                    <a:cubicBezTo>
                      <a:pt x="4" y="1"/>
                      <a:pt x="0" y="5"/>
                      <a:pt x="2" y="9"/>
                    </a:cubicBezTo>
                    <a:cubicBezTo>
                      <a:pt x="2" y="11"/>
                      <a:pt x="4" y="12"/>
                      <a:pt x="5" y="13"/>
                    </a:cubicBezTo>
                    <a:cubicBezTo>
                      <a:pt x="6" y="14"/>
                      <a:pt x="7" y="14"/>
                      <a:pt x="8" y="15"/>
                    </a:cubicBezTo>
                    <a:cubicBezTo>
                      <a:pt x="9" y="17"/>
                      <a:pt x="11" y="18"/>
                      <a:pt x="13" y="18"/>
                    </a:cubicBezTo>
                    <a:cubicBezTo>
                      <a:pt x="13" y="18"/>
                      <a:pt x="13" y="18"/>
                      <a:pt x="14" y="18"/>
                    </a:cubicBezTo>
                    <a:cubicBezTo>
                      <a:pt x="15" y="18"/>
                      <a:pt x="16" y="18"/>
                      <a:pt x="17" y="18"/>
                    </a:cubicBezTo>
                    <a:cubicBezTo>
                      <a:pt x="17" y="18"/>
                      <a:pt x="17" y="18"/>
                      <a:pt x="17" y="18"/>
                    </a:cubicBezTo>
                    <a:cubicBezTo>
                      <a:pt x="19" y="18"/>
                      <a:pt x="21" y="17"/>
                      <a:pt x="22" y="16"/>
                    </a:cubicBezTo>
                    <a:cubicBezTo>
                      <a:pt x="22" y="16"/>
                      <a:pt x="22" y="16"/>
                      <a:pt x="22" y="16"/>
                    </a:cubicBezTo>
                    <a:cubicBezTo>
                      <a:pt x="22" y="15"/>
                      <a:pt x="22" y="15"/>
                      <a:pt x="22" y="15"/>
                    </a:cubicBezTo>
                    <a:cubicBezTo>
                      <a:pt x="22" y="15"/>
                      <a:pt x="22" y="15"/>
                      <a:pt x="22" y="15"/>
                    </a:cubicBezTo>
                    <a:cubicBezTo>
                      <a:pt x="21" y="15"/>
                      <a:pt x="21" y="15"/>
                      <a:pt x="21" y="15"/>
                    </a:cubicBezTo>
                    <a:cubicBezTo>
                      <a:pt x="19" y="15"/>
                      <a:pt x="16" y="14"/>
                      <a:pt x="15" y="13"/>
                    </a:cubicBezTo>
                    <a:cubicBezTo>
                      <a:pt x="14" y="12"/>
                      <a:pt x="12" y="11"/>
                      <a:pt x="11" y="10"/>
                    </a:cubicBezTo>
                    <a:cubicBezTo>
                      <a:pt x="9" y="7"/>
                      <a:pt x="8" y="4"/>
                      <a:pt x="8" y="0"/>
                    </a:cubicBezTo>
                  </a:path>
                </a:pathLst>
              </a:custGeom>
              <a:solidFill>
                <a:srgbClr val="EF827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344" name="Freeform 16">
                <a:extLst>
                  <a:ext uri="{FF2B5EF4-FFF2-40B4-BE49-F238E27FC236}">
                    <a16:creationId xmlns:a16="http://schemas.microsoft.com/office/drawing/2014/main" id="{1FC49563-6421-4D7E-ADBB-E2E2AF0D29F7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6665" y="1897"/>
                <a:ext cx="77" cy="68"/>
              </a:xfrm>
              <a:custGeom>
                <a:avLst/>
                <a:gdLst>
                  <a:gd name="T0" fmla="*/ 22 w 73"/>
                  <a:gd name="T1" fmla="*/ 2 h 64"/>
                  <a:gd name="T2" fmla="*/ 22 w 73"/>
                  <a:gd name="T3" fmla="*/ 2 h 64"/>
                  <a:gd name="T4" fmla="*/ 21 w 73"/>
                  <a:gd name="T5" fmla="*/ 2 h 64"/>
                  <a:gd name="T6" fmla="*/ 27 w 73"/>
                  <a:gd name="T7" fmla="*/ 11 h 64"/>
                  <a:gd name="T8" fmla="*/ 31 w 73"/>
                  <a:gd name="T9" fmla="*/ 16 h 64"/>
                  <a:gd name="T10" fmla="*/ 66 w 73"/>
                  <a:gd name="T11" fmla="*/ 48 h 64"/>
                  <a:gd name="T12" fmla="*/ 67 w 73"/>
                  <a:gd name="T13" fmla="*/ 54 h 64"/>
                  <a:gd name="T14" fmla="*/ 73 w 73"/>
                  <a:gd name="T15" fmla="*/ 51 h 64"/>
                  <a:gd name="T16" fmla="*/ 70 w 73"/>
                  <a:gd name="T17" fmla="*/ 43 h 64"/>
                  <a:gd name="T18" fmla="*/ 63 w 73"/>
                  <a:gd name="T19" fmla="*/ 31 h 64"/>
                  <a:gd name="T20" fmla="*/ 44 w 73"/>
                  <a:gd name="T21" fmla="*/ 12 h 64"/>
                  <a:gd name="T22" fmla="*/ 25 w 73"/>
                  <a:gd name="T23" fmla="*/ 2 h 64"/>
                  <a:gd name="T24" fmla="*/ 22 w 73"/>
                  <a:gd name="T25" fmla="*/ 2 h 64"/>
                  <a:gd name="T26" fmla="*/ 11 w 73"/>
                  <a:gd name="T27" fmla="*/ 0 h 64"/>
                  <a:gd name="T28" fmla="*/ 6 w 73"/>
                  <a:gd name="T29" fmla="*/ 14 h 64"/>
                  <a:gd name="T30" fmla="*/ 26 w 73"/>
                  <a:gd name="T31" fmla="*/ 30 h 64"/>
                  <a:gd name="T32" fmla="*/ 36 w 73"/>
                  <a:gd name="T33" fmla="*/ 38 h 64"/>
                  <a:gd name="T34" fmla="*/ 40 w 73"/>
                  <a:gd name="T35" fmla="*/ 45 h 64"/>
                  <a:gd name="T36" fmla="*/ 53 w 73"/>
                  <a:gd name="T37" fmla="*/ 58 h 64"/>
                  <a:gd name="T38" fmla="*/ 56 w 73"/>
                  <a:gd name="T39" fmla="*/ 59 h 64"/>
                  <a:gd name="T40" fmla="*/ 58 w 73"/>
                  <a:gd name="T41" fmla="*/ 59 h 64"/>
                  <a:gd name="T42" fmla="*/ 58 w 73"/>
                  <a:gd name="T43" fmla="*/ 59 h 64"/>
                  <a:gd name="T44" fmla="*/ 58 w 73"/>
                  <a:gd name="T45" fmla="*/ 59 h 64"/>
                  <a:gd name="T46" fmla="*/ 59 w 73"/>
                  <a:gd name="T47" fmla="*/ 60 h 64"/>
                  <a:gd name="T48" fmla="*/ 63 w 73"/>
                  <a:gd name="T49" fmla="*/ 64 h 64"/>
                  <a:gd name="T50" fmla="*/ 63 w 73"/>
                  <a:gd name="T51" fmla="*/ 63 h 64"/>
                  <a:gd name="T52" fmla="*/ 73 w 73"/>
                  <a:gd name="T53" fmla="*/ 58 h 64"/>
                  <a:gd name="T54" fmla="*/ 61 w 73"/>
                  <a:gd name="T55" fmla="*/ 59 h 64"/>
                  <a:gd name="T56" fmla="*/ 61 w 73"/>
                  <a:gd name="T57" fmla="*/ 59 h 64"/>
                  <a:gd name="T58" fmla="*/ 61 w 73"/>
                  <a:gd name="T59" fmla="*/ 56 h 64"/>
                  <a:gd name="T60" fmla="*/ 65 w 73"/>
                  <a:gd name="T61" fmla="*/ 54 h 64"/>
                  <a:gd name="T62" fmla="*/ 63 w 73"/>
                  <a:gd name="T63" fmla="*/ 54 h 64"/>
                  <a:gd name="T64" fmla="*/ 35 w 73"/>
                  <a:gd name="T65" fmla="*/ 29 h 64"/>
                  <a:gd name="T66" fmla="*/ 17 w 73"/>
                  <a:gd name="T67" fmla="*/ 6 h 64"/>
                  <a:gd name="T68" fmla="*/ 15 w 73"/>
                  <a:gd name="T69" fmla="*/ 1 h 64"/>
                  <a:gd name="T70" fmla="*/ 14 w 73"/>
                  <a:gd name="T71" fmla="*/ 1 h 64"/>
                  <a:gd name="T72" fmla="*/ 11 w 73"/>
                  <a:gd name="T73" fmla="*/ 0 h 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73" h="64">
                    <a:moveTo>
                      <a:pt x="22" y="2"/>
                    </a:moveTo>
                    <a:cubicBezTo>
                      <a:pt x="22" y="2"/>
                      <a:pt x="22" y="2"/>
                      <a:pt x="22" y="2"/>
                    </a:cubicBezTo>
                    <a:cubicBezTo>
                      <a:pt x="22" y="2"/>
                      <a:pt x="21" y="2"/>
                      <a:pt x="21" y="2"/>
                    </a:cubicBezTo>
                    <a:cubicBezTo>
                      <a:pt x="22" y="5"/>
                      <a:pt x="25" y="9"/>
                      <a:pt x="27" y="11"/>
                    </a:cubicBezTo>
                    <a:cubicBezTo>
                      <a:pt x="28" y="13"/>
                      <a:pt x="30" y="14"/>
                      <a:pt x="31" y="16"/>
                    </a:cubicBezTo>
                    <a:cubicBezTo>
                      <a:pt x="42" y="28"/>
                      <a:pt x="52" y="39"/>
                      <a:pt x="66" y="48"/>
                    </a:cubicBezTo>
                    <a:cubicBezTo>
                      <a:pt x="69" y="49"/>
                      <a:pt x="68" y="52"/>
                      <a:pt x="67" y="54"/>
                    </a:cubicBezTo>
                    <a:cubicBezTo>
                      <a:pt x="69" y="53"/>
                      <a:pt x="71" y="52"/>
                      <a:pt x="73" y="51"/>
                    </a:cubicBezTo>
                    <a:cubicBezTo>
                      <a:pt x="73" y="48"/>
                      <a:pt x="72" y="45"/>
                      <a:pt x="70" y="43"/>
                    </a:cubicBezTo>
                    <a:cubicBezTo>
                      <a:pt x="68" y="38"/>
                      <a:pt x="66" y="34"/>
                      <a:pt x="63" y="31"/>
                    </a:cubicBezTo>
                    <a:cubicBezTo>
                      <a:pt x="58" y="24"/>
                      <a:pt x="50" y="18"/>
                      <a:pt x="44" y="12"/>
                    </a:cubicBezTo>
                    <a:cubicBezTo>
                      <a:pt x="38" y="7"/>
                      <a:pt x="32" y="2"/>
                      <a:pt x="25" y="2"/>
                    </a:cubicBezTo>
                    <a:cubicBezTo>
                      <a:pt x="24" y="2"/>
                      <a:pt x="23" y="2"/>
                      <a:pt x="22" y="2"/>
                    </a:cubicBezTo>
                    <a:moveTo>
                      <a:pt x="11" y="0"/>
                    </a:moveTo>
                    <a:cubicBezTo>
                      <a:pt x="5" y="0"/>
                      <a:pt x="0" y="9"/>
                      <a:pt x="6" y="14"/>
                    </a:cubicBezTo>
                    <a:cubicBezTo>
                      <a:pt x="13" y="19"/>
                      <a:pt x="20" y="25"/>
                      <a:pt x="26" y="30"/>
                    </a:cubicBezTo>
                    <a:cubicBezTo>
                      <a:pt x="29" y="33"/>
                      <a:pt x="32" y="36"/>
                      <a:pt x="36" y="38"/>
                    </a:cubicBezTo>
                    <a:cubicBezTo>
                      <a:pt x="37" y="41"/>
                      <a:pt x="39" y="43"/>
                      <a:pt x="40" y="45"/>
                    </a:cubicBezTo>
                    <a:cubicBezTo>
                      <a:pt x="44" y="50"/>
                      <a:pt x="48" y="55"/>
                      <a:pt x="53" y="58"/>
                    </a:cubicBezTo>
                    <a:cubicBezTo>
                      <a:pt x="54" y="59"/>
                      <a:pt x="55" y="59"/>
                      <a:pt x="56" y="59"/>
                    </a:cubicBezTo>
                    <a:cubicBezTo>
                      <a:pt x="57" y="59"/>
                      <a:pt x="58" y="59"/>
                      <a:pt x="58" y="59"/>
                    </a:cubicBezTo>
                    <a:cubicBezTo>
                      <a:pt x="58" y="59"/>
                      <a:pt x="58" y="59"/>
                      <a:pt x="58" y="59"/>
                    </a:cubicBezTo>
                    <a:cubicBezTo>
                      <a:pt x="58" y="59"/>
                      <a:pt x="58" y="59"/>
                      <a:pt x="58" y="59"/>
                    </a:cubicBezTo>
                    <a:cubicBezTo>
                      <a:pt x="58" y="60"/>
                      <a:pt x="58" y="60"/>
                      <a:pt x="59" y="60"/>
                    </a:cubicBezTo>
                    <a:cubicBezTo>
                      <a:pt x="59" y="62"/>
                      <a:pt x="61" y="64"/>
                      <a:pt x="63" y="64"/>
                    </a:cubicBezTo>
                    <a:cubicBezTo>
                      <a:pt x="63" y="64"/>
                      <a:pt x="63" y="63"/>
                      <a:pt x="63" y="63"/>
                    </a:cubicBezTo>
                    <a:cubicBezTo>
                      <a:pt x="68" y="63"/>
                      <a:pt x="71" y="61"/>
                      <a:pt x="73" y="58"/>
                    </a:cubicBezTo>
                    <a:cubicBezTo>
                      <a:pt x="69" y="58"/>
                      <a:pt x="65" y="58"/>
                      <a:pt x="61" y="59"/>
                    </a:cubicBezTo>
                    <a:cubicBezTo>
                      <a:pt x="61" y="59"/>
                      <a:pt x="61" y="59"/>
                      <a:pt x="61" y="59"/>
                    </a:cubicBezTo>
                    <a:cubicBezTo>
                      <a:pt x="60" y="59"/>
                      <a:pt x="59" y="57"/>
                      <a:pt x="61" y="56"/>
                    </a:cubicBezTo>
                    <a:cubicBezTo>
                      <a:pt x="62" y="55"/>
                      <a:pt x="63" y="55"/>
                      <a:pt x="65" y="54"/>
                    </a:cubicBezTo>
                    <a:cubicBezTo>
                      <a:pt x="64" y="54"/>
                      <a:pt x="64" y="54"/>
                      <a:pt x="63" y="54"/>
                    </a:cubicBezTo>
                    <a:cubicBezTo>
                      <a:pt x="53" y="48"/>
                      <a:pt x="43" y="39"/>
                      <a:pt x="35" y="29"/>
                    </a:cubicBezTo>
                    <a:cubicBezTo>
                      <a:pt x="29" y="22"/>
                      <a:pt x="21" y="15"/>
                      <a:pt x="17" y="6"/>
                    </a:cubicBezTo>
                    <a:cubicBezTo>
                      <a:pt x="16" y="4"/>
                      <a:pt x="15" y="3"/>
                      <a:pt x="15" y="1"/>
                    </a:cubicBezTo>
                    <a:cubicBezTo>
                      <a:pt x="15" y="1"/>
                      <a:pt x="14" y="1"/>
                      <a:pt x="14" y="1"/>
                    </a:cubicBezTo>
                    <a:cubicBezTo>
                      <a:pt x="13" y="0"/>
                      <a:pt x="12" y="0"/>
                      <a:pt x="11" y="0"/>
                    </a:cubicBezTo>
                  </a:path>
                </a:pathLst>
              </a:custGeom>
              <a:solidFill>
                <a:srgbClr val="EF827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345" name="Freeform 17">
                <a:extLst>
                  <a:ext uri="{FF2B5EF4-FFF2-40B4-BE49-F238E27FC236}">
                    <a16:creationId xmlns:a16="http://schemas.microsoft.com/office/drawing/2014/main" id="{AD1F2C40-11BA-4EF9-A78C-F6310C088163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6834" y="1836"/>
                <a:ext cx="23" cy="21"/>
              </a:xfrm>
              <a:custGeom>
                <a:avLst/>
                <a:gdLst>
                  <a:gd name="T0" fmla="*/ 11 w 21"/>
                  <a:gd name="T1" fmla="*/ 0 h 20"/>
                  <a:gd name="T2" fmla="*/ 15 w 21"/>
                  <a:gd name="T3" fmla="*/ 8 h 20"/>
                  <a:gd name="T4" fmla="*/ 16 w 21"/>
                  <a:gd name="T5" fmla="*/ 8 h 20"/>
                  <a:gd name="T6" fmla="*/ 19 w 21"/>
                  <a:gd name="T7" fmla="*/ 8 h 20"/>
                  <a:gd name="T8" fmla="*/ 19 w 21"/>
                  <a:gd name="T9" fmla="*/ 7 h 20"/>
                  <a:gd name="T10" fmla="*/ 18 w 21"/>
                  <a:gd name="T11" fmla="*/ 6 h 20"/>
                  <a:gd name="T12" fmla="*/ 16 w 21"/>
                  <a:gd name="T13" fmla="*/ 4 h 20"/>
                  <a:gd name="T14" fmla="*/ 13 w 21"/>
                  <a:gd name="T15" fmla="*/ 1 h 20"/>
                  <a:gd name="T16" fmla="*/ 11 w 21"/>
                  <a:gd name="T17" fmla="*/ 0 h 20"/>
                  <a:gd name="T18" fmla="*/ 8 w 21"/>
                  <a:gd name="T19" fmla="*/ 12 h 20"/>
                  <a:gd name="T20" fmla="*/ 8 w 21"/>
                  <a:gd name="T21" fmla="*/ 11 h 20"/>
                  <a:gd name="T22" fmla="*/ 8 w 21"/>
                  <a:gd name="T23" fmla="*/ 11 h 20"/>
                  <a:gd name="T24" fmla="*/ 8 w 21"/>
                  <a:gd name="T25" fmla="*/ 12 h 20"/>
                  <a:gd name="T26" fmla="*/ 7 w 21"/>
                  <a:gd name="T27" fmla="*/ 0 h 20"/>
                  <a:gd name="T28" fmla="*/ 1 w 21"/>
                  <a:gd name="T29" fmla="*/ 5 h 20"/>
                  <a:gd name="T30" fmla="*/ 3 w 21"/>
                  <a:gd name="T31" fmla="*/ 13 h 20"/>
                  <a:gd name="T32" fmla="*/ 6 w 21"/>
                  <a:gd name="T33" fmla="*/ 16 h 20"/>
                  <a:gd name="T34" fmla="*/ 9 w 21"/>
                  <a:gd name="T35" fmla="*/ 19 h 20"/>
                  <a:gd name="T36" fmla="*/ 13 w 21"/>
                  <a:gd name="T37" fmla="*/ 20 h 20"/>
                  <a:gd name="T38" fmla="*/ 15 w 21"/>
                  <a:gd name="T39" fmla="*/ 20 h 20"/>
                  <a:gd name="T40" fmla="*/ 19 w 21"/>
                  <a:gd name="T41" fmla="*/ 19 h 20"/>
                  <a:gd name="T42" fmla="*/ 21 w 21"/>
                  <a:gd name="T43" fmla="*/ 12 h 20"/>
                  <a:gd name="T44" fmla="*/ 21 w 21"/>
                  <a:gd name="T45" fmla="*/ 12 h 20"/>
                  <a:gd name="T46" fmla="*/ 18 w 21"/>
                  <a:gd name="T47" fmla="*/ 13 h 20"/>
                  <a:gd name="T48" fmla="*/ 12 w 21"/>
                  <a:gd name="T49" fmla="*/ 11 h 20"/>
                  <a:gd name="T50" fmla="*/ 7 w 21"/>
                  <a:gd name="T51" fmla="*/ 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1" h="20">
                    <a:moveTo>
                      <a:pt x="11" y="0"/>
                    </a:moveTo>
                    <a:cubicBezTo>
                      <a:pt x="10" y="3"/>
                      <a:pt x="12" y="7"/>
                      <a:pt x="15" y="8"/>
                    </a:cubicBezTo>
                    <a:cubicBezTo>
                      <a:pt x="15" y="8"/>
                      <a:pt x="16" y="8"/>
                      <a:pt x="16" y="8"/>
                    </a:cubicBezTo>
                    <a:cubicBezTo>
                      <a:pt x="17" y="8"/>
                      <a:pt x="18" y="8"/>
                      <a:pt x="19" y="8"/>
                    </a:cubicBezTo>
                    <a:cubicBezTo>
                      <a:pt x="19" y="8"/>
                      <a:pt x="19" y="7"/>
                      <a:pt x="19" y="7"/>
                    </a:cubicBezTo>
                    <a:cubicBezTo>
                      <a:pt x="18" y="7"/>
                      <a:pt x="18" y="6"/>
                      <a:pt x="18" y="6"/>
                    </a:cubicBezTo>
                    <a:cubicBezTo>
                      <a:pt x="17" y="5"/>
                      <a:pt x="17" y="4"/>
                      <a:pt x="16" y="4"/>
                    </a:cubicBezTo>
                    <a:cubicBezTo>
                      <a:pt x="15" y="3"/>
                      <a:pt x="14" y="2"/>
                      <a:pt x="13" y="1"/>
                    </a:cubicBezTo>
                    <a:cubicBezTo>
                      <a:pt x="12" y="1"/>
                      <a:pt x="12" y="1"/>
                      <a:pt x="11" y="0"/>
                    </a:cubicBezTo>
                    <a:moveTo>
                      <a:pt x="8" y="12"/>
                    </a:moveTo>
                    <a:cubicBezTo>
                      <a:pt x="8" y="11"/>
                      <a:pt x="8" y="11"/>
                      <a:pt x="8" y="11"/>
                    </a:cubicBezTo>
                    <a:cubicBezTo>
                      <a:pt x="8" y="11"/>
                      <a:pt x="8" y="11"/>
                      <a:pt x="8" y="11"/>
                    </a:cubicBezTo>
                    <a:cubicBezTo>
                      <a:pt x="8" y="11"/>
                      <a:pt x="8" y="11"/>
                      <a:pt x="8" y="12"/>
                    </a:cubicBezTo>
                    <a:moveTo>
                      <a:pt x="7" y="0"/>
                    </a:moveTo>
                    <a:cubicBezTo>
                      <a:pt x="4" y="0"/>
                      <a:pt x="1" y="2"/>
                      <a:pt x="1" y="5"/>
                    </a:cubicBezTo>
                    <a:cubicBezTo>
                      <a:pt x="0" y="8"/>
                      <a:pt x="1" y="11"/>
                      <a:pt x="3" y="13"/>
                    </a:cubicBezTo>
                    <a:cubicBezTo>
                      <a:pt x="4" y="14"/>
                      <a:pt x="5" y="15"/>
                      <a:pt x="6" y="16"/>
                    </a:cubicBezTo>
                    <a:cubicBezTo>
                      <a:pt x="7" y="17"/>
                      <a:pt x="8" y="18"/>
                      <a:pt x="9" y="19"/>
                    </a:cubicBezTo>
                    <a:cubicBezTo>
                      <a:pt x="10" y="19"/>
                      <a:pt x="12" y="20"/>
                      <a:pt x="13" y="20"/>
                    </a:cubicBezTo>
                    <a:cubicBezTo>
                      <a:pt x="13" y="20"/>
                      <a:pt x="14" y="20"/>
                      <a:pt x="15" y="20"/>
                    </a:cubicBezTo>
                    <a:cubicBezTo>
                      <a:pt x="16" y="20"/>
                      <a:pt x="18" y="20"/>
                      <a:pt x="19" y="19"/>
                    </a:cubicBezTo>
                    <a:cubicBezTo>
                      <a:pt x="21" y="17"/>
                      <a:pt x="21" y="15"/>
                      <a:pt x="21" y="12"/>
                    </a:cubicBezTo>
                    <a:cubicBezTo>
                      <a:pt x="21" y="12"/>
                      <a:pt x="21" y="12"/>
                      <a:pt x="21" y="12"/>
                    </a:cubicBezTo>
                    <a:cubicBezTo>
                      <a:pt x="20" y="12"/>
                      <a:pt x="19" y="13"/>
                      <a:pt x="18" y="13"/>
                    </a:cubicBezTo>
                    <a:cubicBezTo>
                      <a:pt x="16" y="13"/>
                      <a:pt x="14" y="12"/>
                      <a:pt x="12" y="11"/>
                    </a:cubicBezTo>
                    <a:cubicBezTo>
                      <a:pt x="8" y="9"/>
                      <a:pt x="6" y="4"/>
                      <a:pt x="7" y="0"/>
                    </a:cubicBezTo>
                  </a:path>
                </a:pathLst>
              </a:custGeom>
              <a:solidFill>
                <a:srgbClr val="EF827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346" name="Freeform 18">
                <a:extLst>
                  <a:ext uri="{FF2B5EF4-FFF2-40B4-BE49-F238E27FC236}">
                    <a16:creationId xmlns:a16="http://schemas.microsoft.com/office/drawing/2014/main" id="{21B5058B-5F55-4701-85F5-4A68ECEE374A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212" y="1904"/>
                <a:ext cx="646" cy="174"/>
              </a:xfrm>
              <a:custGeom>
                <a:avLst/>
                <a:gdLst>
                  <a:gd name="T0" fmla="*/ 2 w 609"/>
                  <a:gd name="T1" fmla="*/ 0 h 164"/>
                  <a:gd name="T2" fmla="*/ 0 w 609"/>
                  <a:gd name="T3" fmla="*/ 2 h 164"/>
                  <a:gd name="T4" fmla="*/ 38 w 609"/>
                  <a:gd name="T5" fmla="*/ 72 h 164"/>
                  <a:gd name="T6" fmla="*/ 94 w 609"/>
                  <a:gd name="T7" fmla="*/ 119 h 164"/>
                  <a:gd name="T8" fmla="*/ 214 w 609"/>
                  <a:gd name="T9" fmla="*/ 160 h 164"/>
                  <a:gd name="T10" fmla="*/ 240 w 609"/>
                  <a:gd name="T11" fmla="*/ 158 h 164"/>
                  <a:gd name="T12" fmla="*/ 327 w 609"/>
                  <a:gd name="T13" fmla="*/ 132 h 164"/>
                  <a:gd name="T14" fmla="*/ 339 w 609"/>
                  <a:gd name="T15" fmla="*/ 131 h 164"/>
                  <a:gd name="T16" fmla="*/ 418 w 609"/>
                  <a:gd name="T17" fmla="*/ 141 h 164"/>
                  <a:gd name="T18" fmla="*/ 510 w 609"/>
                  <a:gd name="T19" fmla="*/ 151 h 164"/>
                  <a:gd name="T20" fmla="*/ 602 w 609"/>
                  <a:gd name="T21" fmla="*/ 164 h 164"/>
                  <a:gd name="T22" fmla="*/ 598 w 609"/>
                  <a:gd name="T23" fmla="*/ 162 h 164"/>
                  <a:gd name="T24" fmla="*/ 599 w 609"/>
                  <a:gd name="T25" fmla="*/ 158 h 164"/>
                  <a:gd name="T26" fmla="*/ 600 w 609"/>
                  <a:gd name="T27" fmla="*/ 158 h 164"/>
                  <a:gd name="T28" fmla="*/ 608 w 609"/>
                  <a:gd name="T29" fmla="*/ 161 h 164"/>
                  <a:gd name="T30" fmla="*/ 604 w 609"/>
                  <a:gd name="T31" fmla="*/ 154 h 164"/>
                  <a:gd name="T32" fmla="*/ 451 w 609"/>
                  <a:gd name="T33" fmla="*/ 134 h 164"/>
                  <a:gd name="T34" fmla="*/ 365 w 609"/>
                  <a:gd name="T35" fmla="*/ 123 h 164"/>
                  <a:gd name="T36" fmla="*/ 338 w 609"/>
                  <a:gd name="T37" fmla="*/ 121 h 164"/>
                  <a:gd name="T38" fmla="*/ 294 w 609"/>
                  <a:gd name="T39" fmla="*/ 128 h 164"/>
                  <a:gd name="T40" fmla="*/ 219 w 609"/>
                  <a:gd name="T41" fmla="*/ 150 h 164"/>
                  <a:gd name="T42" fmla="*/ 211 w 609"/>
                  <a:gd name="T43" fmla="*/ 150 h 164"/>
                  <a:gd name="T44" fmla="*/ 142 w 609"/>
                  <a:gd name="T45" fmla="*/ 132 h 164"/>
                  <a:gd name="T46" fmla="*/ 79 w 609"/>
                  <a:gd name="T47" fmla="*/ 97 h 164"/>
                  <a:gd name="T48" fmla="*/ 4 w 609"/>
                  <a:gd name="T49" fmla="*/ 1 h 164"/>
                  <a:gd name="T50" fmla="*/ 2 w 609"/>
                  <a:gd name="T51" fmla="*/ 0 h 1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609" h="164">
                    <a:moveTo>
                      <a:pt x="2" y="0"/>
                    </a:moveTo>
                    <a:cubicBezTo>
                      <a:pt x="1" y="0"/>
                      <a:pt x="0" y="1"/>
                      <a:pt x="0" y="2"/>
                    </a:cubicBezTo>
                    <a:cubicBezTo>
                      <a:pt x="9" y="28"/>
                      <a:pt x="20" y="52"/>
                      <a:pt x="38" y="72"/>
                    </a:cubicBezTo>
                    <a:cubicBezTo>
                      <a:pt x="55" y="89"/>
                      <a:pt x="75" y="105"/>
                      <a:pt x="94" y="119"/>
                    </a:cubicBezTo>
                    <a:cubicBezTo>
                      <a:pt x="127" y="142"/>
                      <a:pt x="172" y="160"/>
                      <a:pt x="214" y="160"/>
                    </a:cubicBezTo>
                    <a:cubicBezTo>
                      <a:pt x="223" y="160"/>
                      <a:pt x="231" y="160"/>
                      <a:pt x="240" y="158"/>
                    </a:cubicBezTo>
                    <a:cubicBezTo>
                      <a:pt x="269" y="152"/>
                      <a:pt x="296" y="135"/>
                      <a:pt x="327" y="132"/>
                    </a:cubicBezTo>
                    <a:cubicBezTo>
                      <a:pt x="331" y="131"/>
                      <a:pt x="335" y="131"/>
                      <a:pt x="339" y="131"/>
                    </a:cubicBezTo>
                    <a:cubicBezTo>
                      <a:pt x="365" y="131"/>
                      <a:pt x="392" y="139"/>
                      <a:pt x="418" y="141"/>
                    </a:cubicBezTo>
                    <a:cubicBezTo>
                      <a:pt x="449" y="144"/>
                      <a:pt x="479" y="147"/>
                      <a:pt x="510" y="151"/>
                    </a:cubicBezTo>
                    <a:cubicBezTo>
                      <a:pt x="541" y="154"/>
                      <a:pt x="571" y="161"/>
                      <a:pt x="602" y="164"/>
                    </a:cubicBezTo>
                    <a:cubicBezTo>
                      <a:pt x="601" y="163"/>
                      <a:pt x="600" y="162"/>
                      <a:pt x="598" y="162"/>
                    </a:cubicBezTo>
                    <a:cubicBezTo>
                      <a:pt x="596" y="160"/>
                      <a:pt x="597" y="158"/>
                      <a:pt x="599" y="158"/>
                    </a:cubicBezTo>
                    <a:cubicBezTo>
                      <a:pt x="600" y="158"/>
                      <a:pt x="600" y="158"/>
                      <a:pt x="600" y="158"/>
                    </a:cubicBezTo>
                    <a:cubicBezTo>
                      <a:pt x="603" y="159"/>
                      <a:pt x="605" y="160"/>
                      <a:pt x="608" y="161"/>
                    </a:cubicBezTo>
                    <a:cubicBezTo>
                      <a:pt x="609" y="158"/>
                      <a:pt x="608" y="154"/>
                      <a:pt x="604" y="154"/>
                    </a:cubicBezTo>
                    <a:cubicBezTo>
                      <a:pt x="553" y="146"/>
                      <a:pt x="502" y="139"/>
                      <a:pt x="451" y="134"/>
                    </a:cubicBezTo>
                    <a:cubicBezTo>
                      <a:pt x="423" y="131"/>
                      <a:pt x="394" y="128"/>
                      <a:pt x="365" y="123"/>
                    </a:cubicBezTo>
                    <a:cubicBezTo>
                      <a:pt x="356" y="122"/>
                      <a:pt x="347" y="121"/>
                      <a:pt x="338" y="121"/>
                    </a:cubicBezTo>
                    <a:cubicBezTo>
                      <a:pt x="323" y="121"/>
                      <a:pt x="309" y="123"/>
                      <a:pt x="294" y="128"/>
                    </a:cubicBezTo>
                    <a:cubicBezTo>
                      <a:pt x="269" y="137"/>
                      <a:pt x="245" y="148"/>
                      <a:pt x="219" y="150"/>
                    </a:cubicBezTo>
                    <a:cubicBezTo>
                      <a:pt x="216" y="150"/>
                      <a:pt x="214" y="150"/>
                      <a:pt x="211" y="150"/>
                    </a:cubicBezTo>
                    <a:cubicBezTo>
                      <a:pt x="188" y="150"/>
                      <a:pt x="163" y="140"/>
                      <a:pt x="142" y="132"/>
                    </a:cubicBezTo>
                    <a:cubicBezTo>
                      <a:pt x="119" y="122"/>
                      <a:pt x="99" y="112"/>
                      <a:pt x="79" y="97"/>
                    </a:cubicBezTo>
                    <a:cubicBezTo>
                      <a:pt x="42" y="71"/>
                      <a:pt x="21" y="47"/>
                      <a:pt x="4" y="1"/>
                    </a:cubicBezTo>
                    <a:cubicBezTo>
                      <a:pt x="3" y="0"/>
                      <a:pt x="3" y="0"/>
                      <a:pt x="2" y="0"/>
                    </a:cubicBezTo>
                  </a:path>
                </a:pathLst>
              </a:custGeom>
              <a:solidFill>
                <a:srgbClr val="544D4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347" name="Freeform 19">
                <a:extLst>
                  <a:ext uri="{FF2B5EF4-FFF2-40B4-BE49-F238E27FC236}">
                    <a16:creationId xmlns:a16="http://schemas.microsoft.com/office/drawing/2014/main" id="{28B6165C-1795-4D40-93AC-B823E0D058F4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6844" y="1758"/>
                <a:ext cx="405" cy="403"/>
              </a:xfrm>
              <a:custGeom>
                <a:avLst/>
                <a:gdLst>
                  <a:gd name="T0" fmla="*/ 363 w 382"/>
                  <a:gd name="T1" fmla="*/ 262 h 380"/>
                  <a:gd name="T2" fmla="*/ 326 w 382"/>
                  <a:gd name="T3" fmla="*/ 317 h 380"/>
                  <a:gd name="T4" fmla="*/ 249 w 382"/>
                  <a:gd name="T5" fmla="*/ 369 h 380"/>
                  <a:gd name="T6" fmla="*/ 209 w 382"/>
                  <a:gd name="T7" fmla="*/ 373 h 380"/>
                  <a:gd name="T8" fmla="*/ 158 w 382"/>
                  <a:gd name="T9" fmla="*/ 369 h 380"/>
                  <a:gd name="T10" fmla="*/ 80 w 382"/>
                  <a:gd name="T11" fmla="*/ 343 h 380"/>
                  <a:gd name="T12" fmla="*/ 12 w 382"/>
                  <a:gd name="T13" fmla="*/ 299 h 380"/>
                  <a:gd name="T14" fmla="*/ 4 w 382"/>
                  <a:gd name="T15" fmla="*/ 296 h 380"/>
                  <a:gd name="T16" fmla="*/ 3 w 382"/>
                  <a:gd name="T17" fmla="*/ 296 h 380"/>
                  <a:gd name="T18" fmla="*/ 2 w 382"/>
                  <a:gd name="T19" fmla="*/ 300 h 380"/>
                  <a:gd name="T20" fmla="*/ 6 w 382"/>
                  <a:gd name="T21" fmla="*/ 302 h 380"/>
                  <a:gd name="T22" fmla="*/ 86 w 382"/>
                  <a:gd name="T23" fmla="*/ 354 h 380"/>
                  <a:gd name="T24" fmla="*/ 167 w 382"/>
                  <a:gd name="T25" fmla="*/ 377 h 380"/>
                  <a:gd name="T26" fmla="*/ 211 w 382"/>
                  <a:gd name="T27" fmla="*/ 380 h 380"/>
                  <a:gd name="T28" fmla="*/ 261 w 382"/>
                  <a:gd name="T29" fmla="*/ 372 h 380"/>
                  <a:gd name="T30" fmla="*/ 284 w 382"/>
                  <a:gd name="T31" fmla="*/ 360 h 380"/>
                  <a:gd name="T32" fmla="*/ 284 w 382"/>
                  <a:gd name="T33" fmla="*/ 360 h 380"/>
                  <a:gd name="T34" fmla="*/ 333 w 382"/>
                  <a:gd name="T35" fmla="*/ 319 h 380"/>
                  <a:gd name="T36" fmla="*/ 355 w 382"/>
                  <a:gd name="T37" fmla="*/ 293 h 380"/>
                  <a:gd name="T38" fmla="*/ 363 w 382"/>
                  <a:gd name="T39" fmla="*/ 262 h 380"/>
                  <a:gd name="T40" fmla="*/ 281 w 382"/>
                  <a:gd name="T41" fmla="*/ 0 h 380"/>
                  <a:gd name="T42" fmla="*/ 279 w 382"/>
                  <a:gd name="T43" fmla="*/ 1 h 380"/>
                  <a:gd name="T44" fmla="*/ 283 w 382"/>
                  <a:gd name="T45" fmla="*/ 3 h 380"/>
                  <a:gd name="T46" fmla="*/ 281 w 382"/>
                  <a:gd name="T47" fmla="*/ 11 h 380"/>
                  <a:gd name="T48" fmla="*/ 329 w 382"/>
                  <a:gd name="T49" fmla="*/ 62 h 380"/>
                  <a:gd name="T50" fmla="*/ 366 w 382"/>
                  <a:gd name="T51" fmla="*/ 153 h 380"/>
                  <a:gd name="T52" fmla="*/ 370 w 382"/>
                  <a:gd name="T53" fmla="*/ 229 h 380"/>
                  <a:gd name="T54" fmla="*/ 372 w 382"/>
                  <a:gd name="T55" fmla="*/ 228 h 380"/>
                  <a:gd name="T56" fmla="*/ 375 w 382"/>
                  <a:gd name="T57" fmla="*/ 231 h 380"/>
                  <a:gd name="T58" fmla="*/ 375 w 382"/>
                  <a:gd name="T59" fmla="*/ 250 h 380"/>
                  <a:gd name="T60" fmla="*/ 375 w 382"/>
                  <a:gd name="T61" fmla="*/ 153 h 380"/>
                  <a:gd name="T62" fmla="*/ 283 w 382"/>
                  <a:gd name="T63" fmla="*/ 1 h 380"/>
                  <a:gd name="T64" fmla="*/ 281 w 382"/>
                  <a:gd name="T65" fmla="*/ 0 h 3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382" h="380">
                    <a:moveTo>
                      <a:pt x="363" y="262"/>
                    </a:moveTo>
                    <a:cubicBezTo>
                      <a:pt x="355" y="283"/>
                      <a:pt x="342" y="300"/>
                      <a:pt x="326" y="317"/>
                    </a:cubicBezTo>
                    <a:cubicBezTo>
                      <a:pt x="305" y="339"/>
                      <a:pt x="279" y="361"/>
                      <a:pt x="249" y="369"/>
                    </a:cubicBezTo>
                    <a:cubicBezTo>
                      <a:pt x="236" y="372"/>
                      <a:pt x="223" y="373"/>
                      <a:pt x="209" y="373"/>
                    </a:cubicBezTo>
                    <a:cubicBezTo>
                      <a:pt x="192" y="373"/>
                      <a:pt x="174" y="371"/>
                      <a:pt x="158" y="369"/>
                    </a:cubicBezTo>
                    <a:cubicBezTo>
                      <a:pt x="130" y="366"/>
                      <a:pt x="104" y="358"/>
                      <a:pt x="80" y="343"/>
                    </a:cubicBezTo>
                    <a:cubicBezTo>
                      <a:pt x="57" y="329"/>
                      <a:pt x="37" y="310"/>
                      <a:pt x="12" y="299"/>
                    </a:cubicBezTo>
                    <a:cubicBezTo>
                      <a:pt x="9" y="298"/>
                      <a:pt x="7" y="297"/>
                      <a:pt x="4" y="296"/>
                    </a:cubicBezTo>
                    <a:cubicBezTo>
                      <a:pt x="4" y="296"/>
                      <a:pt x="4" y="296"/>
                      <a:pt x="3" y="296"/>
                    </a:cubicBezTo>
                    <a:cubicBezTo>
                      <a:pt x="1" y="296"/>
                      <a:pt x="0" y="298"/>
                      <a:pt x="2" y="300"/>
                    </a:cubicBezTo>
                    <a:cubicBezTo>
                      <a:pt x="4" y="300"/>
                      <a:pt x="5" y="301"/>
                      <a:pt x="6" y="302"/>
                    </a:cubicBezTo>
                    <a:cubicBezTo>
                      <a:pt x="33" y="319"/>
                      <a:pt x="58" y="339"/>
                      <a:pt x="86" y="354"/>
                    </a:cubicBezTo>
                    <a:cubicBezTo>
                      <a:pt x="111" y="368"/>
                      <a:pt x="138" y="374"/>
                      <a:pt x="167" y="377"/>
                    </a:cubicBezTo>
                    <a:cubicBezTo>
                      <a:pt x="181" y="378"/>
                      <a:pt x="196" y="380"/>
                      <a:pt x="211" y="380"/>
                    </a:cubicBezTo>
                    <a:cubicBezTo>
                      <a:pt x="228" y="380"/>
                      <a:pt x="245" y="378"/>
                      <a:pt x="261" y="372"/>
                    </a:cubicBezTo>
                    <a:cubicBezTo>
                      <a:pt x="269" y="369"/>
                      <a:pt x="277" y="365"/>
                      <a:pt x="284" y="360"/>
                    </a:cubicBezTo>
                    <a:cubicBezTo>
                      <a:pt x="284" y="360"/>
                      <a:pt x="284" y="360"/>
                      <a:pt x="284" y="360"/>
                    </a:cubicBezTo>
                    <a:cubicBezTo>
                      <a:pt x="303" y="349"/>
                      <a:pt x="319" y="334"/>
                      <a:pt x="333" y="319"/>
                    </a:cubicBezTo>
                    <a:cubicBezTo>
                      <a:pt x="341" y="311"/>
                      <a:pt x="349" y="302"/>
                      <a:pt x="355" y="293"/>
                    </a:cubicBezTo>
                    <a:cubicBezTo>
                      <a:pt x="359" y="283"/>
                      <a:pt x="361" y="273"/>
                      <a:pt x="363" y="262"/>
                    </a:cubicBezTo>
                    <a:moveTo>
                      <a:pt x="281" y="0"/>
                    </a:moveTo>
                    <a:cubicBezTo>
                      <a:pt x="280" y="0"/>
                      <a:pt x="280" y="1"/>
                      <a:pt x="279" y="1"/>
                    </a:cubicBezTo>
                    <a:cubicBezTo>
                      <a:pt x="280" y="2"/>
                      <a:pt x="282" y="2"/>
                      <a:pt x="283" y="3"/>
                    </a:cubicBezTo>
                    <a:cubicBezTo>
                      <a:pt x="287" y="5"/>
                      <a:pt x="285" y="10"/>
                      <a:pt x="281" y="11"/>
                    </a:cubicBezTo>
                    <a:cubicBezTo>
                      <a:pt x="296" y="29"/>
                      <a:pt x="314" y="44"/>
                      <a:pt x="329" y="62"/>
                    </a:cubicBezTo>
                    <a:cubicBezTo>
                      <a:pt x="350" y="90"/>
                      <a:pt x="362" y="119"/>
                      <a:pt x="366" y="153"/>
                    </a:cubicBezTo>
                    <a:cubicBezTo>
                      <a:pt x="369" y="178"/>
                      <a:pt x="372" y="204"/>
                      <a:pt x="370" y="229"/>
                    </a:cubicBezTo>
                    <a:cubicBezTo>
                      <a:pt x="370" y="229"/>
                      <a:pt x="371" y="228"/>
                      <a:pt x="372" y="228"/>
                    </a:cubicBezTo>
                    <a:cubicBezTo>
                      <a:pt x="374" y="228"/>
                      <a:pt x="375" y="229"/>
                      <a:pt x="375" y="231"/>
                    </a:cubicBezTo>
                    <a:cubicBezTo>
                      <a:pt x="376" y="238"/>
                      <a:pt x="375" y="244"/>
                      <a:pt x="375" y="250"/>
                    </a:cubicBezTo>
                    <a:cubicBezTo>
                      <a:pt x="382" y="219"/>
                      <a:pt x="379" y="184"/>
                      <a:pt x="375" y="153"/>
                    </a:cubicBezTo>
                    <a:cubicBezTo>
                      <a:pt x="368" y="91"/>
                      <a:pt x="331" y="40"/>
                      <a:pt x="283" y="1"/>
                    </a:cubicBezTo>
                    <a:cubicBezTo>
                      <a:pt x="283" y="1"/>
                      <a:pt x="282" y="0"/>
                      <a:pt x="281" y="0"/>
                    </a:cubicBezTo>
                  </a:path>
                </a:pathLst>
              </a:custGeom>
              <a:solidFill>
                <a:srgbClr val="544D4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348" name="Freeform 20">
                <a:extLst>
                  <a:ext uri="{FF2B5EF4-FFF2-40B4-BE49-F238E27FC236}">
                    <a16:creationId xmlns:a16="http://schemas.microsoft.com/office/drawing/2014/main" id="{D6C6B196-3387-4A44-BE2D-ECF341A22010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202" y="1877"/>
                <a:ext cx="16" cy="13"/>
              </a:xfrm>
              <a:custGeom>
                <a:avLst/>
                <a:gdLst>
                  <a:gd name="T0" fmla="*/ 11 w 15"/>
                  <a:gd name="T1" fmla="*/ 0 h 12"/>
                  <a:gd name="T2" fmla="*/ 10 w 15"/>
                  <a:gd name="T3" fmla="*/ 1 h 12"/>
                  <a:gd name="T4" fmla="*/ 3 w 15"/>
                  <a:gd name="T5" fmla="*/ 6 h 12"/>
                  <a:gd name="T6" fmla="*/ 3 w 15"/>
                  <a:gd name="T7" fmla="*/ 6 h 12"/>
                  <a:gd name="T8" fmla="*/ 1 w 15"/>
                  <a:gd name="T9" fmla="*/ 8 h 12"/>
                  <a:gd name="T10" fmla="*/ 3 w 15"/>
                  <a:gd name="T11" fmla="*/ 12 h 12"/>
                  <a:gd name="T12" fmla="*/ 3 w 15"/>
                  <a:gd name="T13" fmla="*/ 12 h 12"/>
                  <a:gd name="T14" fmla="*/ 5 w 15"/>
                  <a:gd name="T15" fmla="*/ 11 h 12"/>
                  <a:gd name="T16" fmla="*/ 13 w 15"/>
                  <a:gd name="T17" fmla="*/ 4 h 12"/>
                  <a:gd name="T18" fmla="*/ 11 w 15"/>
                  <a:gd name="T19" fmla="*/ 0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5" h="12">
                    <a:moveTo>
                      <a:pt x="11" y="0"/>
                    </a:moveTo>
                    <a:cubicBezTo>
                      <a:pt x="11" y="0"/>
                      <a:pt x="10" y="0"/>
                      <a:pt x="10" y="1"/>
                    </a:cubicBezTo>
                    <a:cubicBezTo>
                      <a:pt x="7" y="2"/>
                      <a:pt x="5" y="4"/>
                      <a:pt x="3" y="6"/>
                    </a:cubicBezTo>
                    <a:cubicBezTo>
                      <a:pt x="3" y="6"/>
                      <a:pt x="3" y="6"/>
                      <a:pt x="3" y="6"/>
                    </a:cubicBezTo>
                    <a:cubicBezTo>
                      <a:pt x="2" y="7"/>
                      <a:pt x="2" y="8"/>
                      <a:pt x="1" y="8"/>
                    </a:cubicBezTo>
                    <a:cubicBezTo>
                      <a:pt x="0" y="10"/>
                      <a:pt x="1" y="12"/>
                      <a:pt x="3" y="12"/>
                    </a:cubicBezTo>
                    <a:cubicBezTo>
                      <a:pt x="3" y="12"/>
                      <a:pt x="3" y="12"/>
                      <a:pt x="3" y="12"/>
                    </a:cubicBezTo>
                    <a:cubicBezTo>
                      <a:pt x="4" y="12"/>
                      <a:pt x="5" y="12"/>
                      <a:pt x="5" y="11"/>
                    </a:cubicBezTo>
                    <a:cubicBezTo>
                      <a:pt x="8" y="9"/>
                      <a:pt x="10" y="6"/>
                      <a:pt x="13" y="4"/>
                    </a:cubicBezTo>
                    <a:cubicBezTo>
                      <a:pt x="15" y="3"/>
                      <a:pt x="13" y="0"/>
                      <a:pt x="11" y="0"/>
                    </a:cubicBezTo>
                  </a:path>
                </a:pathLst>
              </a:custGeom>
              <a:solidFill>
                <a:srgbClr val="544D4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349" name="Freeform 21">
                <a:extLst>
                  <a:ext uri="{FF2B5EF4-FFF2-40B4-BE49-F238E27FC236}">
                    <a16:creationId xmlns:a16="http://schemas.microsoft.com/office/drawing/2014/main" id="{E2F72C95-5B28-47A3-BBC9-0CEC7CCA9A9B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199" y="1867"/>
                <a:ext cx="16" cy="11"/>
              </a:xfrm>
              <a:custGeom>
                <a:avLst/>
                <a:gdLst>
                  <a:gd name="T0" fmla="*/ 11 w 15"/>
                  <a:gd name="T1" fmla="*/ 0 h 10"/>
                  <a:gd name="T2" fmla="*/ 10 w 15"/>
                  <a:gd name="T3" fmla="*/ 0 h 10"/>
                  <a:gd name="T4" fmla="*/ 2 w 15"/>
                  <a:gd name="T5" fmla="*/ 5 h 10"/>
                  <a:gd name="T6" fmla="*/ 1 w 15"/>
                  <a:gd name="T7" fmla="*/ 5 h 10"/>
                  <a:gd name="T8" fmla="*/ 1 w 15"/>
                  <a:gd name="T9" fmla="*/ 5 h 10"/>
                  <a:gd name="T10" fmla="*/ 3 w 15"/>
                  <a:gd name="T11" fmla="*/ 9 h 10"/>
                  <a:gd name="T12" fmla="*/ 3 w 15"/>
                  <a:gd name="T13" fmla="*/ 9 h 10"/>
                  <a:gd name="T14" fmla="*/ 4 w 15"/>
                  <a:gd name="T15" fmla="*/ 10 h 10"/>
                  <a:gd name="T16" fmla="*/ 5 w 15"/>
                  <a:gd name="T17" fmla="*/ 9 h 10"/>
                  <a:gd name="T18" fmla="*/ 11 w 15"/>
                  <a:gd name="T19" fmla="*/ 6 h 10"/>
                  <a:gd name="T20" fmla="*/ 11 w 15"/>
                  <a:gd name="T21" fmla="*/ 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5" h="10">
                    <a:moveTo>
                      <a:pt x="11" y="0"/>
                    </a:moveTo>
                    <a:cubicBezTo>
                      <a:pt x="11" y="0"/>
                      <a:pt x="10" y="0"/>
                      <a:pt x="10" y="0"/>
                    </a:cubicBezTo>
                    <a:cubicBezTo>
                      <a:pt x="7" y="1"/>
                      <a:pt x="4" y="2"/>
                      <a:pt x="2" y="5"/>
                    </a:cubicBezTo>
                    <a:cubicBezTo>
                      <a:pt x="2" y="5"/>
                      <a:pt x="2" y="5"/>
                      <a:pt x="1" y="5"/>
                    </a:cubicBezTo>
                    <a:cubicBezTo>
                      <a:pt x="1" y="5"/>
                      <a:pt x="1" y="5"/>
                      <a:pt x="1" y="5"/>
                    </a:cubicBezTo>
                    <a:cubicBezTo>
                      <a:pt x="0" y="7"/>
                      <a:pt x="2" y="9"/>
                      <a:pt x="3" y="9"/>
                    </a:cubicBezTo>
                    <a:cubicBezTo>
                      <a:pt x="3" y="9"/>
                      <a:pt x="3" y="9"/>
                      <a:pt x="3" y="9"/>
                    </a:cubicBezTo>
                    <a:cubicBezTo>
                      <a:pt x="4" y="9"/>
                      <a:pt x="4" y="10"/>
                      <a:pt x="4" y="10"/>
                    </a:cubicBezTo>
                    <a:cubicBezTo>
                      <a:pt x="4" y="10"/>
                      <a:pt x="5" y="9"/>
                      <a:pt x="5" y="9"/>
                    </a:cubicBezTo>
                    <a:cubicBezTo>
                      <a:pt x="8" y="8"/>
                      <a:pt x="9" y="6"/>
                      <a:pt x="11" y="6"/>
                    </a:cubicBezTo>
                    <a:cubicBezTo>
                      <a:pt x="15" y="5"/>
                      <a:pt x="14" y="0"/>
                      <a:pt x="11" y="0"/>
                    </a:cubicBezTo>
                  </a:path>
                </a:pathLst>
              </a:custGeom>
              <a:solidFill>
                <a:srgbClr val="544D4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350" name="Freeform 22">
                <a:extLst>
                  <a:ext uri="{FF2B5EF4-FFF2-40B4-BE49-F238E27FC236}">
                    <a16:creationId xmlns:a16="http://schemas.microsoft.com/office/drawing/2014/main" id="{1273534A-F45B-4603-878B-D833612CFCA4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199" y="1845"/>
                <a:ext cx="11" cy="7"/>
              </a:xfrm>
              <a:custGeom>
                <a:avLst/>
                <a:gdLst>
                  <a:gd name="T0" fmla="*/ 9 w 11"/>
                  <a:gd name="T1" fmla="*/ 0 h 7"/>
                  <a:gd name="T2" fmla="*/ 8 w 11"/>
                  <a:gd name="T3" fmla="*/ 1 h 7"/>
                  <a:gd name="T4" fmla="*/ 1 w 11"/>
                  <a:gd name="T5" fmla="*/ 5 h 7"/>
                  <a:gd name="T6" fmla="*/ 2 w 11"/>
                  <a:gd name="T7" fmla="*/ 7 h 7"/>
                  <a:gd name="T8" fmla="*/ 3 w 11"/>
                  <a:gd name="T9" fmla="*/ 7 h 7"/>
                  <a:gd name="T10" fmla="*/ 10 w 11"/>
                  <a:gd name="T11" fmla="*/ 3 h 7"/>
                  <a:gd name="T12" fmla="*/ 9 w 11"/>
                  <a:gd name="T13" fmla="*/ 0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1" h="7">
                    <a:moveTo>
                      <a:pt x="9" y="0"/>
                    </a:moveTo>
                    <a:cubicBezTo>
                      <a:pt x="9" y="0"/>
                      <a:pt x="8" y="1"/>
                      <a:pt x="8" y="1"/>
                    </a:cubicBezTo>
                    <a:cubicBezTo>
                      <a:pt x="6" y="2"/>
                      <a:pt x="3" y="3"/>
                      <a:pt x="1" y="5"/>
                    </a:cubicBezTo>
                    <a:cubicBezTo>
                      <a:pt x="0" y="6"/>
                      <a:pt x="1" y="7"/>
                      <a:pt x="2" y="7"/>
                    </a:cubicBezTo>
                    <a:cubicBezTo>
                      <a:pt x="2" y="7"/>
                      <a:pt x="2" y="7"/>
                      <a:pt x="3" y="7"/>
                    </a:cubicBezTo>
                    <a:cubicBezTo>
                      <a:pt x="5" y="6"/>
                      <a:pt x="7" y="5"/>
                      <a:pt x="10" y="3"/>
                    </a:cubicBezTo>
                    <a:cubicBezTo>
                      <a:pt x="11" y="3"/>
                      <a:pt x="10" y="0"/>
                      <a:pt x="9" y="0"/>
                    </a:cubicBezTo>
                  </a:path>
                </a:pathLst>
              </a:custGeom>
              <a:solidFill>
                <a:srgbClr val="544D4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351" name="Freeform 23">
                <a:extLst>
                  <a:ext uri="{FF2B5EF4-FFF2-40B4-BE49-F238E27FC236}">
                    <a16:creationId xmlns:a16="http://schemas.microsoft.com/office/drawing/2014/main" id="{DAE1F2BA-0510-4CA8-B203-81B1EEA8C30B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195" y="1617"/>
                <a:ext cx="953" cy="213"/>
              </a:xfrm>
              <a:custGeom>
                <a:avLst/>
                <a:gdLst>
                  <a:gd name="T0" fmla="*/ 165 w 899"/>
                  <a:gd name="T1" fmla="*/ 0 h 201"/>
                  <a:gd name="T2" fmla="*/ 151 w 899"/>
                  <a:gd name="T3" fmla="*/ 1 h 201"/>
                  <a:gd name="T4" fmla="*/ 102 w 899"/>
                  <a:gd name="T5" fmla="*/ 17 h 201"/>
                  <a:gd name="T6" fmla="*/ 109 w 899"/>
                  <a:gd name="T7" fmla="*/ 14 h 201"/>
                  <a:gd name="T8" fmla="*/ 109 w 899"/>
                  <a:gd name="T9" fmla="*/ 14 h 201"/>
                  <a:gd name="T10" fmla="*/ 110 w 899"/>
                  <a:gd name="T11" fmla="*/ 15 h 201"/>
                  <a:gd name="T12" fmla="*/ 55 w 899"/>
                  <a:gd name="T13" fmla="*/ 56 h 201"/>
                  <a:gd name="T14" fmla="*/ 25 w 899"/>
                  <a:gd name="T15" fmla="*/ 103 h 201"/>
                  <a:gd name="T16" fmla="*/ 6 w 899"/>
                  <a:gd name="T17" fmla="*/ 200 h 201"/>
                  <a:gd name="T18" fmla="*/ 7 w 899"/>
                  <a:gd name="T19" fmla="*/ 201 h 201"/>
                  <a:gd name="T20" fmla="*/ 8 w 899"/>
                  <a:gd name="T21" fmla="*/ 200 h 201"/>
                  <a:gd name="T22" fmla="*/ 16 w 899"/>
                  <a:gd name="T23" fmla="*/ 146 h 201"/>
                  <a:gd name="T24" fmla="*/ 16 w 899"/>
                  <a:gd name="T25" fmla="*/ 146 h 201"/>
                  <a:gd name="T26" fmla="*/ 85 w 899"/>
                  <a:gd name="T27" fmla="*/ 38 h 201"/>
                  <a:gd name="T28" fmla="*/ 106 w 899"/>
                  <a:gd name="T29" fmla="*/ 23 h 201"/>
                  <a:gd name="T30" fmla="*/ 166 w 899"/>
                  <a:gd name="T31" fmla="*/ 9 h 201"/>
                  <a:gd name="T32" fmla="*/ 180 w 899"/>
                  <a:gd name="T33" fmla="*/ 9 h 201"/>
                  <a:gd name="T34" fmla="*/ 278 w 899"/>
                  <a:gd name="T35" fmla="*/ 23 h 201"/>
                  <a:gd name="T36" fmla="*/ 479 w 899"/>
                  <a:gd name="T37" fmla="*/ 60 h 201"/>
                  <a:gd name="T38" fmla="*/ 675 w 899"/>
                  <a:gd name="T39" fmla="*/ 88 h 201"/>
                  <a:gd name="T40" fmla="*/ 890 w 899"/>
                  <a:gd name="T41" fmla="*/ 143 h 201"/>
                  <a:gd name="T42" fmla="*/ 893 w 899"/>
                  <a:gd name="T43" fmla="*/ 144 h 201"/>
                  <a:gd name="T44" fmla="*/ 893 w 899"/>
                  <a:gd name="T45" fmla="*/ 144 h 201"/>
                  <a:gd name="T46" fmla="*/ 895 w 899"/>
                  <a:gd name="T47" fmla="*/ 136 h 201"/>
                  <a:gd name="T48" fmla="*/ 891 w 899"/>
                  <a:gd name="T49" fmla="*/ 134 h 201"/>
                  <a:gd name="T50" fmla="*/ 697 w 899"/>
                  <a:gd name="T51" fmla="*/ 83 h 201"/>
                  <a:gd name="T52" fmla="*/ 473 w 899"/>
                  <a:gd name="T53" fmla="*/ 50 h 201"/>
                  <a:gd name="T54" fmla="*/ 426 w 899"/>
                  <a:gd name="T55" fmla="*/ 42 h 201"/>
                  <a:gd name="T56" fmla="*/ 421 w 899"/>
                  <a:gd name="T57" fmla="*/ 44 h 201"/>
                  <a:gd name="T58" fmla="*/ 415 w 899"/>
                  <a:gd name="T59" fmla="*/ 40 h 201"/>
                  <a:gd name="T60" fmla="*/ 256 w 899"/>
                  <a:gd name="T61" fmla="*/ 11 h 201"/>
                  <a:gd name="T62" fmla="*/ 165 w 899"/>
                  <a:gd name="T63" fmla="*/ 0 h 2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899" h="201">
                    <a:moveTo>
                      <a:pt x="165" y="0"/>
                    </a:moveTo>
                    <a:cubicBezTo>
                      <a:pt x="161" y="0"/>
                      <a:pt x="156" y="1"/>
                      <a:pt x="151" y="1"/>
                    </a:cubicBezTo>
                    <a:cubicBezTo>
                      <a:pt x="133" y="2"/>
                      <a:pt x="117" y="8"/>
                      <a:pt x="102" y="17"/>
                    </a:cubicBezTo>
                    <a:cubicBezTo>
                      <a:pt x="104" y="15"/>
                      <a:pt x="107" y="14"/>
                      <a:pt x="109" y="14"/>
                    </a:cubicBezTo>
                    <a:cubicBezTo>
                      <a:pt x="109" y="14"/>
                      <a:pt x="109" y="14"/>
                      <a:pt x="109" y="14"/>
                    </a:cubicBezTo>
                    <a:cubicBezTo>
                      <a:pt x="110" y="14"/>
                      <a:pt x="110" y="14"/>
                      <a:pt x="110" y="15"/>
                    </a:cubicBezTo>
                    <a:cubicBezTo>
                      <a:pt x="94" y="31"/>
                      <a:pt x="74" y="42"/>
                      <a:pt x="55" y="56"/>
                    </a:cubicBezTo>
                    <a:cubicBezTo>
                      <a:pt x="43" y="70"/>
                      <a:pt x="32" y="86"/>
                      <a:pt x="25" y="103"/>
                    </a:cubicBezTo>
                    <a:cubicBezTo>
                      <a:pt x="12" y="132"/>
                      <a:pt x="0" y="169"/>
                      <a:pt x="6" y="200"/>
                    </a:cubicBezTo>
                    <a:cubicBezTo>
                      <a:pt x="6" y="201"/>
                      <a:pt x="6" y="201"/>
                      <a:pt x="7" y="201"/>
                    </a:cubicBezTo>
                    <a:cubicBezTo>
                      <a:pt x="7" y="201"/>
                      <a:pt x="8" y="201"/>
                      <a:pt x="8" y="200"/>
                    </a:cubicBezTo>
                    <a:cubicBezTo>
                      <a:pt x="8" y="182"/>
                      <a:pt x="11" y="164"/>
                      <a:pt x="16" y="146"/>
                    </a:cubicBezTo>
                    <a:cubicBezTo>
                      <a:pt x="16" y="146"/>
                      <a:pt x="16" y="146"/>
                      <a:pt x="16" y="146"/>
                    </a:cubicBezTo>
                    <a:cubicBezTo>
                      <a:pt x="28" y="104"/>
                      <a:pt x="52" y="66"/>
                      <a:pt x="85" y="38"/>
                    </a:cubicBezTo>
                    <a:cubicBezTo>
                      <a:pt x="92" y="32"/>
                      <a:pt x="99" y="27"/>
                      <a:pt x="106" y="23"/>
                    </a:cubicBezTo>
                    <a:cubicBezTo>
                      <a:pt x="124" y="13"/>
                      <a:pt x="144" y="9"/>
                      <a:pt x="166" y="9"/>
                    </a:cubicBezTo>
                    <a:cubicBezTo>
                      <a:pt x="171" y="9"/>
                      <a:pt x="175" y="9"/>
                      <a:pt x="180" y="9"/>
                    </a:cubicBezTo>
                    <a:cubicBezTo>
                      <a:pt x="213" y="12"/>
                      <a:pt x="246" y="17"/>
                      <a:pt x="278" y="23"/>
                    </a:cubicBezTo>
                    <a:cubicBezTo>
                      <a:pt x="345" y="35"/>
                      <a:pt x="412" y="49"/>
                      <a:pt x="479" y="60"/>
                    </a:cubicBezTo>
                    <a:cubicBezTo>
                      <a:pt x="544" y="70"/>
                      <a:pt x="610" y="78"/>
                      <a:pt x="675" y="88"/>
                    </a:cubicBezTo>
                    <a:cubicBezTo>
                      <a:pt x="747" y="100"/>
                      <a:pt x="825" y="110"/>
                      <a:pt x="890" y="143"/>
                    </a:cubicBezTo>
                    <a:cubicBezTo>
                      <a:pt x="891" y="144"/>
                      <a:pt x="892" y="144"/>
                      <a:pt x="893" y="144"/>
                    </a:cubicBezTo>
                    <a:cubicBezTo>
                      <a:pt x="893" y="144"/>
                      <a:pt x="893" y="144"/>
                      <a:pt x="893" y="144"/>
                    </a:cubicBezTo>
                    <a:cubicBezTo>
                      <a:pt x="897" y="143"/>
                      <a:pt x="899" y="138"/>
                      <a:pt x="895" y="136"/>
                    </a:cubicBezTo>
                    <a:cubicBezTo>
                      <a:pt x="894" y="135"/>
                      <a:pt x="892" y="135"/>
                      <a:pt x="891" y="134"/>
                    </a:cubicBezTo>
                    <a:cubicBezTo>
                      <a:pt x="831" y="104"/>
                      <a:pt x="763" y="94"/>
                      <a:pt x="697" y="83"/>
                    </a:cubicBezTo>
                    <a:cubicBezTo>
                      <a:pt x="623" y="70"/>
                      <a:pt x="547" y="62"/>
                      <a:pt x="473" y="50"/>
                    </a:cubicBezTo>
                    <a:cubicBezTo>
                      <a:pt x="457" y="47"/>
                      <a:pt x="442" y="45"/>
                      <a:pt x="426" y="42"/>
                    </a:cubicBezTo>
                    <a:cubicBezTo>
                      <a:pt x="425" y="43"/>
                      <a:pt x="423" y="44"/>
                      <a:pt x="421" y="44"/>
                    </a:cubicBezTo>
                    <a:cubicBezTo>
                      <a:pt x="419" y="44"/>
                      <a:pt x="416" y="42"/>
                      <a:pt x="415" y="40"/>
                    </a:cubicBezTo>
                    <a:cubicBezTo>
                      <a:pt x="362" y="30"/>
                      <a:pt x="309" y="20"/>
                      <a:pt x="256" y="11"/>
                    </a:cubicBezTo>
                    <a:cubicBezTo>
                      <a:pt x="226" y="6"/>
                      <a:pt x="196" y="0"/>
                      <a:pt x="165" y="0"/>
                    </a:cubicBezTo>
                  </a:path>
                </a:pathLst>
              </a:custGeom>
              <a:solidFill>
                <a:srgbClr val="544D4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352" name="Freeform 24">
                <a:extLst>
                  <a:ext uri="{FF2B5EF4-FFF2-40B4-BE49-F238E27FC236}">
                    <a16:creationId xmlns:a16="http://schemas.microsoft.com/office/drawing/2014/main" id="{1167AAF1-1215-4A93-8ABC-B78D00993763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635" y="1660"/>
                <a:ext cx="12" cy="4"/>
              </a:xfrm>
              <a:custGeom>
                <a:avLst/>
                <a:gdLst>
                  <a:gd name="T0" fmla="*/ 0 w 11"/>
                  <a:gd name="T1" fmla="*/ 0 h 4"/>
                  <a:gd name="T2" fmla="*/ 6 w 11"/>
                  <a:gd name="T3" fmla="*/ 4 h 4"/>
                  <a:gd name="T4" fmla="*/ 11 w 11"/>
                  <a:gd name="T5" fmla="*/ 2 h 4"/>
                  <a:gd name="T6" fmla="*/ 0 w 11"/>
                  <a:gd name="T7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1" h="4">
                    <a:moveTo>
                      <a:pt x="0" y="0"/>
                    </a:moveTo>
                    <a:cubicBezTo>
                      <a:pt x="1" y="2"/>
                      <a:pt x="4" y="4"/>
                      <a:pt x="6" y="4"/>
                    </a:cubicBezTo>
                    <a:cubicBezTo>
                      <a:pt x="8" y="4"/>
                      <a:pt x="10" y="3"/>
                      <a:pt x="11" y="2"/>
                    </a:cubicBezTo>
                    <a:cubicBezTo>
                      <a:pt x="8" y="1"/>
                      <a:pt x="4" y="1"/>
                      <a:pt x="0" y="0"/>
                    </a:cubicBezTo>
                  </a:path>
                </a:pathLst>
              </a:custGeom>
              <a:solidFill>
                <a:srgbClr val="14161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353" name="Freeform 25">
                <a:extLst>
                  <a:ext uri="{FF2B5EF4-FFF2-40B4-BE49-F238E27FC236}">
                    <a16:creationId xmlns:a16="http://schemas.microsoft.com/office/drawing/2014/main" id="{8BFF5A1E-0F3D-419C-9E62-F7CE97C6609D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159" y="1632"/>
                <a:ext cx="690" cy="483"/>
              </a:xfrm>
              <a:custGeom>
                <a:avLst/>
                <a:gdLst>
                  <a:gd name="T0" fmla="*/ 143 w 651"/>
                  <a:gd name="T1" fmla="*/ 0 h 456"/>
                  <a:gd name="T2" fmla="*/ 143 w 651"/>
                  <a:gd name="T3" fmla="*/ 0 h 456"/>
                  <a:gd name="T4" fmla="*/ 136 w 651"/>
                  <a:gd name="T5" fmla="*/ 3 h 456"/>
                  <a:gd name="T6" fmla="*/ 61 w 651"/>
                  <a:gd name="T7" fmla="*/ 56 h 456"/>
                  <a:gd name="T8" fmla="*/ 19 w 651"/>
                  <a:gd name="T9" fmla="*/ 130 h 456"/>
                  <a:gd name="T10" fmla="*/ 15 w 651"/>
                  <a:gd name="T11" fmla="*/ 144 h 456"/>
                  <a:gd name="T12" fmla="*/ 31 w 651"/>
                  <a:gd name="T13" fmla="*/ 315 h 456"/>
                  <a:gd name="T14" fmla="*/ 178 w 651"/>
                  <a:gd name="T15" fmla="*/ 434 h 456"/>
                  <a:gd name="T16" fmla="*/ 250 w 651"/>
                  <a:gd name="T17" fmla="*/ 447 h 456"/>
                  <a:gd name="T18" fmla="*/ 276 w 651"/>
                  <a:gd name="T19" fmla="*/ 445 h 456"/>
                  <a:gd name="T20" fmla="*/ 379 w 651"/>
                  <a:gd name="T21" fmla="*/ 420 h 456"/>
                  <a:gd name="T22" fmla="*/ 385 w 651"/>
                  <a:gd name="T23" fmla="*/ 420 h 456"/>
                  <a:gd name="T24" fmla="*/ 445 w 651"/>
                  <a:gd name="T25" fmla="*/ 427 h 456"/>
                  <a:gd name="T26" fmla="*/ 510 w 651"/>
                  <a:gd name="T27" fmla="*/ 436 h 456"/>
                  <a:gd name="T28" fmla="*/ 643 w 651"/>
                  <a:gd name="T29" fmla="*/ 456 h 456"/>
                  <a:gd name="T30" fmla="*/ 646 w 651"/>
                  <a:gd name="T31" fmla="*/ 453 h 456"/>
                  <a:gd name="T32" fmla="*/ 648 w 651"/>
                  <a:gd name="T33" fmla="*/ 454 h 456"/>
                  <a:gd name="T34" fmla="*/ 650 w 651"/>
                  <a:gd name="T35" fmla="*/ 455 h 456"/>
                  <a:gd name="T36" fmla="*/ 648 w 651"/>
                  <a:gd name="T37" fmla="*/ 449 h 456"/>
                  <a:gd name="T38" fmla="*/ 438 w 651"/>
                  <a:gd name="T39" fmla="*/ 419 h 456"/>
                  <a:gd name="T40" fmla="*/ 385 w 651"/>
                  <a:gd name="T41" fmla="*/ 413 h 456"/>
                  <a:gd name="T42" fmla="*/ 350 w 651"/>
                  <a:gd name="T43" fmla="*/ 418 h 456"/>
                  <a:gd name="T44" fmla="*/ 249 w 651"/>
                  <a:gd name="T45" fmla="*/ 440 h 456"/>
                  <a:gd name="T46" fmla="*/ 246 w 651"/>
                  <a:gd name="T47" fmla="*/ 440 h 456"/>
                  <a:gd name="T48" fmla="*/ 66 w 651"/>
                  <a:gd name="T49" fmla="*/ 351 h 456"/>
                  <a:gd name="T50" fmla="*/ 21 w 651"/>
                  <a:gd name="T51" fmla="*/ 153 h 456"/>
                  <a:gd name="T52" fmla="*/ 64 w 651"/>
                  <a:gd name="T53" fmla="*/ 64 h 456"/>
                  <a:gd name="T54" fmla="*/ 89 w 651"/>
                  <a:gd name="T55" fmla="*/ 42 h 456"/>
                  <a:gd name="T56" fmla="*/ 144 w 651"/>
                  <a:gd name="T57" fmla="*/ 1 h 456"/>
                  <a:gd name="T58" fmla="*/ 143 w 651"/>
                  <a:gd name="T59" fmla="*/ 0 h 4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651" h="456">
                    <a:moveTo>
                      <a:pt x="143" y="0"/>
                    </a:moveTo>
                    <a:cubicBezTo>
                      <a:pt x="143" y="0"/>
                      <a:pt x="143" y="0"/>
                      <a:pt x="143" y="0"/>
                    </a:cubicBezTo>
                    <a:cubicBezTo>
                      <a:pt x="141" y="0"/>
                      <a:pt x="138" y="1"/>
                      <a:pt x="136" y="3"/>
                    </a:cubicBezTo>
                    <a:cubicBezTo>
                      <a:pt x="108" y="14"/>
                      <a:pt x="81" y="36"/>
                      <a:pt x="61" y="56"/>
                    </a:cubicBezTo>
                    <a:cubicBezTo>
                      <a:pt x="40" y="78"/>
                      <a:pt x="28" y="102"/>
                      <a:pt x="19" y="130"/>
                    </a:cubicBezTo>
                    <a:cubicBezTo>
                      <a:pt x="18" y="135"/>
                      <a:pt x="16" y="140"/>
                      <a:pt x="15" y="144"/>
                    </a:cubicBezTo>
                    <a:cubicBezTo>
                      <a:pt x="0" y="202"/>
                      <a:pt x="3" y="261"/>
                      <a:pt x="31" y="315"/>
                    </a:cubicBezTo>
                    <a:cubicBezTo>
                      <a:pt x="62" y="375"/>
                      <a:pt x="116" y="412"/>
                      <a:pt x="178" y="434"/>
                    </a:cubicBezTo>
                    <a:cubicBezTo>
                      <a:pt x="201" y="442"/>
                      <a:pt x="225" y="447"/>
                      <a:pt x="250" y="447"/>
                    </a:cubicBezTo>
                    <a:cubicBezTo>
                      <a:pt x="258" y="447"/>
                      <a:pt x="267" y="446"/>
                      <a:pt x="276" y="445"/>
                    </a:cubicBezTo>
                    <a:cubicBezTo>
                      <a:pt x="311" y="440"/>
                      <a:pt x="344" y="422"/>
                      <a:pt x="379" y="420"/>
                    </a:cubicBezTo>
                    <a:cubicBezTo>
                      <a:pt x="381" y="420"/>
                      <a:pt x="383" y="420"/>
                      <a:pt x="385" y="420"/>
                    </a:cubicBezTo>
                    <a:cubicBezTo>
                      <a:pt x="405" y="420"/>
                      <a:pt x="425" y="424"/>
                      <a:pt x="445" y="427"/>
                    </a:cubicBezTo>
                    <a:cubicBezTo>
                      <a:pt x="467" y="430"/>
                      <a:pt x="488" y="433"/>
                      <a:pt x="510" y="436"/>
                    </a:cubicBezTo>
                    <a:cubicBezTo>
                      <a:pt x="554" y="442"/>
                      <a:pt x="599" y="448"/>
                      <a:pt x="643" y="456"/>
                    </a:cubicBezTo>
                    <a:cubicBezTo>
                      <a:pt x="643" y="454"/>
                      <a:pt x="645" y="453"/>
                      <a:pt x="646" y="453"/>
                    </a:cubicBezTo>
                    <a:cubicBezTo>
                      <a:pt x="647" y="453"/>
                      <a:pt x="647" y="453"/>
                      <a:pt x="648" y="454"/>
                    </a:cubicBezTo>
                    <a:cubicBezTo>
                      <a:pt x="649" y="454"/>
                      <a:pt x="649" y="455"/>
                      <a:pt x="650" y="455"/>
                    </a:cubicBezTo>
                    <a:cubicBezTo>
                      <a:pt x="651" y="453"/>
                      <a:pt x="651" y="449"/>
                      <a:pt x="648" y="449"/>
                    </a:cubicBezTo>
                    <a:cubicBezTo>
                      <a:pt x="578" y="437"/>
                      <a:pt x="508" y="429"/>
                      <a:pt x="438" y="419"/>
                    </a:cubicBezTo>
                    <a:cubicBezTo>
                      <a:pt x="420" y="416"/>
                      <a:pt x="403" y="413"/>
                      <a:pt x="385" y="413"/>
                    </a:cubicBezTo>
                    <a:cubicBezTo>
                      <a:pt x="374" y="413"/>
                      <a:pt x="362" y="415"/>
                      <a:pt x="350" y="418"/>
                    </a:cubicBezTo>
                    <a:cubicBezTo>
                      <a:pt x="316" y="427"/>
                      <a:pt x="284" y="440"/>
                      <a:pt x="249" y="440"/>
                    </a:cubicBezTo>
                    <a:cubicBezTo>
                      <a:pt x="248" y="440"/>
                      <a:pt x="247" y="440"/>
                      <a:pt x="246" y="440"/>
                    </a:cubicBezTo>
                    <a:cubicBezTo>
                      <a:pt x="180" y="439"/>
                      <a:pt x="108" y="402"/>
                      <a:pt x="66" y="351"/>
                    </a:cubicBezTo>
                    <a:cubicBezTo>
                      <a:pt x="19" y="295"/>
                      <a:pt x="4" y="224"/>
                      <a:pt x="21" y="153"/>
                    </a:cubicBezTo>
                    <a:cubicBezTo>
                      <a:pt x="29" y="120"/>
                      <a:pt x="42" y="89"/>
                      <a:pt x="64" y="64"/>
                    </a:cubicBezTo>
                    <a:cubicBezTo>
                      <a:pt x="72" y="56"/>
                      <a:pt x="80" y="49"/>
                      <a:pt x="89" y="42"/>
                    </a:cubicBezTo>
                    <a:cubicBezTo>
                      <a:pt x="108" y="28"/>
                      <a:pt x="128" y="17"/>
                      <a:pt x="144" y="1"/>
                    </a:cubicBezTo>
                    <a:cubicBezTo>
                      <a:pt x="144" y="0"/>
                      <a:pt x="144" y="0"/>
                      <a:pt x="143" y="0"/>
                    </a:cubicBezTo>
                  </a:path>
                </a:pathLst>
              </a:custGeom>
              <a:solidFill>
                <a:srgbClr val="544D4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354" name="Freeform 26">
                <a:extLst>
                  <a:ext uri="{FF2B5EF4-FFF2-40B4-BE49-F238E27FC236}">
                    <a16:creationId xmlns:a16="http://schemas.microsoft.com/office/drawing/2014/main" id="{AA15EBFF-E8B6-444D-B92C-53D92272F1DA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841" y="2000"/>
                <a:ext cx="401" cy="193"/>
              </a:xfrm>
              <a:custGeom>
                <a:avLst/>
                <a:gdLst>
                  <a:gd name="T0" fmla="*/ 375 w 379"/>
                  <a:gd name="T1" fmla="*/ 0 h 183"/>
                  <a:gd name="T2" fmla="*/ 373 w 379"/>
                  <a:gd name="T3" fmla="*/ 1 h 183"/>
                  <a:gd name="T4" fmla="*/ 371 w 379"/>
                  <a:gd name="T5" fmla="*/ 3 h 183"/>
                  <a:gd name="T6" fmla="*/ 370 w 379"/>
                  <a:gd name="T7" fmla="*/ 8 h 183"/>
                  <a:gd name="T8" fmla="*/ 366 w 379"/>
                  <a:gd name="T9" fmla="*/ 34 h 183"/>
                  <a:gd name="T10" fmla="*/ 358 w 379"/>
                  <a:gd name="T11" fmla="*/ 65 h 183"/>
                  <a:gd name="T12" fmla="*/ 336 w 379"/>
                  <a:gd name="T13" fmla="*/ 105 h 183"/>
                  <a:gd name="T14" fmla="*/ 239 w 379"/>
                  <a:gd name="T15" fmla="*/ 166 h 183"/>
                  <a:gd name="T16" fmla="*/ 181 w 379"/>
                  <a:gd name="T17" fmla="*/ 173 h 183"/>
                  <a:gd name="T18" fmla="*/ 124 w 379"/>
                  <a:gd name="T19" fmla="*/ 166 h 183"/>
                  <a:gd name="T20" fmla="*/ 7 w 379"/>
                  <a:gd name="T21" fmla="*/ 108 h 183"/>
                  <a:gd name="T22" fmla="*/ 5 w 379"/>
                  <a:gd name="T23" fmla="*/ 107 h 183"/>
                  <a:gd name="T24" fmla="*/ 3 w 379"/>
                  <a:gd name="T25" fmla="*/ 106 h 183"/>
                  <a:gd name="T26" fmla="*/ 0 w 379"/>
                  <a:gd name="T27" fmla="*/ 109 h 183"/>
                  <a:gd name="T28" fmla="*/ 1 w 379"/>
                  <a:gd name="T29" fmla="*/ 111 h 183"/>
                  <a:gd name="T30" fmla="*/ 53 w 379"/>
                  <a:gd name="T31" fmla="*/ 147 h 183"/>
                  <a:gd name="T32" fmla="*/ 113 w 379"/>
                  <a:gd name="T33" fmla="*/ 173 h 183"/>
                  <a:gd name="T34" fmla="*/ 182 w 379"/>
                  <a:gd name="T35" fmla="*/ 183 h 183"/>
                  <a:gd name="T36" fmla="*/ 243 w 379"/>
                  <a:gd name="T37" fmla="*/ 175 h 183"/>
                  <a:gd name="T38" fmla="*/ 279 w 379"/>
                  <a:gd name="T39" fmla="*/ 161 h 183"/>
                  <a:gd name="T40" fmla="*/ 378 w 379"/>
                  <a:gd name="T41" fmla="*/ 22 h 183"/>
                  <a:gd name="T42" fmla="*/ 378 w 379"/>
                  <a:gd name="T43" fmla="*/ 3 h 183"/>
                  <a:gd name="T44" fmla="*/ 375 w 379"/>
                  <a:gd name="T45" fmla="*/ 0 h 1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379" h="183">
                    <a:moveTo>
                      <a:pt x="375" y="0"/>
                    </a:moveTo>
                    <a:cubicBezTo>
                      <a:pt x="374" y="0"/>
                      <a:pt x="373" y="1"/>
                      <a:pt x="373" y="1"/>
                    </a:cubicBezTo>
                    <a:cubicBezTo>
                      <a:pt x="372" y="1"/>
                      <a:pt x="372" y="2"/>
                      <a:pt x="371" y="3"/>
                    </a:cubicBezTo>
                    <a:cubicBezTo>
                      <a:pt x="371" y="5"/>
                      <a:pt x="371" y="7"/>
                      <a:pt x="370" y="8"/>
                    </a:cubicBezTo>
                    <a:cubicBezTo>
                      <a:pt x="369" y="17"/>
                      <a:pt x="368" y="25"/>
                      <a:pt x="366" y="34"/>
                    </a:cubicBezTo>
                    <a:cubicBezTo>
                      <a:pt x="364" y="45"/>
                      <a:pt x="362" y="55"/>
                      <a:pt x="358" y="65"/>
                    </a:cubicBezTo>
                    <a:cubicBezTo>
                      <a:pt x="353" y="79"/>
                      <a:pt x="346" y="92"/>
                      <a:pt x="336" y="105"/>
                    </a:cubicBezTo>
                    <a:cubicBezTo>
                      <a:pt x="310" y="134"/>
                      <a:pt x="277" y="156"/>
                      <a:pt x="239" y="166"/>
                    </a:cubicBezTo>
                    <a:cubicBezTo>
                      <a:pt x="220" y="171"/>
                      <a:pt x="201" y="173"/>
                      <a:pt x="181" y="173"/>
                    </a:cubicBezTo>
                    <a:cubicBezTo>
                      <a:pt x="162" y="173"/>
                      <a:pt x="143" y="171"/>
                      <a:pt x="124" y="166"/>
                    </a:cubicBezTo>
                    <a:cubicBezTo>
                      <a:pt x="80" y="154"/>
                      <a:pt x="46" y="129"/>
                      <a:pt x="7" y="108"/>
                    </a:cubicBezTo>
                    <a:cubicBezTo>
                      <a:pt x="6" y="108"/>
                      <a:pt x="6" y="107"/>
                      <a:pt x="5" y="107"/>
                    </a:cubicBezTo>
                    <a:cubicBezTo>
                      <a:pt x="4" y="106"/>
                      <a:pt x="4" y="106"/>
                      <a:pt x="3" y="106"/>
                    </a:cubicBezTo>
                    <a:cubicBezTo>
                      <a:pt x="2" y="106"/>
                      <a:pt x="0" y="107"/>
                      <a:pt x="0" y="109"/>
                    </a:cubicBezTo>
                    <a:cubicBezTo>
                      <a:pt x="0" y="110"/>
                      <a:pt x="0" y="111"/>
                      <a:pt x="1" y="111"/>
                    </a:cubicBezTo>
                    <a:cubicBezTo>
                      <a:pt x="14" y="126"/>
                      <a:pt x="36" y="137"/>
                      <a:pt x="53" y="147"/>
                    </a:cubicBezTo>
                    <a:cubicBezTo>
                      <a:pt x="72" y="158"/>
                      <a:pt x="92" y="167"/>
                      <a:pt x="113" y="173"/>
                    </a:cubicBezTo>
                    <a:cubicBezTo>
                      <a:pt x="136" y="179"/>
                      <a:pt x="159" y="183"/>
                      <a:pt x="182" y="183"/>
                    </a:cubicBezTo>
                    <a:cubicBezTo>
                      <a:pt x="202" y="183"/>
                      <a:pt x="222" y="180"/>
                      <a:pt x="243" y="175"/>
                    </a:cubicBezTo>
                    <a:cubicBezTo>
                      <a:pt x="255" y="171"/>
                      <a:pt x="267" y="167"/>
                      <a:pt x="279" y="161"/>
                    </a:cubicBezTo>
                    <a:cubicBezTo>
                      <a:pt x="333" y="134"/>
                      <a:pt x="373" y="83"/>
                      <a:pt x="378" y="22"/>
                    </a:cubicBezTo>
                    <a:cubicBezTo>
                      <a:pt x="378" y="16"/>
                      <a:pt x="379" y="10"/>
                      <a:pt x="378" y="3"/>
                    </a:cubicBezTo>
                    <a:cubicBezTo>
                      <a:pt x="378" y="1"/>
                      <a:pt x="377" y="0"/>
                      <a:pt x="375" y="0"/>
                    </a:cubicBezTo>
                  </a:path>
                </a:pathLst>
              </a:custGeom>
              <a:solidFill>
                <a:srgbClr val="544D4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355" name="Freeform 27">
                <a:extLst>
                  <a:ext uri="{FF2B5EF4-FFF2-40B4-BE49-F238E27FC236}">
                    <a16:creationId xmlns:a16="http://schemas.microsoft.com/office/drawing/2014/main" id="{A8A69244-F4FA-4332-9F58-BD6B17C57454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7002" y="1839"/>
                <a:ext cx="76" cy="70"/>
              </a:xfrm>
              <a:custGeom>
                <a:avLst/>
                <a:gdLst>
                  <a:gd name="T0" fmla="*/ 0 w 72"/>
                  <a:gd name="T1" fmla="*/ 49 h 66"/>
                  <a:gd name="T2" fmla="*/ 1 w 72"/>
                  <a:gd name="T3" fmla="*/ 52 h 66"/>
                  <a:gd name="T4" fmla="*/ 1 w 72"/>
                  <a:gd name="T5" fmla="*/ 52 h 66"/>
                  <a:gd name="T6" fmla="*/ 1 w 72"/>
                  <a:gd name="T7" fmla="*/ 52 h 66"/>
                  <a:gd name="T8" fmla="*/ 0 w 72"/>
                  <a:gd name="T9" fmla="*/ 49 h 66"/>
                  <a:gd name="T10" fmla="*/ 27 w 72"/>
                  <a:gd name="T11" fmla="*/ 0 h 66"/>
                  <a:gd name="T12" fmla="*/ 13 w 72"/>
                  <a:gd name="T13" fmla="*/ 5 h 66"/>
                  <a:gd name="T14" fmla="*/ 7 w 72"/>
                  <a:gd name="T15" fmla="*/ 22 h 66"/>
                  <a:gd name="T16" fmla="*/ 7 w 72"/>
                  <a:gd name="T17" fmla="*/ 22 h 66"/>
                  <a:gd name="T18" fmla="*/ 6 w 72"/>
                  <a:gd name="T19" fmla="*/ 22 h 66"/>
                  <a:gd name="T20" fmla="*/ 3 w 72"/>
                  <a:gd name="T21" fmla="*/ 39 h 66"/>
                  <a:gd name="T22" fmla="*/ 3 w 72"/>
                  <a:gd name="T23" fmla="*/ 39 h 66"/>
                  <a:gd name="T24" fmla="*/ 1 w 72"/>
                  <a:gd name="T25" fmla="*/ 48 h 66"/>
                  <a:gd name="T26" fmla="*/ 3 w 72"/>
                  <a:gd name="T27" fmla="*/ 47 h 66"/>
                  <a:gd name="T28" fmla="*/ 4 w 72"/>
                  <a:gd name="T29" fmla="*/ 47 h 66"/>
                  <a:gd name="T30" fmla="*/ 6 w 72"/>
                  <a:gd name="T31" fmla="*/ 48 h 66"/>
                  <a:gd name="T32" fmla="*/ 7 w 72"/>
                  <a:gd name="T33" fmla="*/ 51 h 66"/>
                  <a:gd name="T34" fmla="*/ 7 w 72"/>
                  <a:gd name="T35" fmla="*/ 54 h 66"/>
                  <a:gd name="T36" fmla="*/ 9 w 72"/>
                  <a:gd name="T37" fmla="*/ 52 h 66"/>
                  <a:gd name="T38" fmla="*/ 18 w 72"/>
                  <a:gd name="T39" fmla="*/ 12 h 66"/>
                  <a:gd name="T40" fmla="*/ 18 w 72"/>
                  <a:gd name="T41" fmla="*/ 12 h 66"/>
                  <a:gd name="T42" fmla="*/ 18 w 72"/>
                  <a:gd name="T43" fmla="*/ 12 h 66"/>
                  <a:gd name="T44" fmla="*/ 29 w 72"/>
                  <a:gd name="T45" fmla="*/ 8 h 66"/>
                  <a:gd name="T46" fmla="*/ 50 w 72"/>
                  <a:gd name="T47" fmla="*/ 13 h 66"/>
                  <a:gd name="T48" fmla="*/ 60 w 72"/>
                  <a:gd name="T49" fmla="*/ 32 h 66"/>
                  <a:gd name="T50" fmla="*/ 60 w 72"/>
                  <a:gd name="T51" fmla="*/ 32 h 66"/>
                  <a:gd name="T52" fmla="*/ 59 w 72"/>
                  <a:gd name="T53" fmla="*/ 37 h 66"/>
                  <a:gd name="T54" fmla="*/ 58 w 72"/>
                  <a:gd name="T55" fmla="*/ 51 h 66"/>
                  <a:gd name="T56" fmla="*/ 59 w 72"/>
                  <a:gd name="T57" fmla="*/ 66 h 66"/>
                  <a:gd name="T58" fmla="*/ 60 w 72"/>
                  <a:gd name="T59" fmla="*/ 64 h 66"/>
                  <a:gd name="T60" fmla="*/ 61 w 72"/>
                  <a:gd name="T61" fmla="*/ 64 h 66"/>
                  <a:gd name="T62" fmla="*/ 66 w 72"/>
                  <a:gd name="T63" fmla="*/ 65 h 66"/>
                  <a:gd name="T64" fmla="*/ 65 w 72"/>
                  <a:gd name="T65" fmla="*/ 64 h 66"/>
                  <a:gd name="T66" fmla="*/ 65 w 72"/>
                  <a:gd name="T67" fmla="*/ 52 h 66"/>
                  <a:gd name="T68" fmla="*/ 65 w 72"/>
                  <a:gd name="T69" fmla="*/ 52 h 66"/>
                  <a:gd name="T70" fmla="*/ 66 w 72"/>
                  <a:gd name="T71" fmla="*/ 40 h 66"/>
                  <a:gd name="T72" fmla="*/ 69 w 72"/>
                  <a:gd name="T73" fmla="*/ 18 h 66"/>
                  <a:gd name="T74" fmla="*/ 41 w 72"/>
                  <a:gd name="T75" fmla="*/ 2 h 66"/>
                  <a:gd name="T76" fmla="*/ 27 w 72"/>
                  <a:gd name="T77" fmla="*/ 0 h 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72" h="66">
                    <a:moveTo>
                      <a:pt x="0" y="49"/>
                    </a:moveTo>
                    <a:cubicBezTo>
                      <a:pt x="0" y="50"/>
                      <a:pt x="0" y="51"/>
                      <a:pt x="1" y="52"/>
                    </a:cubicBezTo>
                    <a:cubicBezTo>
                      <a:pt x="1" y="52"/>
                      <a:pt x="1" y="52"/>
                      <a:pt x="1" y="52"/>
                    </a:cubicBezTo>
                    <a:cubicBezTo>
                      <a:pt x="1" y="52"/>
                      <a:pt x="1" y="52"/>
                      <a:pt x="1" y="52"/>
                    </a:cubicBezTo>
                    <a:cubicBezTo>
                      <a:pt x="1" y="51"/>
                      <a:pt x="0" y="50"/>
                      <a:pt x="0" y="49"/>
                    </a:cubicBezTo>
                    <a:moveTo>
                      <a:pt x="27" y="0"/>
                    </a:moveTo>
                    <a:cubicBezTo>
                      <a:pt x="22" y="0"/>
                      <a:pt x="17" y="1"/>
                      <a:pt x="13" y="5"/>
                    </a:cubicBezTo>
                    <a:cubicBezTo>
                      <a:pt x="9" y="9"/>
                      <a:pt x="8" y="16"/>
                      <a:pt x="7" y="22"/>
                    </a:cubicBezTo>
                    <a:cubicBezTo>
                      <a:pt x="7" y="22"/>
                      <a:pt x="7" y="22"/>
                      <a:pt x="7" y="22"/>
                    </a:cubicBezTo>
                    <a:cubicBezTo>
                      <a:pt x="7" y="22"/>
                      <a:pt x="7" y="22"/>
                      <a:pt x="6" y="22"/>
                    </a:cubicBezTo>
                    <a:cubicBezTo>
                      <a:pt x="5" y="28"/>
                      <a:pt x="4" y="34"/>
                      <a:pt x="3" y="39"/>
                    </a:cubicBezTo>
                    <a:cubicBezTo>
                      <a:pt x="3" y="39"/>
                      <a:pt x="3" y="39"/>
                      <a:pt x="3" y="39"/>
                    </a:cubicBezTo>
                    <a:cubicBezTo>
                      <a:pt x="2" y="42"/>
                      <a:pt x="2" y="45"/>
                      <a:pt x="1" y="48"/>
                    </a:cubicBezTo>
                    <a:cubicBezTo>
                      <a:pt x="1" y="48"/>
                      <a:pt x="2" y="47"/>
                      <a:pt x="3" y="47"/>
                    </a:cubicBezTo>
                    <a:cubicBezTo>
                      <a:pt x="3" y="47"/>
                      <a:pt x="3" y="47"/>
                      <a:pt x="4" y="47"/>
                    </a:cubicBezTo>
                    <a:cubicBezTo>
                      <a:pt x="5" y="48"/>
                      <a:pt x="5" y="48"/>
                      <a:pt x="6" y="48"/>
                    </a:cubicBezTo>
                    <a:cubicBezTo>
                      <a:pt x="7" y="49"/>
                      <a:pt x="7" y="50"/>
                      <a:pt x="7" y="51"/>
                    </a:cubicBezTo>
                    <a:cubicBezTo>
                      <a:pt x="7" y="52"/>
                      <a:pt x="7" y="53"/>
                      <a:pt x="7" y="54"/>
                    </a:cubicBezTo>
                    <a:cubicBezTo>
                      <a:pt x="7" y="54"/>
                      <a:pt x="8" y="53"/>
                      <a:pt x="9" y="52"/>
                    </a:cubicBezTo>
                    <a:cubicBezTo>
                      <a:pt x="14" y="41"/>
                      <a:pt x="11" y="23"/>
                      <a:pt x="18" y="12"/>
                    </a:cubicBezTo>
                    <a:cubicBezTo>
                      <a:pt x="18" y="12"/>
                      <a:pt x="18" y="12"/>
                      <a:pt x="18" y="12"/>
                    </a:cubicBezTo>
                    <a:cubicBezTo>
                      <a:pt x="18" y="12"/>
                      <a:pt x="18" y="12"/>
                      <a:pt x="18" y="12"/>
                    </a:cubicBezTo>
                    <a:cubicBezTo>
                      <a:pt x="20" y="9"/>
                      <a:pt x="24" y="8"/>
                      <a:pt x="29" y="8"/>
                    </a:cubicBezTo>
                    <a:cubicBezTo>
                      <a:pt x="36" y="8"/>
                      <a:pt x="45" y="11"/>
                      <a:pt x="50" y="13"/>
                    </a:cubicBezTo>
                    <a:cubicBezTo>
                      <a:pt x="61" y="17"/>
                      <a:pt x="62" y="22"/>
                      <a:pt x="60" y="32"/>
                    </a:cubicBezTo>
                    <a:cubicBezTo>
                      <a:pt x="60" y="32"/>
                      <a:pt x="60" y="32"/>
                      <a:pt x="60" y="32"/>
                    </a:cubicBezTo>
                    <a:cubicBezTo>
                      <a:pt x="59" y="34"/>
                      <a:pt x="59" y="35"/>
                      <a:pt x="59" y="37"/>
                    </a:cubicBezTo>
                    <a:cubicBezTo>
                      <a:pt x="58" y="42"/>
                      <a:pt x="58" y="47"/>
                      <a:pt x="58" y="51"/>
                    </a:cubicBezTo>
                    <a:cubicBezTo>
                      <a:pt x="57" y="56"/>
                      <a:pt x="56" y="62"/>
                      <a:pt x="59" y="66"/>
                    </a:cubicBezTo>
                    <a:cubicBezTo>
                      <a:pt x="59" y="65"/>
                      <a:pt x="59" y="64"/>
                      <a:pt x="60" y="64"/>
                    </a:cubicBezTo>
                    <a:cubicBezTo>
                      <a:pt x="61" y="64"/>
                      <a:pt x="61" y="64"/>
                      <a:pt x="61" y="64"/>
                    </a:cubicBezTo>
                    <a:cubicBezTo>
                      <a:pt x="63" y="65"/>
                      <a:pt x="65" y="65"/>
                      <a:pt x="66" y="65"/>
                    </a:cubicBezTo>
                    <a:cubicBezTo>
                      <a:pt x="66" y="65"/>
                      <a:pt x="66" y="64"/>
                      <a:pt x="65" y="64"/>
                    </a:cubicBezTo>
                    <a:cubicBezTo>
                      <a:pt x="65" y="64"/>
                      <a:pt x="65" y="52"/>
                      <a:pt x="65" y="52"/>
                    </a:cubicBezTo>
                    <a:cubicBezTo>
                      <a:pt x="65" y="52"/>
                      <a:pt x="65" y="52"/>
                      <a:pt x="65" y="52"/>
                    </a:cubicBezTo>
                    <a:cubicBezTo>
                      <a:pt x="65" y="48"/>
                      <a:pt x="66" y="44"/>
                      <a:pt x="66" y="40"/>
                    </a:cubicBezTo>
                    <a:cubicBezTo>
                      <a:pt x="67" y="33"/>
                      <a:pt x="72" y="25"/>
                      <a:pt x="69" y="18"/>
                    </a:cubicBezTo>
                    <a:cubicBezTo>
                      <a:pt x="65" y="7"/>
                      <a:pt x="50" y="4"/>
                      <a:pt x="41" y="2"/>
                    </a:cubicBezTo>
                    <a:cubicBezTo>
                      <a:pt x="36" y="1"/>
                      <a:pt x="32" y="0"/>
                      <a:pt x="27" y="0"/>
                    </a:cubicBezTo>
                  </a:path>
                </a:pathLst>
              </a:custGeom>
              <a:solidFill>
                <a:srgbClr val="544D4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356" name="Freeform 28">
                <a:extLst>
                  <a:ext uri="{FF2B5EF4-FFF2-40B4-BE49-F238E27FC236}">
                    <a16:creationId xmlns:a16="http://schemas.microsoft.com/office/drawing/2014/main" id="{293B6DF4-B8ED-4C21-B3BD-DDD0FBBDC35B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939" y="1888"/>
                <a:ext cx="72" cy="78"/>
              </a:xfrm>
              <a:custGeom>
                <a:avLst/>
                <a:gdLst>
                  <a:gd name="T0" fmla="*/ 19 w 68"/>
                  <a:gd name="T1" fmla="*/ 0 h 73"/>
                  <a:gd name="T2" fmla="*/ 15 w 68"/>
                  <a:gd name="T3" fmla="*/ 0 h 73"/>
                  <a:gd name="T4" fmla="*/ 4 w 68"/>
                  <a:gd name="T5" fmla="*/ 15 h 73"/>
                  <a:gd name="T6" fmla="*/ 4 w 68"/>
                  <a:gd name="T7" fmla="*/ 15 h 73"/>
                  <a:gd name="T8" fmla="*/ 3 w 68"/>
                  <a:gd name="T9" fmla="*/ 22 h 73"/>
                  <a:gd name="T10" fmla="*/ 10 w 68"/>
                  <a:gd name="T11" fmla="*/ 62 h 73"/>
                  <a:gd name="T12" fmla="*/ 33 w 68"/>
                  <a:gd name="T13" fmla="*/ 69 h 73"/>
                  <a:gd name="T14" fmla="*/ 60 w 68"/>
                  <a:gd name="T15" fmla="*/ 73 h 73"/>
                  <a:gd name="T16" fmla="*/ 60 w 68"/>
                  <a:gd name="T17" fmla="*/ 72 h 73"/>
                  <a:gd name="T18" fmla="*/ 64 w 68"/>
                  <a:gd name="T19" fmla="*/ 69 h 73"/>
                  <a:gd name="T20" fmla="*/ 67 w 68"/>
                  <a:gd name="T21" fmla="*/ 70 h 73"/>
                  <a:gd name="T22" fmla="*/ 64 w 68"/>
                  <a:gd name="T23" fmla="*/ 65 h 73"/>
                  <a:gd name="T24" fmla="*/ 63 w 68"/>
                  <a:gd name="T25" fmla="*/ 65 h 73"/>
                  <a:gd name="T26" fmla="*/ 61 w 68"/>
                  <a:gd name="T27" fmla="*/ 65 h 73"/>
                  <a:gd name="T28" fmla="*/ 36 w 68"/>
                  <a:gd name="T29" fmla="*/ 61 h 73"/>
                  <a:gd name="T30" fmla="*/ 12 w 68"/>
                  <a:gd name="T31" fmla="*/ 50 h 73"/>
                  <a:gd name="T32" fmla="*/ 11 w 68"/>
                  <a:gd name="T33" fmla="*/ 24 h 73"/>
                  <a:gd name="T34" fmla="*/ 12 w 68"/>
                  <a:gd name="T35" fmla="*/ 13 h 73"/>
                  <a:gd name="T36" fmla="*/ 12 w 68"/>
                  <a:gd name="T37" fmla="*/ 13 h 73"/>
                  <a:gd name="T38" fmla="*/ 20 w 68"/>
                  <a:gd name="T39" fmla="*/ 8 h 73"/>
                  <a:gd name="T40" fmla="*/ 24 w 68"/>
                  <a:gd name="T41" fmla="*/ 8 h 73"/>
                  <a:gd name="T42" fmla="*/ 54 w 68"/>
                  <a:gd name="T43" fmla="*/ 13 h 73"/>
                  <a:gd name="T44" fmla="*/ 54 w 68"/>
                  <a:gd name="T45" fmla="*/ 13 h 73"/>
                  <a:gd name="T46" fmla="*/ 57 w 68"/>
                  <a:gd name="T47" fmla="*/ 13 h 73"/>
                  <a:gd name="T48" fmla="*/ 57 w 68"/>
                  <a:gd name="T49" fmla="*/ 13 h 73"/>
                  <a:gd name="T50" fmla="*/ 66 w 68"/>
                  <a:gd name="T51" fmla="*/ 7 h 73"/>
                  <a:gd name="T52" fmla="*/ 66 w 68"/>
                  <a:gd name="T53" fmla="*/ 4 h 73"/>
                  <a:gd name="T54" fmla="*/ 65 w 68"/>
                  <a:gd name="T55" fmla="*/ 1 h 73"/>
                  <a:gd name="T56" fmla="*/ 63 w 68"/>
                  <a:gd name="T57" fmla="*/ 0 h 73"/>
                  <a:gd name="T58" fmla="*/ 62 w 68"/>
                  <a:gd name="T59" fmla="*/ 0 h 73"/>
                  <a:gd name="T60" fmla="*/ 60 w 68"/>
                  <a:gd name="T61" fmla="*/ 1 h 73"/>
                  <a:gd name="T62" fmla="*/ 59 w 68"/>
                  <a:gd name="T63" fmla="*/ 2 h 73"/>
                  <a:gd name="T64" fmla="*/ 60 w 68"/>
                  <a:gd name="T65" fmla="*/ 5 h 73"/>
                  <a:gd name="T66" fmla="*/ 60 w 68"/>
                  <a:gd name="T67" fmla="*/ 5 h 73"/>
                  <a:gd name="T68" fmla="*/ 60 w 68"/>
                  <a:gd name="T69" fmla="*/ 5 h 73"/>
                  <a:gd name="T70" fmla="*/ 57 w 68"/>
                  <a:gd name="T71" fmla="*/ 6 h 73"/>
                  <a:gd name="T72" fmla="*/ 56 w 68"/>
                  <a:gd name="T73" fmla="*/ 6 h 73"/>
                  <a:gd name="T74" fmla="*/ 44 w 68"/>
                  <a:gd name="T75" fmla="*/ 4 h 73"/>
                  <a:gd name="T76" fmla="*/ 37 w 68"/>
                  <a:gd name="T77" fmla="*/ 2 h 73"/>
                  <a:gd name="T78" fmla="*/ 19 w 68"/>
                  <a:gd name="T79" fmla="*/ 0 h 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</a:cxnLst>
                <a:rect l="0" t="0" r="r" b="b"/>
                <a:pathLst>
                  <a:path w="68" h="73">
                    <a:moveTo>
                      <a:pt x="19" y="0"/>
                    </a:moveTo>
                    <a:cubicBezTo>
                      <a:pt x="17" y="0"/>
                      <a:pt x="16" y="0"/>
                      <a:pt x="15" y="0"/>
                    </a:cubicBezTo>
                    <a:cubicBezTo>
                      <a:pt x="7" y="2"/>
                      <a:pt x="5" y="8"/>
                      <a:pt x="4" y="15"/>
                    </a:cubicBezTo>
                    <a:cubicBezTo>
                      <a:pt x="4" y="15"/>
                      <a:pt x="4" y="15"/>
                      <a:pt x="4" y="15"/>
                    </a:cubicBezTo>
                    <a:cubicBezTo>
                      <a:pt x="3" y="17"/>
                      <a:pt x="3" y="20"/>
                      <a:pt x="3" y="22"/>
                    </a:cubicBezTo>
                    <a:cubicBezTo>
                      <a:pt x="3" y="33"/>
                      <a:pt x="0" y="54"/>
                      <a:pt x="10" y="62"/>
                    </a:cubicBezTo>
                    <a:cubicBezTo>
                      <a:pt x="16" y="68"/>
                      <a:pt x="26" y="67"/>
                      <a:pt x="33" y="69"/>
                    </a:cubicBezTo>
                    <a:cubicBezTo>
                      <a:pt x="42" y="71"/>
                      <a:pt x="51" y="73"/>
                      <a:pt x="60" y="73"/>
                    </a:cubicBezTo>
                    <a:cubicBezTo>
                      <a:pt x="60" y="73"/>
                      <a:pt x="60" y="72"/>
                      <a:pt x="60" y="72"/>
                    </a:cubicBezTo>
                    <a:cubicBezTo>
                      <a:pt x="61" y="70"/>
                      <a:pt x="62" y="69"/>
                      <a:pt x="64" y="69"/>
                    </a:cubicBezTo>
                    <a:cubicBezTo>
                      <a:pt x="65" y="69"/>
                      <a:pt x="66" y="69"/>
                      <a:pt x="67" y="70"/>
                    </a:cubicBezTo>
                    <a:cubicBezTo>
                      <a:pt x="68" y="68"/>
                      <a:pt x="67" y="65"/>
                      <a:pt x="64" y="65"/>
                    </a:cubicBezTo>
                    <a:cubicBezTo>
                      <a:pt x="64" y="65"/>
                      <a:pt x="63" y="65"/>
                      <a:pt x="63" y="65"/>
                    </a:cubicBezTo>
                    <a:cubicBezTo>
                      <a:pt x="63" y="65"/>
                      <a:pt x="62" y="65"/>
                      <a:pt x="61" y="65"/>
                    </a:cubicBezTo>
                    <a:cubicBezTo>
                      <a:pt x="52" y="65"/>
                      <a:pt x="44" y="63"/>
                      <a:pt x="36" y="61"/>
                    </a:cubicBezTo>
                    <a:cubicBezTo>
                      <a:pt x="26" y="59"/>
                      <a:pt x="16" y="61"/>
                      <a:pt x="12" y="50"/>
                    </a:cubicBezTo>
                    <a:cubicBezTo>
                      <a:pt x="10" y="42"/>
                      <a:pt x="11" y="32"/>
                      <a:pt x="11" y="24"/>
                    </a:cubicBezTo>
                    <a:cubicBezTo>
                      <a:pt x="11" y="19"/>
                      <a:pt x="10" y="16"/>
                      <a:pt x="12" y="13"/>
                    </a:cubicBezTo>
                    <a:cubicBezTo>
                      <a:pt x="12" y="13"/>
                      <a:pt x="12" y="13"/>
                      <a:pt x="12" y="13"/>
                    </a:cubicBezTo>
                    <a:cubicBezTo>
                      <a:pt x="13" y="11"/>
                      <a:pt x="15" y="9"/>
                      <a:pt x="20" y="8"/>
                    </a:cubicBezTo>
                    <a:cubicBezTo>
                      <a:pt x="22" y="8"/>
                      <a:pt x="23" y="8"/>
                      <a:pt x="24" y="8"/>
                    </a:cubicBezTo>
                    <a:cubicBezTo>
                      <a:pt x="35" y="8"/>
                      <a:pt x="44" y="13"/>
                      <a:pt x="54" y="13"/>
                    </a:cubicBezTo>
                    <a:cubicBezTo>
                      <a:pt x="54" y="13"/>
                      <a:pt x="54" y="13"/>
                      <a:pt x="54" y="13"/>
                    </a:cubicBezTo>
                    <a:cubicBezTo>
                      <a:pt x="55" y="13"/>
                      <a:pt x="56" y="13"/>
                      <a:pt x="57" y="13"/>
                    </a:cubicBezTo>
                    <a:cubicBezTo>
                      <a:pt x="57" y="13"/>
                      <a:pt x="57" y="13"/>
                      <a:pt x="57" y="13"/>
                    </a:cubicBezTo>
                    <a:cubicBezTo>
                      <a:pt x="61" y="12"/>
                      <a:pt x="64" y="10"/>
                      <a:pt x="66" y="7"/>
                    </a:cubicBezTo>
                    <a:cubicBezTo>
                      <a:pt x="66" y="6"/>
                      <a:pt x="66" y="5"/>
                      <a:pt x="66" y="4"/>
                    </a:cubicBezTo>
                    <a:cubicBezTo>
                      <a:pt x="66" y="3"/>
                      <a:pt x="66" y="2"/>
                      <a:pt x="65" y="1"/>
                    </a:cubicBezTo>
                    <a:cubicBezTo>
                      <a:pt x="64" y="1"/>
                      <a:pt x="64" y="1"/>
                      <a:pt x="63" y="0"/>
                    </a:cubicBezTo>
                    <a:cubicBezTo>
                      <a:pt x="62" y="0"/>
                      <a:pt x="62" y="0"/>
                      <a:pt x="62" y="0"/>
                    </a:cubicBezTo>
                    <a:cubicBezTo>
                      <a:pt x="61" y="0"/>
                      <a:pt x="60" y="1"/>
                      <a:pt x="60" y="1"/>
                    </a:cubicBezTo>
                    <a:cubicBezTo>
                      <a:pt x="60" y="2"/>
                      <a:pt x="59" y="2"/>
                      <a:pt x="59" y="2"/>
                    </a:cubicBezTo>
                    <a:cubicBezTo>
                      <a:pt x="59" y="3"/>
                      <a:pt x="60" y="4"/>
                      <a:pt x="60" y="5"/>
                    </a:cubicBezTo>
                    <a:cubicBezTo>
                      <a:pt x="60" y="5"/>
                      <a:pt x="60" y="5"/>
                      <a:pt x="60" y="5"/>
                    </a:cubicBezTo>
                    <a:cubicBezTo>
                      <a:pt x="60" y="5"/>
                      <a:pt x="60" y="5"/>
                      <a:pt x="60" y="5"/>
                    </a:cubicBezTo>
                    <a:cubicBezTo>
                      <a:pt x="59" y="5"/>
                      <a:pt x="58" y="6"/>
                      <a:pt x="57" y="6"/>
                    </a:cubicBezTo>
                    <a:cubicBezTo>
                      <a:pt x="57" y="6"/>
                      <a:pt x="57" y="6"/>
                      <a:pt x="56" y="6"/>
                    </a:cubicBezTo>
                    <a:cubicBezTo>
                      <a:pt x="52" y="6"/>
                      <a:pt x="48" y="5"/>
                      <a:pt x="44" y="4"/>
                    </a:cubicBezTo>
                    <a:cubicBezTo>
                      <a:pt x="42" y="3"/>
                      <a:pt x="39" y="2"/>
                      <a:pt x="37" y="2"/>
                    </a:cubicBezTo>
                    <a:cubicBezTo>
                      <a:pt x="32" y="1"/>
                      <a:pt x="24" y="0"/>
                      <a:pt x="19" y="0"/>
                    </a:cubicBezTo>
                  </a:path>
                </a:pathLst>
              </a:custGeom>
              <a:solidFill>
                <a:srgbClr val="544D4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357" name="Freeform 29">
                <a:extLst>
                  <a:ext uri="{FF2B5EF4-FFF2-40B4-BE49-F238E27FC236}">
                    <a16:creationId xmlns:a16="http://schemas.microsoft.com/office/drawing/2014/main" id="{2B43DF7B-8952-46D2-A9DC-F598A5795FC8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7061" y="1906"/>
                <a:ext cx="71" cy="75"/>
              </a:xfrm>
              <a:custGeom>
                <a:avLst/>
                <a:gdLst>
                  <a:gd name="T0" fmla="*/ 4 w 67"/>
                  <a:gd name="T1" fmla="*/ 0 h 70"/>
                  <a:gd name="T2" fmla="*/ 3 w 67"/>
                  <a:gd name="T3" fmla="*/ 2 h 70"/>
                  <a:gd name="T4" fmla="*/ 3 w 67"/>
                  <a:gd name="T5" fmla="*/ 3 h 70"/>
                  <a:gd name="T6" fmla="*/ 58 w 67"/>
                  <a:gd name="T7" fmla="*/ 27 h 70"/>
                  <a:gd name="T8" fmla="*/ 58 w 67"/>
                  <a:gd name="T9" fmla="*/ 43 h 70"/>
                  <a:gd name="T10" fmla="*/ 55 w 67"/>
                  <a:gd name="T11" fmla="*/ 56 h 70"/>
                  <a:gd name="T12" fmla="*/ 45 w 67"/>
                  <a:gd name="T13" fmla="*/ 62 h 70"/>
                  <a:gd name="T14" fmla="*/ 43 w 67"/>
                  <a:gd name="T15" fmla="*/ 62 h 70"/>
                  <a:gd name="T16" fmla="*/ 29 w 67"/>
                  <a:gd name="T17" fmla="*/ 60 h 70"/>
                  <a:gd name="T18" fmla="*/ 17 w 67"/>
                  <a:gd name="T19" fmla="*/ 59 h 70"/>
                  <a:gd name="T20" fmla="*/ 5 w 67"/>
                  <a:gd name="T21" fmla="*/ 60 h 70"/>
                  <a:gd name="T22" fmla="*/ 3 w 67"/>
                  <a:gd name="T23" fmla="*/ 66 h 70"/>
                  <a:gd name="T24" fmla="*/ 5 w 67"/>
                  <a:gd name="T25" fmla="*/ 63 h 70"/>
                  <a:gd name="T26" fmla="*/ 7 w 67"/>
                  <a:gd name="T27" fmla="*/ 62 h 70"/>
                  <a:gd name="T28" fmla="*/ 8 w 67"/>
                  <a:gd name="T29" fmla="*/ 65 h 70"/>
                  <a:gd name="T30" fmla="*/ 7 w 67"/>
                  <a:gd name="T31" fmla="*/ 67 h 70"/>
                  <a:gd name="T32" fmla="*/ 35 w 67"/>
                  <a:gd name="T33" fmla="*/ 69 h 70"/>
                  <a:gd name="T34" fmla="*/ 44 w 67"/>
                  <a:gd name="T35" fmla="*/ 70 h 70"/>
                  <a:gd name="T36" fmla="*/ 52 w 67"/>
                  <a:gd name="T37" fmla="*/ 69 h 70"/>
                  <a:gd name="T38" fmla="*/ 54 w 67"/>
                  <a:gd name="T39" fmla="*/ 69 h 70"/>
                  <a:gd name="T40" fmla="*/ 66 w 67"/>
                  <a:gd name="T41" fmla="*/ 38 h 70"/>
                  <a:gd name="T42" fmla="*/ 54 w 67"/>
                  <a:gd name="T43" fmla="*/ 8 h 70"/>
                  <a:gd name="T44" fmla="*/ 31 w 67"/>
                  <a:gd name="T45" fmla="*/ 4 h 70"/>
                  <a:gd name="T46" fmla="*/ 16 w 67"/>
                  <a:gd name="T47" fmla="*/ 1 h 70"/>
                  <a:gd name="T48" fmla="*/ 14 w 67"/>
                  <a:gd name="T49" fmla="*/ 1 h 70"/>
                  <a:gd name="T50" fmla="*/ 12 w 67"/>
                  <a:gd name="T51" fmla="*/ 1 h 70"/>
                  <a:gd name="T52" fmla="*/ 10 w 67"/>
                  <a:gd name="T53" fmla="*/ 1 h 70"/>
                  <a:gd name="T54" fmla="*/ 10 w 67"/>
                  <a:gd name="T55" fmla="*/ 1 h 70"/>
                  <a:gd name="T56" fmla="*/ 5 w 67"/>
                  <a:gd name="T57" fmla="*/ 0 h 70"/>
                  <a:gd name="T58" fmla="*/ 4 w 67"/>
                  <a:gd name="T59" fmla="*/ 0 h 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67" h="70">
                    <a:moveTo>
                      <a:pt x="4" y="0"/>
                    </a:moveTo>
                    <a:cubicBezTo>
                      <a:pt x="3" y="0"/>
                      <a:pt x="3" y="1"/>
                      <a:pt x="3" y="2"/>
                    </a:cubicBezTo>
                    <a:cubicBezTo>
                      <a:pt x="3" y="2"/>
                      <a:pt x="3" y="2"/>
                      <a:pt x="3" y="3"/>
                    </a:cubicBezTo>
                    <a:cubicBezTo>
                      <a:pt x="16" y="18"/>
                      <a:pt x="55" y="3"/>
                      <a:pt x="58" y="27"/>
                    </a:cubicBezTo>
                    <a:cubicBezTo>
                      <a:pt x="59" y="33"/>
                      <a:pt x="58" y="38"/>
                      <a:pt x="58" y="43"/>
                    </a:cubicBezTo>
                    <a:cubicBezTo>
                      <a:pt x="57" y="48"/>
                      <a:pt x="57" y="53"/>
                      <a:pt x="55" y="56"/>
                    </a:cubicBezTo>
                    <a:cubicBezTo>
                      <a:pt x="53" y="59"/>
                      <a:pt x="50" y="61"/>
                      <a:pt x="45" y="62"/>
                    </a:cubicBezTo>
                    <a:cubicBezTo>
                      <a:pt x="44" y="62"/>
                      <a:pt x="44" y="62"/>
                      <a:pt x="43" y="62"/>
                    </a:cubicBezTo>
                    <a:cubicBezTo>
                      <a:pt x="38" y="62"/>
                      <a:pt x="34" y="60"/>
                      <a:pt x="29" y="60"/>
                    </a:cubicBezTo>
                    <a:cubicBezTo>
                      <a:pt x="25" y="59"/>
                      <a:pt x="21" y="59"/>
                      <a:pt x="17" y="59"/>
                    </a:cubicBezTo>
                    <a:cubicBezTo>
                      <a:pt x="13" y="59"/>
                      <a:pt x="8" y="59"/>
                      <a:pt x="5" y="60"/>
                    </a:cubicBezTo>
                    <a:cubicBezTo>
                      <a:pt x="1" y="60"/>
                      <a:pt x="0" y="65"/>
                      <a:pt x="3" y="66"/>
                    </a:cubicBezTo>
                    <a:cubicBezTo>
                      <a:pt x="4" y="65"/>
                      <a:pt x="4" y="64"/>
                      <a:pt x="5" y="63"/>
                    </a:cubicBezTo>
                    <a:cubicBezTo>
                      <a:pt x="5" y="62"/>
                      <a:pt x="6" y="62"/>
                      <a:pt x="7" y="62"/>
                    </a:cubicBezTo>
                    <a:cubicBezTo>
                      <a:pt x="8" y="62"/>
                      <a:pt x="9" y="63"/>
                      <a:pt x="8" y="65"/>
                    </a:cubicBezTo>
                    <a:cubicBezTo>
                      <a:pt x="8" y="66"/>
                      <a:pt x="8" y="66"/>
                      <a:pt x="7" y="67"/>
                    </a:cubicBezTo>
                    <a:cubicBezTo>
                      <a:pt x="17" y="68"/>
                      <a:pt x="26" y="68"/>
                      <a:pt x="35" y="69"/>
                    </a:cubicBezTo>
                    <a:cubicBezTo>
                      <a:pt x="38" y="70"/>
                      <a:pt x="41" y="70"/>
                      <a:pt x="44" y="70"/>
                    </a:cubicBezTo>
                    <a:cubicBezTo>
                      <a:pt x="47" y="70"/>
                      <a:pt x="49" y="70"/>
                      <a:pt x="52" y="69"/>
                    </a:cubicBezTo>
                    <a:cubicBezTo>
                      <a:pt x="53" y="69"/>
                      <a:pt x="53" y="69"/>
                      <a:pt x="54" y="69"/>
                    </a:cubicBezTo>
                    <a:cubicBezTo>
                      <a:pt x="66" y="64"/>
                      <a:pt x="65" y="49"/>
                      <a:pt x="66" y="38"/>
                    </a:cubicBezTo>
                    <a:cubicBezTo>
                      <a:pt x="67" y="26"/>
                      <a:pt x="66" y="13"/>
                      <a:pt x="54" y="8"/>
                    </a:cubicBezTo>
                    <a:cubicBezTo>
                      <a:pt x="46" y="6"/>
                      <a:pt x="39" y="5"/>
                      <a:pt x="31" y="4"/>
                    </a:cubicBezTo>
                    <a:cubicBezTo>
                      <a:pt x="26" y="3"/>
                      <a:pt x="21" y="1"/>
                      <a:pt x="16" y="1"/>
                    </a:cubicBezTo>
                    <a:cubicBezTo>
                      <a:pt x="15" y="1"/>
                      <a:pt x="14" y="1"/>
                      <a:pt x="14" y="1"/>
                    </a:cubicBezTo>
                    <a:cubicBezTo>
                      <a:pt x="13" y="1"/>
                      <a:pt x="12" y="1"/>
                      <a:pt x="12" y="1"/>
                    </a:cubicBezTo>
                    <a:cubicBezTo>
                      <a:pt x="11" y="1"/>
                      <a:pt x="11" y="1"/>
                      <a:pt x="10" y="1"/>
                    </a:cubicBezTo>
                    <a:cubicBezTo>
                      <a:pt x="10" y="1"/>
                      <a:pt x="10" y="1"/>
                      <a:pt x="10" y="1"/>
                    </a:cubicBezTo>
                    <a:cubicBezTo>
                      <a:pt x="9" y="1"/>
                      <a:pt x="7" y="1"/>
                      <a:pt x="5" y="0"/>
                    </a:cubicBezTo>
                    <a:cubicBezTo>
                      <a:pt x="5" y="0"/>
                      <a:pt x="5" y="0"/>
                      <a:pt x="4" y="0"/>
                    </a:cubicBezTo>
                  </a:path>
                </a:pathLst>
              </a:custGeom>
              <a:solidFill>
                <a:srgbClr val="544D4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358" name="Freeform 30">
                <a:extLst>
                  <a:ext uri="{FF2B5EF4-FFF2-40B4-BE49-F238E27FC236}">
                    <a16:creationId xmlns:a16="http://schemas.microsoft.com/office/drawing/2014/main" id="{8E29F62A-F11D-4834-B64B-C25FB287810B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994" y="1962"/>
                <a:ext cx="77" cy="69"/>
              </a:xfrm>
              <a:custGeom>
                <a:avLst/>
                <a:gdLst>
                  <a:gd name="T0" fmla="*/ 12 w 72"/>
                  <a:gd name="T1" fmla="*/ 0 h 66"/>
                  <a:gd name="T2" fmla="*/ 8 w 72"/>
                  <a:gd name="T3" fmla="*/ 3 h 66"/>
                  <a:gd name="T4" fmla="*/ 8 w 72"/>
                  <a:gd name="T5" fmla="*/ 4 h 66"/>
                  <a:gd name="T6" fmla="*/ 6 w 72"/>
                  <a:gd name="T7" fmla="*/ 15 h 66"/>
                  <a:gd name="T8" fmla="*/ 6 w 72"/>
                  <a:gd name="T9" fmla="*/ 15 h 66"/>
                  <a:gd name="T10" fmla="*/ 2 w 72"/>
                  <a:gd name="T11" fmla="*/ 31 h 66"/>
                  <a:gd name="T12" fmla="*/ 1 w 72"/>
                  <a:gd name="T13" fmla="*/ 39 h 66"/>
                  <a:gd name="T14" fmla="*/ 1 w 72"/>
                  <a:gd name="T15" fmla="*/ 39 h 66"/>
                  <a:gd name="T16" fmla="*/ 2 w 72"/>
                  <a:gd name="T17" fmla="*/ 48 h 66"/>
                  <a:gd name="T18" fmla="*/ 10 w 72"/>
                  <a:gd name="T19" fmla="*/ 56 h 66"/>
                  <a:gd name="T20" fmla="*/ 36 w 72"/>
                  <a:gd name="T21" fmla="*/ 65 h 66"/>
                  <a:gd name="T22" fmla="*/ 48 w 72"/>
                  <a:gd name="T23" fmla="*/ 66 h 66"/>
                  <a:gd name="T24" fmla="*/ 56 w 72"/>
                  <a:gd name="T25" fmla="*/ 65 h 66"/>
                  <a:gd name="T26" fmla="*/ 67 w 72"/>
                  <a:gd name="T27" fmla="*/ 56 h 66"/>
                  <a:gd name="T28" fmla="*/ 69 w 72"/>
                  <a:gd name="T29" fmla="*/ 20 h 66"/>
                  <a:gd name="T30" fmla="*/ 70 w 72"/>
                  <a:gd name="T31" fmla="*/ 15 h 66"/>
                  <a:gd name="T32" fmla="*/ 71 w 72"/>
                  <a:gd name="T33" fmla="*/ 13 h 66"/>
                  <a:gd name="T34" fmla="*/ 70 w 72"/>
                  <a:gd name="T35" fmla="*/ 10 h 66"/>
                  <a:gd name="T36" fmla="*/ 68 w 72"/>
                  <a:gd name="T37" fmla="*/ 11 h 66"/>
                  <a:gd name="T38" fmla="*/ 66 w 72"/>
                  <a:gd name="T39" fmla="*/ 14 h 66"/>
                  <a:gd name="T40" fmla="*/ 64 w 72"/>
                  <a:gd name="T41" fmla="*/ 20 h 66"/>
                  <a:gd name="T42" fmla="*/ 63 w 72"/>
                  <a:gd name="T43" fmla="*/ 35 h 66"/>
                  <a:gd name="T44" fmla="*/ 59 w 72"/>
                  <a:gd name="T45" fmla="*/ 54 h 66"/>
                  <a:gd name="T46" fmla="*/ 59 w 72"/>
                  <a:gd name="T47" fmla="*/ 54 h 66"/>
                  <a:gd name="T48" fmla="*/ 52 w 72"/>
                  <a:gd name="T49" fmla="*/ 58 h 66"/>
                  <a:gd name="T50" fmla="*/ 45 w 72"/>
                  <a:gd name="T51" fmla="*/ 57 h 66"/>
                  <a:gd name="T52" fmla="*/ 24 w 72"/>
                  <a:gd name="T53" fmla="*/ 51 h 66"/>
                  <a:gd name="T54" fmla="*/ 10 w 72"/>
                  <a:gd name="T55" fmla="*/ 38 h 66"/>
                  <a:gd name="T56" fmla="*/ 16 w 72"/>
                  <a:gd name="T57" fmla="*/ 4 h 66"/>
                  <a:gd name="T58" fmla="*/ 15 w 72"/>
                  <a:gd name="T59" fmla="*/ 1 h 66"/>
                  <a:gd name="T60" fmla="*/ 12 w 72"/>
                  <a:gd name="T61" fmla="*/ 0 h 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72" h="66">
                    <a:moveTo>
                      <a:pt x="12" y="0"/>
                    </a:moveTo>
                    <a:cubicBezTo>
                      <a:pt x="10" y="0"/>
                      <a:pt x="9" y="1"/>
                      <a:pt x="8" y="3"/>
                    </a:cubicBezTo>
                    <a:cubicBezTo>
                      <a:pt x="8" y="3"/>
                      <a:pt x="8" y="4"/>
                      <a:pt x="8" y="4"/>
                    </a:cubicBezTo>
                    <a:cubicBezTo>
                      <a:pt x="7" y="8"/>
                      <a:pt x="6" y="11"/>
                      <a:pt x="6" y="15"/>
                    </a:cubicBezTo>
                    <a:cubicBezTo>
                      <a:pt x="6" y="15"/>
                      <a:pt x="6" y="15"/>
                      <a:pt x="6" y="15"/>
                    </a:cubicBezTo>
                    <a:cubicBezTo>
                      <a:pt x="4" y="20"/>
                      <a:pt x="3" y="26"/>
                      <a:pt x="2" y="31"/>
                    </a:cubicBezTo>
                    <a:cubicBezTo>
                      <a:pt x="1" y="34"/>
                      <a:pt x="1" y="36"/>
                      <a:pt x="1" y="39"/>
                    </a:cubicBezTo>
                    <a:cubicBezTo>
                      <a:pt x="1" y="39"/>
                      <a:pt x="1" y="39"/>
                      <a:pt x="1" y="39"/>
                    </a:cubicBezTo>
                    <a:cubicBezTo>
                      <a:pt x="0" y="42"/>
                      <a:pt x="1" y="45"/>
                      <a:pt x="2" y="48"/>
                    </a:cubicBezTo>
                    <a:cubicBezTo>
                      <a:pt x="4" y="52"/>
                      <a:pt x="6" y="55"/>
                      <a:pt x="10" y="56"/>
                    </a:cubicBezTo>
                    <a:cubicBezTo>
                      <a:pt x="18" y="60"/>
                      <a:pt x="28" y="64"/>
                      <a:pt x="36" y="65"/>
                    </a:cubicBezTo>
                    <a:cubicBezTo>
                      <a:pt x="40" y="66"/>
                      <a:pt x="44" y="66"/>
                      <a:pt x="48" y="66"/>
                    </a:cubicBezTo>
                    <a:cubicBezTo>
                      <a:pt x="51" y="66"/>
                      <a:pt x="54" y="66"/>
                      <a:pt x="56" y="65"/>
                    </a:cubicBezTo>
                    <a:cubicBezTo>
                      <a:pt x="61" y="64"/>
                      <a:pt x="64" y="61"/>
                      <a:pt x="67" y="56"/>
                    </a:cubicBezTo>
                    <a:cubicBezTo>
                      <a:pt x="72" y="44"/>
                      <a:pt x="67" y="32"/>
                      <a:pt x="69" y="20"/>
                    </a:cubicBezTo>
                    <a:cubicBezTo>
                      <a:pt x="70" y="18"/>
                      <a:pt x="70" y="17"/>
                      <a:pt x="70" y="15"/>
                    </a:cubicBezTo>
                    <a:cubicBezTo>
                      <a:pt x="71" y="14"/>
                      <a:pt x="71" y="14"/>
                      <a:pt x="71" y="13"/>
                    </a:cubicBezTo>
                    <a:cubicBezTo>
                      <a:pt x="72" y="11"/>
                      <a:pt x="71" y="10"/>
                      <a:pt x="70" y="10"/>
                    </a:cubicBezTo>
                    <a:cubicBezTo>
                      <a:pt x="69" y="10"/>
                      <a:pt x="68" y="10"/>
                      <a:pt x="68" y="11"/>
                    </a:cubicBezTo>
                    <a:cubicBezTo>
                      <a:pt x="67" y="12"/>
                      <a:pt x="67" y="13"/>
                      <a:pt x="66" y="14"/>
                    </a:cubicBezTo>
                    <a:cubicBezTo>
                      <a:pt x="65" y="16"/>
                      <a:pt x="65" y="18"/>
                      <a:pt x="64" y="20"/>
                    </a:cubicBezTo>
                    <a:cubicBezTo>
                      <a:pt x="63" y="25"/>
                      <a:pt x="63" y="30"/>
                      <a:pt x="63" y="35"/>
                    </a:cubicBezTo>
                    <a:cubicBezTo>
                      <a:pt x="63" y="42"/>
                      <a:pt x="64" y="49"/>
                      <a:pt x="59" y="54"/>
                    </a:cubicBezTo>
                    <a:cubicBezTo>
                      <a:pt x="59" y="54"/>
                      <a:pt x="59" y="54"/>
                      <a:pt x="59" y="54"/>
                    </a:cubicBezTo>
                    <a:cubicBezTo>
                      <a:pt x="56" y="57"/>
                      <a:pt x="54" y="58"/>
                      <a:pt x="52" y="58"/>
                    </a:cubicBezTo>
                    <a:cubicBezTo>
                      <a:pt x="50" y="58"/>
                      <a:pt x="48" y="57"/>
                      <a:pt x="45" y="57"/>
                    </a:cubicBezTo>
                    <a:cubicBezTo>
                      <a:pt x="37" y="56"/>
                      <a:pt x="31" y="53"/>
                      <a:pt x="24" y="51"/>
                    </a:cubicBezTo>
                    <a:cubicBezTo>
                      <a:pt x="17" y="48"/>
                      <a:pt x="11" y="47"/>
                      <a:pt x="10" y="38"/>
                    </a:cubicBezTo>
                    <a:cubicBezTo>
                      <a:pt x="10" y="27"/>
                      <a:pt x="17" y="16"/>
                      <a:pt x="16" y="4"/>
                    </a:cubicBezTo>
                    <a:cubicBezTo>
                      <a:pt x="16" y="3"/>
                      <a:pt x="16" y="2"/>
                      <a:pt x="15" y="1"/>
                    </a:cubicBezTo>
                    <a:cubicBezTo>
                      <a:pt x="14" y="0"/>
                      <a:pt x="13" y="0"/>
                      <a:pt x="12" y="0"/>
                    </a:cubicBezTo>
                  </a:path>
                </a:pathLst>
              </a:custGeom>
              <a:solidFill>
                <a:srgbClr val="544D4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359" name="Freeform 31">
                <a:extLst>
                  <a:ext uri="{FF2B5EF4-FFF2-40B4-BE49-F238E27FC236}">
                    <a16:creationId xmlns:a16="http://schemas.microsoft.com/office/drawing/2014/main" id="{22F6F8D5-78E1-488D-9552-91212BBCAA44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7033" y="1918"/>
                <a:ext cx="30" cy="34"/>
              </a:xfrm>
              <a:custGeom>
                <a:avLst/>
                <a:gdLst>
                  <a:gd name="T0" fmla="*/ 11 w 29"/>
                  <a:gd name="T1" fmla="*/ 0 h 32"/>
                  <a:gd name="T2" fmla="*/ 10 w 29"/>
                  <a:gd name="T3" fmla="*/ 4 h 32"/>
                  <a:gd name="T4" fmla="*/ 15 w 29"/>
                  <a:gd name="T5" fmla="*/ 18 h 32"/>
                  <a:gd name="T6" fmla="*/ 7 w 29"/>
                  <a:gd name="T7" fmla="*/ 25 h 32"/>
                  <a:gd name="T8" fmla="*/ 3 w 29"/>
                  <a:gd name="T9" fmla="*/ 25 h 32"/>
                  <a:gd name="T10" fmla="*/ 2 w 29"/>
                  <a:gd name="T11" fmla="*/ 25 h 32"/>
                  <a:gd name="T12" fmla="*/ 1 w 29"/>
                  <a:gd name="T13" fmla="*/ 28 h 32"/>
                  <a:gd name="T14" fmla="*/ 8 w 29"/>
                  <a:gd name="T15" fmla="*/ 32 h 32"/>
                  <a:gd name="T16" fmla="*/ 11 w 29"/>
                  <a:gd name="T17" fmla="*/ 0 h 32"/>
                  <a:gd name="T18" fmla="*/ 11 w 29"/>
                  <a:gd name="T19" fmla="*/ 0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9" h="32">
                    <a:moveTo>
                      <a:pt x="11" y="0"/>
                    </a:moveTo>
                    <a:cubicBezTo>
                      <a:pt x="9" y="0"/>
                      <a:pt x="8" y="3"/>
                      <a:pt x="10" y="4"/>
                    </a:cubicBezTo>
                    <a:cubicBezTo>
                      <a:pt x="16" y="6"/>
                      <a:pt x="16" y="13"/>
                      <a:pt x="15" y="18"/>
                    </a:cubicBezTo>
                    <a:cubicBezTo>
                      <a:pt x="13" y="23"/>
                      <a:pt x="11" y="25"/>
                      <a:pt x="7" y="25"/>
                    </a:cubicBezTo>
                    <a:cubicBezTo>
                      <a:pt x="5" y="25"/>
                      <a:pt x="4" y="25"/>
                      <a:pt x="3" y="25"/>
                    </a:cubicBezTo>
                    <a:cubicBezTo>
                      <a:pt x="2" y="25"/>
                      <a:pt x="2" y="25"/>
                      <a:pt x="2" y="25"/>
                    </a:cubicBezTo>
                    <a:cubicBezTo>
                      <a:pt x="0" y="25"/>
                      <a:pt x="0" y="27"/>
                      <a:pt x="1" y="28"/>
                    </a:cubicBezTo>
                    <a:cubicBezTo>
                      <a:pt x="3" y="31"/>
                      <a:pt x="6" y="32"/>
                      <a:pt x="8" y="32"/>
                    </a:cubicBezTo>
                    <a:cubicBezTo>
                      <a:pt x="20" y="32"/>
                      <a:pt x="29" y="2"/>
                      <a:pt x="11" y="0"/>
                    </a:cubicBezTo>
                    <a:cubicBezTo>
                      <a:pt x="11" y="0"/>
                      <a:pt x="11" y="0"/>
                      <a:pt x="11" y="0"/>
                    </a:cubicBezTo>
                  </a:path>
                </a:pathLst>
              </a:custGeom>
              <a:solidFill>
                <a:srgbClr val="544D4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360" name="Freeform 32">
                <a:extLst>
                  <a:ext uri="{FF2B5EF4-FFF2-40B4-BE49-F238E27FC236}">
                    <a16:creationId xmlns:a16="http://schemas.microsoft.com/office/drawing/2014/main" id="{2249F774-EE6C-42FA-8B05-DDAB068E5632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7038" y="1810"/>
                <a:ext cx="117" cy="229"/>
              </a:xfrm>
              <a:custGeom>
                <a:avLst/>
                <a:gdLst>
                  <a:gd name="T0" fmla="*/ 16 w 111"/>
                  <a:gd name="T1" fmla="*/ 0 h 216"/>
                  <a:gd name="T2" fmla="*/ 2 w 111"/>
                  <a:gd name="T3" fmla="*/ 2 h 216"/>
                  <a:gd name="T4" fmla="*/ 3 w 111"/>
                  <a:gd name="T5" fmla="*/ 4 h 216"/>
                  <a:gd name="T6" fmla="*/ 3 w 111"/>
                  <a:gd name="T7" fmla="*/ 4 h 216"/>
                  <a:gd name="T8" fmla="*/ 3 w 111"/>
                  <a:gd name="T9" fmla="*/ 4 h 216"/>
                  <a:gd name="T10" fmla="*/ 94 w 111"/>
                  <a:gd name="T11" fmla="*/ 75 h 216"/>
                  <a:gd name="T12" fmla="*/ 103 w 111"/>
                  <a:gd name="T13" fmla="*/ 142 h 216"/>
                  <a:gd name="T14" fmla="*/ 68 w 111"/>
                  <a:gd name="T15" fmla="*/ 215 h 216"/>
                  <a:gd name="T16" fmla="*/ 68 w 111"/>
                  <a:gd name="T17" fmla="*/ 216 h 216"/>
                  <a:gd name="T18" fmla="*/ 108 w 111"/>
                  <a:gd name="T19" fmla="*/ 143 h 216"/>
                  <a:gd name="T20" fmla="*/ 103 w 111"/>
                  <a:gd name="T21" fmla="*/ 77 h 216"/>
                  <a:gd name="T22" fmla="*/ 16 w 111"/>
                  <a:gd name="T23" fmla="*/ 0 h 2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11" h="216">
                    <a:moveTo>
                      <a:pt x="16" y="0"/>
                    </a:moveTo>
                    <a:cubicBezTo>
                      <a:pt x="11" y="0"/>
                      <a:pt x="7" y="0"/>
                      <a:pt x="2" y="2"/>
                    </a:cubicBezTo>
                    <a:cubicBezTo>
                      <a:pt x="0" y="2"/>
                      <a:pt x="1" y="4"/>
                      <a:pt x="3" y="4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44" y="4"/>
                      <a:pt x="78" y="39"/>
                      <a:pt x="94" y="75"/>
                    </a:cubicBezTo>
                    <a:cubicBezTo>
                      <a:pt x="104" y="96"/>
                      <a:pt x="104" y="119"/>
                      <a:pt x="103" y="142"/>
                    </a:cubicBezTo>
                    <a:cubicBezTo>
                      <a:pt x="101" y="175"/>
                      <a:pt x="93" y="196"/>
                      <a:pt x="68" y="215"/>
                    </a:cubicBezTo>
                    <a:cubicBezTo>
                      <a:pt x="68" y="216"/>
                      <a:pt x="68" y="216"/>
                      <a:pt x="68" y="216"/>
                    </a:cubicBezTo>
                    <a:cubicBezTo>
                      <a:pt x="94" y="197"/>
                      <a:pt x="105" y="175"/>
                      <a:pt x="108" y="143"/>
                    </a:cubicBezTo>
                    <a:cubicBezTo>
                      <a:pt x="109" y="121"/>
                      <a:pt x="111" y="98"/>
                      <a:pt x="103" y="77"/>
                    </a:cubicBezTo>
                    <a:cubicBezTo>
                      <a:pt x="91" y="47"/>
                      <a:pt x="54" y="0"/>
                      <a:pt x="16" y="0"/>
                    </a:cubicBezTo>
                  </a:path>
                </a:pathLst>
              </a:custGeom>
              <a:solidFill>
                <a:srgbClr val="544D4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361" name="Freeform 33">
                <a:extLst>
                  <a:ext uri="{FF2B5EF4-FFF2-40B4-BE49-F238E27FC236}">
                    <a16:creationId xmlns:a16="http://schemas.microsoft.com/office/drawing/2014/main" id="{83169228-D02E-406E-A563-1FBF2019CF77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7035" y="2056"/>
                <a:ext cx="22" cy="20"/>
              </a:xfrm>
              <a:custGeom>
                <a:avLst/>
                <a:gdLst>
                  <a:gd name="T0" fmla="*/ 18 w 21"/>
                  <a:gd name="T1" fmla="*/ 0 h 19"/>
                  <a:gd name="T2" fmla="*/ 16 w 21"/>
                  <a:gd name="T3" fmla="*/ 1 h 19"/>
                  <a:gd name="T4" fmla="*/ 1 w 21"/>
                  <a:gd name="T5" fmla="*/ 16 h 19"/>
                  <a:gd name="T6" fmla="*/ 2 w 21"/>
                  <a:gd name="T7" fmla="*/ 19 h 19"/>
                  <a:gd name="T8" fmla="*/ 3 w 21"/>
                  <a:gd name="T9" fmla="*/ 19 h 19"/>
                  <a:gd name="T10" fmla="*/ 20 w 21"/>
                  <a:gd name="T11" fmla="*/ 3 h 19"/>
                  <a:gd name="T12" fmla="*/ 18 w 21"/>
                  <a:gd name="T13" fmla="*/ 0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1" h="19">
                    <a:moveTo>
                      <a:pt x="18" y="0"/>
                    </a:moveTo>
                    <a:cubicBezTo>
                      <a:pt x="17" y="0"/>
                      <a:pt x="17" y="0"/>
                      <a:pt x="16" y="1"/>
                    </a:cubicBezTo>
                    <a:cubicBezTo>
                      <a:pt x="12" y="7"/>
                      <a:pt x="7" y="11"/>
                      <a:pt x="1" y="16"/>
                    </a:cubicBezTo>
                    <a:cubicBezTo>
                      <a:pt x="0" y="17"/>
                      <a:pt x="1" y="19"/>
                      <a:pt x="2" y="19"/>
                    </a:cubicBezTo>
                    <a:cubicBezTo>
                      <a:pt x="2" y="19"/>
                      <a:pt x="3" y="19"/>
                      <a:pt x="3" y="19"/>
                    </a:cubicBezTo>
                    <a:cubicBezTo>
                      <a:pt x="10" y="16"/>
                      <a:pt x="16" y="10"/>
                      <a:pt x="20" y="3"/>
                    </a:cubicBezTo>
                    <a:cubicBezTo>
                      <a:pt x="21" y="1"/>
                      <a:pt x="19" y="0"/>
                      <a:pt x="18" y="0"/>
                    </a:cubicBezTo>
                  </a:path>
                </a:pathLst>
              </a:custGeom>
              <a:solidFill>
                <a:srgbClr val="544D4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362" name="Freeform 34">
                <a:extLst>
                  <a:ext uri="{FF2B5EF4-FFF2-40B4-BE49-F238E27FC236}">
                    <a16:creationId xmlns:a16="http://schemas.microsoft.com/office/drawing/2014/main" id="{7107362A-5D01-42CC-836E-665D0183E743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7013" y="2062"/>
                <a:ext cx="13" cy="7"/>
              </a:xfrm>
              <a:custGeom>
                <a:avLst/>
                <a:gdLst>
                  <a:gd name="T0" fmla="*/ 9 w 12"/>
                  <a:gd name="T1" fmla="*/ 0 h 7"/>
                  <a:gd name="T2" fmla="*/ 8 w 12"/>
                  <a:gd name="T3" fmla="*/ 0 h 7"/>
                  <a:gd name="T4" fmla="*/ 1 w 12"/>
                  <a:gd name="T5" fmla="*/ 4 h 7"/>
                  <a:gd name="T6" fmla="*/ 3 w 12"/>
                  <a:gd name="T7" fmla="*/ 7 h 7"/>
                  <a:gd name="T8" fmla="*/ 3 w 12"/>
                  <a:gd name="T9" fmla="*/ 7 h 7"/>
                  <a:gd name="T10" fmla="*/ 10 w 12"/>
                  <a:gd name="T11" fmla="*/ 3 h 7"/>
                  <a:gd name="T12" fmla="*/ 9 w 12"/>
                  <a:gd name="T13" fmla="*/ 0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2" h="7">
                    <a:moveTo>
                      <a:pt x="9" y="0"/>
                    </a:moveTo>
                    <a:cubicBezTo>
                      <a:pt x="9" y="0"/>
                      <a:pt x="9" y="0"/>
                      <a:pt x="8" y="0"/>
                    </a:cubicBezTo>
                    <a:cubicBezTo>
                      <a:pt x="6" y="1"/>
                      <a:pt x="4" y="3"/>
                      <a:pt x="1" y="4"/>
                    </a:cubicBezTo>
                    <a:cubicBezTo>
                      <a:pt x="0" y="5"/>
                      <a:pt x="1" y="7"/>
                      <a:pt x="3" y="7"/>
                    </a:cubicBezTo>
                    <a:cubicBezTo>
                      <a:pt x="3" y="7"/>
                      <a:pt x="3" y="7"/>
                      <a:pt x="3" y="7"/>
                    </a:cubicBezTo>
                    <a:cubicBezTo>
                      <a:pt x="6" y="6"/>
                      <a:pt x="8" y="5"/>
                      <a:pt x="10" y="3"/>
                    </a:cubicBezTo>
                    <a:cubicBezTo>
                      <a:pt x="12" y="2"/>
                      <a:pt x="11" y="0"/>
                      <a:pt x="9" y="0"/>
                    </a:cubicBezTo>
                  </a:path>
                </a:pathLst>
              </a:custGeom>
              <a:solidFill>
                <a:srgbClr val="544D4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363" name="Freeform 35">
                <a:extLst>
                  <a:ext uri="{FF2B5EF4-FFF2-40B4-BE49-F238E27FC236}">
                    <a16:creationId xmlns:a16="http://schemas.microsoft.com/office/drawing/2014/main" id="{D791D1D8-06B4-4AF9-B7AA-69CE620F2D2F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909" y="1804"/>
                <a:ext cx="111" cy="247"/>
              </a:xfrm>
              <a:custGeom>
                <a:avLst/>
                <a:gdLst>
                  <a:gd name="T0" fmla="*/ 101 w 105"/>
                  <a:gd name="T1" fmla="*/ 0 h 234"/>
                  <a:gd name="T2" fmla="*/ 100 w 105"/>
                  <a:gd name="T3" fmla="*/ 0 h 234"/>
                  <a:gd name="T4" fmla="*/ 25 w 105"/>
                  <a:gd name="T5" fmla="*/ 38 h 234"/>
                  <a:gd name="T6" fmla="*/ 0 w 105"/>
                  <a:gd name="T7" fmla="*/ 111 h 234"/>
                  <a:gd name="T8" fmla="*/ 75 w 105"/>
                  <a:gd name="T9" fmla="*/ 234 h 234"/>
                  <a:gd name="T10" fmla="*/ 75 w 105"/>
                  <a:gd name="T11" fmla="*/ 234 h 234"/>
                  <a:gd name="T12" fmla="*/ 76 w 105"/>
                  <a:gd name="T13" fmla="*/ 232 h 234"/>
                  <a:gd name="T14" fmla="*/ 7 w 105"/>
                  <a:gd name="T15" fmla="*/ 124 h 234"/>
                  <a:gd name="T16" fmla="*/ 27 w 105"/>
                  <a:gd name="T17" fmla="*/ 48 h 234"/>
                  <a:gd name="T18" fmla="*/ 102 w 105"/>
                  <a:gd name="T19" fmla="*/ 6 h 234"/>
                  <a:gd name="T20" fmla="*/ 101 w 105"/>
                  <a:gd name="T21" fmla="*/ 0 h 2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05" h="234">
                    <a:moveTo>
                      <a:pt x="101" y="0"/>
                    </a:moveTo>
                    <a:cubicBezTo>
                      <a:pt x="101" y="0"/>
                      <a:pt x="101" y="0"/>
                      <a:pt x="100" y="0"/>
                    </a:cubicBezTo>
                    <a:cubicBezTo>
                      <a:pt x="70" y="6"/>
                      <a:pt x="45" y="14"/>
                      <a:pt x="25" y="38"/>
                    </a:cubicBezTo>
                    <a:cubicBezTo>
                      <a:pt x="9" y="59"/>
                      <a:pt x="0" y="84"/>
                      <a:pt x="0" y="111"/>
                    </a:cubicBezTo>
                    <a:cubicBezTo>
                      <a:pt x="0" y="162"/>
                      <a:pt x="19" y="222"/>
                      <a:pt x="75" y="234"/>
                    </a:cubicBezTo>
                    <a:cubicBezTo>
                      <a:pt x="75" y="234"/>
                      <a:pt x="75" y="234"/>
                      <a:pt x="75" y="234"/>
                    </a:cubicBezTo>
                    <a:cubicBezTo>
                      <a:pt x="77" y="234"/>
                      <a:pt x="77" y="232"/>
                      <a:pt x="76" y="232"/>
                    </a:cubicBezTo>
                    <a:cubicBezTo>
                      <a:pt x="27" y="219"/>
                      <a:pt x="8" y="170"/>
                      <a:pt x="7" y="124"/>
                    </a:cubicBezTo>
                    <a:cubicBezTo>
                      <a:pt x="6" y="96"/>
                      <a:pt x="10" y="70"/>
                      <a:pt x="27" y="48"/>
                    </a:cubicBezTo>
                    <a:cubicBezTo>
                      <a:pt x="46" y="21"/>
                      <a:pt x="72" y="15"/>
                      <a:pt x="102" y="6"/>
                    </a:cubicBezTo>
                    <a:cubicBezTo>
                      <a:pt x="105" y="5"/>
                      <a:pt x="104" y="0"/>
                      <a:pt x="101" y="0"/>
                    </a:cubicBezTo>
                  </a:path>
                </a:pathLst>
              </a:custGeom>
              <a:solidFill>
                <a:srgbClr val="544D4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364" name="Freeform 36">
                <a:extLst>
                  <a:ext uri="{FF2B5EF4-FFF2-40B4-BE49-F238E27FC236}">
                    <a16:creationId xmlns:a16="http://schemas.microsoft.com/office/drawing/2014/main" id="{5B0D83E3-80F5-4525-A191-73BF2F70F0B0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398" y="1645"/>
                <a:ext cx="231" cy="173"/>
              </a:xfrm>
              <a:custGeom>
                <a:avLst/>
                <a:gdLst>
                  <a:gd name="T0" fmla="*/ 2 w 218"/>
                  <a:gd name="T1" fmla="*/ 0 h 163"/>
                  <a:gd name="T2" fmla="*/ 1 w 218"/>
                  <a:gd name="T3" fmla="*/ 2 h 163"/>
                  <a:gd name="T4" fmla="*/ 65 w 218"/>
                  <a:gd name="T5" fmla="*/ 13 h 163"/>
                  <a:gd name="T6" fmla="*/ 129 w 218"/>
                  <a:gd name="T7" fmla="*/ 44 h 163"/>
                  <a:gd name="T8" fmla="*/ 215 w 218"/>
                  <a:gd name="T9" fmla="*/ 162 h 163"/>
                  <a:gd name="T10" fmla="*/ 216 w 218"/>
                  <a:gd name="T11" fmla="*/ 163 h 163"/>
                  <a:gd name="T12" fmla="*/ 218 w 218"/>
                  <a:gd name="T13" fmla="*/ 161 h 163"/>
                  <a:gd name="T14" fmla="*/ 149 w 218"/>
                  <a:gd name="T15" fmla="*/ 53 h 163"/>
                  <a:gd name="T16" fmla="*/ 82 w 218"/>
                  <a:gd name="T17" fmla="*/ 14 h 163"/>
                  <a:gd name="T18" fmla="*/ 49 w 218"/>
                  <a:gd name="T19" fmla="*/ 4 h 163"/>
                  <a:gd name="T20" fmla="*/ 2 w 218"/>
                  <a:gd name="T21" fmla="*/ 0 h 163"/>
                  <a:gd name="T22" fmla="*/ 2 w 218"/>
                  <a:gd name="T23" fmla="*/ 0 h 1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218" h="163">
                    <a:moveTo>
                      <a:pt x="2" y="0"/>
                    </a:moveTo>
                    <a:cubicBezTo>
                      <a:pt x="1" y="0"/>
                      <a:pt x="0" y="2"/>
                      <a:pt x="1" y="2"/>
                    </a:cubicBezTo>
                    <a:cubicBezTo>
                      <a:pt x="23" y="7"/>
                      <a:pt x="44" y="6"/>
                      <a:pt x="65" y="13"/>
                    </a:cubicBezTo>
                    <a:cubicBezTo>
                      <a:pt x="88" y="20"/>
                      <a:pt x="109" y="30"/>
                      <a:pt x="129" y="44"/>
                    </a:cubicBezTo>
                    <a:cubicBezTo>
                      <a:pt x="170" y="71"/>
                      <a:pt x="204" y="112"/>
                      <a:pt x="215" y="162"/>
                    </a:cubicBezTo>
                    <a:cubicBezTo>
                      <a:pt x="215" y="162"/>
                      <a:pt x="216" y="163"/>
                      <a:pt x="216" y="163"/>
                    </a:cubicBezTo>
                    <a:cubicBezTo>
                      <a:pt x="217" y="163"/>
                      <a:pt x="218" y="162"/>
                      <a:pt x="218" y="161"/>
                    </a:cubicBezTo>
                    <a:cubicBezTo>
                      <a:pt x="210" y="121"/>
                      <a:pt x="182" y="78"/>
                      <a:pt x="149" y="53"/>
                    </a:cubicBezTo>
                    <a:cubicBezTo>
                      <a:pt x="128" y="37"/>
                      <a:pt x="107" y="23"/>
                      <a:pt x="82" y="14"/>
                    </a:cubicBezTo>
                    <a:cubicBezTo>
                      <a:pt x="72" y="10"/>
                      <a:pt x="60" y="7"/>
                      <a:pt x="49" y="4"/>
                    </a:cubicBezTo>
                    <a:cubicBezTo>
                      <a:pt x="33" y="1"/>
                      <a:pt x="18" y="2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544D4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365" name="Freeform 37">
                <a:extLst>
                  <a:ext uri="{FF2B5EF4-FFF2-40B4-BE49-F238E27FC236}">
                    <a16:creationId xmlns:a16="http://schemas.microsoft.com/office/drawing/2014/main" id="{41DECCDB-7776-499E-B8A6-B06B3E0C5F54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564" y="1926"/>
                <a:ext cx="57" cy="76"/>
              </a:xfrm>
              <a:custGeom>
                <a:avLst/>
                <a:gdLst>
                  <a:gd name="T0" fmla="*/ 52 w 54"/>
                  <a:gd name="T1" fmla="*/ 0 h 72"/>
                  <a:gd name="T2" fmla="*/ 52 w 54"/>
                  <a:gd name="T3" fmla="*/ 0 h 72"/>
                  <a:gd name="T4" fmla="*/ 28 w 54"/>
                  <a:gd name="T5" fmla="*/ 40 h 72"/>
                  <a:gd name="T6" fmla="*/ 0 w 54"/>
                  <a:gd name="T7" fmla="*/ 71 h 72"/>
                  <a:gd name="T8" fmla="*/ 0 w 54"/>
                  <a:gd name="T9" fmla="*/ 72 h 72"/>
                  <a:gd name="T10" fmla="*/ 1 w 54"/>
                  <a:gd name="T11" fmla="*/ 72 h 72"/>
                  <a:gd name="T12" fmla="*/ 30 w 54"/>
                  <a:gd name="T13" fmla="*/ 43 h 72"/>
                  <a:gd name="T14" fmla="*/ 53 w 54"/>
                  <a:gd name="T15" fmla="*/ 1 h 72"/>
                  <a:gd name="T16" fmla="*/ 52 w 54"/>
                  <a:gd name="T17" fmla="*/ 0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4" h="72">
                    <a:moveTo>
                      <a:pt x="52" y="0"/>
                    </a:moveTo>
                    <a:cubicBezTo>
                      <a:pt x="52" y="0"/>
                      <a:pt x="52" y="0"/>
                      <a:pt x="52" y="0"/>
                    </a:cubicBezTo>
                    <a:cubicBezTo>
                      <a:pt x="44" y="13"/>
                      <a:pt x="36" y="27"/>
                      <a:pt x="28" y="40"/>
                    </a:cubicBezTo>
                    <a:cubicBezTo>
                      <a:pt x="20" y="52"/>
                      <a:pt x="10" y="60"/>
                      <a:pt x="0" y="71"/>
                    </a:cubicBezTo>
                    <a:cubicBezTo>
                      <a:pt x="0" y="71"/>
                      <a:pt x="0" y="72"/>
                      <a:pt x="0" y="72"/>
                    </a:cubicBezTo>
                    <a:cubicBezTo>
                      <a:pt x="1" y="72"/>
                      <a:pt x="1" y="72"/>
                      <a:pt x="1" y="72"/>
                    </a:cubicBezTo>
                    <a:cubicBezTo>
                      <a:pt x="11" y="62"/>
                      <a:pt x="22" y="55"/>
                      <a:pt x="30" y="43"/>
                    </a:cubicBezTo>
                    <a:cubicBezTo>
                      <a:pt x="39" y="29"/>
                      <a:pt x="45" y="15"/>
                      <a:pt x="53" y="1"/>
                    </a:cubicBezTo>
                    <a:cubicBezTo>
                      <a:pt x="54" y="0"/>
                      <a:pt x="53" y="0"/>
                      <a:pt x="52" y="0"/>
                    </a:cubicBezTo>
                  </a:path>
                </a:pathLst>
              </a:custGeom>
              <a:solidFill>
                <a:srgbClr val="544D4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366" name="Freeform 38">
                <a:extLst>
                  <a:ext uri="{FF2B5EF4-FFF2-40B4-BE49-F238E27FC236}">
                    <a16:creationId xmlns:a16="http://schemas.microsoft.com/office/drawing/2014/main" id="{C58F47F9-AB75-466C-90DA-2B916F0BFB97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414" y="2043"/>
                <a:ext cx="24" cy="2"/>
              </a:xfrm>
              <a:custGeom>
                <a:avLst/>
                <a:gdLst>
                  <a:gd name="T0" fmla="*/ 0 w 23"/>
                  <a:gd name="T1" fmla="*/ 0 h 2"/>
                  <a:gd name="T2" fmla="*/ 0 w 23"/>
                  <a:gd name="T3" fmla="*/ 1 h 2"/>
                  <a:gd name="T4" fmla="*/ 9 w 23"/>
                  <a:gd name="T5" fmla="*/ 2 h 2"/>
                  <a:gd name="T6" fmla="*/ 23 w 23"/>
                  <a:gd name="T7" fmla="*/ 1 h 2"/>
                  <a:gd name="T8" fmla="*/ 23 w 23"/>
                  <a:gd name="T9" fmla="*/ 1 h 2"/>
                  <a:gd name="T10" fmla="*/ 23 w 23"/>
                  <a:gd name="T11" fmla="*/ 1 h 2"/>
                  <a:gd name="T12" fmla="*/ 16 w 23"/>
                  <a:gd name="T13" fmla="*/ 1 h 2"/>
                  <a:gd name="T14" fmla="*/ 10 w 23"/>
                  <a:gd name="T15" fmla="*/ 1 h 2"/>
                  <a:gd name="T16" fmla="*/ 0 w 23"/>
                  <a:gd name="T17" fmla="*/ 0 h 2"/>
                  <a:gd name="T18" fmla="*/ 0 w 23"/>
                  <a:gd name="T19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3" h="2">
                    <a:moveTo>
                      <a:pt x="0" y="0"/>
                    </a:moveTo>
                    <a:cubicBezTo>
                      <a:pt x="0" y="0"/>
                      <a:pt x="0" y="1"/>
                      <a:pt x="0" y="1"/>
                    </a:cubicBezTo>
                    <a:cubicBezTo>
                      <a:pt x="3" y="2"/>
                      <a:pt x="6" y="2"/>
                      <a:pt x="9" y="2"/>
                    </a:cubicBezTo>
                    <a:cubicBezTo>
                      <a:pt x="14" y="2"/>
                      <a:pt x="19" y="1"/>
                      <a:pt x="23" y="1"/>
                    </a:cubicBezTo>
                    <a:cubicBezTo>
                      <a:pt x="23" y="1"/>
                      <a:pt x="23" y="1"/>
                      <a:pt x="23" y="1"/>
                    </a:cubicBezTo>
                    <a:cubicBezTo>
                      <a:pt x="23" y="1"/>
                      <a:pt x="23" y="1"/>
                      <a:pt x="23" y="1"/>
                    </a:cubicBezTo>
                    <a:cubicBezTo>
                      <a:pt x="20" y="1"/>
                      <a:pt x="18" y="1"/>
                      <a:pt x="16" y="1"/>
                    </a:cubicBezTo>
                    <a:cubicBezTo>
                      <a:pt x="14" y="1"/>
                      <a:pt x="12" y="1"/>
                      <a:pt x="10" y="1"/>
                    </a:cubicBezTo>
                    <a:cubicBezTo>
                      <a:pt x="7" y="1"/>
                      <a:pt x="4" y="1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solidFill>
                <a:srgbClr val="544D4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367" name="Freeform 39">
                <a:extLst>
                  <a:ext uri="{FF2B5EF4-FFF2-40B4-BE49-F238E27FC236}">
                    <a16:creationId xmlns:a16="http://schemas.microsoft.com/office/drawing/2014/main" id="{1F528491-6D57-4C16-AAE1-35E8826C968B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307" y="2003"/>
                <a:ext cx="22" cy="16"/>
              </a:xfrm>
              <a:custGeom>
                <a:avLst/>
                <a:gdLst>
                  <a:gd name="T0" fmla="*/ 0 w 21"/>
                  <a:gd name="T1" fmla="*/ 0 h 15"/>
                  <a:gd name="T2" fmla="*/ 0 w 21"/>
                  <a:gd name="T3" fmla="*/ 0 h 15"/>
                  <a:gd name="T4" fmla="*/ 21 w 21"/>
                  <a:gd name="T5" fmla="*/ 15 h 15"/>
                  <a:gd name="T6" fmla="*/ 21 w 21"/>
                  <a:gd name="T7" fmla="*/ 15 h 15"/>
                  <a:gd name="T8" fmla="*/ 0 w 21"/>
                  <a:gd name="T9" fmla="*/ 0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1" h="15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6" y="6"/>
                      <a:pt x="13" y="11"/>
                      <a:pt x="21" y="15"/>
                    </a:cubicBezTo>
                    <a:cubicBezTo>
                      <a:pt x="21" y="15"/>
                      <a:pt x="21" y="15"/>
                      <a:pt x="21" y="15"/>
                    </a:cubicBezTo>
                    <a:cubicBezTo>
                      <a:pt x="13" y="11"/>
                      <a:pt x="7" y="5"/>
                      <a:pt x="0" y="0"/>
                    </a:cubicBezTo>
                  </a:path>
                </a:pathLst>
              </a:custGeom>
              <a:solidFill>
                <a:srgbClr val="544D4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368" name="Freeform 40">
                <a:extLst>
                  <a:ext uri="{FF2B5EF4-FFF2-40B4-BE49-F238E27FC236}">
                    <a16:creationId xmlns:a16="http://schemas.microsoft.com/office/drawing/2014/main" id="{261E25AD-A644-44AD-8A60-90DF3D6AC81D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212" y="1655"/>
                <a:ext cx="130" cy="257"/>
              </a:xfrm>
              <a:custGeom>
                <a:avLst/>
                <a:gdLst>
                  <a:gd name="T0" fmla="*/ 120 w 122"/>
                  <a:gd name="T1" fmla="*/ 0 h 243"/>
                  <a:gd name="T2" fmla="*/ 119 w 122"/>
                  <a:gd name="T3" fmla="*/ 0 h 243"/>
                  <a:gd name="T4" fmla="*/ 21 w 122"/>
                  <a:gd name="T5" fmla="*/ 94 h 243"/>
                  <a:gd name="T6" fmla="*/ 31 w 122"/>
                  <a:gd name="T7" fmla="*/ 242 h 243"/>
                  <a:gd name="T8" fmla="*/ 32 w 122"/>
                  <a:gd name="T9" fmla="*/ 243 h 243"/>
                  <a:gd name="T10" fmla="*/ 33 w 122"/>
                  <a:gd name="T11" fmla="*/ 242 h 243"/>
                  <a:gd name="T12" fmla="*/ 22 w 122"/>
                  <a:gd name="T13" fmla="*/ 104 h 243"/>
                  <a:gd name="T14" fmla="*/ 60 w 122"/>
                  <a:gd name="T15" fmla="*/ 46 h 243"/>
                  <a:gd name="T16" fmla="*/ 121 w 122"/>
                  <a:gd name="T17" fmla="*/ 3 h 243"/>
                  <a:gd name="T18" fmla="*/ 120 w 122"/>
                  <a:gd name="T19" fmla="*/ 0 h 2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22" h="243">
                    <a:moveTo>
                      <a:pt x="120" y="0"/>
                    </a:moveTo>
                    <a:cubicBezTo>
                      <a:pt x="120" y="0"/>
                      <a:pt x="120" y="0"/>
                      <a:pt x="119" y="0"/>
                    </a:cubicBezTo>
                    <a:cubicBezTo>
                      <a:pt x="76" y="17"/>
                      <a:pt x="40" y="51"/>
                      <a:pt x="21" y="94"/>
                    </a:cubicBezTo>
                    <a:cubicBezTo>
                      <a:pt x="0" y="142"/>
                      <a:pt x="12" y="196"/>
                      <a:pt x="31" y="242"/>
                    </a:cubicBezTo>
                    <a:cubicBezTo>
                      <a:pt x="31" y="243"/>
                      <a:pt x="31" y="243"/>
                      <a:pt x="32" y="243"/>
                    </a:cubicBezTo>
                    <a:cubicBezTo>
                      <a:pt x="32" y="243"/>
                      <a:pt x="33" y="242"/>
                      <a:pt x="33" y="242"/>
                    </a:cubicBezTo>
                    <a:cubicBezTo>
                      <a:pt x="19" y="199"/>
                      <a:pt x="7" y="148"/>
                      <a:pt x="22" y="104"/>
                    </a:cubicBezTo>
                    <a:cubicBezTo>
                      <a:pt x="30" y="82"/>
                      <a:pt x="45" y="65"/>
                      <a:pt x="60" y="46"/>
                    </a:cubicBezTo>
                    <a:cubicBezTo>
                      <a:pt x="77" y="25"/>
                      <a:pt x="96" y="15"/>
                      <a:pt x="121" y="3"/>
                    </a:cubicBezTo>
                    <a:cubicBezTo>
                      <a:pt x="122" y="3"/>
                      <a:pt x="122" y="0"/>
                      <a:pt x="120" y="0"/>
                    </a:cubicBezTo>
                  </a:path>
                </a:pathLst>
              </a:custGeom>
              <a:solidFill>
                <a:srgbClr val="544D4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369" name="Freeform 41">
                <a:extLst>
                  <a:ext uri="{FF2B5EF4-FFF2-40B4-BE49-F238E27FC236}">
                    <a16:creationId xmlns:a16="http://schemas.microsoft.com/office/drawing/2014/main" id="{BC6B9810-1840-426D-BE38-AF8799283413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6387" y="1719"/>
                <a:ext cx="86" cy="86"/>
              </a:xfrm>
              <a:custGeom>
                <a:avLst/>
                <a:gdLst>
                  <a:gd name="T0" fmla="*/ 47 w 81"/>
                  <a:gd name="T1" fmla="*/ 10 h 81"/>
                  <a:gd name="T2" fmla="*/ 50 w 81"/>
                  <a:gd name="T3" fmla="*/ 6 h 81"/>
                  <a:gd name="T4" fmla="*/ 71 w 81"/>
                  <a:gd name="T5" fmla="*/ 57 h 81"/>
                  <a:gd name="T6" fmla="*/ 44 w 81"/>
                  <a:gd name="T7" fmla="*/ 75 h 81"/>
                  <a:gd name="T8" fmla="*/ 43 w 81"/>
                  <a:gd name="T9" fmla="*/ 75 h 81"/>
                  <a:gd name="T10" fmla="*/ 10 w 81"/>
                  <a:gd name="T11" fmla="*/ 43 h 81"/>
                  <a:gd name="T12" fmla="*/ 16 w 81"/>
                  <a:gd name="T13" fmla="*/ 20 h 81"/>
                  <a:gd name="T14" fmla="*/ 23 w 81"/>
                  <a:gd name="T15" fmla="*/ 12 h 81"/>
                  <a:gd name="T16" fmla="*/ 23 w 81"/>
                  <a:gd name="T17" fmla="*/ 12 h 81"/>
                  <a:gd name="T18" fmla="*/ 36 w 81"/>
                  <a:gd name="T19" fmla="*/ 9 h 81"/>
                  <a:gd name="T20" fmla="*/ 46 w 81"/>
                  <a:gd name="T21" fmla="*/ 10 h 81"/>
                  <a:gd name="T22" fmla="*/ 47 w 81"/>
                  <a:gd name="T23" fmla="*/ 10 h 81"/>
                  <a:gd name="T24" fmla="*/ 35 w 81"/>
                  <a:gd name="T25" fmla="*/ 0 h 81"/>
                  <a:gd name="T26" fmla="*/ 4 w 81"/>
                  <a:gd name="T27" fmla="*/ 31 h 81"/>
                  <a:gd name="T28" fmla="*/ 4 w 81"/>
                  <a:gd name="T29" fmla="*/ 32 h 81"/>
                  <a:gd name="T30" fmla="*/ 4 w 81"/>
                  <a:gd name="T31" fmla="*/ 32 h 81"/>
                  <a:gd name="T32" fmla="*/ 34 w 81"/>
                  <a:gd name="T33" fmla="*/ 79 h 81"/>
                  <a:gd name="T34" fmla="*/ 44 w 81"/>
                  <a:gd name="T35" fmla="*/ 81 h 81"/>
                  <a:gd name="T36" fmla="*/ 59 w 81"/>
                  <a:gd name="T37" fmla="*/ 77 h 81"/>
                  <a:gd name="T38" fmla="*/ 80 w 81"/>
                  <a:gd name="T39" fmla="*/ 42 h 81"/>
                  <a:gd name="T40" fmla="*/ 49 w 81"/>
                  <a:gd name="T41" fmla="*/ 3 h 81"/>
                  <a:gd name="T42" fmla="*/ 49 w 81"/>
                  <a:gd name="T43" fmla="*/ 3 h 81"/>
                  <a:gd name="T44" fmla="*/ 35 w 81"/>
                  <a:gd name="T45" fmla="*/ 0 h 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81" h="81">
                    <a:moveTo>
                      <a:pt x="47" y="10"/>
                    </a:moveTo>
                    <a:cubicBezTo>
                      <a:pt x="49" y="10"/>
                      <a:pt x="50" y="8"/>
                      <a:pt x="50" y="6"/>
                    </a:cubicBezTo>
                    <a:cubicBezTo>
                      <a:pt x="73" y="11"/>
                      <a:pt x="80" y="39"/>
                      <a:pt x="71" y="57"/>
                    </a:cubicBezTo>
                    <a:cubicBezTo>
                      <a:pt x="66" y="67"/>
                      <a:pt x="57" y="75"/>
                      <a:pt x="44" y="75"/>
                    </a:cubicBezTo>
                    <a:cubicBezTo>
                      <a:pt x="44" y="75"/>
                      <a:pt x="43" y="75"/>
                      <a:pt x="43" y="75"/>
                    </a:cubicBezTo>
                    <a:cubicBezTo>
                      <a:pt x="27" y="75"/>
                      <a:pt x="12" y="59"/>
                      <a:pt x="10" y="43"/>
                    </a:cubicBezTo>
                    <a:cubicBezTo>
                      <a:pt x="10" y="35"/>
                      <a:pt x="12" y="27"/>
                      <a:pt x="16" y="20"/>
                    </a:cubicBezTo>
                    <a:cubicBezTo>
                      <a:pt x="18" y="16"/>
                      <a:pt x="20" y="14"/>
                      <a:pt x="23" y="12"/>
                    </a:cubicBezTo>
                    <a:cubicBezTo>
                      <a:pt x="23" y="12"/>
                      <a:pt x="23" y="12"/>
                      <a:pt x="23" y="12"/>
                    </a:cubicBezTo>
                    <a:cubicBezTo>
                      <a:pt x="27" y="10"/>
                      <a:pt x="31" y="9"/>
                      <a:pt x="36" y="9"/>
                    </a:cubicBezTo>
                    <a:cubicBezTo>
                      <a:pt x="39" y="9"/>
                      <a:pt x="43" y="9"/>
                      <a:pt x="46" y="10"/>
                    </a:cubicBezTo>
                    <a:cubicBezTo>
                      <a:pt x="47" y="10"/>
                      <a:pt x="47" y="10"/>
                      <a:pt x="47" y="10"/>
                    </a:cubicBezTo>
                    <a:moveTo>
                      <a:pt x="35" y="0"/>
                    </a:moveTo>
                    <a:cubicBezTo>
                      <a:pt x="19" y="0"/>
                      <a:pt x="7" y="13"/>
                      <a:pt x="4" y="31"/>
                    </a:cubicBezTo>
                    <a:cubicBezTo>
                      <a:pt x="4" y="32"/>
                      <a:pt x="4" y="32"/>
                      <a:pt x="4" y="32"/>
                    </a:cubicBezTo>
                    <a:cubicBezTo>
                      <a:pt x="4" y="32"/>
                      <a:pt x="4" y="32"/>
                      <a:pt x="4" y="32"/>
                    </a:cubicBezTo>
                    <a:cubicBezTo>
                      <a:pt x="0" y="53"/>
                      <a:pt x="15" y="74"/>
                      <a:pt x="34" y="79"/>
                    </a:cubicBezTo>
                    <a:cubicBezTo>
                      <a:pt x="38" y="80"/>
                      <a:pt x="41" y="81"/>
                      <a:pt x="44" y="81"/>
                    </a:cubicBezTo>
                    <a:cubicBezTo>
                      <a:pt x="50" y="81"/>
                      <a:pt x="55" y="79"/>
                      <a:pt x="59" y="77"/>
                    </a:cubicBezTo>
                    <a:cubicBezTo>
                      <a:pt x="71" y="70"/>
                      <a:pt x="78" y="56"/>
                      <a:pt x="80" y="42"/>
                    </a:cubicBezTo>
                    <a:cubicBezTo>
                      <a:pt x="81" y="23"/>
                      <a:pt x="72" y="3"/>
                      <a:pt x="49" y="3"/>
                    </a:cubicBezTo>
                    <a:cubicBezTo>
                      <a:pt x="49" y="3"/>
                      <a:pt x="49" y="3"/>
                      <a:pt x="49" y="3"/>
                    </a:cubicBezTo>
                    <a:cubicBezTo>
                      <a:pt x="44" y="1"/>
                      <a:pt x="39" y="0"/>
                      <a:pt x="35" y="0"/>
                    </a:cubicBezTo>
                  </a:path>
                </a:pathLst>
              </a:custGeom>
              <a:solidFill>
                <a:srgbClr val="544D4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370" name="Freeform 42">
                <a:extLst>
                  <a:ext uri="{FF2B5EF4-FFF2-40B4-BE49-F238E27FC236}">
                    <a16:creationId xmlns:a16="http://schemas.microsoft.com/office/drawing/2014/main" id="{0327381F-B31A-4B09-8AA5-149FD78527B6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495" y="1819"/>
                <a:ext cx="83" cy="73"/>
              </a:xfrm>
              <a:custGeom>
                <a:avLst/>
                <a:gdLst>
                  <a:gd name="T0" fmla="*/ 50 w 78"/>
                  <a:gd name="T1" fmla="*/ 0 h 69"/>
                  <a:gd name="T2" fmla="*/ 36 w 78"/>
                  <a:gd name="T3" fmla="*/ 5 h 69"/>
                  <a:gd name="T4" fmla="*/ 37 w 78"/>
                  <a:gd name="T5" fmla="*/ 8 h 69"/>
                  <a:gd name="T6" fmla="*/ 37 w 78"/>
                  <a:gd name="T7" fmla="*/ 8 h 69"/>
                  <a:gd name="T8" fmla="*/ 48 w 78"/>
                  <a:gd name="T9" fmla="*/ 5 h 69"/>
                  <a:gd name="T10" fmla="*/ 50 w 78"/>
                  <a:gd name="T11" fmla="*/ 5 h 69"/>
                  <a:gd name="T12" fmla="*/ 65 w 78"/>
                  <a:gd name="T13" fmla="*/ 21 h 69"/>
                  <a:gd name="T14" fmla="*/ 64 w 78"/>
                  <a:gd name="T15" fmla="*/ 48 h 69"/>
                  <a:gd name="T16" fmla="*/ 56 w 78"/>
                  <a:gd name="T17" fmla="*/ 57 h 69"/>
                  <a:gd name="T18" fmla="*/ 39 w 78"/>
                  <a:gd name="T19" fmla="*/ 62 h 69"/>
                  <a:gd name="T20" fmla="*/ 12 w 78"/>
                  <a:gd name="T21" fmla="*/ 49 h 69"/>
                  <a:gd name="T22" fmla="*/ 14 w 78"/>
                  <a:gd name="T23" fmla="*/ 15 h 69"/>
                  <a:gd name="T24" fmla="*/ 15 w 78"/>
                  <a:gd name="T25" fmla="*/ 15 h 69"/>
                  <a:gd name="T26" fmla="*/ 15 w 78"/>
                  <a:gd name="T27" fmla="*/ 15 h 69"/>
                  <a:gd name="T28" fmla="*/ 31 w 78"/>
                  <a:gd name="T29" fmla="*/ 8 h 69"/>
                  <a:gd name="T30" fmla="*/ 30 w 78"/>
                  <a:gd name="T31" fmla="*/ 1 h 69"/>
                  <a:gd name="T32" fmla="*/ 30 w 78"/>
                  <a:gd name="T33" fmla="*/ 1 h 69"/>
                  <a:gd name="T34" fmla="*/ 1 w 78"/>
                  <a:gd name="T35" fmla="*/ 27 h 69"/>
                  <a:gd name="T36" fmla="*/ 1 w 78"/>
                  <a:gd name="T37" fmla="*/ 27 h 69"/>
                  <a:gd name="T38" fmla="*/ 2 w 78"/>
                  <a:gd name="T39" fmla="*/ 45 h 69"/>
                  <a:gd name="T40" fmla="*/ 39 w 78"/>
                  <a:gd name="T41" fmla="*/ 69 h 69"/>
                  <a:gd name="T42" fmla="*/ 54 w 78"/>
                  <a:gd name="T43" fmla="*/ 66 h 69"/>
                  <a:gd name="T44" fmla="*/ 56 w 78"/>
                  <a:gd name="T45" fmla="*/ 65 h 69"/>
                  <a:gd name="T46" fmla="*/ 72 w 78"/>
                  <a:gd name="T47" fmla="*/ 23 h 69"/>
                  <a:gd name="T48" fmla="*/ 56 w 78"/>
                  <a:gd name="T49" fmla="*/ 2 h 69"/>
                  <a:gd name="T50" fmla="*/ 50 w 78"/>
                  <a:gd name="T51" fmla="*/ 0 h 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78" h="69">
                    <a:moveTo>
                      <a:pt x="50" y="0"/>
                    </a:moveTo>
                    <a:cubicBezTo>
                      <a:pt x="45" y="0"/>
                      <a:pt x="42" y="3"/>
                      <a:pt x="36" y="5"/>
                    </a:cubicBezTo>
                    <a:cubicBezTo>
                      <a:pt x="35" y="6"/>
                      <a:pt x="36" y="8"/>
                      <a:pt x="37" y="8"/>
                    </a:cubicBezTo>
                    <a:cubicBezTo>
                      <a:pt x="37" y="8"/>
                      <a:pt x="37" y="8"/>
                      <a:pt x="37" y="8"/>
                    </a:cubicBezTo>
                    <a:cubicBezTo>
                      <a:pt x="41" y="7"/>
                      <a:pt x="45" y="5"/>
                      <a:pt x="48" y="5"/>
                    </a:cubicBezTo>
                    <a:cubicBezTo>
                      <a:pt x="49" y="5"/>
                      <a:pt x="49" y="5"/>
                      <a:pt x="50" y="5"/>
                    </a:cubicBezTo>
                    <a:cubicBezTo>
                      <a:pt x="56" y="6"/>
                      <a:pt x="62" y="16"/>
                      <a:pt x="65" y="21"/>
                    </a:cubicBezTo>
                    <a:cubicBezTo>
                      <a:pt x="69" y="30"/>
                      <a:pt x="69" y="40"/>
                      <a:pt x="64" y="48"/>
                    </a:cubicBezTo>
                    <a:cubicBezTo>
                      <a:pt x="62" y="52"/>
                      <a:pt x="60" y="55"/>
                      <a:pt x="56" y="57"/>
                    </a:cubicBezTo>
                    <a:cubicBezTo>
                      <a:pt x="51" y="60"/>
                      <a:pt x="45" y="62"/>
                      <a:pt x="39" y="62"/>
                    </a:cubicBezTo>
                    <a:cubicBezTo>
                      <a:pt x="29" y="62"/>
                      <a:pt x="18" y="58"/>
                      <a:pt x="12" y="49"/>
                    </a:cubicBezTo>
                    <a:cubicBezTo>
                      <a:pt x="6" y="39"/>
                      <a:pt x="6" y="24"/>
                      <a:pt x="14" y="15"/>
                    </a:cubicBezTo>
                    <a:cubicBezTo>
                      <a:pt x="14" y="15"/>
                      <a:pt x="15" y="15"/>
                      <a:pt x="15" y="15"/>
                    </a:cubicBezTo>
                    <a:cubicBezTo>
                      <a:pt x="15" y="15"/>
                      <a:pt x="15" y="15"/>
                      <a:pt x="15" y="15"/>
                    </a:cubicBezTo>
                    <a:cubicBezTo>
                      <a:pt x="19" y="11"/>
                      <a:pt x="25" y="9"/>
                      <a:pt x="31" y="8"/>
                    </a:cubicBezTo>
                    <a:cubicBezTo>
                      <a:pt x="34" y="7"/>
                      <a:pt x="34" y="1"/>
                      <a:pt x="30" y="1"/>
                    </a:cubicBezTo>
                    <a:cubicBezTo>
                      <a:pt x="30" y="1"/>
                      <a:pt x="30" y="1"/>
                      <a:pt x="30" y="1"/>
                    </a:cubicBezTo>
                    <a:cubicBezTo>
                      <a:pt x="14" y="2"/>
                      <a:pt x="4" y="13"/>
                      <a:pt x="1" y="27"/>
                    </a:cubicBezTo>
                    <a:cubicBezTo>
                      <a:pt x="1" y="27"/>
                      <a:pt x="1" y="27"/>
                      <a:pt x="1" y="27"/>
                    </a:cubicBezTo>
                    <a:cubicBezTo>
                      <a:pt x="0" y="33"/>
                      <a:pt x="0" y="39"/>
                      <a:pt x="2" y="45"/>
                    </a:cubicBezTo>
                    <a:cubicBezTo>
                      <a:pt x="8" y="60"/>
                      <a:pt x="23" y="69"/>
                      <a:pt x="39" y="69"/>
                    </a:cubicBezTo>
                    <a:cubicBezTo>
                      <a:pt x="44" y="69"/>
                      <a:pt x="49" y="68"/>
                      <a:pt x="54" y="66"/>
                    </a:cubicBezTo>
                    <a:cubicBezTo>
                      <a:pt x="54" y="66"/>
                      <a:pt x="55" y="65"/>
                      <a:pt x="56" y="65"/>
                    </a:cubicBezTo>
                    <a:cubicBezTo>
                      <a:pt x="71" y="57"/>
                      <a:pt x="78" y="40"/>
                      <a:pt x="72" y="23"/>
                    </a:cubicBezTo>
                    <a:cubicBezTo>
                      <a:pt x="69" y="15"/>
                      <a:pt x="64" y="6"/>
                      <a:pt x="56" y="2"/>
                    </a:cubicBezTo>
                    <a:cubicBezTo>
                      <a:pt x="54" y="0"/>
                      <a:pt x="52" y="0"/>
                      <a:pt x="50" y="0"/>
                    </a:cubicBezTo>
                  </a:path>
                </a:pathLst>
              </a:custGeom>
              <a:solidFill>
                <a:srgbClr val="544D4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371" name="Freeform 43">
                <a:extLst>
                  <a:ext uri="{FF2B5EF4-FFF2-40B4-BE49-F238E27FC236}">
                    <a16:creationId xmlns:a16="http://schemas.microsoft.com/office/drawing/2014/main" id="{83AF316B-F38B-4FB6-9522-4CB2404EEAAE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6380" y="1876"/>
                <a:ext cx="96" cy="84"/>
              </a:xfrm>
              <a:custGeom>
                <a:avLst/>
                <a:gdLst>
                  <a:gd name="T0" fmla="*/ 22 w 91"/>
                  <a:gd name="T1" fmla="*/ 13 h 80"/>
                  <a:gd name="T2" fmla="*/ 25 w 91"/>
                  <a:gd name="T3" fmla="*/ 11 h 80"/>
                  <a:gd name="T4" fmla="*/ 41 w 91"/>
                  <a:gd name="T5" fmla="*/ 6 h 80"/>
                  <a:gd name="T6" fmla="*/ 56 w 91"/>
                  <a:gd name="T7" fmla="*/ 8 h 80"/>
                  <a:gd name="T8" fmla="*/ 57 w 91"/>
                  <a:gd name="T9" fmla="*/ 8 h 80"/>
                  <a:gd name="T10" fmla="*/ 59 w 91"/>
                  <a:gd name="T11" fmla="*/ 6 h 80"/>
                  <a:gd name="T12" fmla="*/ 83 w 91"/>
                  <a:gd name="T13" fmla="*/ 35 h 80"/>
                  <a:gd name="T14" fmla="*/ 79 w 91"/>
                  <a:gd name="T15" fmla="*/ 52 h 80"/>
                  <a:gd name="T16" fmla="*/ 51 w 91"/>
                  <a:gd name="T17" fmla="*/ 72 h 80"/>
                  <a:gd name="T18" fmla="*/ 47 w 91"/>
                  <a:gd name="T19" fmla="*/ 72 h 80"/>
                  <a:gd name="T20" fmla="*/ 11 w 91"/>
                  <a:gd name="T21" fmla="*/ 33 h 80"/>
                  <a:gd name="T22" fmla="*/ 22 w 91"/>
                  <a:gd name="T23" fmla="*/ 13 h 80"/>
                  <a:gd name="T24" fmla="*/ 22 w 91"/>
                  <a:gd name="T25" fmla="*/ 13 h 80"/>
                  <a:gd name="T26" fmla="*/ 42 w 91"/>
                  <a:gd name="T27" fmla="*/ 0 h 80"/>
                  <a:gd name="T28" fmla="*/ 3 w 91"/>
                  <a:gd name="T29" fmla="*/ 30 h 80"/>
                  <a:gd name="T30" fmla="*/ 3 w 91"/>
                  <a:gd name="T31" fmla="*/ 32 h 80"/>
                  <a:gd name="T32" fmla="*/ 3 w 91"/>
                  <a:gd name="T33" fmla="*/ 32 h 80"/>
                  <a:gd name="T34" fmla="*/ 46 w 91"/>
                  <a:gd name="T35" fmla="*/ 79 h 80"/>
                  <a:gd name="T36" fmla="*/ 50 w 91"/>
                  <a:gd name="T37" fmla="*/ 80 h 80"/>
                  <a:gd name="T38" fmla="*/ 65 w 91"/>
                  <a:gd name="T39" fmla="*/ 76 h 80"/>
                  <a:gd name="T40" fmla="*/ 89 w 91"/>
                  <a:gd name="T41" fmla="*/ 39 h 80"/>
                  <a:gd name="T42" fmla="*/ 58 w 91"/>
                  <a:gd name="T43" fmla="*/ 3 h 80"/>
                  <a:gd name="T44" fmla="*/ 57 w 91"/>
                  <a:gd name="T45" fmla="*/ 3 h 80"/>
                  <a:gd name="T46" fmla="*/ 42 w 91"/>
                  <a:gd name="T47" fmla="*/ 0 h 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91" h="80">
                    <a:moveTo>
                      <a:pt x="22" y="13"/>
                    </a:moveTo>
                    <a:cubicBezTo>
                      <a:pt x="23" y="12"/>
                      <a:pt x="24" y="11"/>
                      <a:pt x="25" y="11"/>
                    </a:cubicBezTo>
                    <a:cubicBezTo>
                      <a:pt x="31" y="7"/>
                      <a:pt x="36" y="6"/>
                      <a:pt x="41" y="6"/>
                    </a:cubicBezTo>
                    <a:cubicBezTo>
                      <a:pt x="46" y="6"/>
                      <a:pt x="51" y="7"/>
                      <a:pt x="56" y="8"/>
                    </a:cubicBezTo>
                    <a:cubicBezTo>
                      <a:pt x="57" y="8"/>
                      <a:pt x="57" y="8"/>
                      <a:pt x="57" y="8"/>
                    </a:cubicBezTo>
                    <a:cubicBezTo>
                      <a:pt x="58" y="8"/>
                      <a:pt x="59" y="7"/>
                      <a:pt x="59" y="6"/>
                    </a:cubicBezTo>
                    <a:cubicBezTo>
                      <a:pt x="73" y="9"/>
                      <a:pt x="82" y="18"/>
                      <a:pt x="83" y="35"/>
                    </a:cubicBezTo>
                    <a:cubicBezTo>
                      <a:pt x="83" y="41"/>
                      <a:pt x="81" y="47"/>
                      <a:pt x="79" y="52"/>
                    </a:cubicBezTo>
                    <a:cubicBezTo>
                      <a:pt x="73" y="64"/>
                      <a:pt x="63" y="72"/>
                      <a:pt x="51" y="72"/>
                    </a:cubicBezTo>
                    <a:cubicBezTo>
                      <a:pt x="49" y="72"/>
                      <a:pt x="48" y="72"/>
                      <a:pt x="47" y="72"/>
                    </a:cubicBezTo>
                    <a:cubicBezTo>
                      <a:pt x="28" y="69"/>
                      <a:pt x="8" y="54"/>
                      <a:pt x="11" y="33"/>
                    </a:cubicBezTo>
                    <a:cubicBezTo>
                      <a:pt x="12" y="26"/>
                      <a:pt x="17" y="18"/>
                      <a:pt x="22" y="13"/>
                    </a:cubicBezTo>
                    <a:cubicBezTo>
                      <a:pt x="22" y="13"/>
                      <a:pt x="22" y="13"/>
                      <a:pt x="22" y="13"/>
                    </a:cubicBezTo>
                    <a:moveTo>
                      <a:pt x="42" y="0"/>
                    </a:moveTo>
                    <a:cubicBezTo>
                      <a:pt x="24" y="0"/>
                      <a:pt x="7" y="10"/>
                      <a:pt x="3" y="30"/>
                    </a:cubicBezTo>
                    <a:cubicBezTo>
                      <a:pt x="3" y="31"/>
                      <a:pt x="3" y="31"/>
                      <a:pt x="3" y="32"/>
                    </a:cubicBezTo>
                    <a:cubicBezTo>
                      <a:pt x="3" y="32"/>
                      <a:pt x="3" y="32"/>
                      <a:pt x="3" y="32"/>
                    </a:cubicBezTo>
                    <a:cubicBezTo>
                      <a:pt x="0" y="57"/>
                      <a:pt x="23" y="76"/>
                      <a:pt x="46" y="79"/>
                    </a:cubicBezTo>
                    <a:cubicBezTo>
                      <a:pt x="47" y="79"/>
                      <a:pt x="49" y="80"/>
                      <a:pt x="50" y="80"/>
                    </a:cubicBezTo>
                    <a:cubicBezTo>
                      <a:pt x="55" y="80"/>
                      <a:pt x="61" y="78"/>
                      <a:pt x="65" y="76"/>
                    </a:cubicBezTo>
                    <a:cubicBezTo>
                      <a:pt x="79" y="70"/>
                      <a:pt x="88" y="55"/>
                      <a:pt x="89" y="39"/>
                    </a:cubicBezTo>
                    <a:cubicBezTo>
                      <a:pt x="91" y="16"/>
                      <a:pt x="78" y="5"/>
                      <a:pt x="58" y="3"/>
                    </a:cubicBezTo>
                    <a:cubicBezTo>
                      <a:pt x="58" y="3"/>
                      <a:pt x="58" y="3"/>
                      <a:pt x="57" y="3"/>
                    </a:cubicBezTo>
                    <a:cubicBezTo>
                      <a:pt x="52" y="1"/>
                      <a:pt x="47" y="0"/>
                      <a:pt x="42" y="0"/>
                    </a:cubicBezTo>
                  </a:path>
                </a:pathLst>
              </a:custGeom>
              <a:solidFill>
                <a:srgbClr val="544D4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372" name="Freeform 44">
                <a:extLst>
                  <a:ext uri="{FF2B5EF4-FFF2-40B4-BE49-F238E27FC236}">
                    <a16:creationId xmlns:a16="http://schemas.microsoft.com/office/drawing/2014/main" id="{4D12E911-D187-4060-B9DF-5CE903D7A179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287" y="1778"/>
                <a:ext cx="94" cy="84"/>
              </a:xfrm>
              <a:custGeom>
                <a:avLst/>
                <a:gdLst>
                  <a:gd name="T0" fmla="*/ 47 w 89"/>
                  <a:gd name="T1" fmla="*/ 0 h 79"/>
                  <a:gd name="T2" fmla="*/ 46 w 89"/>
                  <a:gd name="T3" fmla="*/ 0 h 79"/>
                  <a:gd name="T4" fmla="*/ 3 w 89"/>
                  <a:gd name="T5" fmla="*/ 35 h 79"/>
                  <a:gd name="T6" fmla="*/ 3 w 89"/>
                  <a:gd name="T7" fmla="*/ 35 h 79"/>
                  <a:gd name="T8" fmla="*/ 3 w 89"/>
                  <a:gd name="T9" fmla="*/ 38 h 79"/>
                  <a:gd name="T10" fmla="*/ 9 w 89"/>
                  <a:gd name="T11" fmla="*/ 67 h 79"/>
                  <a:gd name="T12" fmla="*/ 42 w 89"/>
                  <a:gd name="T13" fmla="*/ 79 h 79"/>
                  <a:gd name="T14" fmla="*/ 49 w 89"/>
                  <a:gd name="T15" fmla="*/ 79 h 79"/>
                  <a:gd name="T16" fmla="*/ 68 w 89"/>
                  <a:gd name="T17" fmla="*/ 75 h 79"/>
                  <a:gd name="T18" fmla="*/ 84 w 89"/>
                  <a:gd name="T19" fmla="*/ 53 h 79"/>
                  <a:gd name="T20" fmla="*/ 53 w 89"/>
                  <a:gd name="T21" fmla="*/ 4 h 79"/>
                  <a:gd name="T22" fmla="*/ 52 w 89"/>
                  <a:gd name="T23" fmla="*/ 4 h 79"/>
                  <a:gd name="T24" fmla="*/ 52 w 89"/>
                  <a:gd name="T25" fmla="*/ 6 h 79"/>
                  <a:gd name="T26" fmla="*/ 79 w 89"/>
                  <a:gd name="T27" fmla="*/ 34 h 79"/>
                  <a:gd name="T28" fmla="*/ 75 w 89"/>
                  <a:gd name="T29" fmla="*/ 62 h 79"/>
                  <a:gd name="T30" fmla="*/ 74 w 89"/>
                  <a:gd name="T31" fmla="*/ 63 h 79"/>
                  <a:gd name="T32" fmla="*/ 54 w 89"/>
                  <a:gd name="T33" fmla="*/ 73 h 79"/>
                  <a:gd name="T34" fmla="*/ 45 w 89"/>
                  <a:gd name="T35" fmla="*/ 73 h 79"/>
                  <a:gd name="T36" fmla="*/ 10 w 89"/>
                  <a:gd name="T37" fmla="*/ 37 h 79"/>
                  <a:gd name="T38" fmla="*/ 24 w 89"/>
                  <a:gd name="T39" fmla="*/ 17 h 79"/>
                  <a:gd name="T40" fmla="*/ 24 w 89"/>
                  <a:gd name="T41" fmla="*/ 17 h 79"/>
                  <a:gd name="T42" fmla="*/ 48 w 89"/>
                  <a:gd name="T43" fmla="*/ 7 h 79"/>
                  <a:gd name="T44" fmla="*/ 47 w 89"/>
                  <a:gd name="T45" fmla="*/ 0 h 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89" h="79">
                    <a:moveTo>
                      <a:pt x="47" y="0"/>
                    </a:moveTo>
                    <a:cubicBezTo>
                      <a:pt x="47" y="0"/>
                      <a:pt x="47" y="0"/>
                      <a:pt x="46" y="0"/>
                    </a:cubicBezTo>
                    <a:cubicBezTo>
                      <a:pt x="25" y="3"/>
                      <a:pt x="9" y="15"/>
                      <a:pt x="3" y="35"/>
                    </a:cubicBezTo>
                    <a:cubicBezTo>
                      <a:pt x="3" y="35"/>
                      <a:pt x="3" y="35"/>
                      <a:pt x="3" y="35"/>
                    </a:cubicBezTo>
                    <a:cubicBezTo>
                      <a:pt x="3" y="36"/>
                      <a:pt x="3" y="37"/>
                      <a:pt x="3" y="38"/>
                    </a:cubicBezTo>
                    <a:cubicBezTo>
                      <a:pt x="0" y="48"/>
                      <a:pt x="2" y="59"/>
                      <a:pt x="9" y="67"/>
                    </a:cubicBezTo>
                    <a:cubicBezTo>
                      <a:pt x="18" y="78"/>
                      <a:pt x="30" y="78"/>
                      <a:pt x="42" y="79"/>
                    </a:cubicBezTo>
                    <a:cubicBezTo>
                      <a:pt x="44" y="79"/>
                      <a:pt x="47" y="79"/>
                      <a:pt x="49" y="79"/>
                    </a:cubicBezTo>
                    <a:cubicBezTo>
                      <a:pt x="56" y="79"/>
                      <a:pt x="63" y="78"/>
                      <a:pt x="68" y="75"/>
                    </a:cubicBezTo>
                    <a:cubicBezTo>
                      <a:pt x="75" y="71"/>
                      <a:pt x="81" y="64"/>
                      <a:pt x="84" y="53"/>
                    </a:cubicBezTo>
                    <a:cubicBezTo>
                      <a:pt x="89" y="31"/>
                      <a:pt x="71" y="12"/>
                      <a:pt x="53" y="4"/>
                    </a:cubicBezTo>
                    <a:cubicBezTo>
                      <a:pt x="52" y="4"/>
                      <a:pt x="52" y="4"/>
                      <a:pt x="52" y="4"/>
                    </a:cubicBezTo>
                    <a:cubicBezTo>
                      <a:pt x="51" y="4"/>
                      <a:pt x="50" y="5"/>
                      <a:pt x="52" y="6"/>
                    </a:cubicBezTo>
                    <a:cubicBezTo>
                      <a:pt x="64" y="11"/>
                      <a:pt x="75" y="21"/>
                      <a:pt x="79" y="34"/>
                    </a:cubicBezTo>
                    <a:cubicBezTo>
                      <a:pt x="81" y="43"/>
                      <a:pt x="81" y="54"/>
                      <a:pt x="75" y="62"/>
                    </a:cubicBezTo>
                    <a:cubicBezTo>
                      <a:pt x="75" y="62"/>
                      <a:pt x="75" y="62"/>
                      <a:pt x="74" y="63"/>
                    </a:cubicBezTo>
                    <a:cubicBezTo>
                      <a:pt x="68" y="71"/>
                      <a:pt x="62" y="73"/>
                      <a:pt x="54" y="73"/>
                    </a:cubicBezTo>
                    <a:cubicBezTo>
                      <a:pt x="51" y="73"/>
                      <a:pt x="48" y="73"/>
                      <a:pt x="45" y="73"/>
                    </a:cubicBezTo>
                    <a:cubicBezTo>
                      <a:pt x="24" y="70"/>
                      <a:pt x="3" y="63"/>
                      <a:pt x="10" y="37"/>
                    </a:cubicBezTo>
                    <a:cubicBezTo>
                      <a:pt x="13" y="27"/>
                      <a:pt x="18" y="21"/>
                      <a:pt x="24" y="17"/>
                    </a:cubicBezTo>
                    <a:cubicBezTo>
                      <a:pt x="24" y="17"/>
                      <a:pt x="24" y="17"/>
                      <a:pt x="24" y="17"/>
                    </a:cubicBezTo>
                    <a:cubicBezTo>
                      <a:pt x="31" y="12"/>
                      <a:pt x="39" y="9"/>
                      <a:pt x="48" y="7"/>
                    </a:cubicBezTo>
                    <a:cubicBezTo>
                      <a:pt x="51" y="6"/>
                      <a:pt x="50" y="0"/>
                      <a:pt x="47" y="0"/>
                    </a:cubicBezTo>
                  </a:path>
                </a:pathLst>
              </a:custGeom>
              <a:solidFill>
                <a:srgbClr val="544D4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373" name="Freeform 45">
                <a:extLst>
                  <a:ext uri="{FF2B5EF4-FFF2-40B4-BE49-F238E27FC236}">
                    <a16:creationId xmlns:a16="http://schemas.microsoft.com/office/drawing/2014/main" id="{F7A2507E-4B87-4D7B-A39A-20A388E203AC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6679" y="1885"/>
                <a:ext cx="77" cy="74"/>
              </a:xfrm>
              <a:custGeom>
                <a:avLst/>
                <a:gdLst>
                  <a:gd name="T0" fmla="*/ 8 w 73"/>
                  <a:gd name="T1" fmla="*/ 12 h 70"/>
                  <a:gd name="T2" fmla="*/ 14 w 73"/>
                  <a:gd name="T3" fmla="*/ 6 h 70"/>
                  <a:gd name="T4" fmla="*/ 15 w 73"/>
                  <a:gd name="T5" fmla="*/ 6 h 70"/>
                  <a:gd name="T6" fmla="*/ 27 w 73"/>
                  <a:gd name="T7" fmla="*/ 13 h 70"/>
                  <a:gd name="T8" fmla="*/ 59 w 73"/>
                  <a:gd name="T9" fmla="*/ 44 h 70"/>
                  <a:gd name="T10" fmla="*/ 63 w 73"/>
                  <a:gd name="T11" fmla="*/ 59 h 70"/>
                  <a:gd name="T12" fmla="*/ 61 w 73"/>
                  <a:gd name="T13" fmla="*/ 61 h 70"/>
                  <a:gd name="T14" fmla="*/ 60 w 73"/>
                  <a:gd name="T15" fmla="*/ 62 h 70"/>
                  <a:gd name="T16" fmla="*/ 54 w 73"/>
                  <a:gd name="T17" fmla="*/ 65 h 70"/>
                  <a:gd name="T18" fmla="*/ 53 w 73"/>
                  <a:gd name="T19" fmla="*/ 59 h 70"/>
                  <a:gd name="T20" fmla="*/ 18 w 73"/>
                  <a:gd name="T21" fmla="*/ 27 h 70"/>
                  <a:gd name="T22" fmla="*/ 14 w 73"/>
                  <a:gd name="T23" fmla="*/ 22 h 70"/>
                  <a:gd name="T24" fmla="*/ 8 w 73"/>
                  <a:gd name="T25" fmla="*/ 13 h 70"/>
                  <a:gd name="T26" fmla="*/ 8 w 73"/>
                  <a:gd name="T27" fmla="*/ 12 h 70"/>
                  <a:gd name="T28" fmla="*/ 13 w 73"/>
                  <a:gd name="T29" fmla="*/ 0 h 70"/>
                  <a:gd name="T30" fmla="*/ 2 w 73"/>
                  <a:gd name="T31" fmla="*/ 12 h 70"/>
                  <a:gd name="T32" fmla="*/ 2 w 73"/>
                  <a:gd name="T33" fmla="*/ 12 h 70"/>
                  <a:gd name="T34" fmla="*/ 4 w 73"/>
                  <a:gd name="T35" fmla="*/ 17 h 70"/>
                  <a:gd name="T36" fmla="*/ 22 w 73"/>
                  <a:gd name="T37" fmla="*/ 40 h 70"/>
                  <a:gd name="T38" fmla="*/ 50 w 73"/>
                  <a:gd name="T39" fmla="*/ 65 h 70"/>
                  <a:gd name="T40" fmla="*/ 52 w 73"/>
                  <a:gd name="T41" fmla="*/ 65 h 70"/>
                  <a:gd name="T42" fmla="*/ 48 w 73"/>
                  <a:gd name="T43" fmla="*/ 67 h 70"/>
                  <a:gd name="T44" fmla="*/ 48 w 73"/>
                  <a:gd name="T45" fmla="*/ 70 h 70"/>
                  <a:gd name="T46" fmla="*/ 48 w 73"/>
                  <a:gd name="T47" fmla="*/ 70 h 70"/>
                  <a:gd name="T48" fmla="*/ 60 w 73"/>
                  <a:gd name="T49" fmla="*/ 69 h 70"/>
                  <a:gd name="T50" fmla="*/ 62 w 73"/>
                  <a:gd name="T51" fmla="*/ 68 h 70"/>
                  <a:gd name="T52" fmla="*/ 70 w 73"/>
                  <a:gd name="T53" fmla="*/ 63 h 70"/>
                  <a:gd name="T54" fmla="*/ 69 w 73"/>
                  <a:gd name="T55" fmla="*/ 48 h 70"/>
                  <a:gd name="T56" fmla="*/ 22 w 73"/>
                  <a:gd name="T57" fmla="*/ 2 h 70"/>
                  <a:gd name="T58" fmla="*/ 13 w 73"/>
                  <a:gd name="T59" fmla="*/ 0 h 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73" h="70">
                    <a:moveTo>
                      <a:pt x="8" y="12"/>
                    </a:moveTo>
                    <a:cubicBezTo>
                      <a:pt x="8" y="9"/>
                      <a:pt x="9" y="7"/>
                      <a:pt x="14" y="6"/>
                    </a:cubicBezTo>
                    <a:cubicBezTo>
                      <a:pt x="14" y="6"/>
                      <a:pt x="14" y="6"/>
                      <a:pt x="15" y="6"/>
                    </a:cubicBezTo>
                    <a:cubicBezTo>
                      <a:pt x="19" y="6"/>
                      <a:pt x="25" y="11"/>
                      <a:pt x="27" y="13"/>
                    </a:cubicBezTo>
                    <a:cubicBezTo>
                      <a:pt x="39" y="22"/>
                      <a:pt x="50" y="32"/>
                      <a:pt x="59" y="44"/>
                    </a:cubicBezTo>
                    <a:cubicBezTo>
                      <a:pt x="63" y="49"/>
                      <a:pt x="67" y="53"/>
                      <a:pt x="63" y="59"/>
                    </a:cubicBezTo>
                    <a:cubicBezTo>
                      <a:pt x="62" y="60"/>
                      <a:pt x="62" y="60"/>
                      <a:pt x="61" y="61"/>
                    </a:cubicBezTo>
                    <a:cubicBezTo>
                      <a:pt x="61" y="61"/>
                      <a:pt x="61" y="62"/>
                      <a:pt x="60" y="62"/>
                    </a:cubicBezTo>
                    <a:cubicBezTo>
                      <a:pt x="58" y="63"/>
                      <a:pt x="56" y="64"/>
                      <a:pt x="54" y="65"/>
                    </a:cubicBezTo>
                    <a:cubicBezTo>
                      <a:pt x="55" y="63"/>
                      <a:pt x="56" y="60"/>
                      <a:pt x="53" y="59"/>
                    </a:cubicBezTo>
                    <a:cubicBezTo>
                      <a:pt x="39" y="50"/>
                      <a:pt x="29" y="39"/>
                      <a:pt x="18" y="27"/>
                    </a:cubicBezTo>
                    <a:cubicBezTo>
                      <a:pt x="17" y="25"/>
                      <a:pt x="15" y="24"/>
                      <a:pt x="14" y="22"/>
                    </a:cubicBezTo>
                    <a:cubicBezTo>
                      <a:pt x="12" y="20"/>
                      <a:pt x="9" y="16"/>
                      <a:pt x="8" y="13"/>
                    </a:cubicBezTo>
                    <a:cubicBezTo>
                      <a:pt x="8" y="12"/>
                      <a:pt x="8" y="12"/>
                      <a:pt x="8" y="12"/>
                    </a:cubicBezTo>
                    <a:moveTo>
                      <a:pt x="13" y="0"/>
                    </a:moveTo>
                    <a:cubicBezTo>
                      <a:pt x="6" y="0"/>
                      <a:pt x="0" y="4"/>
                      <a:pt x="2" y="12"/>
                    </a:cubicBezTo>
                    <a:cubicBezTo>
                      <a:pt x="2" y="12"/>
                      <a:pt x="2" y="12"/>
                      <a:pt x="2" y="12"/>
                    </a:cubicBezTo>
                    <a:cubicBezTo>
                      <a:pt x="2" y="14"/>
                      <a:pt x="3" y="15"/>
                      <a:pt x="4" y="17"/>
                    </a:cubicBezTo>
                    <a:cubicBezTo>
                      <a:pt x="8" y="26"/>
                      <a:pt x="16" y="33"/>
                      <a:pt x="22" y="40"/>
                    </a:cubicBezTo>
                    <a:cubicBezTo>
                      <a:pt x="30" y="50"/>
                      <a:pt x="40" y="59"/>
                      <a:pt x="50" y="65"/>
                    </a:cubicBezTo>
                    <a:cubicBezTo>
                      <a:pt x="51" y="65"/>
                      <a:pt x="51" y="65"/>
                      <a:pt x="52" y="65"/>
                    </a:cubicBezTo>
                    <a:cubicBezTo>
                      <a:pt x="50" y="66"/>
                      <a:pt x="49" y="66"/>
                      <a:pt x="48" y="67"/>
                    </a:cubicBezTo>
                    <a:cubicBezTo>
                      <a:pt x="46" y="68"/>
                      <a:pt x="47" y="70"/>
                      <a:pt x="48" y="70"/>
                    </a:cubicBezTo>
                    <a:cubicBezTo>
                      <a:pt x="48" y="70"/>
                      <a:pt x="48" y="70"/>
                      <a:pt x="48" y="70"/>
                    </a:cubicBezTo>
                    <a:cubicBezTo>
                      <a:pt x="52" y="69"/>
                      <a:pt x="56" y="69"/>
                      <a:pt x="60" y="69"/>
                    </a:cubicBezTo>
                    <a:cubicBezTo>
                      <a:pt x="60" y="69"/>
                      <a:pt x="61" y="69"/>
                      <a:pt x="62" y="68"/>
                    </a:cubicBezTo>
                    <a:cubicBezTo>
                      <a:pt x="66" y="68"/>
                      <a:pt x="69" y="67"/>
                      <a:pt x="70" y="63"/>
                    </a:cubicBezTo>
                    <a:cubicBezTo>
                      <a:pt x="73" y="59"/>
                      <a:pt x="72" y="53"/>
                      <a:pt x="69" y="48"/>
                    </a:cubicBezTo>
                    <a:cubicBezTo>
                      <a:pt x="61" y="31"/>
                      <a:pt x="40" y="9"/>
                      <a:pt x="22" y="2"/>
                    </a:cubicBezTo>
                    <a:cubicBezTo>
                      <a:pt x="19" y="1"/>
                      <a:pt x="16" y="0"/>
                      <a:pt x="13" y="0"/>
                    </a:cubicBezTo>
                  </a:path>
                </a:pathLst>
              </a:custGeom>
              <a:solidFill>
                <a:srgbClr val="544D4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374" name="Freeform 46">
                <a:extLst>
                  <a:ext uri="{FF2B5EF4-FFF2-40B4-BE49-F238E27FC236}">
                    <a16:creationId xmlns:a16="http://schemas.microsoft.com/office/drawing/2014/main" id="{9AD98761-9B93-47FE-A1E1-6192B598261E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6792" y="1903"/>
                <a:ext cx="77" cy="72"/>
              </a:xfrm>
              <a:custGeom>
                <a:avLst/>
                <a:gdLst>
                  <a:gd name="T0" fmla="*/ 6 w 73"/>
                  <a:gd name="T1" fmla="*/ 13 h 68"/>
                  <a:gd name="T2" fmla="*/ 9 w 73"/>
                  <a:gd name="T3" fmla="*/ 7 h 68"/>
                  <a:gd name="T4" fmla="*/ 11 w 73"/>
                  <a:gd name="T5" fmla="*/ 6 h 68"/>
                  <a:gd name="T6" fmla="*/ 18 w 73"/>
                  <a:gd name="T7" fmla="*/ 11 h 68"/>
                  <a:gd name="T8" fmla="*/ 44 w 73"/>
                  <a:gd name="T9" fmla="*/ 32 h 68"/>
                  <a:gd name="T10" fmla="*/ 60 w 73"/>
                  <a:gd name="T11" fmla="*/ 47 h 68"/>
                  <a:gd name="T12" fmla="*/ 64 w 73"/>
                  <a:gd name="T13" fmla="*/ 54 h 68"/>
                  <a:gd name="T14" fmla="*/ 59 w 73"/>
                  <a:gd name="T15" fmla="*/ 62 h 68"/>
                  <a:gd name="T16" fmla="*/ 57 w 73"/>
                  <a:gd name="T17" fmla="*/ 63 h 68"/>
                  <a:gd name="T18" fmla="*/ 55 w 73"/>
                  <a:gd name="T19" fmla="*/ 62 h 68"/>
                  <a:gd name="T20" fmla="*/ 54 w 73"/>
                  <a:gd name="T21" fmla="*/ 55 h 68"/>
                  <a:gd name="T22" fmla="*/ 21 w 73"/>
                  <a:gd name="T23" fmla="*/ 30 h 68"/>
                  <a:gd name="T24" fmla="*/ 7 w 73"/>
                  <a:gd name="T25" fmla="*/ 16 h 68"/>
                  <a:gd name="T26" fmla="*/ 6 w 73"/>
                  <a:gd name="T27" fmla="*/ 13 h 68"/>
                  <a:gd name="T28" fmla="*/ 7 w 73"/>
                  <a:gd name="T29" fmla="*/ 0 h 68"/>
                  <a:gd name="T30" fmla="*/ 5 w 73"/>
                  <a:gd name="T31" fmla="*/ 1 h 68"/>
                  <a:gd name="T32" fmla="*/ 0 w 73"/>
                  <a:gd name="T33" fmla="*/ 12 h 68"/>
                  <a:gd name="T34" fmla="*/ 0 w 73"/>
                  <a:gd name="T35" fmla="*/ 16 h 68"/>
                  <a:gd name="T36" fmla="*/ 20 w 73"/>
                  <a:gd name="T37" fmla="*/ 39 h 68"/>
                  <a:gd name="T38" fmla="*/ 50 w 73"/>
                  <a:gd name="T39" fmla="*/ 62 h 68"/>
                  <a:gd name="T40" fmla="*/ 51 w 73"/>
                  <a:gd name="T41" fmla="*/ 63 h 68"/>
                  <a:gd name="T42" fmla="*/ 57 w 73"/>
                  <a:gd name="T43" fmla="*/ 67 h 68"/>
                  <a:gd name="T44" fmla="*/ 60 w 73"/>
                  <a:gd name="T45" fmla="*/ 68 h 68"/>
                  <a:gd name="T46" fmla="*/ 68 w 73"/>
                  <a:gd name="T47" fmla="*/ 65 h 68"/>
                  <a:gd name="T48" fmla="*/ 69 w 73"/>
                  <a:gd name="T49" fmla="*/ 48 h 68"/>
                  <a:gd name="T50" fmla="*/ 18 w 73"/>
                  <a:gd name="T51" fmla="*/ 7 h 68"/>
                  <a:gd name="T52" fmla="*/ 7 w 73"/>
                  <a:gd name="T53" fmla="*/ 0 h 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73" h="68">
                    <a:moveTo>
                      <a:pt x="6" y="13"/>
                    </a:moveTo>
                    <a:cubicBezTo>
                      <a:pt x="5" y="11"/>
                      <a:pt x="5" y="9"/>
                      <a:pt x="9" y="7"/>
                    </a:cubicBezTo>
                    <a:cubicBezTo>
                      <a:pt x="10" y="7"/>
                      <a:pt x="11" y="6"/>
                      <a:pt x="11" y="6"/>
                    </a:cubicBezTo>
                    <a:cubicBezTo>
                      <a:pt x="14" y="6"/>
                      <a:pt x="15" y="9"/>
                      <a:pt x="18" y="11"/>
                    </a:cubicBezTo>
                    <a:cubicBezTo>
                      <a:pt x="27" y="18"/>
                      <a:pt x="36" y="25"/>
                      <a:pt x="44" y="32"/>
                    </a:cubicBezTo>
                    <a:cubicBezTo>
                      <a:pt x="50" y="36"/>
                      <a:pt x="56" y="41"/>
                      <a:pt x="60" y="47"/>
                    </a:cubicBezTo>
                    <a:cubicBezTo>
                      <a:pt x="61" y="49"/>
                      <a:pt x="64" y="52"/>
                      <a:pt x="64" y="54"/>
                    </a:cubicBezTo>
                    <a:cubicBezTo>
                      <a:pt x="65" y="59"/>
                      <a:pt x="62" y="62"/>
                      <a:pt x="59" y="62"/>
                    </a:cubicBezTo>
                    <a:cubicBezTo>
                      <a:pt x="58" y="63"/>
                      <a:pt x="58" y="63"/>
                      <a:pt x="57" y="63"/>
                    </a:cubicBezTo>
                    <a:cubicBezTo>
                      <a:pt x="57" y="63"/>
                      <a:pt x="56" y="62"/>
                      <a:pt x="55" y="62"/>
                    </a:cubicBezTo>
                    <a:cubicBezTo>
                      <a:pt x="57" y="60"/>
                      <a:pt x="58" y="56"/>
                      <a:pt x="54" y="55"/>
                    </a:cubicBezTo>
                    <a:cubicBezTo>
                      <a:pt x="41" y="50"/>
                      <a:pt x="32" y="39"/>
                      <a:pt x="21" y="30"/>
                    </a:cubicBezTo>
                    <a:cubicBezTo>
                      <a:pt x="17" y="26"/>
                      <a:pt x="10" y="22"/>
                      <a:pt x="7" y="16"/>
                    </a:cubicBezTo>
                    <a:cubicBezTo>
                      <a:pt x="7" y="15"/>
                      <a:pt x="6" y="14"/>
                      <a:pt x="6" y="13"/>
                    </a:cubicBezTo>
                    <a:moveTo>
                      <a:pt x="7" y="0"/>
                    </a:moveTo>
                    <a:cubicBezTo>
                      <a:pt x="7" y="0"/>
                      <a:pt x="6" y="0"/>
                      <a:pt x="5" y="1"/>
                    </a:cubicBezTo>
                    <a:cubicBezTo>
                      <a:pt x="1" y="2"/>
                      <a:pt x="0" y="8"/>
                      <a:pt x="0" y="12"/>
                    </a:cubicBezTo>
                    <a:cubicBezTo>
                      <a:pt x="0" y="14"/>
                      <a:pt x="0" y="15"/>
                      <a:pt x="0" y="16"/>
                    </a:cubicBezTo>
                    <a:cubicBezTo>
                      <a:pt x="3" y="26"/>
                      <a:pt x="13" y="32"/>
                      <a:pt x="20" y="39"/>
                    </a:cubicBezTo>
                    <a:cubicBezTo>
                      <a:pt x="29" y="47"/>
                      <a:pt x="38" y="58"/>
                      <a:pt x="50" y="62"/>
                    </a:cubicBezTo>
                    <a:cubicBezTo>
                      <a:pt x="50" y="62"/>
                      <a:pt x="50" y="63"/>
                      <a:pt x="51" y="63"/>
                    </a:cubicBezTo>
                    <a:cubicBezTo>
                      <a:pt x="52" y="65"/>
                      <a:pt x="55" y="67"/>
                      <a:pt x="57" y="67"/>
                    </a:cubicBezTo>
                    <a:cubicBezTo>
                      <a:pt x="58" y="67"/>
                      <a:pt x="59" y="68"/>
                      <a:pt x="60" y="68"/>
                    </a:cubicBezTo>
                    <a:cubicBezTo>
                      <a:pt x="63" y="68"/>
                      <a:pt x="65" y="67"/>
                      <a:pt x="68" y="65"/>
                    </a:cubicBezTo>
                    <a:cubicBezTo>
                      <a:pt x="73" y="60"/>
                      <a:pt x="72" y="54"/>
                      <a:pt x="69" y="48"/>
                    </a:cubicBezTo>
                    <a:cubicBezTo>
                      <a:pt x="60" y="28"/>
                      <a:pt x="36" y="18"/>
                      <a:pt x="18" y="7"/>
                    </a:cubicBezTo>
                    <a:cubicBezTo>
                      <a:pt x="15" y="5"/>
                      <a:pt x="11" y="0"/>
                      <a:pt x="7" y="0"/>
                    </a:cubicBezTo>
                  </a:path>
                </a:pathLst>
              </a:custGeom>
              <a:solidFill>
                <a:srgbClr val="544D4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375" name="Freeform 47">
                <a:extLst>
                  <a:ext uri="{FF2B5EF4-FFF2-40B4-BE49-F238E27FC236}">
                    <a16:creationId xmlns:a16="http://schemas.microsoft.com/office/drawing/2014/main" id="{33A75941-E0A0-4E7F-8EE5-D29053ECAB37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6841" y="1827"/>
                <a:ext cx="32" cy="22"/>
              </a:xfrm>
              <a:custGeom>
                <a:avLst/>
                <a:gdLst>
                  <a:gd name="T0" fmla="*/ 5 w 30"/>
                  <a:gd name="T1" fmla="*/ 8 h 21"/>
                  <a:gd name="T2" fmla="*/ 7 w 30"/>
                  <a:gd name="T3" fmla="*/ 6 h 21"/>
                  <a:gd name="T4" fmla="*/ 11 w 30"/>
                  <a:gd name="T5" fmla="*/ 5 h 21"/>
                  <a:gd name="T6" fmla="*/ 20 w 30"/>
                  <a:gd name="T7" fmla="*/ 9 h 21"/>
                  <a:gd name="T8" fmla="*/ 19 w 30"/>
                  <a:gd name="T9" fmla="*/ 10 h 21"/>
                  <a:gd name="T10" fmla="*/ 15 w 30"/>
                  <a:gd name="T11" fmla="*/ 15 h 21"/>
                  <a:gd name="T12" fmla="*/ 13 w 30"/>
                  <a:gd name="T13" fmla="*/ 16 h 21"/>
                  <a:gd name="T14" fmla="*/ 10 w 30"/>
                  <a:gd name="T15" fmla="*/ 16 h 21"/>
                  <a:gd name="T16" fmla="*/ 9 w 30"/>
                  <a:gd name="T17" fmla="*/ 16 h 21"/>
                  <a:gd name="T18" fmla="*/ 5 w 30"/>
                  <a:gd name="T19" fmla="*/ 8 h 21"/>
                  <a:gd name="T20" fmla="*/ 11 w 30"/>
                  <a:gd name="T21" fmla="*/ 0 h 21"/>
                  <a:gd name="T22" fmla="*/ 3 w 30"/>
                  <a:gd name="T23" fmla="*/ 3 h 21"/>
                  <a:gd name="T24" fmla="*/ 1 w 30"/>
                  <a:gd name="T25" fmla="*/ 8 h 21"/>
                  <a:gd name="T26" fmla="*/ 6 w 30"/>
                  <a:gd name="T27" fmla="*/ 19 h 21"/>
                  <a:gd name="T28" fmla="*/ 12 w 30"/>
                  <a:gd name="T29" fmla="*/ 21 h 21"/>
                  <a:gd name="T30" fmla="*/ 15 w 30"/>
                  <a:gd name="T31" fmla="*/ 20 h 21"/>
                  <a:gd name="T32" fmla="*/ 15 w 30"/>
                  <a:gd name="T33" fmla="*/ 20 h 21"/>
                  <a:gd name="T34" fmla="*/ 16 w 30"/>
                  <a:gd name="T35" fmla="*/ 20 h 21"/>
                  <a:gd name="T36" fmla="*/ 17 w 30"/>
                  <a:gd name="T37" fmla="*/ 19 h 21"/>
                  <a:gd name="T38" fmla="*/ 23 w 30"/>
                  <a:gd name="T39" fmla="*/ 15 h 21"/>
                  <a:gd name="T40" fmla="*/ 23 w 30"/>
                  <a:gd name="T41" fmla="*/ 15 h 21"/>
                  <a:gd name="T42" fmla="*/ 25 w 30"/>
                  <a:gd name="T43" fmla="*/ 15 h 21"/>
                  <a:gd name="T44" fmla="*/ 11 w 30"/>
                  <a:gd name="T45" fmla="*/ 0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30" h="21">
                    <a:moveTo>
                      <a:pt x="5" y="8"/>
                    </a:moveTo>
                    <a:cubicBezTo>
                      <a:pt x="6" y="7"/>
                      <a:pt x="6" y="7"/>
                      <a:pt x="7" y="6"/>
                    </a:cubicBezTo>
                    <a:cubicBezTo>
                      <a:pt x="8" y="5"/>
                      <a:pt x="10" y="5"/>
                      <a:pt x="11" y="5"/>
                    </a:cubicBezTo>
                    <a:cubicBezTo>
                      <a:pt x="15" y="5"/>
                      <a:pt x="18" y="6"/>
                      <a:pt x="20" y="9"/>
                    </a:cubicBezTo>
                    <a:cubicBezTo>
                      <a:pt x="20" y="9"/>
                      <a:pt x="19" y="9"/>
                      <a:pt x="19" y="10"/>
                    </a:cubicBezTo>
                    <a:cubicBezTo>
                      <a:pt x="18" y="11"/>
                      <a:pt x="17" y="13"/>
                      <a:pt x="15" y="15"/>
                    </a:cubicBezTo>
                    <a:cubicBezTo>
                      <a:pt x="14" y="15"/>
                      <a:pt x="14" y="15"/>
                      <a:pt x="13" y="16"/>
                    </a:cubicBezTo>
                    <a:cubicBezTo>
                      <a:pt x="12" y="16"/>
                      <a:pt x="11" y="16"/>
                      <a:pt x="10" y="16"/>
                    </a:cubicBezTo>
                    <a:cubicBezTo>
                      <a:pt x="10" y="16"/>
                      <a:pt x="9" y="16"/>
                      <a:pt x="9" y="16"/>
                    </a:cubicBezTo>
                    <a:cubicBezTo>
                      <a:pt x="6" y="15"/>
                      <a:pt x="4" y="11"/>
                      <a:pt x="5" y="8"/>
                    </a:cubicBezTo>
                    <a:moveTo>
                      <a:pt x="11" y="0"/>
                    </a:moveTo>
                    <a:cubicBezTo>
                      <a:pt x="8" y="0"/>
                      <a:pt x="5" y="1"/>
                      <a:pt x="3" y="3"/>
                    </a:cubicBezTo>
                    <a:cubicBezTo>
                      <a:pt x="2" y="5"/>
                      <a:pt x="1" y="6"/>
                      <a:pt x="1" y="8"/>
                    </a:cubicBezTo>
                    <a:cubicBezTo>
                      <a:pt x="0" y="12"/>
                      <a:pt x="2" y="17"/>
                      <a:pt x="6" y="19"/>
                    </a:cubicBezTo>
                    <a:cubicBezTo>
                      <a:pt x="8" y="20"/>
                      <a:pt x="10" y="21"/>
                      <a:pt x="12" y="21"/>
                    </a:cubicBezTo>
                    <a:cubicBezTo>
                      <a:pt x="13" y="21"/>
                      <a:pt x="14" y="20"/>
                      <a:pt x="15" y="20"/>
                    </a:cubicBezTo>
                    <a:cubicBezTo>
                      <a:pt x="15" y="20"/>
                      <a:pt x="15" y="20"/>
                      <a:pt x="15" y="20"/>
                    </a:cubicBezTo>
                    <a:cubicBezTo>
                      <a:pt x="16" y="20"/>
                      <a:pt x="16" y="20"/>
                      <a:pt x="16" y="20"/>
                    </a:cubicBezTo>
                    <a:cubicBezTo>
                      <a:pt x="17" y="20"/>
                      <a:pt x="17" y="20"/>
                      <a:pt x="17" y="19"/>
                    </a:cubicBezTo>
                    <a:cubicBezTo>
                      <a:pt x="19" y="18"/>
                      <a:pt x="21" y="17"/>
                      <a:pt x="23" y="15"/>
                    </a:cubicBezTo>
                    <a:cubicBezTo>
                      <a:pt x="23" y="15"/>
                      <a:pt x="23" y="15"/>
                      <a:pt x="23" y="15"/>
                    </a:cubicBezTo>
                    <a:cubicBezTo>
                      <a:pt x="24" y="15"/>
                      <a:pt x="24" y="15"/>
                      <a:pt x="25" y="15"/>
                    </a:cubicBezTo>
                    <a:cubicBezTo>
                      <a:pt x="30" y="7"/>
                      <a:pt x="20" y="0"/>
                      <a:pt x="11" y="0"/>
                    </a:cubicBezTo>
                  </a:path>
                </a:pathLst>
              </a:custGeom>
              <a:solidFill>
                <a:srgbClr val="544D4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376" name="Freeform 48">
                <a:extLst>
                  <a:ext uri="{FF2B5EF4-FFF2-40B4-BE49-F238E27FC236}">
                    <a16:creationId xmlns:a16="http://schemas.microsoft.com/office/drawing/2014/main" id="{241DC002-DEC9-4D0E-BDC1-5F90A5A3C94D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6763" y="1815"/>
                <a:ext cx="24" cy="23"/>
              </a:xfrm>
              <a:custGeom>
                <a:avLst/>
                <a:gdLst>
                  <a:gd name="T0" fmla="*/ 4 w 22"/>
                  <a:gd name="T1" fmla="*/ 9 h 21"/>
                  <a:gd name="T2" fmla="*/ 8 w 22"/>
                  <a:gd name="T3" fmla="*/ 4 h 21"/>
                  <a:gd name="T4" fmla="*/ 10 w 22"/>
                  <a:gd name="T5" fmla="*/ 4 h 21"/>
                  <a:gd name="T6" fmla="*/ 15 w 22"/>
                  <a:gd name="T7" fmla="*/ 8 h 21"/>
                  <a:gd name="T8" fmla="*/ 13 w 22"/>
                  <a:gd name="T9" fmla="*/ 7 h 21"/>
                  <a:gd name="T10" fmla="*/ 11 w 22"/>
                  <a:gd name="T11" fmla="*/ 9 h 21"/>
                  <a:gd name="T12" fmla="*/ 8 w 22"/>
                  <a:gd name="T13" fmla="*/ 16 h 21"/>
                  <a:gd name="T14" fmla="*/ 7 w 22"/>
                  <a:gd name="T15" fmla="*/ 16 h 21"/>
                  <a:gd name="T16" fmla="*/ 7 w 22"/>
                  <a:gd name="T17" fmla="*/ 16 h 21"/>
                  <a:gd name="T18" fmla="*/ 4 w 22"/>
                  <a:gd name="T19" fmla="*/ 10 h 21"/>
                  <a:gd name="T20" fmla="*/ 4 w 22"/>
                  <a:gd name="T21" fmla="*/ 9 h 21"/>
                  <a:gd name="T22" fmla="*/ 8 w 22"/>
                  <a:gd name="T23" fmla="*/ 0 h 21"/>
                  <a:gd name="T24" fmla="*/ 0 w 22"/>
                  <a:gd name="T25" fmla="*/ 7 h 21"/>
                  <a:gd name="T26" fmla="*/ 0 w 22"/>
                  <a:gd name="T27" fmla="*/ 11 h 21"/>
                  <a:gd name="T28" fmla="*/ 6 w 22"/>
                  <a:gd name="T29" fmla="*/ 20 h 21"/>
                  <a:gd name="T30" fmla="*/ 9 w 22"/>
                  <a:gd name="T31" fmla="*/ 21 h 21"/>
                  <a:gd name="T32" fmla="*/ 11 w 22"/>
                  <a:gd name="T33" fmla="*/ 21 h 21"/>
                  <a:gd name="T34" fmla="*/ 17 w 22"/>
                  <a:gd name="T35" fmla="*/ 10 h 21"/>
                  <a:gd name="T36" fmla="*/ 19 w 22"/>
                  <a:gd name="T37" fmla="*/ 14 h 21"/>
                  <a:gd name="T38" fmla="*/ 20 w 22"/>
                  <a:gd name="T39" fmla="*/ 15 h 21"/>
                  <a:gd name="T40" fmla="*/ 21 w 22"/>
                  <a:gd name="T41" fmla="*/ 13 h 21"/>
                  <a:gd name="T42" fmla="*/ 16 w 22"/>
                  <a:gd name="T43" fmla="*/ 3 h 21"/>
                  <a:gd name="T44" fmla="*/ 9 w 22"/>
                  <a:gd name="T45" fmla="*/ 0 h 21"/>
                  <a:gd name="T46" fmla="*/ 8 w 22"/>
                  <a:gd name="T47" fmla="*/ 0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22" h="21">
                    <a:moveTo>
                      <a:pt x="4" y="9"/>
                    </a:moveTo>
                    <a:cubicBezTo>
                      <a:pt x="4" y="6"/>
                      <a:pt x="5" y="4"/>
                      <a:pt x="8" y="4"/>
                    </a:cubicBezTo>
                    <a:cubicBezTo>
                      <a:pt x="9" y="4"/>
                      <a:pt x="9" y="4"/>
                      <a:pt x="10" y="4"/>
                    </a:cubicBezTo>
                    <a:cubicBezTo>
                      <a:pt x="12" y="5"/>
                      <a:pt x="14" y="6"/>
                      <a:pt x="15" y="8"/>
                    </a:cubicBezTo>
                    <a:cubicBezTo>
                      <a:pt x="15" y="7"/>
                      <a:pt x="14" y="7"/>
                      <a:pt x="13" y="7"/>
                    </a:cubicBezTo>
                    <a:cubicBezTo>
                      <a:pt x="12" y="7"/>
                      <a:pt x="11" y="8"/>
                      <a:pt x="11" y="9"/>
                    </a:cubicBezTo>
                    <a:cubicBezTo>
                      <a:pt x="10" y="11"/>
                      <a:pt x="11" y="15"/>
                      <a:pt x="8" y="16"/>
                    </a:cubicBezTo>
                    <a:cubicBezTo>
                      <a:pt x="8" y="16"/>
                      <a:pt x="8" y="16"/>
                      <a:pt x="7" y="16"/>
                    </a:cubicBezTo>
                    <a:cubicBezTo>
                      <a:pt x="7" y="16"/>
                      <a:pt x="7" y="16"/>
                      <a:pt x="7" y="16"/>
                    </a:cubicBezTo>
                    <a:cubicBezTo>
                      <a:pt x="5" y="15"/>
                      <a:pt x="4" y="12"/>
                      <a:pt x="4" y="10"/>
                    </a:cubicBezTo>
                    <a:cubicBezTo>
                      <a:pt x="4" y="10"/>
                      <a:pt x="4" y="9"/>
                      <a:pt x="4" y="9"/>
                    </a:cubicBezTo>
                    <a:moveTo>
                      <a:pt x="8" y="0"/>
                    </a:moveTo>
                    <a:cubicBezTo>
                      <a:pt x="3" y="0"/>
                      <a:pt x="1" y="3"/>
                      <a:pt x="0" y="7"/>
                    </a:cubicBezTo>
                    <a:cubicBezTo>
                      <a:pt x="0" y="8"/>
                      <a:pt x="0" y="10"/>
                      <a:pt x="0" y="11"/>
                    </a:cubicBezTo>
                    <a:cubicBezTo>
                      <a:pt x="0" y="15"/>
                      <a:pt x="2" y="19"/>
                      <a:pt x="6" y="20"/>
                    </a:cubicBezTo>
                    <a:cubicBezTo>
                      <a:pt x="7" y="21"/>
                      <a:pt x="8" y="21"/>
                      <a:pt x="9" y="21"/>
                    </a:cubicBezTo>
                    <a:cubicBezTo>
                      <a:pt x="10" y="21"/>
                      <a:pt x="10" y="21"/>
                      <a:pt x="11" y="21"/>
                    </a:cubicBezTo>
                    <a:cubicBezTo>
                      <a:pt x="16" y="19"/>
                      <a:pt x="18" y="14"/>
                      <a:pt x="17" y="10"/>
                    </a:cubicBezTo>
                    <a:cubicBezTo>
                      <a:pt x="17" y="11"/>
                      <a:pt x="18" y="13"/>
                      <a:pt x="19" y="14"/>
                    </a:cubicBezTo>
                    <a:cubicBezTo>
                      <a:pt x="19" y="15"/>
                      <a:pt x="20" y="15"/>
                      <a:pt x="20" y="15"/>
                    </a:cubicBezTo>
                    <a:cubicBezTo>
                      <a:pt x="21" y="15"/>
                      <a:pt x="22" y="14"/>
                      <a:pt x="21" y="13"/>
                    </a:cubicBezTo>
                    <a:cubicBezTo>
                      <a:pt x="20" y="10"/>
                      <a:pt x="19" y="6"/>
                      <a:pt x="16" y="3"/>
                    </a:cubicBezTo>
                    <a:cubicBezTo>
                      <a:pt x="14" y="2"/>
                      <a:pt x="11" y="0"/>
                      <a:pt x="9" y="0"/>
                    </a:cubicBezTo>
                    <a:cubicBezTo>
                      <a:pt x="8" y="0"/>
                      <a:pt x="8" y="0"/>
                      <a:pt x="8" y="0"/>
                    </a:cubicBezTo>
                  </a:path>
                </a:pathLst>
              </a:custGeom>
              <a:solidFill>
                <a:srgbClr val="544D4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377" name="Freeform 49">
                <a:extLst>
                  <a:ext uri="{FF2B5EF4-FFF2-40B4-BE49-F238E27FC236}">
                    <a16:creationId xmlns:a16="http://schemas.microsoft.com/office/drawing/2014/main" id="{1FA52AF7-7546-41BB-A7EA-5530F641E1B3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6676" y="1795"/>
                <a:ext cx="27" cy="27"/>
              </a:xfrm>
              <a:custGeom>
                <a:avLst/>
                <a:gdLst>
                  <a:gd name="T0" fmla="*/ 6 w 25"/>
                  <a:gd name="T1" fmla="*/ 11 h 25"/>
                  <a:gd name="T2" fmla="*/ 7 w 25"/>
                  <a:gd name="T3" fmla="*/ 10 h 25"/>
                  <a:gd name="T4" fmla="*/ 12 w 25"/>
                  <a:gd name="T5" fmla="*/ 7 h 25"/>
                  <a:gd name="T6" fmla="*/ 14 w 25"/>
                  <a:gd name="T7" fmla="*/ 8 h 25"/>
                  <a:gd name="T8" fmla="*/ 18 w 25"/>
                  <a:gd name="T9" fmla="*/ 16 h 25"/>
                  <a:gd name="T10" fmla="*/ 16 w 25"/>
                  <a:gd name="T11" fmla="*/ 17 h 25"/>
                  <a:gd name="T12" fmla="*/ 12 w 25"/>
                  <a:gd name="T13" fmla="*/ 18 h 25"/>
                  <a:gd name="T14" fmla="*/ 10 w 25"/>
                  <a:gd name="T15" fmla="*/ 18 h 25"/>
                  <a:gd name="T16" fmla="*/ 6 w 25"/>
                  <a:gd name="T17" fmla="*/ 11 h 25"/>
                  <a:gd name="T18" fmla="*/ 12 w 25"/>
                  <a:gd name="T19" fmla="*/ 0 h 25"/>
                  <a:gd name="T20" fmla="*/ 9 w 25"/>
                  <a:gd name="T21" fmla="*/ 0 h 25"/>
                  <a:gd name="T22" fmla="*/ 0 w 25"/>
                  <a:gd name="T23" fmla="*/ 10 h 25"/>
                  <a:gd name="T24" fmla="*/ 3 w 25"/>
                  <a:gd name="T25" fmla="*/ 20 h 25"/>
                  <a:gd name="T26" fmla="*/ 7 w 25"/>
                  <a:gd name="T27" fmla="*/ 23 h 25"/>
                  <a:gd name="T28" fmla="*/ 13 w 25"/>
                  <a:gd name="T29" fmla="*/ 25 h 25"/>
                  <a:gd name="T30" fmla="*/ 14 w 25"/>
                  <a:gd name="T31" fmla="*/ 25 h 25"/>
                  <a:gd name="T32" fmla="*/ 14 w 25"/>
                  <a:gd name="T33" fmla="*/ 25 h 25"/>
                  <a:gd name="T34" fmla="*/ 24 w 25"/>
                  <a:gd name="T35" fmla="*/ 18 h 25"/>
                  <a:gd name="T36" fmla="*/ 24 w 25"/>
                  <a:gd name="T37" fmla="*/ 14 h 25"/>
                  <a:gd name="T38" fmla="*/ 12 w 25"/>
                  <a:gd name="T39" fmla="*/ 0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25" h="25">
                    <a:moveTo>
                      <a:pt x="6" y="11"/>
                    </a:moveTo>
                    <a:cubicBezTo>
                      <a:pt x="6" y="11"/>
                      <a:pt x="6" y="11"/>
                      <a:pt x="7" y="10"/>
                    </a:cubicBezTo>
                    <a:cubicBezTo>
                      <a:pt x="8" y="8"/>
                      <a:pt x="10" y="7"/>
                      <a:pt x="12" y="7"/>
                    </a:cubicBezTo>
                    <a:cubicBezTo>
                      <a:pt x="13" y="7"/>
                      <a:pt x="14" y="7"/>
                      <a:pt x="14" y="8"/>
                    </a:cubicBezTo>
                    <a:cubicBezTo>
                      <a:pt x="16" y="9"/>
                      <a:pt x="18" y="13"/>
                      <a:pt x="18" y="16"/>
                    </a:cubicBezTo>
                    <a:cubicBezTo>
                      <a:pt x="17" y="16"/>
                      <a:pt x="17" y="17"/>
                      <a:pt x="16" y="17"/>
                    </a:cubicBezTo>
                    <a:cubicBezTo>
                      <a:pt x="15" y="18"/>
                      <a:pt x="14" y="18"/>
                      <a:pt x="12" y="18"/>
                    </a:cubicBezTo>
                    <a:cubicBezTo>
                      <a:pt x="12" y="18"/>
                      <a:pt x="11" y="18"/>
                      <a:pt x="10" y="18"/>
                    </a:cubicBezTo>
                    <a:cubicBezTo>
                      <a:pt x="8" y="16"/>
                      <a:pt x="6" y="14"/>
                      <a:pt x="6" y="11"/>
                    </a:cubicBezTo>
                    <a:moveTo>
                      <a:pt x="12" y="0"/>
                    </a:moveTo>
                    <a:cubicBezTo>
                      <a:pt x="11" y="0"/>
                      <a:pt x="10" y="0"/>
                      <a:pt x="9" y="0"/>
                    </a:cubicBezTo>
                    <a:cubicBezTo>
                      <a:pt x="4" y="2"/>
                      <a:pt x="1" y="6"/>
                      <a:pt x="0" y="10"/>
                    </a:cubicBezTo>
                    <a:cubicBezTo>
                      <a:pt x="0" y="14"/>
                      <a:pt x="1" y="17"/>
                      <a:pt x="3" y="20"/>
                    </a:cubicBezTo>
                    <a:cubicBezTo>
                      <a:pt x="4" y="21"/>
                      <a:pt x="6" y="22"/>
                      <a:pt x="7" y="23"/>
                    </a:cubicBezTo>
                    <a:cubicBezTo>
                      <a:pt x="8" y="24"/>
                      <a:pt x="11" y="25"/>
                      <a:pt x="13" y="25"/>
                    </a:cubicBezTo>
                    <a:cubicBezTo>
                      <a:pt x="13" y="25"/>
                      <a:pt x="13" y="25"/>
                      <a:pt x="14" y="25"/>
                    </a:cubicBezTo>
                    <a:cubicBezTo>
                      <a:pt x="14" y="25"/>
                      <a:pt x="14" y="25"/>
                      <a:pt x="14" y="25"/>
                    </a:cubicBezTo>
                    <a:cubicBezTo>
                      <a:pt x="19" y="24"/>
                      <a:pt x="22" y="22"/>
                      <a:pt x="24" y="18"/>
                    </a:cubicBezTo>
                    <a:cubicBezTo>
                      <a:pt x="25" y="17"/>
                      <a:pt x="25" y="15"/>
                      <a:pt x="24" y="14"/>
                    </a:cubicBezTo>
                    <a:cubicBezTo>
                      <a:pt x="24" y="8"/>
                      <a:pt x="19" y="0"/>
                      <a:pt x="12" y="0"/>
                    </a:cubicBezTo>
                  </a:path>
                </a:pathLst>
              </a:custGeom>
              <a:solidFill>
                <a:srgbClr val="544D4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378" name="Freeform 50">
                <a:extLst>
                  <a:ext uri="{FF2B5EF4-FFF2-40B4-BE49-F238E27FC236}">
                    <a16:creationId xmlns:a16="http://schemas.microsoft.com/office/drawing/2014/main" id="{56EA6442-E6CA-445C-803E-508737CA32B3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568" y="631"/>
                <a:ext cx="43" cy="1194"/>
              </a:xfrm>
              <a:custGeom>
                <a:avLst/>
                <a:gdLst>
                  <a:gd name="T0" fmla="*/ 24 w 40"/>
                  <a:gd name="T1" fmla="*/ 6 h 1128"/>
                  <a:gd name="T2" fmla="*/ 29 w 40"/>
                  <a:gd name="T3" fmla="*/ 51 h 1128"/>
                  <a:gd name="T4" fmla="*/ 28 w 40"/>
                  <a:gd name="T5" fmla="*/ 100 h 1128"/>
                  <a:gd name="T6" fmla="*/ 28 w 40"/>
                  <a:gd name="T7" fmla="*/ 206 h 1128"/>
                  <a:gd name="T8" fmla="*/ 26 w 40"/>
                  <a:gd name="T9" fmla="*/ 433 h 1128"/>
                  <a:gd name="T10" fmla="*/ 3 w 40"/>
                  <a:gd name="T11" fmla="*/ 871 h 1128"/>
                  <a:gd name="T12" fmla="*/ 1 w 40"/>
                  <a:gd name="T13" fmla="*/ 1122 h 1128"/>
                  <a:gd name="T14" fmla="*/ 11 w 40"/>
                  <a:gd name="T15" fmla="*/ 1121 h 1128"/>
                  <a:gd name="T16" fmla="*/ 15 w 40"/>
                  <a:gd name="T17" fmla="*/ 892 h 1128"/>
                  <a:gd name="T18" fmla="*/ 29 w 40"/>
                  <a:gd name="T19" fmla="*/ 671 h 1128"/>
                  <a:gd name="T20" fmla="*/ 40 w 40"/>
                  <a:gd name="T21" fmla="*/ 224 h 1128"/>
                  <a:gd name="T22" fmla="*/ 40 w 40"/>
                  <a:gd name="T23" fmla="*/ 102 h 1128"/>
                  <a:gd name="T24" fmla="*/ 40 w 40"/>
                  <a:gd name="T25" fmla="*/ 48 h 1128"/>
                  <a:gd name="T26" fmla="*/ 33 w 40"/>
                  <a:gd name="T27" fmla="*/ 6 h 1128"/>
                  <a:gd name="T28" fmla="*/ 24 w 40"/>
                  <a:gd name="T29" fmla="*/ 6 h 11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40" h="1128">
                    <a:moveTo>
                      <a:pt x="24" y="6"/>
                    </a:moveTo>
                    <a:cubicBezTo>
                      <a:pt x="24" y="22"/>
                      <a:pt x="29" y="36"/>
                      <a:pt x="29" y="51"/>
                    </a:cubicBezTo>
                    <a:cubicBezTo>
                      <a:pt x="28" y="67"/>
                      <a:pt x="28" y="84"/>
                      <a:pt x="28" y="100"/>
                    </a:cubicBezTo>
                    <a:cubicBezTo>
                      <a:pt x="28" y="135"/>
                      <a:pt x="28" y="170"/>
                      <a:pt x="28" y="206"/>
                    </a:cubicBezTo>
                    <a:cubicBezTo>
                      <a:pt x="28" y="281"/>
                      <a:pt x="28" y="357"/>
                      <a:pt x="26" y="433"/>
                    </a:cubicBezTo>
                    <a:cubicBezTo>
                      <a:pt x="23" y="579"/>
                      <a:pt x="9" y="725"/>
                      <a:pt x="3" y="871"/>
                    </a:cubicBezTo>
                    <a:cubicBezTo>
                      <a:pt x="0" y="955"/>
                      <a:pt x="0" y="1038"/>
                      <a:pt x="1" y="1122"/>
                    </a:cubicBezTo>
                    <a:cubicBezTo>
                      <a:pt x="1" y="1128"/>
                      <a:pt x="11" y="1127"/>
                      <a:pt x="11" y="1121"/>
                    </a:cubicBezTo>
                    <a:cubicBezTo>
                      <a:pt x="11" y="1045"/>
                      <a:pt x="12" y="968"/>
                      <a:pt x="15" y="892"/>
                    </a:cubicBezTo>
                    <a:cubicBezTo>
                      <a:pt x="17" y="818"/>
                      <a:pt x="24" y="745"/>
                      <a:pt x="29" y="671"/>
                    </a:cubicBezTo>
                    <a:cubicBezTo>
                      <a:pt x="38" y="522"/>
                      <a:pt x="40" y="373"/>
                      <a:pt x="40" y="224"/>
                    </a:cubicBezTo>
                    <a:cubicBezTo>
                      <a:pt x="40" y="183"/>
                      <a:pt x="40" y="143"/>
                      <a:pt x="40" y="102"/>
                    </a:cubicBezTo>
                    <a:cubicBezTo>
                      <a:pt x="40" y="84"/>
                      <a:pt x="40" y="66"/>
                      <a:pt x="40" y="48"/>
                    </a:cubicBezTo>
                    <a:cubicBezTo>
                      <a:pt x="40" y="33"/>
                      <a:pt x="35" y="20"/>
                      <a:pt x="33" y="6"/>
                    </a:cubicBezTo>
                    <a:cubicBezTo>
                      <a:pt x="33" y="0"/>
                      <a:pt x="24" y="0"/>
                      <a:pt x="24" y="6"/>
                    </a:cubicBezTo>
                  </a:path>
                </a:pathLst>
              </a:custGeom>
              <a:solidFill>
                <a:srgbClr val="04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379" name="Freeform 51">
                <a:extLst>
                  <a:ext uri="{FF2B5EF4-FFF2-40B4-BE49-F238E27FC236}">
                    <a16:creationId xmlns:a16="http://schemas.microsoft.com/office/drawing/2014/main" id="{B04D77BE-39BA-4D73-9E4D-1834156CCD40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2062" y="1800"/>
                <a:ext cx="191" cy="154"/>
              </a:xfrm>
              <a:custGeom>
                <a:avLst/>
                <a:gdLst>
                  <a:gd name="T0" fmla="*/ 156 w 180"/>
                  <a:gd name="T1" fmla="*/ 131 h 146"/>
                  <a:gd name="T2" fmla="*/ 156 w 180"/>
                  <a:gd name="T3" fmla="*/ 130 h 146"/>
                  <a:gd name="T4" fmla="*/ 0 w 180"/>
                  <a:gd name="T5" fmla="*/ 93 h 146"/>
                  <a:gd name="T6" fmla="*/ 6 w 180"/>
                  <a:gd name="T7" fmla="*/ 97 h 146"/>
                  <a:gd name="T8" fmla="*/ 20 w 180"/>
                  <a:gd name="T9" fmla="*/ 93 h 146"/>
                  <a:gd name="T10" fmla="*/ 19 w 180"/>
                  <a:gd name="T11" fmla="*/ 93 h 146"/>
                  <a:gd name="T12" fmla="*/ 15 w 180"/>
                  <a:gd name="T13" fmla="*/ 93 h 146"/>
                  <a:gd name="T14" fmla="*/ 15 w 180"/>
                  <a:gd name="T15" fmla="*/ 93 h 146"/>
                  <a:gd name="T16" fmla="*/ 15 w 180"/>
                  <a:gd name="T17" fmla="*/ 93 h 146"/>
                  <a:gd name="T18" fmla="*/ 140 w 180"/>
                  <a:gd name="T19" fmla="*/ 80 h 146"/>
                  <a:gd name="T20" fmla="*/ 162 w 180"/>
                  <a:gd name="T21" fmla="*/ 124 h 146"/>
                  <a:gd name="T22" fmla="*/ 143 w 180"/>
                  <a:gd name="T23" fmla="*/ 97 h 146"/>
                  <a:gd name="T24" fmla="*/ 140 w 180"/>
                  <a:gd name="T25" fmla="*/ 80 h 146"/>
                  <a:gd name="T26" fmla="*/ 49 w 180"/>
                  <a:gd name="T27" fmla="*/ 12 h 146"/>
                  <a:gd name="T28" fmla="*/ 27 w 180"/>
                  <a:gd name="T29" fmla="*/ 31 h 146"/>
                  <a:gd name="T30" fmla="*/ 48 w 180"/>
                  <a:gd name="T31" fmla="*/ 57 h 146"/>
                  <a:gd name="T32" fmla="*/ 41 w 180"/>
                  <a:gd name="T33" fmla="*/ 82 h 146"/>
                  <a:gd name="T34" fmla="*/ 5 w 180"/>
                  <a:gd name="T35" fmla="*/ 105 h 146"/>
                  <a:gd name="T36" fmla="*/ 18 w 180"/>
                  <a:gd name="T37" fmla="*/ 132 h 146"/>
                  <a:gd name="T38" fmla="*/ 48 w 180"/>
                  <a:gd name="T39" fmla="*/ 121 h 146"/>
                  <a:gd name="T40" fmla="*/ 77 w 180"/>
                  <a:gd name="T41" fmla="*/ 114 h 146"/>
                  <a:gd name="T42" fmla="*/ 107 w 180"/>
                  <a:gd name="T43" fmla="*/ 142 h 146"/>
                  <a:gd name="T44" fmla="*/ 107 w 180"/>
                  <a:gd name="T45" fmla="*/ 146 h 146"/>
                  <a:gd name="T46" fmla="*/ 144 w 180"/>
                  <a:gd name="T47" fmla="*/ 139 h 146"/>
                  <a:gd name="T48" fmla="*/ 127 w 180"/>
                  <a:gd name="T49" fmla="*/ 91 h 146"/>
                  <a:gd name="T50" fmla="*/ 169 w 180"/>
                  <a:gd name="T51" fmla="*/ 60 h 146"/>
                  <a:gd name="T52" fmla="*/ 148 w 180"/>
                  <a:gd name="T53" fmla="*/ 31 h 146"/>
                  <a:gd name="T54" fmla="*/ 167 w 180"/>
                  <a:gd name="T55" fmla="*/ 47 h 146"/>
                  <a:gd name="T56" fmla="*/ 177 w 180"/>
                  <a:gd name="T57" fmla="*/ 60 h 146"/>
                  <a:gd name="T58" fmla="*/ 180 w 180"/>
                  <a:gd name="T59" fmla="*/ 57 h 146"/>
                  <a:gd name="T60" fmla="*/ 180 w 180"/>
                  <a:gd name="T61" fmla="*/ 56 h 146"/>
                  <a:gd name="T62" fmla="*/ 180 w 180"/>
                  <a:gd name="T63" fmla="*/ 50 h 146"/>
                  <a:gd name="T64" fmla="*/ 148 w 180"/>
                  <a:gd name="T65" fmla="*/ 23 h 146"/>
                  <a:gd name="T66" fmla="*/ 106 w 180"/>
                  <a:gd name="T67" fmla="*/ 63 h 146"/>
                  <a:gd name="T68" fmla="*/ 64 w 180"/>
                  <a:gd name="T69" fmla="*/ 22 h 146"/>
                  <a:gd name="T70" fmla="*/ 77 w 180"/>
                  <a:gd name="T71" fmla="*/ 9 h 146"/>
                  <a:gd name="T72" fmla="*/ 97 w 180"/>
                  <a:gd name="T73" fmla="*/ 54 h 146"/>
                  <a:gd name="T74" fmla="*/ 124 w 180"/>
                  <a:gd name="T75" fmla="*/ 50 h 146"/>
                  <a:gd name="T76" fmla="*/ 115 w 180"/>
                  <a:gd name="T77" fmla="*/ 51 h 146"/>
                  <a:gd name="T78" fmla="*/ 115 w 180"/>
                  <a:gd name="T79" fmla="*/ 51 h 146"/>
                  <a:gd name="T80" fmla="*/ 76 w 180"/>
                  <a:gd name="T81" fmla="*/ 21 h 146"/>
                  <a:gd name="T82" fmla="*/ 77 w 180"/>
                  <a:gd name="T83" fmla="*/ 9 h 146"/>
                  <a:gd name="T84" fmla="*/ 62 w 180"/>
                  <a:gd name="T85" fmla="*/ 0 h 146"/>
                  <a:gd name="T86" fmla="*/ 43 w 180"/>
                  <a:gd name="T87" fmla="*/ 9 h 146"/>
                  <a:gd name="T88" fmla="*/ 61 w 180"/>
                  <a:gd name="T89" fmla="*/ 7 h 146"/>
                  <a:gd name="T90" fmla="*/ 70 w 180"/>
                  <a:gd name="T91" fmla="*/ 7 h 146"/>
                  <a:gd name="T92" fmla="*/ 75 w 180"/>
                  <a:gd name="T93" fmla="*/ 0 h 146"/>
                  <a:gd name="T94" fmla="*/ 67 w 180"/>
                  <a:gd name="T95" fmla="*/ 0 h 1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180" h="146">
                    <a:moveTo>
                      <a:pt x="156" y="130"/>
                    </a:moveTo>
                    <a:cubicBezTo>
                      <a:pt x="156" y="130"/>
                      <a:pt x="156" y="131"/>
                      <a:pt x="156" y="131"/>
                    </a:cubicBezTo>
                    <a:cubicBezTo>
                      <a:pt x="156" y="131"/>
                      <a:pt x="156" y="130"/>
                      <a:pt x="157" y="130"/>
                    </a:cubicBezTo>
                    <a:cubicBezTo>
                      <a:pt x="157" y="130"/>
                      <a:pt x="156" y="130"/>
                      <a:pt x="156" y="130"/>
                    </a:cubicBezTo>
                    <a:moveTo>
                      <a:pt x="1" y="91"/>
                    </a:moveTo>
                    <a:cubicBezTo>
                      <a:pt x="0" y="93"/>
                      <a:pt x="0" y="93"/>
                      <a:pt x="0" y="93"/>
                    </a:cubicBezTo>
                    <a:cubicBezTo>
                      <a:pt x="0" y="94"/>
                      <a:pt x="0" y="96"/>
                      <a:pt x="0" y="97"/>
                    </a:cubicBezTo>
                    <a:cubicBezTo>
                      <a:pt x="2" y="97"/>
                      <a:pt x="4" y="97"/>
                      <a:pt x="6" y="97"/>
                    </a:cubicBezTo>
                    <a:cubicBezTo>
                      <a:pt x="13" y="97"/>
                      <a:pt x="21" y="96"/>
                      <a:pt x="26" y="91"/>
                    </a:cubicBezTo>
                    <a:cubicBezTo>
                      <a:pt x="24" y="92"/>
                      <a:pt x="22" y="92"/>
                      <a:pt x="20" y="93"/>
                    </a:cubicBezTo>
                    <a:cubicBezTo>
                      <a:pt x="20" y="93"/>
                      <a:pt x="20" y="93"/>
                      <a:pt x="19" y="93"/>
                    </a:cubicBezTo>
                    <a:cubicBezTo>
                      <a:pt x="19" y="93"/>
                      <a:pt x="19" y="93"/>
                      <a:pt x="19" y="93"/>
                    </a:cubicBezTo>
                    <a:cubicBezTo>
                      <a:pt x="19" y="93"/>
                      <a:pt x="19" y="93"/>
                      <a:pt x="19" y="93"/>
                    </a:cubicBezTo>
                    <a:cubicBezTo>
                      <a:pt x="17" y="93"/>
                      <a:pt x="16" y="93"/>
                      <a:pt x="15" y="93"/>
                    </a:cubicBezTo>
                    <a:cubicBezTo>
                      <a:pt x="15" y="93"/>
                      <a:pt x="15" y="93"/>
                      <a:pt x="15" y="93"/>
                    </a:cubicBezTo>
                    <a:cubicBezTo>
                      <a:pt x="15" y="93"/>
                      <a:pt x="15" y="93"/>
                      <a:pt x="15" y="93"/>
                    </a:cubicBezTo>
                    <a:cubicBezTo>
                      <a:pt x="15" y="93"/>
                      <a:pt x="15" y="93"/>
                      <a:pt x="15" y="93"/>
                    </a:cubicBezTo>
                    <a:cubicBezTo>
                      <a:pt x="15" y="93"/>
                      <a:pt x="15" y="93"/>
                      <a:pt x="15" y="93"/>
                    </a:cubicBezTo>
                    <a:cubicBezTo>
                      <a:pt x="10" y="93"/>
                      <a:pt x="5" y="92"/>
                      <a:pt x="1" y="91"/>
                    </a:cubicBezTo>
                    <a:moveTo>
                      <a:pt x="140" y="80"/>
                    </a:moveTo>
                    <a:cubicBezTo>
                      <a:pt x="136" y="84"/>
                      <a:pt x="134" y="89"/>
                      <a:pt x="135" y="97"/>
                    </a:cubicBezTo>
                    <a:cubicBezTo>
                      <a:pt x="138" y="110"/>
                      <a:pt x="149" y="121"/>
                      <a:pt x="162" y="124"/>
                    </a:cubicBezTo>
                    <a:cubicBezTo>
                      <a:pt x="163" y="122"/>
                      <a:pt x="164" y="120"/>
                      <a:pt x="165" y="118"/>
                    </a:cubicBezTo>
                    <a:cubicBezTo>
                      <a:pt x="155" y="114"/>
                      <a:pt x="147" y="106"/>
                      <a:pt x="143" y="97"/>
                    </a:cubicBezTo>
                    <a:cubicBezTo>
                      <a:pt x="141" y="92"/>
                      <a:pt x="140" y="88"/>
                      <a:pt x="140" y="84"/>
                    </a:cubicBezTo>
                    <a:cubicBezTo>
                      <a:pt x="140" y="83"/>
                      <a:pt x="140" y="81"/>
                      <a:pt x="140" y="80"/>
                    </a:cubicBezTo>
                    <a:moveTo>
                      <a:pt x="68" y="10"/>
                    </a:moveTo>
                    <a:cubicBezTo>
                      <a:pt x="62" y="11"/>
                      <a:pt x="55" y="10"/>
                      <a:pt x="49" y="12"/>
                    </a:cubicBezTo>
                    <a:cubicBezTo>
                      <a:pt x="42" y="15"/>
                      <a:pt x="36" y="19"/>
                      <a:pt x="30" y="24"/>
                    </a:cubicBezTo>
                    <a:cubicBezTo>
                      <a:pt x="27" y="31"/>
                      <a:pt x="27" y="31"/>
                      <a:pt x="27" y="31"/>
                    </a:cubicBezTo>
                    <a:cubicBezTo>
                      <a:pt x="38" y="36"/>
                      <a:pt x="48" y="46"/>
                      <a:pt x="48" y="56"/>
                    </a:cubicBezTo>
                    <a:cubicBezTo>
                      <a:pt x="48" y="56"/>
                      <a:pt x="48" y="57"/>
                      <a:pt x="48" y="57"/>
                    </a:cubicBezTo>
                    <a:cubicBezTo>
                      <a:pt x="48" y="58"/>
                      <a:pt x="48" y="60"/>
                      <a:pt x="48" y="61"/>
                    </a:cubicBezTo>
                    <a:cubicBezTo>
                      <a:pt x="48" y="70"/>
                      <a:pt x="46" y="76"/>
                      <a:pt x="41" y="82"/>
                    </a:cubicBezTo>
                    <a:cubicBezTo>
                      <a:pt x="41" y="83"/>
                      <a:pt x="40" y="85"/>
                      <a:pt x="39" y="87"/>
                    </a:cubicBezTo>
                    <a:cubicBezTo>
                      <a:pt x="32" y="100"/>
                      <a:pt x="19" y="105"/>
                      <a:pt x="5" y="105"/>
                    </a:cubicBezTo>
                    <a:cubicBezTo>
                      <a:pt x="4" y="105"/>
                      <a:pt x="2" y="105"/>
                      <a:pt x="1" y="105"/>
                    </a:cubicBezTo>
                    <a:cubicBezTo>
                      <a:pt x="4" y="115"/>
                      <a:pt x="12" y="124"/>
                      <a:pt x="18" y="132"/>
                    </a:cubicBezTo>
                    <a:cubicBezTo>
                      <a:pt x="31" y="132"/>
                      <a:pt x="31" y="132"/>
                      <a:pt x="31" y="132"/>
                    </a:cubicBezTo>
                    <a:cubicBezTo>
                      <a:pt x="36" y="127"/>
                      <a:pt x="42" y="124"/>
                      <a:pt x="48" y="121"/>
                    </a:cubicBezTo>
                    <a:cubicBezTo>
                      <a:pt x="56" y="117"/>
                      <a:pt x="65" y="114"/>
                      <a:pt x="73" y="113"/>
                    </a:cubicBezTo>
                    <a:cubicBezTo>
                      <a:pt x="77" y="114"/>
                      <a:pt x="77" y="114"/>
                      <a:pt x="77" y="114"/>
                    </a:cubicBezTo>
                    <a:cubicBezTo>
                      <a:pt x="83" y="117"/>
                      <a:pt x="88" y="114"/>
                      <a:pt x="94" y="117"/>
                    </a:cubicBezTo>
                    <a:cubicBezTo>
                      <a:pt x="103" y="119"/>
                      <a:pt x="106" y="135"/>
                      <a:pt x="107" y="142"/>
                    </a:cubicBezTo>
                    <a:cubicBezTo>
                      <a:pt x="107" y="143"/>
                      <a:pt x="107" y="144"/>
                      <a:pt x="107" y="146"/>
                    </a:cubicBezTo>
                    <a:cubicBezTo>
                      <a:pt x="107" y="146"/>
                      <a:pt x="107" y="146"/>
                      <a:pt x="107" y="146"/>
                    </a:cubicBezTo>
                    <a:cubicBezTo>
                      <a:pt x="123" y="146"/>
                      <a:pt x="123" y="146"/>
                      <a:pt x="123" y="146"/>
                    </a:cubicBezTo>
                    <a:cubicBezTo>
                      <a:pt x="130" y="146"/>
                      <a:pt x="137" y="143"/>
                      <a:pt x="144" y="139"/>
                    </a:cubicBezTo>
                    <a:cubicBezTo>
                      <a:pt x="148" y="136"/>
                      <a:pt x="151" y="133"/>
                      <a:pt x="153" y="129"/>
                    </a:cubicBezTo>
                    <a:cubicBezTo>
                      <a:pt x="139" y="123"/>
                      <a:pt x="126" y="107"/>
                      <a:pt x="127" y="91"/>
                    </a:cubicBezTo>
                    <a:cubicBezTo>
                      <a:pt x="128" y="78"/>
                      <a:pt x="137" y="71"/>
                      <a:pt x="147" y="68"/>
                    </a:cubicBezTo>
                    <a:cubicBezTo>
                      <a:pt x="154" y="62"/>
                      <a:pt x="161" y="61"/>
                      <a:pt x="169" y="60"/>
                    </a:cubicBezTo>
                    <a:cubicBezTo>
                      <a:pt x="165" y="50"/>
                      <a:pt x="155" y="41"/>
                      <a:pt x="146" y="36"/>
                    </a:cubicBezTo>
                    <a:cubicBezTo>
                      <a:pt x="144" y="34"/>
                      <a:pt x="145" y="31"/>
                      <a:pt x="148" y="31"/>
                    </a:cubicBezTo>
                    <a:cubicBezTo>
                      <a:pt x="148" y="31"/>
                      <a:pt x="149" y="31"/>
                      <a:pt x="149" y="31"/>
                    </a:cubicBezTo>
                    <a:cubicBezTo>
                      <a:pt x="156" y="35"/>
                      <a:pt x="162" y="40"/>
                      <a:pt x="167" y="47"/>
                    </a:cubicBezTo>
                    <a:cubicBezTo>
                      <a:pt x="170" y="51"/>
                      <a:pt x="173" y="55"/>
                      <a:pt x="173" y="60"/>
                    </a:cubicBezTo>
                    <a:cubicBezTo>
                      <a:pt x="175" y="60"/>
                      <a:pt x="176" y="60"/>
                      <a:pt x="177" y="60"/>
                    </a:cubicBezTo>
                    <a:cubicBezTo>
                      <a:pt x="177" y="60"/>
                      <a:pt x="177" y="60"/>
                      <a:pt x="177" y="60"/>
                    </a:cubicBezTo>
                    <a:cubicBezTo>
                      <a:pt x="180" y="57"/>
                      <a:pt x="180" y="57"/>
                      <a:pt x="180" y="57"/>
                    </a:cubicBezTo>
                    <a:cubicBezTo>
                      <a:pt x="180" y="57"/>
                      <a:pt x="180" y="57"/>
                      <a:pt x="180" y="57"/>
                    </a:cubicBezTo>
                    <a:cubicBezTo>
                      <a:pt x="180" y="56"/>
                      <a:pt x="180" y="56"/>
                      <a:pt x="180" y="56"/>
                    </a:cubicBezTo>
                    <a:cubicBezTo>
                      <a:pt x="180" y="54"/>
                      <a:pt x="180" y="52"/>
                      <a:pt x="180" y="51"/>
                    </a:cubicBezTo>
                    <a:cubicBezTo>
                      <a:pt x="180" y="50"/>
                      <a:pt x="180" y="50"/>
                      <a:pt x="180" y="50"/>
                    </a:cubicBezTo>
                    <a:cubicBezTo>
                      <a:pt x="173" y="40"/>
                      <a:pt x="168" y="32"/>
                      <a:pt x="156" y="25"/>
                    </a:cubicBezTo>
                    <a:cubicBezTo>
                      <a:pt x="148" y="23"/>
                      <a:pt x="148" y="23"/>
                      <a:pt x="148" y="23"/>
                    </a:cubicBezTo>
                    <a:cubicBezTo>
                      <a:pt x="147" y="28"/>
                      <a:pt x="144" y="34"/>
                      <a:pt x="141" y="38"/>
                    </a:cubicBezTo>
                    <a:cubicBezTo>
                      <a:pt x="135" y="53"/>
                      <a:pt x="122" y="63"/>
                      <a:pt x="106" y="63"/>
                    </a:cubicBezTo>
                    <a:cubicBezTo>
                      <a:pt x="103" y="63"/>
                      <a:pt x="101" y="63"/>
                      <a:pt x="98" y="62"/>
                    </a:cubicBezTo>
                    <a:cubicBezTo>
                      <a:pt x="80" y="59"/>
                      <a:pt x="60" y="42"/>
                      <a:pt x="64" y="22"/>
                    </a:cubicBezTo>
                    <a:cubicBezTo>
                      <a:pt x="65" y="18"/>
                      <a:pt x="66" y="14"/>
                      <a:pt x="68" y="10"/>
                    </a:cubicBezTo>
                    <a:moveTo>
                      <a:pt x="77" y="9"/>
                    </a:moveTo>
                    <a:cubicBezTo>
                      <a:pt x="75" y="13"/>
                      <a:pt x="72" y="18"/>
                      <a:pt x="72" y="23"/>
                    </a:cubicBezTo>
                    <a:cubicBezTo>
                      <a:pt x="69" y="39"/>
                      <a:pt x="83" y="50"/>
                      <a:pt x="97" y="54"/>
                    </a:cubicBezTo>
                    <a:cubicBezTo>
                      <a:pt x="100" y="55"/>
                      <a:pt x="103" y="55"/>
                      <a:pt x="106" y="55"/>
                    </a:cubicBezTo>
                    <a:cubicBezTo>
                      <a:pt x="113" y="55"/>
                      <a:pt x="119" y="53"/>
                      <a:pt x="124" y="50"/>
                    </a:cubicBezTo>
                    <a:cubicBezTo>
                      <a:pt x="122" y="50"/>
                      <a:pt x="119" y="51"/>
                      <a:pt x="115" y="51"/>
                    </a:cubicBezTo>
                    <a:cubicBezTo>
                      <a:pt x="115" y="51"/>
                      <a:pt x="115" y="51"/>
                      <a:pt x="115" y="51"/>
                    </a:cubicBezTo>
                    <a:cubicBezTo>
                      <a:pt x="115" y="51"/>
                      <a:pt x="115" y="51"/>
                      <a:pt x="115" y="51"/>
                    </a:cubicBezTo>
                    <a:cubicBezTo>
                      <a:pt x="115" y="51"/>
                      <a:pt x="115" y="51"/>
                      <a:pt x="115" y="51"/>
                    </a:cubicBezTo>
                    <a:cubicBezTo>
                      <a:pt x="115" y="51"/>
                      <a:pt x="115" y="51"/>
                      <a:pt x="115" y="51"/>
                    </a:cubicBezTo>
                    <a:cubicBezTo>
                      <a:pt x="98" y="51"/>
                      <a:pt x="79" y="39"/>
                      <a:pt x="76" y="21"/>
                    </a:cubicBezTo>
                    <a:cubicBezTo>
                      <a:pt x="76" y="21"/>
                      <a:pt x="76" y="21"/>
                      <a:pt x="76" y="20"/>
                    </a:cubicBezTo>
                    <a:cubicBezTo>
                      <a:pt x="76" y="17"/>
                      <a:pt x="76" y="13"/>
                      <a:pt x="77" y="9"/>
                    </a:cubicBezTo>
                    <a:moveTo>
                      <a:pt x="67" y="0"/>
                    </a:moveTo>
                    <a:cubicBezTo>
                      <a:pt x="65" y="0"/>
                      <a:pt x="64" y="0"/>
                      <a:pt x="62" y="0"/>
                    </a:cubicBezTo>
                    <a:cubicBezTo>
                      <a:pt x="54" y="1"/>
                      <a:pt x="47" y="5"/>
                      <a:pt x="40" y="11"/>
                    </a:cubicBezTo>
                    <a:cubicBezTo>
                      <a:pt x="41" y="10"/>
                      <a:pt x="42" y="10"/>
                      <a:pt x="43" y="9"/>
                    </a:cubicBezTo>
                    <a:cubicBezTo>
                      <a:pt x="48" y="7"/>
                      <a:pt x="52" y="7"/>
                      <a:pt x="56" y="7"/>
                    </a:cubicBezTo>
                    <a:cubicBezTo>
                      <a:pt x="58" y="7"/>
                      <a:pt x="59" y="7"/>
                      <a:pt x="61" y="7"/>
                    </a:cubicBezTo>
                    <a:cubicBezTo>
                      <a:pt x="63" y="7"/>
                      <a:pt x="64" y="7"/>
                      <a:pt x="66" y="7"/>
                    </a:cubicBezTo>
                    <a:cubicBezTo>
                      <a:pt x="67" y="7"/>
                      <a:pt x="69" y="7"/>
                      <a:pt x="70" y="7"/>
                    </a:cubicBezTo>
                    <a:cubicBezTo>
                      <a:pt x="72" y="5"/>
                      <a:pt x="73" y="2"/>
                      <a:pt x="75" y="0"/>
                    </a:cubicBezTo>
                    <a:cubicBezTo>
                      <a:pt x="75" y="0"/>
                      <a:pt x="75" y="0"/>
                      <a:pt x="75" y="0"/>
                    </a:cubicBezTo>
                    <a:cubicBezTo>
                      <a:pt x="74" y="0"/>
                      <a:pt x="72" y="0"/>
                      <a:pt x="71" y="0"/>
                    </a:cubicBezTo>
                    <a:cubicBezTo>
                      <a:pt x="70" y="0"/>
                      <a:pt x="68" y="0"/>
                      <a:pt x="67" y="0"/>
                    </a:cubicBezTo>
                  </a:path>
                </a:pathLst>
              </a:custGeom>
              <a:solidFill>
                <a:srgbClr val="6F686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380" name="Freeform 52">
                <a:extLst>
                  <a:ext uri="{FF2B5EF4-FFF2-40B4-BE49-F238E27FC236}">
                    <a16:creationId xmlns:a16="http://schemas.microsoft.com/office/drawing/2014/main" id="{E9D3451B-4A76-47C6-8176-D97AA726E713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2843" y="1956"/>
                <a:ext cx="39" cy="34"/>
              </a:xfrm>
              <a:custGeom>
                <a:avLst/>
                <a:gdLst>
                  <a:gd name="T0" fmla="*/ 11 w 37"/>
                  <a:gd name="T1" fmla="*/ 13 h 32"/>
                  <a:gd name="T2" fmla="*/ 7 w 37"/>
                  <a:gd name="T3" fmla="*/ 20 h 32"/>
                  <a:gd name="T4" fmla="*/ 1 w 37"/>
                  <a:gd name="T5" fmla="*/ 29 h 32"/>
                  <a:gd name="T6" fmla="*/ 1 w 37"/>
                  <a:gd name="T7" fmla="*/ 29 h 32"/>
                  <a:gd name="T8" fmla="*/ 0 w 37"/>
                  <a:gd name="T9" fmla="*/ 30 h 32"/>
                  <a:gd name="T10" fmla="*/ 4 w 37"/>
                  <a:gd name="T11" fmla="*/ 32 h 32"/>
                  <a:gd name="T12" fmla="*/ 4 w 37"/>
                  <a:gd name="T13" fmla="*/ 32 h 32"/>
                  <a:gd name="T14" fmla="*/ 4 w 37"/>
                  <a:gd name="T15" fmla="*/ 32 h 32"/>
                  <a:gd name="T16" fmla="*/ 11 w 37"/>
                  <a:gd name="T17" fmla="*/ 31 h 32"/>
                  <a:gd name="T18" fmla="*/ 13 w 37"/>
                  <a:gd name="T19" fmla="*/ 30 h 32"/>
                  <a:gd name="T20" fmla="*/ 13 w 37"/>
                  <a:gd name="T21" fmla="*/ 30 h 32"/>
                  <a:gd name="T22" fmla="*/ 22 w 37"/>
                  <a:gd name="T23" fmla="*/ 29 h 32"/>
                  <a:gd name="T24" fmla="*/ 22 w 37"/>
                  <a:gd name="T25" fmla="*/ 29 h 32"/>
                  <a:gd name="T26" fmla="*/ 22 w 37"/>
                  <a:gd name="T27" fmla="*/ 29 h 32"/>
                  <a:gd name="T28" fmla="*/ 22 w 37"/>
                  <a:gd name="T29" fmla="*/ 29 h 32"/>
                  <a:gd name="T30" fmla="*/ 22 w 37"/>
                  <a:gd name="T31" fmla="*/ 29 h 32"/>
                  <a:gd name="T32" fmla="*/ 23 w 37"/>
                  <a:gd name="T33" fmla="*/ 29 h 32"/>
                  <a:gd name="T34" fmla="*/ 20 w 37"/>
                  <a:gd name="T35" fmla="*/ 25 h 32"/>
                  <a:gd name="T36" fmla="*/ 11 w 37"/>
                  <a:gd name="T37" fmla="*/ 13 h 32"/>
                  <a:gd name="T38" fmla="*/ 18 w 37"/>
                  <a:gd name="T39" fmla="*/ 0 h 32"/>
                  <a:gd name="T40" fmla="*/ 16 w 37"/>
                  <a:gd name="T41" fmla="*/ 3 h 32"/>
                  <a:gd name="T42" fmla="*/ 15 w 37"/>
                  <a:gd name="T43" fmla="*/ 4 h 32"/>
                  <a:gd name="T44" fmla="*/ 14 w 37"/>
                  <a:gd name="T45" fmla="*/ 8 h 32"/>
                  <a:gd name="T46" fmla="*/ 27 w 37"/>
                  <a:gd name="T47" fmla="*/ 24 h 32"/>
                  <a:gd name="T48" fmla="*/ 30 w 37"/>
                  <a:gd name="T49" fmla="*/ 30 h 32"/>
                  <a:gd name="T50" fmla="*/ 35 w 37"/>
                  <a:gd name="T51" fmla="*/ 31 h 32"/>
                  <a:gd name="T52" fmla="*/ 35 w 37"/>
                  <a:gd name="T53" fmla="*/ 31 h 32"/>
                  <a:gd name="T54" fmla="*/ 35 w 37"/>
                  <a:gd name="T55" fmla="*/ 31 h 32"/>
                  <a:gd name="T56" fmla="*/ 35 w 37"/>
                  <a:gd name="T57" fmla="*/ 31 h 32"/>
                  <a:gd name="T58" fmla="*/ 35 w 37"/>
                  <a:gd name="T59" fmla="*/ 31 h 32"/>
                  <a:gd name="T60" fmla="*/ 35 w 37"/>
                  <a:gd name="T61" fmla="*/ 31 h 32"/>
                  <a:gd name="T62" fmla="*/ 36 w 37"/>
                  <a:gd name="T63" fmla="*/ 29 h 32"/>
                  <a:gd name="T64" fmla="*/ 37 w 37"/>
                  <a:gd name="T65" fmla="*/ 24 h 32"/>
                  <a:gd name="T66" fmla="*/ 20 w 37"/>
                  <a:gd name="T67" fmla="*/ 1 h 32"/>
                  <a:gd name="T68" fmla="*/ 18 w 37"/>
                  <a:gd name="T69" fmla="*/ 0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37" h="32">
                    <a:moveTo>
                      <a:pt x="11" y="13"/>
                    </a:moveTo>
                    <a:cubicBezTo>
                      <a:pt x="9" y="15"/>
                      <a:pt x="8" y="17"/>
                      <a:pt x="7" y="20"/>
                    </a:cubicBezTo>
                    <a:cubicBezTo>
                      <a:pt x="6" y="22"/>
                      <a:pt x="3" y="27"/>
                      <a:pt x="1" y="29"/>
                    </a:cubicBezTo>
                    <a:cubicBezTo>
                      <a:pt x="1" y="29"/>
                      <a:pt x="1" y="29"/>
                      <a:pt x="1" y="29"/>
                    </a:cubicBezTo>
                    <a:cubicBezTo>
                      <a:pt x="1" y="30"/>
                      <a:pt x="0" y="30"/>
                      <a:pt x="0" y="30"/>
                    </a:cubicBezTo>
                    <a:cubicBezTo>
                      <a:pt x="1" y="32"/>
                      <a:pt x="2" y="32"/>
                      <a:pt x="4" y="32"/>
                    </a:cubicBezTo>
                    <a:cubicBezTo>
                      <a:pt x="4" y="32"/>
                      <a:pt x="4" y="32"/>
                      <a:pt x="4" y="32"/>
                    </a:cubicBezTo>
                    <a:cubicBezTo>
                      <a:pt x="4" y="32"/>
                      <a:pt x="4" y="32"/>
                      <a:pt x="4" y="32"/>
                    </a:cubicBezTo>
                    <a:cubicBezTo>
                      <a:pt x="7" y="32"/>
                      <a:pt x="9" y="32"/>
                      <a:pt x="11" y="31"/>
                    </a:cubicBezTo>
                    <a:cubicBezTo>
                      <a:pt x="12" y="31"/>
                      <a:pt x="13" y="31"/>
                      <a:pt x="13" y="30"/>
                    </a:cubicBezTo>
                    <a:cubicBezTo>
                      <a:pt x="13" y="30"/>
                      <a:pt x="13" y="30"/>
                      <a:pt x="13" y="30"/>
                    </a:cubicBezTo>
                    <a:cubicBezTo>
                      <a:pt x="16" y="30"/>
                      <a:pt x="19" y="29"/>
                      <a:pt x="22" y="29"/>
                    </a:cubicBezTo>
                    <a:cubicBezTo>
                      <a:pt x="22" y="29"/>
                      <a:pt x="22" y="29"/>
                      <a:pt x="22" y="29"/>
                    </a:cubicBezTo>
                    <a:cubicBezTo>
                      <a:pt x="22" y="29"/>
                      <a:pt x="22" y="29"/>
                      <a:pt x="22" y="29"/>
                    </a:cubicBezTo>
                    <a:cubicBezTo>
                      <a:pt x="22" y="29"/>
                      <a:pt x="22" y="29"/>
                      <a:pt x="22" y="29"/>
                    </a:cubicBezTo>
                    <a:cubicBezTo>
                      <a:pt x="22" y="29"/>
                      <a:pt x="22" y="29"/>
                      <a:pt x="22" y="29"/>
                    </a:cubicBezTo>
                    <a:cubicBezTo>
                      <a:pt x="22" y="29"/>
                      <a:pt x="22" y="29"/>
                      <a:pt x="23" y="29"/>
                    </a:cubicBezTo>
                    <a:cubicBezTo>
                      <a:pt x="22" y="28"/>
                      <a:pt x="21" y="26"/>
                      <a:pt x="20" y="25"/>
                    </a:cubicBezTo>
                    <a:cubicBezTo>
                      <a:pt x="17" y="21"/>
                      <a:pt x="14" y="17"/>
                      <a:pt x="11" y="13"/>
                    </a:cubicBezTo>
                    <a:moveTo>
                      <a:pt x="18" y="0"/>
                    </a:moveTo>
                    <a:cubicBezTo>
                      <a:pt x="18" y="2"/>
                      <a:pt x="17" y="3"/>
                      <a:pt x="16" y="3"/>
                    </a:cubicBezTo>
                    <a:cubicBezTo>
                      <a:pt x="16" y="4"/>
                      <a:pt x="16" y="4"/>
                      <a:pt x="15" y="4"/>
                    </a:cubicBezTo>
                    <a:cubicBezTo>
                      <a:pt x="15" y="5"/>
                      <a:pt x="14" y="7"/>
                      <a:pt x="14" y="8"/>
                    </a:cubicBezTo>
                    <a:cubicBezTo>
                      <a:pt x="19" y="13"/>
                      <a:pt x="23" y="18"/>
                      <a:pt x="27" y="24"/>
                    </a:cubicBezTo>
                    <a:cubicBezTo>
                      <a:pt x="28" y="25"/>
                      <a:pt x="29" y="28"/>
                      <a:pt x="30" y="30"/>
                    </a:cubicBezTo>
                    <a:cubicBezTo>
                      <a:pt x="32" y="30"/>
                      <a:pt x="33" y="30"/>
                      <a:pt x="35" y="31"/>
                    </a:cubicBezTo>
                    <a:cubicBezTo>
                      <a:pt x="35" y="31"/>
                      <a:pt x="35" y="31"/>
                      <a:pt x="35" y="31"/>
                    </a:cubicBezTo>
                    <a:cubicBezTo>
                      <a:pt x="35" y="31"/>
                      <a:pt x="35" y="31"/>
                      <a:pt x="35" y="31"/>
                    </a:cubicBezTo>
                    <a:cubicBezTo>
                      <a:pt x="35" y="31"/>
                      <a:pt x="35" y="31"/>
                      <a:pt x="35" y="31"/>
                    </a:cubicBezTo>
                    <a:cubicBezTo>
                      <a:pt x="35" y="31"/>
                      <a:pt x="35" y="31"/>
                      <a:pt x="35" y="31"/>
                    </a:cubicBezTo>
                    <a:cubicBezTo>
                      <a:pt x="35" y="31"/>
                      <a:pt x="35" y="31"/>
                      <a:pt x="35" y="31"/>
                    </a:cubicBezTo>
                    <a:cubicBezTo>
                      <a:pt x="36" y="29"/>
                      <a:pt x="36" y="29"/>
                      <a:pt x="36" y="29"/>
                    </a:cubicBezTo>
                    <a:cubicBezTo>
                      <a:pt x="36" y="26"/>
                      <a:pt x="37" y="24"/>
                      <a:pt x="37" y="24"/>
                    </a:cubicBezTo>
                    <a:cubicBezTo>
                      <a:pt x="34" y="17"/>
                      <a:pt x="25" y="6"/>
                      <a:pt x="20" y="1"/>
                    </a:cubicBezTo>
                    <a:cubicBezTo>
                      <a:pt x="18" y="0"/>
                      <a:pt x="18" y="0"/>
                      <a:pt x="18" y="0"/>
                    </a:cubicBezTo>
                  </a:path>
                </a:pathLst>
              </a:custGeom>
              <a:solidFill>
                <a:srgbClr val="6F686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381" name="Freeform 53">
                <a:extLst>
                  <a:ext uri="{FF2B5EF4-FFF2-40B4-BE49-F238E27FC236}">
                    <a16:creationId xmlns:a16="http://schemas.microsoft.com/office/drawing/2014/main" id="{A09774A9-2CEC-463A-AC23-CAADCFADE8F1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2758" y="1934"/>
                <a:ext cx="37" cy="43"/>
              </a:xfrm>
              <a:custGeom>
                <a:avLst/>
                <a:gdLst>
                  <a:gd name="T0" fmla="*/ 18 w 35"/>
                  <a:gd name="T1" fmla="*/ 11 h 41"/>
                  <a:gd name="T2" fmla="*/ 6 w 35"/>
                  <a:gd name="T3" fmla="*/ 16 h 41"/>
                  <a:gd name="T4" fmla="*/ 13 w 35"/>
                  <a:gd name="T5" fmla="*/ 23 h 41"/>
                  <a:gd name="T6" fmla="*/ 22 w 35"/>
                  <a:gd name="T7" fmla="*/ 32 h 41"/>
                  <a:gd name="T8" fmla="*/ 22 w 35"/>
                  <a:gd name="T9" fmla="*/ 14 h 41"/>
                  <a:gd name="T10" fmla="*/ 18 w 35"/>
                  <a:gd name="T11" fmla="*/ 11 h 41"/>
                  <a:gd name="T12" fmla="*/ 28 w 35"/>
                  <a:gd name="T13" fmla="*/ 9 h 41"/>
                  <a:gd name="T14" fmla="*/ 24 w 35"/>
                  <a:gd name="T15" fmla="*/ 9 h 41"/>
                  <a:gd name="T16" fmla="*/ 28 w 35"/>
                  <a:gd name="T17" fmla="*/ 37 h 41"/>
                  <a:gd name="T18" fmla="*/ 35 w 35"/>
                  <a:gd name="T19" fmla="*/ 41 h 41"/>
                  <a:gd name="T20" fmla="*/ 33 w 35"/>
                  <a:gd name="T21" fmla="*/ 9 h 41"/>
                  <a:gd name="T22" fmla="*/ 28 w 35"/>
                  <a:gd name="T23" fmla="*/ 9 h 41"/>
                  <a:gd name="T24" fmla="*/ 30 w 35"/>
                  <a:gd name="T25" fmla="*/ 0 h 41"/>
                  <a:gd name="T26" fmla="*/ 29 w 35"/>
                  <a:gd name="T27" fmla="*/ 0 h 41"/>
                  <a:gd name="T28" fmla="*/ 26 w 35"/>
                  <a:gd name="T29" fmla="*/ 1 h 41"/>
                  <a:gd name="T30" fmla="*/ 26 w 35"/>
                  <a:gd name="T31" fmla="*/ 1 h 41"/>
                  <a:gd name="T32" fmla="*/ 15 w 35"/>
                  <a:gd name="T33" fmla="*/ 4 h 41"/>
                  <a:gd name="T34" fmla="*/ 3 w 35"/>
                  <a:gd name="T35" fmla="*/ 10 h 41"/>
                  <a:gd name="T36" fmla="*/ 0 w 35"/>
                  <a:gd name="T37" fmla="*/ 11 h 41"/>
                  <a:gd name="T38" fmla="*/ 1 w 35"/>
                  <a:gd name="T39" fmla="*/ 12 h 41"/>
                  <a:gd name="T40" fmla="*/ 14 w 35"/>
                  <a:gd name="T41" fmla="*/ 8 h 41"/>
                  <a:gd name="T42" fmla="*/ 15 w 35"/>
                  <a:gd name="T43" fmla="*/ 6 h 41"/>
                  <a:gd name="T44" fmla="*/ 30 w 35"/>
                  <a:gd name="T45" fmla="*/ 2 h 41"/>
                  <a:gd name="T46" fmla="*/ 32 w 35"/>
                  <a:gd name="T47" fmla="*/ 2 h 41"/>
                  <a:gd name="T48" fmla="*/ 31 w 35"/>
                  <a:gd name="T49" fmla="*/ 0 h 41"/>
                  <a:gd name="T50" fmla="*/ 31 w 35"/>
                  <a:gd name="T51" fmla="*/ 0 h 41"/>
                  <a:gd name="T52" fmla="*/ 31 w 35"/>
                  <a:gd name="T53" fmla="*/ 0 h 41"/>
                  <a:gd name="T54" fmla="*/ 30 w 35"/>
                  <a:gd name="T55" fmla="*/ 0 h 41"/>
                  <a:gd name="T56" fmla="*/ 30 w 35"/>
                  <a:gd name="T57" fmla="*/ 0 h 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35" h="41">
                    <a:moveTo>
                      <a:pt x="18" y="11"/>
                    </a:moveTo>
                    <a:cubicBezTo>
                      <a:pt x="15" y="11"/>
                      <a:pt x="10" y="13"/>
                      <a:pt x="6" y="16"/>
                    </a:cubicBezTo>
                    <a:cubicBezTo>
                      <a:pt x="8" y="18"/>
                      <a:pt x="11" y="20"/>
                      <a:pt x="13" y="23"/>
                    </a:cubicBezTo>
                    <a:cubicBezTo>
                      <a:pt x="16" y="25"/>
                      <a:pt x="19" y="29"/>
                      <a:pt x="22" y="32"/>
                    </a:cubicBezTo>
                    <a:cubicBezTo>
                      <a:pt x="23" y="26"/>
                      <a:pt x="24" y="18"/>
                      <a:pt x="22" y="14"/>
                    </a:cubicBezTo>
                    <a:cubicBezTo>
                      <a:pt x="21" y="12"/>
                      <a:pt x="20" y="11"/>
                      <a:pt x="18" y="11"/>
                    </a:cubicBezTo>
                    <a:moveTo>
                      <a:pt x="28" y="9"/>
                    </a:moveTo>
                    <a:cubicBezTo>
                      <a:pt x="27" y="9"/>
                      <a:pt x="26" y="9"/>
                      <a:pt x="24" y="9"/>
                    </a:cubicBezTo>
                    <a:cubicBezTo>
                      <a:pt x="27" y="18"/>
                      <a:pt x="27" y="28"/>
                      <a:pt x="28" y="37"/>
                    </a:cubicBezTo>
                    <a:cubicBezTo>
                      <a:pt x="30" y="39"/>
                      <a:pt x="33" y="40"/>
                      <a:pt x="35" y="41"/>
                    </a:cubicBezTo>
                    <a:cubicBezTo>
                      <a:pt x="33" y="30"/>
                      <a:pt x="34" y="20"/>
                      <a:pt x="33" y="9"/>
                    </a:cubicBezTo>
                    <a:cubicBezTo>
                      <a:pt x="31" y="9"/>
                      <a:pt x="30" y="9"/>
                      <a:pt x="28" y="9"/>
                    </a:cubicBezTo>
                    <a:moveTo>
                      <a:pt x="30" y="0"/>
                    </a:moveTo>
                    <a:cubicBezTo>
                      <a:pt x="29" y="0"/>
                      <a:pt x="29" y="0"/>
                      <a:pt x="29" y="0"/>
                    </a:cubicBezTo>
                    <a:cubicBezTo>
                      <a:pt x="28" y="0"/>
                      <a:pt x="27" y="0"/>
                      <a:pt x="26" y="1"/>
                    </a:cubicBezTo>
                    <a:cubicBezTo>
                      <a:pt x="26" y="1"/>
                      <a:pt x="26" y="1"/>
                      <a:pt x="26" y="1"/>
                    </a:cubicBezTo>
                    <a:cubicBezTo>
                      <a:pt x="22" y="1"/>
                      <a:pt x="18" y="3"/>
                      <a:pt x="15" y="4"/>
                    </a:cubicBezTo>
                    <a:cubicBezTo>
                      <a:pt x="13" y="5"/>
                      <a:pt x="8" y="8"/>
                      <a:pt x="3" y="10"/>
                    </a:cubicBezTo>
                    <a:cubicBezTo>
                      <a:pt x="0" y="11"/>
                      <a:pt x="0" y="11"/>
                      <a:pt x="0" y="11"/>
                    </a:cubicBezTo>
                    <a:cubicBezTo>
                      <a:pt x="0" y="11"/>
                      <a:pt x="1" y="12"/>
                      <a:pt x="1" y="12"/>
                    </a:cubicBezTo>
                    <a:cubicBezTo>
                      <a:pt x="6" y="10"/>
                      <a:pt x="10" y="9"/>
                      <a:pt x="14" y="8"/>
                    </a:cubicBezTo>
                    <a:cubicBezTo>
                      <a:pt x="14" y="7"/>
                      <a:pt x="15" y="6"/>
                      <a:pt x="15" y="6"/>
                    </a:cubicBezTo>
                    <a:cubicBezTo>
                      <a:pt x="20" y="3"/>
                      <a:pt x="25" y="2"/>
                      <a:pt x="30" y="2"/>
                    </a:cubicBezTo>
                    <a:cubicBezTo>
                      <a:pt x="31" y="2"/>
                      <a:pt x="31" y="2"/>
                      <a:pt x="32" y="2"/>
                    </a:cubicBezTo>
                    <a:cubicBezTo>
                      <a:pt x="32" y="1"/>
                      <a:pt x="32" y="1"/>
                      <a:pt x="31" y="0"/>
                    </a:cubicBezTo>
                    <a:cubicBezTo>
                      <a:pt x="31" y="0"/>
                      <a:pt x="31" y="0"/>
                      <a:pt x="31" y="0"/>
                    </a:cubicBezTo>
                    <a:cubicBezTo>
                      <a:pt x="31" y="0"/>
                      <a:pt x="31" y="0"/>
                      <a:pt x="31" y="0"/>
                    </a:cubicBezTo>
                    <a:cubicBezTo>
                      <a:pt x="31" y="0"/>
                      <a:pt x="30" y="0"/>
                      <a:pt x="30" y="0"/>
                    </a:cubicBezTo>
                    <a:cubicBezTo>
                      <a:pt x="30" y="0"/>
                      <a:pt x="30" y="0"/>
                      <a:pt x="30" y="0"/>
                    </a:cubicBezTo>
                  </a:path>
                </a:pathLst>
              </a:custGeom>
              <a:solidFill>
                <a:srgbClr val="6F686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382" name="Freeform 54">
                <a:extLst>
                  <a:ext uri="{FF2B5EF4-FFF2-40B4-BE49-F238E27FC236}">
                    <a16:creationId xmlns:a16="http://schemas.microsoft.com/office/drawing/2014/main" id="{141B31CA-BF75-4D02-A680-3A1F39719137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2721" y="1930"/>
                <a:ext cx="181" cy="179"/>
              </a:xfrm>
              <a:custGeom>
                <a:avLst/>
                <a:gdLst>
                  <a:gd name="T0" fmla="*/ 151 w 171"/>
                  <a:gd name="T1" fmla="*/ 117 h 169"/>
                  <a:gd name="T2" fmla="*/ 58 w 171"/>
                  <a:gd name="T3" fmla="*/ 118 h 169"/>
                  <a:gd name="T4" fmla="*/ 46 w 171"/>
                  <a:gd name="T5" fmla="*/ 133 h 169"/>
                  <a:gd name="T6" fmla="*/ 55 w 171"/>
                  <a:gd name="T7" fmla="*/ 134 h 169"/>
                  <a:gd name="T8" fmla="*/ 61 w 171"/>
                  <a:gd name="T9" fmla="*/ 136 h 169"/>
                  <a:gd name="T10" fmla="*/ 146 w 171"/>
                  <a:gd name="T11" fmla="*/ 57 h 169"/>
                  <a:gd name="T12" fmla="*/ 164 w 171"/>
                  <a:gd name="T13" fmla="*/ 83 h 169"/>
                  <a:gd name="T14" fmla="*/ 158 w 171"/>
                  <a:gd name="T15" fmla="*/ 118 h 169"/>
                  <a:gd name="T16" fmla="*/ 163 w 171"/>
                  <a:gd name="T17" fmla="*/ 120 h 169"/>
                  <a:gd name="T18" fmla="*/ 166 w 171"/>
                  <a:gd name="T19" fmla="*/ 108 h 169"/>
                  <a:gd name="T20" fmla="*/ 171 w 171"/>
                  <a:gd name="T21" fmla="*/ 73 h 169"/>
                  <a:gd name="T22" fmla="*/ 159 w 171"/>
                  <a:gd name="T23" fmla="*/ 58 h 169"/>
                  <a:gd name="T24" fmla="*/ 150 w 171"/>
                  <a:gd name="T25" fmla="*/ 56 h 169"/>
                  <a:gd name="T26" fmla="*/ 137 w 171"/>
                  <a:gd name="T27" fmla="*/ 54 h 169"/>
                  <a:gd name="T28" fmla="*/ 126 w 171"/>
                  <a:gd name="T29" fmla="*/ 56 h 169"/>
                  <a:gd name="T30" fmla="*/ 119 w 171"/>
                  <a:gd name="T31" fmla="*/ 57 h 169"/>
                  <a:gd name="T32" fmla="*/ 128 w 171"/>
                  <a:gd name="T33" fmla="*/ 60 h 169"/>
                  <a:gd name="T34" fmla="*/ 138 w 171"/>
                  <a:gd name="T35" fmla="*/ 54 h 169"/>
                  <a:gd name="T36" fmla="*/ 116 w 171"/>
                  <a:gd name="T37" fmla="*/ 54 h 169"/>
                  <a:gd name="T38" fmla="*/ 19 w 171"/>
                  <a:gd name="T39" fmla="*/ 21 h 169"/>
                  <a:gd name="T40" fmla="*/ 40 w 171"/>
                  <a:gd name="T41" fmla="*/ 31 h 169"/>
                  <a:gd name="T42" fmla="*/ 48 w 171"/>
                  <a:gd name="T43" fmla="*/ 27 h 169"/>
                  <a:gd name="T44" fmla="*/ 21 w 171"/>
                  <a:gd name="T45" fmla="*/ 18 h 169"/>
                  <a:gd name="T46" fmla="*/ 35 w 171"/>
                  <a:gd name="T47" fmla="*/ 15 h 169"/>
                  <a:gd name="T48" fmla="*/ 70 w 171"/>
                  <a:gd name="T49" fmla="*/ 45 h 169"/>
                  <a:gd name="T50" fmla="*/ 61 w 171"/>
                  <a:gd name="T51" fmla="*/ 59 h 169"/>
                  <a:gd name="T52" fmla="*/ 30 w 171"/>
                  <a:gd name="T53" fmla="*/ 31 h 169"/>
                  <a:gd name="T54" fmla="*/ 13 w 171"/>
                  <a:gd name="T55" fmla="*/ 88 h 169"/>
                  <a:gd name="T56" fmla="*/ 19 w 171"/>
                  <a:gd name="T57" fmla="*/ 22 h 169"/>
                  <a:gd name="T58" fmla="*/ 5 w 171"/>
                  <a:gd name="T59" fmla="*/ 61 h 169"/>
                  <a:gd name="T60" fmla="*/ 3 w 171"/>
                  <a:gd name="T61" fmla="*/ 69 h 169"/>
                  <a:gd name="T62" fmla="*/ 6 w 171"/>
                  <a:gd name="T63" fmla="*/ 98 h 169"/>
                  <a:gd name="T64" fmla="*/ 129 w 171"/>
                  <a:gd name="T65" fmla="*/ 161 h 169"/>
                  <a:gd name="T66" fmla="*/ 145 w 171"/>
                  <a:gd name="T67" fmla="*/ 132 h 169"/>
                  <a:gd name="T68" fmla="*/ 101 w 171"/>
                  <a:gd name="T69" fmla="*/ 159 h 169"/>
                  <a:gd name="T70" fmla="*/ 53 w 171"/>
                  <a:gd name="T71" fmla="*/ 96 h 169"/>
                  <a:gd name="T72" fmla="*/ 12 w 171"/>
                  <a:gd name="T73" fmla="*/ 91 h 169"/>
                  <a:gd name="T74" fmla="*/ 59 w 171"/>
                  <a:gd name="T75" fmla="*/ 88 h 169"/>
                  <a:gd name="T76" fmla="*/ 72 w 171"/>
                  <a:gd name="T77" fmla="*/ 83 h 169"/>
                  <a:gd name="T78" fmla="*/ 58 w 171"/>
                  <a:gd name="T79" fmla="*/ 98 h 169"/>
                  <a:gd name="T80" fmla="*/ 40 w 171"/>
                  <a:gd name="T81" fmla="*/ 126 h 169"/>
                  <a:gd name="T82" fmla="*/ 69 w 171"/>
                  <a:gd name="T83" fmla="*/ 92 h 169"/>
                  <a:gd name="T84" fmla="*/ 74 w 171"/>
                  <a:gd name="T85" fmla="*/ 95 h 169"/>
                  <a:gd name="T86" fmla="*/ 68 w 171"/>
                  <a:gd name="T87" fmla="*/ 141 h 169"/>
                  <a:gd name="T88" fmla="*/ 128 w 171"/>
                  <a:gd name="T89" fmla="*/ 141 h 169"/>
                  <a:gd name="T90" fmla="*/ 104 w 171"/>
                  <a:gd name="T91" fmla="*/ 102 h 169"/>
                  <a:gd name="T92" fmla="*/ 152 w 171"/>
                  <a:gd name="T93" fmla="*/ 112 h 169"/>
                  <a:gd name="T94" fmla="*/ 155 w 171"/>
                  <a:gd name="T95" fmla="*/ 113 h 169"/>
                  <a:gd name="T96" fmla="*/ 157 w 171"/>
                  <a:gd name="T97" fmla="*/ 97 h 169"/>
                  <a:gd name="T98" fmla="*/ 129 w 171"/>
                  <a:gd name="T99" fmla="*/ 66 h 169"/>
                  <a:gd name="T100" fmla="*/ 107 w 171"/>
                  <a:gd name="T101" fmla="*/ 67 h 169"/>
                  <a:gd name="T102" fmla="*/ 113 w 171"/>
                  <a:gd name="T103" fmla="*/ 47 h 169"/>
                  <a:gd name="T104" fmla="*/ 68 w 171"/>
                  <a:gd name="T105" fmla="*/ 13 h 169"/>
                  <a:gd name="T106" fmla="*/ 61 w 171"/>
                  <a:gd name="T107" fmla="*/ 5 h 169"/>
                  <a:gd name="T108" fmla="*/ 65 w 171"/>
                  <a:gd name="T109" fmla="*/ 4 h 169"/>
                  <a:gd name="T110" fmla="*/ 66 w 171"/>
                  <a:gd name="T111" fmla="*/ 4 h 169"/>
                  <a:gd name="T112" fmla="*/ 131 w 171"/>
                  <a:gd name="T113" fmla="*/ 28 h 169"/>
                  <a:gd name="T114" fmla="*/ 80 w 171"/>
                  <a:gd name="T115" fmla="*/ 1 h 1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171" h="169">
                    <a:moveTo>
                      <a:pt x="120" y="108"/>
                    </a:moveTo>
                    <a:cubicBezTo>
                      <a:pt x="127" y="112"/>
                      <a:pt x="134" y="117"/>
                      <a:pt x="139" y="123"/>
                    </a:cubicBezTo>
                    <a:cubicBezTo>
                      <a:pt x="140" y="122"/>
                      <a:pt x="141" y="121"/>
                      <a:pt x="142" y="121"/>
                    </a:cubicBezTo>
                    <a:cubicBezTo>
                      <a:pt x="145" y="120"/>
                      <a:pt x="149" y="119"/>
                      <a:pt x="151" y="117"/>
                    </a:cubicBezTo>
                    <a:cubicBezTo>
                      <a:pt x="144" y="116"/>
                      <a:pt x="137" y="114"/>
                      <a:pt x="131" y="111"/>
                    </a:cubicBezTo>
                    <a:cubicBezTo>
                      <a:pt x="128" y="110"/>
                      <a:pt x="124" y="109"/>
                      <a:pt x="120" y="108"/>
                    </a:cubicBezTo>
                    <a:moveTo>
                      <a:pt x="64" y="107"/>
                    </a:moveTo>
                    <a:cubicBezTo>
                      <a:pt x="62" y="111"/>
                      <a:pt x="60" y="114"/>
                      <a:pt x="58" y="118"/>
                    </a:cubicBezTo>
                    <a:cubicBezTo>
                      <a:pt x="56" y="121"/>
                      <a:pt x="54" y="123"/>
                      <a:pt x="51" y="125"/>
                    </a:cubicBezTo>
                    <a:cubicBezTo>
                      <a:pt x="48" y="127"/>
                      <a:pt x="47" y="130"/>
                      <a:pt x="44" y="132"/>
                    </a:cubicBezTo>
                    <a:cubicBezTo>
                      <a:pt x="44" y="132"/>
                      <a:pt x="45" y="132"/>
                      <a:pt x="45" y="133"/>
                    </a:cubicBezTo>
                    <a:cubicBezTo>
                      <a:pt x="45" y="133"/>
                      <a:pt x="45" y="133"/>
                      <a:pt x="46" y="133"/>
                    </a:cubicBezTo>
                    <a:cubicBezTo>
                      <a:pt x="46" y="133"/>
                      <a:pt x="46" y="133"/>
                      <a:pt x="46" y="133"/>
                    </a:cubicBezTo>
                    <a:cubicBezTo>
                      <a:pt x="47" y="133"/>
                      <a:pt x="47" y="133"/>
                      <a:pt x="47" y="133"/>
                    </a:cubicBezTo>
                    <a:cubicBezTo>
                      <a:pt x="48" y="133"/>
                      <a:pt x="50" y="133"/>
                      <a:pt x="51" y="134"/>
                    </a:cubicBezTo>
                    <a:cubicBezTo>
                      <a:pt x="52" y="134"/>
                      <a:pt x="54" y="134"/>
                      <a:pt x="55" y="134"/>
                    </a:cubicBezTo>
                    <a:cubicBezTo>
                      <a:pt x="55" y="134"/>
                      <a:pt x="56" y="134"/>
                      <a:pt x="56" y="134"/>
                    </a:cubicBezTo>
                    <a:cubicBezTo>
                      <a:pt x="57" y="134"/>
                      <a:pt x="57" y="134"/>
                      <a:pt x="57" y="134"/>
                    </a:cubicBezTo>
                    <a:cubicBezTo>
                      <a:pt x="59" y="134"/>
                      <a:pt x="60" y="135"/>
                      <a:pt x="60" y="136"/>
                    </a:cubicBezTo>
                    <a:cubicBezTo>
                      <a:pt x="60" y="136"/>
                      <a:pt x="61" y="136"/>
                      <a:pt x="61" y="136"/>
                    </a:cubicBezTo>
                    <a:cubicBezTo>
                      <a:pt x="60" y="131"/>
                      <a:pt x="61" y="125"/>
                      <a:pt x="62" y="121"/>
                    </a:cubicBezTo>
                    <a:cubicBezTo>
                      <a:pt x="62" y="117"/>
                      <a:pt x="63" y="112"/>
                      <a:pt x="64" y="107"/>
                    </a:cubicBezTo>
                    <a:moveTo>
                      <a:pt x="145" y="55"/>
                    </a:moveTo>
                    <a:cubicBezTo>
                      <a:pt x="146" y="56"/>
                      <a:pt x="146" y="57"/>
                      <a:pt x="146" y="57"/>
                    </a:cubicBezTo>
                    <a:cubicBezTo>
                      <a:pt x="146" y="59"/>
                      <a:pt x="145" y="61"/>
                      <a:pt x="144" y="62"/>
                    </a:cubicBezTo>
                    <a:cubicBezTo>
                      <a:pt x="147" y="63"/>
                      <a:pt x="150" y="63"/>
                      <a:pt x="152" y="64"/>
                    </a:cubicBezTo>
                    <a:cubicBezTo>
                      <a:pt x="155" y="65"/>
                      <a:pt x="159" y="65"/>
                      <a:pt x="162" y="67"/>
                    </a:cubicBezTo>
                    <a:cubicBezTo>
                      <a:pt x="166" y="70"/>
                      <a:pt x="165" y="78"/>
                      <a:pt x="164" y="83"/>
                    </a:cubicBezTo>
                    <a:cubicBezTo>
                      <a:pt x="163" y="93"/>
                      <a:pt x="164" y="106"/>
                      <a:pt x="160" y="115"/>
                    </a:cubicBezTo>
                    <a:cubicBezTo>
                      <a:pt x="161" y="117"/>
                      <a:pt x="161" y="119"/>
                      <a:pt x="159" y="119"/>
                    </a:cubicBezTo>
                    <a:cubicBezTo>
                      <a:pt x="159" y="119"/>
                      <a:pt x="159" y="119"/>
                      <a:pt x="159" y="119"/>
                    </a:cubicBezTo>
                    <a:cubicBezTo>
                      <a:pt x="159" y="119"/>
                      <a:pt x="159" y="119"/>
                      <a:pt x="158" y="118"/>
                    </a:cubicBezTo>
                    <a:cubicBezTo>
                      <a:pt x="158" y="119"/>
                      <a:pt x="157" y="119"/>
                      <a:pt x="157" y="119"/>
                    </a:cubicBezTo>
                    <a:cubicBezTo>
                      <a:pt x="157" y="119"/>
                      <a:pt x="157" y="119"/>
                      <a:pt x="156" y="119"/>
                    </a:cubicBezTo>
                    <a:cubicBezTo>
                      <a:pt x="157" y="127"/>
                      <a:pt x="157" y="134"/>
                      <a:pt x="154" y="142"/>
                    </a:cubicBezTo>
                    <a:cubicBezTo>
                      <a:pt x="159" y="136"/>
                      <a:pt x="163" y="129"/>
                      <a:pt x="163" y="120"/>
                    </a:cubicBezTo>
                    <a:cubicBezTo>
                      <a:pt x="164" y="115"/>
                      <a:pt x="163" y="112"/>
                      <a:pt x="164" y="107"/>
                    </a:cubicBezTo>
                    <a:cubicBezTo>
                      <a:pt x="164" y="107"/>
                      <a:pt x="165" y="107"/>
                      <a:pt x="165" y="108"/>
                    </a:cubicBezTo>
                    <a:cubicBezTo>
                      <a:pt x="166" y="108"/>
                      <a:pt x="166" y="108"/>
                      <a:pt x="166" y="108"/>
                    </a:cubicBezTo>
                    <a:cubicBezTo>
                      <a:pt x="166" y="108"/>
                      <a:pt x="166" y="108"/>
                      <a:pt x="166" y="108"/>
                    </a:cubicBezTo>
                    <a:cubicBezTo>
                      <a:pt x="166" y="108"/>
                      <a:pt x="166" y="108"/>
                      <a:pt x="166" y="108"/>
                    </a:cubicBezTo>
                    <a:cubicBezTo>
                      <a:pt x="169" y="102"/>
                      <a:pt x="168" y="97"/>
                      <a:pt x="169" y="93"/>
                    </a:cubicBezTo>
                    <a:cubicBezTo>
                      <a:pt x="169" y="92"/>
                      <a:pt x="169" y="90"/>
                      <a:pt x="169" y="89"/>
                    </a:cubicBezTo>
                    <a:cubicBezTo>
                      <a:pt x="169" y="84"/>
                      <a:pt x="170" y="79"/>
                      <a:pt x="171" y="73"/>
                    </a:cubicBezTo>
                    <a:cubicBezTo>
                      <a:pt x="171" y="73"/>
                      <a:pt x="170" y="72"/>
                      <a:pt x="170" y="71"/>
                    </a:cubicBezTo>
                    <a:cubicBezTo>
                      <a:pt x="170" y="69"/>
                      <a:pt x="171" y="66"/>
                      <a:pt x="171" y="64"/>
                    </a:cubicBezTo>
                    <a:cubicBezTo>
                      <a:pt x="171" y="63"/>
                      <a:pt x="171" y="61"/>
                      <a:pt x="169" y="60"/>
                    </a:cubicBezTo>
                    <a:cubicBezTo>
                      <a:pt x="167" y="59"/>
                      <a:pt x="161" y="58"/>
                      <a:pt x="159" y="58"/>
                    </a:cubicBezTo>
                    <a:cubicBezTo>
                      <a:pt x="156" y="57"/>
                      <a:pt x="153" y="56"/>
                      <a:pt x="150" y="56"/>
                    </a:cubicBezTo>
                    <a:cubicBezTo>
                      <a:pt x="150" y="56"/>
                      <a:pt x="150" y="56"/>
                      <a:pt x="150" y="56"/>
                    </a:cubicBezTo>
                    <a:cubicBezTo>
                      <a:pt x="150" y="56"/>
                      <a:pt x="150" y="56"/>
                      <a:pt x="150" y="56"/>
                    </a:cubicBezTo>
                    <a:cubicBezTo>
                      <a:pt x="150" y="56"/>
                      <a:pt x="150" y="56"/>
                      <a:pt x="150" y="56"/>
                    </a:cubicBezTo>
                    <a:cubicBezTo>
                      <a:pt x="150" y="56"/>
                      <a:pt x="150" y="56"/>
                      <a:pt x="150" y="56"/>
                    </a:cubicBezTo>
                    <a:cubicBezTo>
                      <a:pt x="148" y="55"/>
                      <a:pt x="147" y="55"/>
                      <a:pt x="145" y="55"/>
                    </a:cubicBezTo>
                    <a:moveTo>
                      <a:pt x="137" y="54"/>
                    </a:moveTo>
                    <a:cubicBezTo>
                      <a:pt x="137" y="54"/>
                      <a:pt x="137" y="54"/>
                      <a:pt x="137" y="54"/>
                    </a:cubicBezTo>
                    <a:cubicBezTo>
                      <a:pt x="137" y="54"/>
                      <a:pt x="137" y="54"/>
                      <a:pt x="137" y="54"/>
                    </a:cubicBezTo>
                    <a:cubicBezTo>
                      <a:pt x="134" y="54"/>
                      <a:pt x="131" y="55"/>
                      <a:pt x="128" y="55"/>
                    </a:cubicBezTo>
                    <a:cubicBezTo>
                      <a:pt x="128" y="55"/>
                      <a:pt x="128" y="55"/>
                      <a:pt x="128" y="55"/>
                    </a:cubicBezTo>
                    <a:cubicBezTo>
                      <a:pt x="128" y="56"/>
                      <a:pt x="127" y="56"/>
                      <a:pt x="126" y="56"/>
                    </a:cubicBezTo>
                    <a:cubicBezTo>
                      <a:pt x="124" y="57"/>
                      <a:pt x="122" y="57"/>
                      <a:pt x="119" y="57"/>
                    </a:cubicBezTo>
                    <a:cubicBezTo>
                      <a:pt x="119" y="57"/>
                      <a:pt x="119" y="57"/>
                      <a:pt x="119" y="57"/>
                    </a:cubicBezTo>
                    <a:cubicBezTo>
                      <a:pt x="119" y="57"/>
                      <a:pt x="119" y="57"/>
                      <a:pt x="119" y="57"/>
                    </a:cubicBezTo>
                    <a:cubicBezTo>
                      <a:pt x="119" y="57"/>
                      <a:pt x="119" y="57"/>
                      <a:pt x="119" y="57"/>
                    </a:cubicBezTo>
                    <a:cubicBezTo>
                      <a:pt x="117" y="57"/>
                      <a:pt x="116" y="57"/>
                      <a:pt x="115" y="55"/>
                    </a:cubicBezTo>
                    <a:cubicBezTo>
                      <a:pt x="114" y="58"/>
                      <a:pt x="113" y="61"/>
                      <a:pt x="111" y="63"/>
                    </a:cubicBezTo>
                    <a:cubicBezTo>
                      <a:pt x="115" y="63"/>
                      <a:pt x="120" y="60"/>
                      <a:pt x="123" y="60"/>
                    </a:cubicBezTo>
                    <a:cubicBezTo>
                      <a:pt x="124" y="60"/>
                      <a:pt x="126" y="60"/>
                      <a:pt x="128" y="60"/>
                    </a:cubicBezTo>
                    <a:cubicBezTo>
                      <a:pt x="131" y="60"/>
                      <a:pt x="134" y="60"/>
                      <a:pt x="137" y="60"/>
                    </a:cubicBezTo>
                    <a:cubicBezTo>
                      <a:pt x="138" y="61"/>
                      <a:pt x="139" y="61"/>
                      <a:pt x="140" y="61"/>
                    </a:cubicBezTo>
                    <a:cubicBezTo>
                      <a:pt x="140" y="59"/>
                      <a:pt x="140" y="58"/>
                      <a:pt x="139" y="56"/>
                    </a:cubicBezTo>
                    <a:cubicBezTo>
                      <a:pt x="139" y="56"/>
                      <a:pt x="138" y="55"/>
                      <a:pt x="138" y="54"/>
                    </a:cubicBezTo>
                    <a:cubicBezTo>
                      <a:pt x="137" y="54"/>
                      <a:pt x="137" y="54"/>
                      <a:pt x="137" y="54"/>
                    </a:cubicBezTo>
                    <a:cubicBezTo>
                      <a:pt x="137" y="54"/>
                      <a:pt x="137" y="54"/>
                      <a:pt x="137" y="54"/>
                    </a:cubicBezTo>
                    <a:moveTo>
                      <a:pt x="122" y="45"/>
                    </a:moveTo>
                    <a:cubicBezTo>
                      <a:pt x="120" y="48"/>
                      <a:pt x="118" y="51"/>
                      <a:pt x="116" y="54"/>
                    </a:cubicBezTo>
                    <a:cubicBezTo>
                      <a:pt x="118" y="52"/>
                      <a:pt x="121" y="47"/>
                      <a:pt x="122" y="45"/>
                    </a:cubicBezTo>
                    <a:moveTo>
                      <a:pt x="19" y="21"/>
                    </a:moveTo>
                    <a:cubicBezTo>
                      <a:pt x="19" y="21"/>
                      <a:pt x="18" y="21"/>
                      <a:pt x="18" y="21"/>
                    </a:cubicBezTo>
                    <a:cubicBezTo>
                      <a:pt x="19" y="21"/>
                      <a:pt x="19" y="21"/>
                      <a:pt x="19" y="21"/>
                    </a:cubicBezTo>
                    <a:cubicBezTo>
                      <a:pt x="19" y="21"/>
                      <a:pt x="19" y="21"/>
                      <a:pt x="19" y="21"/>
                    </a:cubicBezTo>
                    <a:moveTo>
                      <a:pt x="41" y="20"/>
                    </a:moveTo>
                    <a:cubicBezTo>
                      <a:pt x="38" y="21"/>
                      <a:pt x="35" y="23"/>
                      <a:pt x="33" y="24"/>
                    </a:cubicBezTo>
                    <a:cubicBezTo>
                      <a:pt x="36" y="26"/>
                      <a:pt x="38" y="29"/>
                      <a:pt x="40" y="31"/>
                    </a:cubicBezTo>
                    <a:cubicBezTo>
                      <a:pt x="45" y="37"/>
                      <a:pt x="51" y="45"/>
                      <a:pt x="57" y="50"/>
                    </a:cubicBezTo>
                    <a:cubicBezTo>
                      <a:pt x="57" y="46"/>
                      <a:pt x="57" y="43"/>
                      <a:pt x="57" y="39"/>
                    </a:cubicBezTo>
                    <a:cubicBezTo>
                      <a:pt x="57" y="38"/>
                      <a:pt x="57" y="37"/>
                      <a:pt x="57" y="36"/>
                    </a:cubicBezTo>
                    <a:cubicBezTo>
                      <a:pt x="54" y="33"/>
                      <a:pt x="51" y="29"/>
                      <a:pt x="48" y="27"/>
                    </a:cubicBezTo>
                    <a:cubicBezTo>
                      <a:pt x="46" y="24"/>
                      <a:pt x="43" y="22"/>
                      <a:pt x="41" y="20"/>
                    </a:cubicBezTo>
                    <a:moveTo>
                      <a:pt x="32" y="13"/>
                    </a:moveTo>
                    <a:cubicBezTo>
                      <a:pt x="27" y="13"/>
                      <a:pt x="27" y="13"/>
                      <a:pt x="27" y="13"/>
                    </a:cubicBezTo>
                    <a:cubicBezTo>
                      <a:pt x="25" y="15"/>
                      <a:pt x="23" y="16"/>
                      <a:pt x="21" y="18"/>
                    </a:cubicBezTo>
                    <a:cubicBezTo>
                      <a:pt x="24" y="18"/>
                      <a:pt x="26" y="19"/>
                      <a:pt x="28" y="20"/>
                    </a:cubicBezTo>
                    <a:cubicBezTo>
                      <a:pt x="28" y="20"/>
                      <a:pt x="28" y="20"/>
                      <a:pt x="28" y="20"/>
                    </a:cubicBezTo>
                    <a:cubicBezTo>
                      <a:pt x="31" y="19"/>
                      <a:pt x="34" y="17"/>
                      <a:pt x="36" y="16"/>
                    </a:cubicBezTo>
                    <a:cubicBezTo>
                      <a:pt x="36" y="16"/>
                      <a:pt x="35" y="15"/>
                      <a:pt x="35" y="15"/>
                    </a:cubicBezTo>
                    <a:cubicBezTo>
                      <a:pt x="35" y="15"/>
                      <a:pt x="35" y="15"/>
                      <a:pt x="35" y="15"/>
                    </a:cubicBezTo>
                    <a:cubicBezTo>
                      <a:pt x="34" y="14"/>
                      <a:pt x="33" y="14"/>
                      <a:pt x="32" y="13"/>
                    </a:cubicBezTo>
                    <a:moveTo>
                      <a:pt x="68" y="13"/>
                    </a:moveTo>
                    <a:cubicBezTo>
                      <a:pt x="69" y="24"/>
                      <a:pt x="68" y="34"/>
                      <a:pt x="70" y="45"/>
                    </a:cubicBezTo>
                    <a:cubicBezTo>
                      <a:pt x="70" y="45"/>
                      <a:pt x="70" y="45"/>
                      <a:pt x="70" y="45"/>
                    </a:cubicBezTo>
                    <a:cubicBezTo>
                      <a:pt x="68" y="44"/>
                      <a:pt x="65" y="43"/>
                      <a:pt x="63" y="41"/>
                    </a:cubicBezTo>
                    <a:cubicBezTo>
                      <a:pt x="64" y="46"/>
                      <a:pt x="64" y="50"/>
                      <a:pt x="65" y="55"/>
                    </a:cubicBezTo>
                    <a:cubicBezTo>
                      <a:pt x="66" y="57"/>
                      <a:pt x="63" y="59"/>
                      <a:pt x="61" y="59"/>
                    </a:cubicBezTo>
                    <a:cubicBezTo>
                      <a:pt x="60" y="59"/>
                      <a:pt x="59" y="59"/>
                      <a:pt x="59" y="57"/>
                    </a:cubicBezTo>
                    <a:cubicBezTo>
                      <a:pt x="58" y="56"/>
                      <a:pt x="58" y="55"/>
                      <a:pt x="58" y="54"/>
                    </a:cubicBezTo>
                    <a:cubicBezTo>
                      <a:pt x="51" y="51"/>
                      <a:pt x="46" y="46"/>
                      <a:pt x="41" y="41"/>
                    </a:cubicBezTo>
                    <a:cubicBezTo>
                      <a:pt x="37" y="38"/>
                      <a:pt x="34" y="34"/>
                      <a:pt x="30" y="31"/>
                    </a:cubicBezTo>
                    <a:cubicBezTo>
                      <a:pt x="29" y="30"/>
                      <a:pt x="28" y="29"/>
                      <a:pt x="26" y="28"/>
                    </a:cubicBezTo>
                    <a:cubicBezTo>
                      <a:pt x="21" y="35"/>
                      <a:pt x="20" y="43"/>
                      <a:pt x="18" y="51"/>
                    </a:cubicBezTo>
                    <a:cubicBezTo>
                      <a:pt x="14" y="62"/>
                      <a:pt x="10" y="75"/>
                      <a:pt x="14" y="87"/>
                    </a:cubicBezTo>
                    <a:cubicBezTo>
                      <a:pt x="14" y="88"/>
                      <a:pt x="14" y="88"/>
                      <a:pt x="13" y="88"/>
                    </a:cubicBezTo>
                    <a:cubicBezTo>
                      <a:pt x="13" y="88"/>
                      <a:pt x="12" y="88"/>
                      <a:pt x="12" y="88"/>
                    </a:cubicBezTo>
                    <a:cubicBezTo>
                      <a:pt x="6" y="75"/>
                      <a:pt x="8" y="64"/>
                      <a:pt x="11" y="51"/>
                    </a:cubicBezTo>
                    <a:cubicBezTo>
                      <a:pt x="13" y="41"/>
                      <a:pt x="15" y="32"/>
                      <a:pt x="21" y="24"/>
                    </a:cubicBezTo>
                    <a:cubicBezTo>
                      <a:pt x="20" y="24"/>
                      <a:pt x="20" y="23"/>
                      <a:pt x="19" y="22"/>
                    </a:cubicBezTo>
                    <a:cubicBezTo>
                      <a:pt x="19" y="23"/>
                      <a:pt x="19" y="23"/>
                      <a:pt x="19" y="23"/>
                    </a:cubicBezTo>
                    <a:cubicBezTo>
                      <a:pt x="17" y="25"/>
                      <a:pt x="13" y="28"/>
                      <a:pt x="10" y="33"/>
                    </a:cubicBezTo>
                    <a:cubicBezTo>
                      <a:pt x="6" y="40"/>
                      <a:pt x="3" y="47"/>
                      <a:pt x="0" y="54"/>
                    </a:cubicBezTo>
                    <a:cubicBezTo>
                      <a:pt x="3" y="55"/>
                      <a:pt x="4" y="58"/>
                      <a:pt x="5" y="61"/>
                    </a:cubicBezTo>
                    <a:cubicBezTo>
                      <a:pt x="5" y="61"/>
                      <a:pt x="5" y="61"/>
                      <a:pt x="5" y="61"/>
                    </a:cubicBezTo>
                    <a:cubicBezTo>
                      <a:pt x="5" y="61"/>
                      <a:pt x="5" y="61"/>
                      <a:pt x="5" y="61"/>
                    </a:cubicBezTo>
                    <a:cubicBezTo>
                      <a:pt x="3" y="61"/>
                      <a:pt x="3" y="61"/>
                      <a:pt x="3" y="61"/>
                    </a:cubicBezTo>
                    <a:cubicBezTo>
                      <a:pt x="3" y="64"/>
                      <a:pt x="3" y="67"/>
                      <a:pt x="3" y="69"/>
                    </a:cubicBezTo>
                    <a:cubicBezTo>
                      <a:pt x="3" y="73"/>
                      <a:pt x="3" y="77"/>
                      <a:pt x="4" y="81"/>
                    </a:cubicBezTo>
                    <a:cubicBezTo>
                      <a:pt x="6" y="85"/>
                      <a:pt x="9" y="89"/>
                      <a:pt x="10" y="94"/>
                    </a:cubicBezTo>
                    <a:cubicBezTo>
                      <a:pt x="11" y="96"/>
                      <a:pt x="9" y="98"/>
                      <a:pt x="7" y="98"/>
                    </a:cubicBezTo>
                    <a:cubicBezTo>
                      <a:pt x="7" y="98"/>
                      <a:pt x="7" y="98"/>
                      <a:pt x="6" y="98"/>
                    </a:cubicBezTo>
                    <a:cubicBezTo>
                      <a:pt x="9" y="107"/>
                      <a:pt x="13" y="115"/>
                      <a:pt x="18" y="124"/>
                    </a:cubicBezTo>
                    <a:cubicBezTo>
                      <a:pt x="31" y="147"/>
                      <a:pt x="52" y="162"/>
                      <a:pt x="77" y="168"/>
                    </a:cubicBezTo>
                    <a:cubicBezTo>
                      <a:pt x="82" y="169"/>
                      <a:pt x="87" y="169"/>
                      <a:pt x="92" y="169"/>
                    </a:cubicBezTo>
                    <a:cubicBezTo>
                      <a:pt x="105" y="169"/>
                      <a:pt x="117" y="167"/>
                      <a:pt x="129" y="161"/>
                    </a:cubicBezTo>
                    <a:cubicBezTo>
                      <a:pt x="142" y="152"/>
                      <a:pt x="148" y="138"/>
                      <a:pt x="153" y="122"/>
                    </a:cubicBezTo>
                    <a:cubicBezTo>
                      <a:pt x="152" y="122"/>
                      <a:pt x="152" y="122"/>
                      <a:pt x="152" y="122"/>
                    </a:cubicBezTo>
                    <a:cubicBezTo>
                      <a:pt x="150" y="124"/>
                      <a:pt x="146" y="127"/>
                      <a:pt x="143" y="128"/>
                    </a:cubicBezTo>
                    <a:cubicBezTo>
                      <a:pt x="144" y="129"/>
                      <a:pt x="144" y="131"/>
                      <a:pt x="145" y="132"/>
                    </a:cubicBezTo>
                    <a:cubicBezTo>
                      <a:pt x="148" y="142"/>
                      <a:pt x="141" y="143"/>
                      <a:pt x="135" y="147"/>
                    </a:cubicBezTo>
                    <a:cubicBezTo>
                      <a:pt x="129" y="151"/>
                      <a:pt x="125" y="157"/>
                      <a:pt x="118" y="159"/>
                    </a:cubicBezTo>
                    <a:cubicBezTo>
                      <a:pt x="116" y="160"/>
                      <a:pt x="113" y="160"/>
                      <a:pt x="110" y="160"/>
                    </a:cubicBezTo>
                    <a:cubicBezTo>
                      <a:pt x="107" y="160"/>
                      <a:pt x="104" y="160"/>
                      <a:pt x="101" y="159"/>
                    </a:cubicBezTo>
                    <a:cubicBezTo>
                      <a:pt x="88" y="158"/>
                      <a:pt x="67" y="157"/>
                      <a:pt x="60" y="144"/>
                    </a:cubicBezTo>
                    <a:cubicBezTo>
                      <a:pt x="60" y="144"/>
                      <a:pt x="60" y="143"/>
                      <a:pt x="60" y="143"/>
                    </a:cubicBezTo>
                    <a:cubicBezTo>
                      <a:pt x="47" y="141"/>
                      <a:pt x="24" y="137"/>
                      <a:pt x="34" y="122"/>
                    </a:cubicBezTo>
                    <a:cubicBezTo>
                      <a:pt x="40" y="113"/>
                      <a:pt x="46" y="105"/>
                      <a:pt x="53" y="96"/>
                    </a:cubicBezTo>
                    <a:cubicBezTo>
                      <a:pt x="51" y="96"/>
                      <a:pt x="48" y="97"/>
                      <a:pt x="46" y="97"/>
                    </a:cubicBezTo>
                    <a:cubicBezTo>
                      <a:pt x="40" y="98"/>
                      <a:pt x="34" y="99"/>
                      <a:pt x="27" y="99"/>
                    </a:cubicBezTo>
                    <a:cubicBezTo>
                      <a:pt x="22" y="99"/>
                      <a:pt x="17" y="99"/>
                      <a:pt x="12" y="96"/>
                    </a:cubicBezTo>
                    <a:cubicBezTo>
                      <a:pt x="10" y="96"/>
                      <a:pt x="10" y="92"/>
                      <a:pt x="12" y="91"/>
                    </a:cubicBezTo>
                    <a:cubicBezTo>
                      <a:pt x="18" y="89"/>
                      <a:pt x="23" y="89"/>
                      <a:pt x="30" y="89"/>
                    </a:cubicBezTo>
                    <a:cubicBezTo>
                      <a:pt x="33" y="89"/>
                      <a:pt x="36" y="89"/>
                      <a:pt x="39" y="89"/>
                    </a:cubicBezTo>
                    <a:cubicBezTo>
                      <a:pt x="42" y="89"/>
                      <a:pt x="46" y="89"/>
                      <a:pt x="49" y="89"/>
                    </a:cubicBezTo>
                    <a:cubicBezTo>
                      <a:pt x="52" y="89"/>
                      <a:pt x="56" y="89"/>
                      <a:pt x="59" y="88"/>
                    </a:cubicBezTo>
                    <a:cubicBezTo>
                      <a:pt x="62" y="86"/>
                      <a:pt x="65" y="83"/>
                      <a:pt x="68" y="82"/>
                    </a:cubicBezTo>
                    <a:cubicBezTo>
                      <a:pt x="69" y="82"/>
                      <a:pt x="69" y="82"/>
                      <a:pt x="69" y="82"/>
                    </a:cubicBezTo>
                    <a:cubicBezTo>
                      <a:pt x="70" y="82"/>
                      <a:pt x="71" y="83"/>
                      <a:pt x="71" y="84"/>
                    </a:cubicBezTo>
                    <a:cubicBezTo>
                      <a:pt x="71" y="84"/>
                      <a:pt x="72" y="84"/>
                      <a:pt x="72" y="83"/>
                    </a:cubicBezTo>
                    <a:cubicBezTo>
                      <a:pt x="73" y="83"/>
                      <a:pt x="73" y="83"/>
                      <a:pt x="73" y="83"/>
                    </a:cubicBezTo>
                    <a:cubicBezTo>
                      <a:pt x="74" y="83"/>
                      <a:pt x="75" y="85"/>
                      <a:pt x="75" y="86"/>
                    </a:cubicBezTo>
                    <a:cubicBezTo>
                      <a:pt x="71" y="90"/>
                      <a:pt x="67" y="93"/>
                      <a:pt x="61" y="94"/>
                    </a:cubicBezTo>
                    <a:cubicBezTo>
                      <a:pt x="60" y="96"/>
                      <a:pt x="59" y="97"/>
                      <a:pt x="58" y="98"/>
                    </a:cubicBezTo>
                    <a:cubicBezTo>
                      <a:pt x="54" y="104"/>
                      <a:pt x="50" y="109"/>
                      <a:pt x="46" y="115"/>
                    </a:cubicBezTo>
                    <a:cubicBezTo>
                      <a:pt x="44" y="117"/>
                      <a:pt x="42" y="121"/>
                      <a:pt x="41" y="123"/>
                    </a:cubicBezTo>
                    <a:cubicBezTo>
                      <a:pt x="41" y="124"/>
                      <a:pt x="40" y="125"/>
                      <a:pt x="39" y="126"/>
                    </a:cubicBezTo>
                    <a:cubicBezTo>
                      <a:pt x="39" y="126"/>
                      <a:pt x="39" y="126"/>
                      <a:pt x="40" y="126"/>
                    </a:cubicBezTo>
                    <a:cubicBezTo>
                      <a:pt x="41" y="124"/>
                      <a:pt x="42" y="123"/>
                      <a:pt x="44" y="121"/>
                    </a:cubicBezTo>
                    <a:cubicBezTo>
                      <a:pt x="49" y="117"/>
                      <a:pt x="52" y="115"/>
                      <a:pt x="55" y="110"/>
                    </a:cubicBezTo>
                    <a:cubicBezTo>
                      <a:pt x="59" y="105"/>
                      <a:pt x="62" y="99"/>
                      <a:pt x="68" y="95"/>
                    </a:cubicBezTo>
                    <a:cubicBezTo>
                      <a:pt x="68" y="94"/>
                      <a:pt x="69" y="93"/>
                      <a:pt x="69" y="92"/>
                    </a:cubicBezTo>
                    <a:cubicBezTo>
                      <a:pt x="70" y="91"/>
                      <a:pt x="70" y="91"/>
                      <a:pt x="71" y="91"/>
                    </a:cubicBezTo>
                    <a:cubicBezTo>
                      <a:pt x="72" y="91"/>
                      <a:pt x="73" y="91"/>
                      <a:pt x="74" y="92"/>
                    </a:cubicBezTo>
                    <a:cubicBezTo>
                      <a:pt x="74" y="92"/>
                      <a:pt x="74" y="92"/>
                      <a:pt x="74" y="92"/>
                    </a:cubicBezTo>
                    <a:cubicBezTo>
                      <a:pt x="75" y="92"/>
                      <a:pt x="76" y="94"/>
                      <a:pt x="74" y="95"/>
                    </a:cubicBezTo>
                    <a:cubicBezTo>
                      <a:pt x="74" y="95"/>
                      <a:pt x="74" y="95"/>
                      <a:pt x="74" y="95"/>
                    </a:cubicBezTo>
                    <a:cubicBezTo>
                      <a:pt x="74" y="103"/>
                      <a:pt x="71" y="111"/>
                      <a:pt x="69" y="119"/>
                    </a:cubicBezTo>
                    <a:cubicBezTo>
                      <a:pt x="68" y="124"/>
                      <a:pt x="65" y="135"/>
                      <a:pt x="67" y="139"/>
                    </a:cubicBezTo>
                    <a:cubicBezTo>
                      <a:pt x="68" y="140"/>
                      <a:pt x="68" y="140"/>
                      <a:pt x="68" y="141"/>
                    </a:cubicBezTo>
                    <a:cubicBezTo>
                      <a:pt x="77" y="144"/>
                      <a:pt x="85" y="147"/>
                      <a:pt x="95" y="149"/>
                    </a:cubicBezTo>
                    <a:cubicBezTo>
                      <a:pt x="100" y="150"/>
                      <a:pt x="105" y="151"/>
                      <a:pt x="110" y="151"/>
                    </a:cubicBezTo>
                    <a:cubicBezTo>
                      <a:pt x="113" y="151"/>
                      <a:pt x="116" y="151"/>
                      <a:pt x="118" y="150"/>
                    </a:cubicBezTo>
                    <a:cubicBezTo>
                      <a:pt x="122" y="148"/>
                      <a:pt x="126" y="144"/>
                      <a:pt x="128" y="141"/>
                    </a:cubicBezTo>
                    <a:cubicBezTo>
                      <a:pt x="130" y="140"/>
                      <a:pt x="133" y="140"/>
                      <a:pt x="133" y="139"/>
                    </a:cubicBezTo>
                    <a:cubicBezTo>
                      <a:pt x="138" y="132"/>
                      <a:pt x="133" y="128"/>
                      <a:pt x="128" y="124"/>
                    </a:cubicBezTo>
                    <a:cubicBezTo>
                      <a:pt x="121" y="117"/>
                      <a:pt x="112" y="111"/>
                      <a:pt x="106" y="103"/>
                    </a:cubicBezTo>
                    <a:cubicBezTo>
                      <a:pt x="105" y="102"/>
                      <a:pt x="105" y="102"/>
                      <a:pt x="104" y="102"/>
                    </a:cubicBezTo>
                    <a:cubicBezTo>
                      <a:pt x="101" y="100"/>
                      <a:pt x="102" y="95"/>
                      <a:pt x="105" y="95"/>
                    </a:cubicBezTo>
                    <a:cubicBezTo>
                      <a:pt x="106" y="95"/>
                      <a:pt x="106" y="95"/>
                      <a:pt x="107" y="95"/>
                    </a:cubicBezTo>
                    <a:cubicBezTo>
                      <a:pt x="115" y="95"/>
                      <a:pt x="124" y="100"/>
                      <a:pt x="132" y="103"/>
                    </a:cubicBezTo>
                    <a:cubicBezTo>
                      <a:pt x="139" y="106"/>
                      <a:pt x="146" y="109"/>
                      <a:pt x="152" y="112"/>
                    </a:cubicBezTo>
                    <a:cubicBezTo>
                      <a:pt x="153" y="112"/>
                      <a:pt x="153" y="112"/>
                      <a:pt x="153" y="112"/>
                    </a:cubicBezTo>
                    <a:cubicBezTo>
                      <a:pt x="154" y="112"/>
                      <a:pt x="154" y="112"/>
                      <a:pt x="154" y="113"/>
                    </a:cubicBezTo>
                    <a:cubicBezTo>
                      <a:pt x="154" y="113"/>
                      <a:pt x="154" y="113"/>
                      <a:pt x="154" y="113"/>
                    </a:cubicBezTo>
                    <a:cubicBezTo>
                      <a:pt x="155" y="113"/>
                      <a:pt x="155" y="113"/>
                      <a:pt x="155" y="113"/>
                    </a:cubicBezTo>
                    <a:cubicBezTo>
                      <a:pt x="155" y="113"/>
                      <a:pt x="155" y="112"/>
                      <a:pt x="155" y="111"/>
                    </a:cubicBezTo>
                    <a:cubicBezTo>
                      <a:pt x="155" y="111"/>
                      <a:pt x="155" y="111"/>
                      <a:pt x="156" y="111"/>
                    </a:cubicBezTo>
                    <a:cubicBezTo>
                      <a:pt x="156" y="111"/>
                      <a:pt x="156" y="111"/>
                      <a:pt x="156" y="111"/>
                    </a:cubicBezTo>
                    <a:cubicBezTo>
                      <a:pt x="157" y="107"/>
                      <a:pt x="157" y="102"/>
                      <a:pt x="157" y="97"/>
                    </a:cubicBezTo>
                    <a:cubicBezTo>
                      <a:pt x="158" y="91"/>
                      <a:pt x="160" y="85"/>
                      <a:pt x="160" y="79"/>
                    </a:cubicBezTo>
                    <a:cubicBezTo>
                      <a:pt x="160" y="75"/>
                      <a:pt x="160" y="71"/>
                      <a:pt x="156" y="70"/>
                    </a:cubicBezTo>
                    <a:cubicBezTo>
                      <a:pt x="154" y="68"/>
                      <a:pt x="149" y="68"/>
                      <a:pt x="146" y="68"/>
                    </a:cubicBezTo>
                    <a:cubicBezTo>
                      <a:pt x="140" y="67"/>
                      <a:pt x="135" y="66"/>
                      <a:pt x="129" y="66"/>
                    </a:cubicBezTo>
                    <a:cubicBezTo>
                      <a:pt x="128" y="66"/>
                      <a:pt x="126" y="66"/>
                      <a:pt x="125" y="67"/>
                    </a:cubicBezTo>
                    <a:cubicBezTo>
                      <a:pt x="121" y="67"/>
                      <a:pt x="117" y="69"/>
                      <a:pt x="113" y="69"/>
                    </a:cubicBezTo>
                    <a:cubicBezTo>
                      <a:pt x="113" y="69"/>
                      <a:pt x="112" y="69"/>
                      <a:pt x="112" y="69"/>
                    </a:cubicBezTo>
                    <a:cubicBezTo>
                      <a:pt x="110" y="68"/>
                      <a:pt x="108" y="68"/>
                      <a:pt x="107" y="67"/>
                    </a:cubicBezTo>
                    <a:cubicBezTo>
                      <a:pt x="106" y="67"/>
                      <a:pt x="106" y="67"/>
                      <a:pt x="105" y="67"/>
                    </a:cubicBezTo>
                    <a:cubicBezTo>
                      <a:pt x="105" y="67"/>
                      <a:pt x="104" y="67"/>
                      <a:pt x="104" y="67"/>
                    </a:cubicBezTo>
                    <a:cubicBezTo>
                      <a:pt x="102" y="67"/>
                      <a:pt x="100" y="65"/>
                      <a:pt x="102" y="63"/>
                    </a:cubicBezTo>
                    <a:cubicBezTo>
                      <a:pt x="107" y="59"/>
                      <a:pt x="110" y="53"/>
                      <a:pt x="113" y="47"/>
                    </a:cubicBezTo>
                    <a:cubicBezTo>
                      <a:pt x="115" y="43"/>
                      <a:pt x="122" y="32"/>
                      <a:pt x="121" y="28"/>
                    </a:cubicBezTo>
                    <a:cubicBezTo>
                      <a:pt x="120" y="24"/>
                      <a:pt x="101" y="20"/>
                      <a:pt x="97" y="19"/>
                    </a:cubicBezTo>
                    <a:cubicBezTo>
                      <a:pt x="93" y="18"/>
                      <a:pt x="88" y="17"/>
                      <a:pt x="84" y="16"/>
                    </a:cubicBezTo>
                    <a:cubicBezTo>
                      <a:pt x="78" y="14"/>
                      <a:pt x="73" y="13"/>
                      <a:pt x="68" y="13"/>
                    </a:cubicBezTo>
                    <a:moveTo>
                      <a:pt x="73" y="0"/>
                    </a:moveTo>
                    <a:cubicBezTo>
                      <a:pt x="69" y="0"/>
                      <a:pt x="65" y="1"/>
                      <a:pt x="60" y="3"/>
                    </a:cubicBezTo>
                    <a:cubicBezTo>
                      <a:pt x="61" y="5"/>
                      <a:pt x="61" y="5"/>
                      <a:pt x="61" y="5"/>
                    </a:cubicBezTo>
                    <a:cubicBezTo>
                      <a:pt x="61" y="5"/>
                      <a:pt x="61" y="5"/>
                      <a:pt x="61" y="5"/>
                    </a:cubicBezTo>
                    <a:cubicBezTo>
                      <a:pt x="61" y="5"/>
                      <a:pt x="61" y="5"/>
                      <a:pt x="61" y="5"/>
                    </a:cubicBezTo>
                    <a:cubicBezTo>
                      <a:pt x="62" y="4"/>
                      <a:pt x="63" y="4"/>
                      <a:pt x="64" y="4"/>
                    </a:cubicBezTo>
                    <a:cubicBezTo>
                      <a:pt x="64" y="4"/>
                      <a:pt x="64" y="4"/>
                      <a:pt x="65" y="4"/>
                    </a:cubicBezTo>
                    <a:cubicBezTo>
                      <a:pt x="65" y="4"/>
                      <a:pt x="65" y="4"/>
                      <a:pt x="65" y="4"/>
                    </a:cubicBezTo>
                    <a:cubicBezTo>
                      <a:pt x="65" y="4"/>
                      <a:pt x="65" y="4"/>
                      <a:pt x="65" y="4"/>
                    </a:cubicBezTo>
                    <a:cubicBezTo>
                      <a:pt x="65" y="4"/>
                      <a:pt x="66" y="4"/>
                      <a:pt x="66" y="4"/>
                    </a:cubicBezTo>
                    <a:cubicBezTo>
                      <a:pt x="66" y="4"/>
                      <a:pt x="66" y="4"/>
                      <a:pt x="66" y="4"/>
                    </a:cubicBezTo>
                    <a:cubicBezTo>
                      <a:pt x="66" y="4"/>
                      <a:pt x="66" y="4"/>
                      <a:pt x="66" y="4"/>
                    </a:cubicBezTo>
                    <a:cubicBezTo>
                      <a:pt x="67" y="5"/>
                      <a:pt x="67" y="5"/>
                      <a:pt x="67" y="6"/>
                    </a:cubicBezTo>
                    <a:cubicBezTo>
                      <a:pt x="72" y="6"/>
                      <a:pt x="77" y="7"/>
                      <a:pt x="83" y="8"/>
                    </a:cubicBezTo>
                    <a:cubicBezTo>
                      <a:pt x="99" y="12"/>
                      <a:pt x="114" y="17"/>
                      <a:pt x="129" y="25"/>
                    </a:cubicBezTo>
                    <a:cubicBezTo>
                      <a:pt x="130" y="26"/>
                      <a:pt x="131" y="27"/>
                      <a:pt x="131" y="28"/>
                    </a:cubicBezTo>
                    <a:cubicBezTo>
                      <a:pt x="132" y="28"/>
                      <a:pt x="133" y="27"/>
                      <a:pt x="133" y="25"/>
                    </a:cubicBezTo>
                    <a:cubicBezTo>
                      <a:pt x="133" y="25"/>
                      <a:pt x="133" y="25"/>
                      <a:pt x="133" y="25"/>
                    </a:cubicBezTo>
                    <a:cubicBezTo>
                      <a:pt x="135" y="24"/>
                      <a:pt x="136" y="22"/>
                      <a:pt x="136" y="20"/>
                    </a:cubicBezTo>
                    <a:cubicBezTo>
                      <a:pt x="118" y="9"/>
                      <a:pt x="99" y="5"/>
                      <a:pt x="80" y="1"/>
                    </a:cubicBezTo>
                    <a:cubicBezTo>
                      <a:pt x="78" y="0"/>
                      <a:pt x="75" y="0"/>
                      <a:pt x="73" y="0"/>
                    </a:cubicBezTo>
                  </a:path>
                </a:pathLst>
              </a:custGeom>
              <a:solidFill>
                <a:srgbClr val="6F686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383" name="Freeform 55">
                <a:extLst>
                  <a:ext uri="{FF2B5EF4-FFF2-40B4-BE49-F238E27FC236}">
                    <a16:creationId xmlns:a16="http://schemas.microsoft.com/office/drawing/2014/main" id="{EC51F7C3-E5C0-4246-90FA-72851F1A81D9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2039" y="1829"/>
                <a:ext cx="74" cy="69"/>
              </a:xfrm>
              <a:custGeom>
                <a:avLst/>
                <a:gdLst>
                  <a:gd name="T0" fmla="*/ 22 w 70"/>
                  <a:gd name="T1" fmla="*/ 13 h 65"/>
                  <a:gd name="T2" fmla="*/ 11 w 70"/>
                  <a:gd name="T3" fmla="*/ 16 h 65"/>
                  <a:gd name="T4" fmla="*/ 2 w 70"/>
                  <a:gd name="T5" fmla="*/ 24 h 65"/>
                  <a:gd name="T6" fmla="*/ 1 w 70"/>
                  <a:gd name="T7" fmla="*/ 31 h 65"/>
                  <a:gd name="T8" fmla="*/ 0 w 70"/>
                  <a:gd name="T9" fmla="*/ 36 h 65"/>
                  <a:gd name="T10" fmla="*/ 23 w 70"/>
                  <a:gd name="T11" fmla="*/ 63 h 65"/>
                  <a:gd name="T12" fmla="*/ 23 w 70"/>
                  <a:gd name="T13" fmla="*/ 63 h 65"/>
                  <a:gd name="T14" fmla="*/ 23 w 70"/>
                  <a:gd name="T15" fmla="*/ 63 h 65"/>
                  <a:gd name="T16" fmla="*/ 37 w 70"/>
                  <a:gd name="T17" fmla="*/ 65 h 65"/>
                  <a:gd name="T18" fmla="*/ 37 w 70"/>
                  <a:gd name="T19" fmla="*/ 65 h 65"/>
                  <a:gd name="T20" fmla="*/ 37 w 70"/>
                  <a:gd name="T21" fmla="*/ 65 h 65"/>
                  <a:gd name="T22" fmla="*/ 37 w 70"/>
                  <a:gd name="T23" fmla="*/ 65 h 65"/>
                  <a:gd name="T24" fmla="*/ 41 w 70"/>
                  <a:gd name="T25" fmla="*/ 65 h 65"/>
                  <a:gd name="T26" fmla="*/ 41 w 70"/>
                  <a:gd name="T27" fmla="*/ 65 h 65"/>
                  <a:gd name="T28" fmla="*/ 41 w 70"/>
                  <a:gd name="T29" fmla="*/ 65 h 65"/>
                  <a:gd name="T30" fmla="*/ 42 w 70"/>
                  <a:gd name="T31" fmla="*/ 65 h 65"/>
                  <a:gd name="T32" fmla="*/ 48 w 70"/>
                  <a:gd name="T33" fmla="*/ 63 h 65"/>
                  <a:gd name="T34" fmla="*/ 53 w 70"/>
                  <a:gd name="T35" fmla="*/ 58 h 65"/>
                  <a:gd name="T36" fmla="*/ 45 w 70"/>
                  <a:gd name="T37" fmla="*/ 16 h 65"/>
                  <a:gd name="T38" fmla="*/ 42 w 70"/>
                  <a:gd name="T39" fmla="*/ 19 h 65"/>
                  <a:gd name="T40" fmla="*/ 40 w 70"/>
                  <a:gd name="T41" fmla="*/ 18 h 65"/>
                  <a:gd name="T42" fmla="*/ 22 w 70"/>
                  <a:gd name="T43" fmla="*/ 13 h 65"/>
                  <a:gd name="T44" fmla="*/ 30 w 70"/>
                  <a:gd name="T45" fmla="*/ 0 h 65"/>
                  <a:gd name="T46" fmla="*/ 18 w 70"/>
                  <a:gd name="T47" fmla="*/ 2 h 65"/>
                  <a:gd name="T48" fmla="*/ 13 w 70"/>
                  <a:gd name="T49" fmla="*/ 6 h 65"/>
                  <a:gd name="T50" fmla="*/ 21 w 70"/>
                  <a:gd name="T51" fmla="*/ 5 h 65"/>
                  <a:gd name="T52" fmla="*/ 38 w 70"/>
                  <a:gd name="T53" fmla="*/ 9 h 65"/>
                  <a:gd name="T54" fmla="*/ 38 w 70"/>
                  <a:gd name="T55" fmla="*/ 9 h 65"/>
                  <a:gd name="T56" fmla="*/ 39 w 70"/>
                  <a:gd name="T57" fmla="*/ 9 h 65"/>
                  <a:gd name="T58" fmla="*/ 63 w 70"/>
                  <a:gd name="T59" fmla="*/ 54 h 65"/>
                  <a:gd name="T60" fmla="*/ 70 w 70"/>
                  <a:gd name="T61" fmla="*/ 33 h 65"/>
                  <a:gd name="T62" fmla="*/ 70 w 70"/>
                  <a:gd name="T63" fmla="*/ 29 h 65"/>
                  <a:gd name="T64" fmla="*/ 70 w 70"/>
                  <a:gd name="T65" fmla="*/ 29 h 65"/>
                  <a:gd name="T66" fmla="*/ 70 w 70"/>
                  <a:gd name="T67" fmla="*/ 28 h 65"/>
                  <a:gd name="T68" fmla="*/ 49 w 70"/>
                  <a:gd name="T69" fmla="*/ 3 h 65"/>
                  <a:gd name="T70" fmla="*/ 49 w 70"/>
                  <a:gd name="T71" fmla="*/ 3 h 65"/>
                  <a:gd name="T72" fmla="*/ 47 w 70"/>
                  <a:gd name="T73" fmla="*/ 2 h 65"/>
                  <a:gd name="T74" fmla="*/ 46 w 70"/>
                  <a:gd name="T75" fmla="*/ 4 h 65"/>
                  <a:gd name="T76" fmla="*/ 30 w 70"/>
                  <a:gd name="T77" fmla="*/ 0 h 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70" h="65">
                    <a:moveTo>
                      <a:pt x="22" y="13"/>
                    </a:moveTo>
                    <a:cubicBezTo>
                      <a:pt x="18" y="13"/>
                      <a:pt x="15" y="14"/>
                      <a:pt x="11" y="16"/>
                    </a:cubicBezTo>
                    <a:cubicBezTo>
                      <a:pt x="7" y="18"/>
                      <a:pt x="4" y="21"/>
                      <a:pt x="2" y="24"/>
                    </a:cubicBezTo>
                    <a:cubicBezTo>
                      <a:pt x="1" y="26"/>
                      <a:pt x="1" y="29"/>
                      <a:pt x="1" y="31"/>
                    </a:cubicBezTo>
                    <a:cubicBezTo>
                      <a:pt x="1" y="33"/>
                      <a:pt x="0" y="35"/>
                      <a:pt x="0" y="36"/>
                    </a:cubicBezTo>
                    <a:cubicBezTo>
                      <a:pt x="0" y="51"/>
                      <a:pt x="10" y="60"/>
                      <a:pt x="23" y="63"/>
                    </a:cubicBezTo>
                    <a:cubicBezTo>
                      <a:pt x="23" y="63"/>
                      <a:pt x="23" y="63"/>
                      <a:pt x="23" y="63"/>
                    </a:cubicBezTo>
                    <a:cubicBezTo>
                      <a:pt x="23" y="63"/>
                      <a:pt x="23" y="63"/>
                      <a:pt x="23" y="63"/>
                    </a:cubicBezTo>
                    <a:cubicBezTo>
                      <a:pt x="27" y="64"/>
                      <a:pt x="32" y="65"/>
                      <a:pt x="37" y="65"/>
                    </a:cubicBezTo>
                    <a:cubicBezTo>
                      <a:pt x="37" y="65"/>
                      <a:pt x="37" y="65"/>
                      <a:pt x="37" y="65"/>
                    </a:cubicBezTo>
                    <a:cubicBezTo>
                      <a:pt x="37" y="65"/>
                      <a:pt x="37" y="65"/>
                      <a:pt x="37" y="65"/>
                    </a:cubicBezTo>
                    <a:cubicBezTo>
                      <a:pt x="37" y="65"/>
                      <a:pt x="37" y="65"/>
                      <a:pt x="37" y="65"/>
                    </a:cubicBezTo>
                    <a:cubicBezTo>
                      <a:pt x="38" y="65"/>
                      <a:pt x="39" y="65"/>
                      <a:pt x="41" y="65"/>
                    </a:cubicBezTo>
                    <a:cubicBezTo>
                      <a:pt x="41" y="65"/>
                      <a:pt x="41" y="65"/>
                      <a:pt x="41" y="65"/>
                    </a:cubicBezTo>
                    <a:cubicBezTo>
                      <a:pt x="41" y="65"/>
                      <a:pt x="41" y="65"/>
                      <a:pt x="41" y="65"/>
                    </a:cubicBezTo>
                    <a:cubicBezTo>
                      <a:pt x="42" y="65"/>
                      <a:pt x="42" y="65"/>
                      <a:pt x="42" y="65"/>
                    </a:cubicBezTo>
                    <a:cubicBezTo>
                      <a:pt x="44" y="64"/>
                      <a:pt x="46" y="64"/>
                      <a:pt x="48" y="63"/>
                    </a:cubicBezTo>
                    <a:cubicBezTo>
                      <a:pt x="50" y="62"/>
                      <a:pt x="52" y="60"/>
                      <a:pt x="53" y="58"/>
                    </a:cubicBezTo>
                    <a:cubicBezTo>
                      <a:pt x="64" y="43"/>
                      <a:pt x="57" y="26"/>
                      <a:pt x="45" y="16"/>
                    </a:cubicBezTo>
                    <a:cubicBezTo>
                      <a:pt x="44" y="18"/>
                      <a:pt x="43" y="19"/>
                      <a:pt x="42" y="19"/>
                    </a:cubicBezTo>
                    <a:cubicBezTo>
                      <a:pt x="41" y="19"/>
                      <a:pt x="41" y="19"/>
                      <a:pt x="40" y="18"/>
                    </a:cubicBezTo>
                    <a:cubicBezTo>
                      <a:pt x="34" y="16"/>
                      <a:pt x="28" y="13"/>
                      <a:pt x="22" y="13"/>
                    </a:cubicBezTo>
                    <a:moveTo>
                      <a:pt x="30" y="0"/>
                    </a:moveTo>
                    <a:cubicBezTo>
                      <a:pt x="26" y="0"/>
                      <a:pt x="22" y="1"/>
                      <a:pt x="18" y="2"/>
                    </a:cubicBezTo>
                    <a:cubicBezTo>
                      <a:pt x="16" y="3"/>
                      <a:pt x="15" y="4"/>
                      <a:pt x="13" y="6"/>
                    </a:cubicBezTo>
                    <a:cubicBezTo>
                      <a:pt x="16" y="5"/>
                      <a:pt x="19" y="5"/>
                      <a:pt x="21" y="5"/>
                    </a:cubicBezTo>
                    <a:cubicBezTo>
                      <a:pt x="27" y="5"/>
                      <a:pt x="33" y="6"/>
                      <a:pt x="38" y="9"/>
                    </a:cubicBezTo>
                    <a:cubicBezTo>
                      <a:pt x="38" y="9"/>
                      <a:pt x="38" y="9"/>
                      <a:pt x="38" y="9"/>
                    </a:cubicBezTo>
                    <a:cubicBezTo>
                      <a:pt x="38" y="9"/>
                      <a:pt x="39" y="9"/>
                      <a:pt x="39" y="9"/>
                    </a:cubicBezTo>
                    <a:cubicBezTo>
                      <a:pt x="58" y="16"/>
                      <a:pt x="70" y="34"/>
                      <a:pt x="63" y="54"/>
                    </a:cubicBezTo>
                    <a:cubicBezTo>
                      <a:pt x="68" y="48"/>
                      <a:pt x="70" y="42"/>
                      <a:pt x="70" y="33"/>
                    </a:cubicBezTo>
                    <a:cubicBezTo>
                      <a:pt x="70" y="32"/>
                      <a:pt x="70" y="30"/>
                      <a:pt x="70" y="29"/>
                    </a:cubicBezTo>
                    <a:cubicBezTo>
                      <a:pt x="70" y="29"/>
                      <a:pt x="70" y="29"/>
                      <a:pt x="70" y="29"/>
                    </a:cubicBezTo>
                    <a:cubicBezTo>
                      <a:pt x="70" y="29"/>
                      <a:pt x="70" y="28"/>
                      <a:pt x="70" y="28"/>
                    </a:cubicBezTo>
                    <a:cubicBezTo>
                      <a:pt x="70" y="18"/>
                      <a:pt x="60" y="8"/>
                      <a:pt x="49" y="3"/>
                    </a:cubicBezTo>
                    <a:cubicBezTo>
                      <a:pt x="49" y="3"/>
                      <a:pt x="49" y="3"/>
                      <a:pt x="49" y="3"/>
                    </a:cubicBezTo>
                    <a:cubicBezTo>
                      <a:pt x="49" y="2"/>
                      <a:pt x="48" y="2"/>
                      <a:pt x="47" y="2"/>
                    </a:cubicBezTo>
                    <a:cubicBezTo>
                      <a:pt x="46" y="4"/>
                      <a:pt x="46" y="4"/>
                      <a:pt x="46" y="4"/>
                    </a:cubicBezTo>
                    <a:cubicBezTo>
                      <a:pt x="41" y="1"/>
                      <a:pt x="35" y="0"/>
                      <a:pt x="30" y="0"/>
                    </a:cubicBezTo>
                  </a:path>
                </a:pathLst>
              </a:custGeom>
              <a:solidFill>
                <a:srgbClr val="6F686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384" name="Freeform 56">
                <a:extLst>
                  <a:ext uri="{FF2B5EF4-FFF2-40B4-BE49-F238E27FC236}">
                    <a16:creationId xmlns:a16="http://schemas.microsoft.com/office/drawing/2014/main" id="{391D7645-C202-4896-B1F8-3E598A10FA62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2101" y="1919"/>
                <a:ext cx="74" cy="67"/>
              </a:xfrm>
              <a:custGeom>
                <a:avLst/>
                <a:gdLst>
                  <a:gd name="T0" fmla="*/ 30 w 70"/>
                  <a:gd name="T1" fmla="*/ 10 h 63"/>
                  <a:gd name="T2" fmla="*/ 29 w 70"/>
                  <a:gd name="T3" fmla="*/ 11 h 63"/>
                  <a:gd name="T4" fmla="*/ 1 w 70"/>
                  <a:gd name="T5" fmla="*/ 23 h 63"/>
                  <a:gd name="T6" fmla="*/ 0 w 70"/>
                  <a:gd name="T7" fmla="*/ 26 h 63"/>
                  <a:gd name="T8" fmla="*/ 2 w 70"/>
                  <a:gd name="T9" fmla="*/ 34 h 63"/>
                  <a:gd name="T10" fmla="*/ 31 w 70"/>
                  <a:gd name="T11" fmla="*/ 63 h 63"/>
                  <a:gd name="T12" fmla="*/ 36 w 70"/>
                  <a:gd name="T13" fmla="*/ 63 h 63"/>
                  <a:gd name="T14" fmla="*/ 48 w 70"/>
                  <a:gd name="T15" fmla="*/ 61 h 63"/>
                  <a:gd name="T16" fmla="*/ 58 w 70"/>
                  <a:gd name="T17" fmla="*/ 38 h 63"/>
                  <a:gd name="T18" fmla="*/ 53 w 70"/>
                  <a:gd name="T19" fmla="*/ 21 h 63"/>
                  <a:gd name="T20" fmla="*/ 31 w 70"/>
                  <a:gd name="T21" fmla="*/ 11 h 63"/>
                  <a:gd name="T22" fmla="*/ 30 w 70"/>
                  <a:gd name="T23" fmla="*/ 10 h 63"/>
                  <a:gd name="T24" fmla="*/ 36 w 70"/>
                  <a:gd name="T25" fmla="*/ 0 h 63"/>
                  <a:gd name="T26" fmla="*/ 11 w 70"/>
                  <a:gd name="T27" fmla="*/ 8 h 63"/>
                  <a:gd name="T28" fmla="*/ 26 w 70"/>
                  <a:gd name="T29" fmla="*/ 6 h 63"/>
                  <a:gd name="T30" fmla="*/ 28 w 70"/>
                  <a:gd name="T31" fmla="*/ 6 h 63"/>
                  <a:gd name="T32" fmla="*/ 30 w 70"/>
                  <a:gd name="T33" fmla="*/ 9 h 63"/>
                  <a:gd name="T34" fmla="*/ 32 w 70"/>
                  <a:gd name="T35" fmla="*/ 8 h 63"/>
                  <a:gd name="T36" fmla="*/ 32 w 70"/>
                  <a:gd name="T37" fmla="*/ 8 h 63"/>
                  <a:gd name="T38" fmla="*/ 58 w 70"/>
                  <a:gd name="T39" fmla="*/ 18 h 63"/>
                  <a:gd name="T40" fmla="*/ 64 w 70"/>
                  <a:gd name="T41" fmla="*/ 43 h 63"/>
                  <a:gd name="T42" fmla="*/ 62 w 70"/>
                  <a:gd name="T43" fmla="*/ 53 h 63"/>
                  <a:gd name="T44" fmla="*/ 70 w 70"/>
                  <a:gd name="T45" fmla="*/ 33 h 63"/>
                  <a:gd name="T46" fmla="*/ 70 w 70"/>
                  <a:gd name="T47" fmla="*/ 29 h 63"/>
                  <a:gd name="T48" fmla="*/ 57 w 70"/>
                  <a:gd name="T49" fmla="*/ 4 h 63"/>
                  <a:gd name="T50" fmla="*/ 40 w 70"/>
                  <a:gd name="T51" fmla="*/ 1 h 63"/>
                  <a:gd name="T52" fmla="*/ 36 w 70"/>
                  <a:gd name="T53" fmla="*/ 0 h 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70" h="63">
                    <a:moveTo>
                      <a:pt x="30" y="10"/>
                    </a:moveTo>
                    <a:cubicBezTo>
                      <a:pt x="30" y="10"/>
                      <a:pt x="29" y="11"/>
                      <a:pt x="29" y="11"/>
                    </a:cubicBezTo>
                    <a:cubicBezTo>
                      <a:pt x="20" y="15"/>
                      <a:pt x="7" y="16"/>
                      <a:pt x="1" y="23"/>
                    </a:cubicBezTo>
                    <a:cubicBezTo>
                      <a:pt x="0" y="24"/>
                      <a:pt x="0" y="25"/>
                      <a:pt x="0" y="26"/>
                    </a:cubicBezTo>
                    <a:cubicBezTo>
                      <a:pt x="0" y="29"/>
                      <a:pt x="1" y="31"/>
                      <a:pt x="2" y="34"/>
                    </a:cubicBezTo>
                    <a:cubicBezTo>
                      <a:pt x="6" y="46"/>
                      <a:pt x="19" y="60"/>
                      <a:pt x="31" y="63"/>
                    </a:cubicBezTo>
                    <a:cubicBezTo>
                      <a:pt x="33" y="63"/>
                      <a:pt x="35" y="63"/>
                      <a:pt x="36" y="63"/>
                    </a:cubicBezTo>
                    <a:cubicBezTo>
                      <a:pt x="41" y="63"/>
                      <a:pt x="45" y="63"/>
                      <a:pt x="48" y="61"/>
                    </a:cubicBezTo>
                    <a:cubicBezTo>
                      <a:pt x="55" y="56"/>
                      <a:pt x="58" y="48"/>
                      <a:pt x="58" y="38"/>
                    </a:cubicBezTo>
                    <a:cubicBezTo>
                      <a:pt x="57" y="33"/>
                      <a:pt x="56" y="25"/>
                      <a:pt x="53" y="21"/>
                    </a:cubicBezTo>
                    <a:cubicBezTo>
                      <a:pt x="48" y="14"/>
                      <a:pt x="39" y="14"/>
                      <a:pt x="31" y="11"/>
                    </a:cubicBezTo>
                    <a:cubicBezTo>
                      <a:pt x="31" y="11"/>
                      <a:pt x="30" y="10"/>
                      <a:pt x="30" y="10"/>
                    </a:cubicBezTo>
                    <a:moveTo>
                      <a:pt x="36" y="0"/>
                    </a:moveTo>
                    <a:cubicBezTo>
                      <a:pt x="28" y="1"/>
                      <a:pt x="19" y="4"/>
                      <a:pt x="11" y="8"/>
                    </a:cubicBezTo>
                    <a:cubicBezTo>
                      <a:pt x="16" y="7"/>
                      <a:pt x="22" y="6"/>
                      <a:pt x="26" y="6"/>
                    </a:cubicBezTo>
                    <a:cubicBezTo>
                      <a:pt x="27" y="6"/>
                      <a:pt x="27" y="6"/>
                      <a:pt x="28" y="6"/>
                    </a:cubicBezTo>
                    <a:cubicBezTo>
                      <a:pt x="29" y="6"/>
                      <a:pt x="30" y="7"/>
                      <a:pt x="30" y="9"/>
                    </a:cubicBezTo>
                    <a:cubicBezTo>
                      <a:pt x="31" y="8"/>
                      <a:pt x="31" y="8"/>
                      <a:pt x="32" y="8"/>
                    </a:cubicBezTo>
                    <a:cubicBezTo>
                      <a:pt x="32" y="8"/>
                      <a:pt x="32" y="8"/>
                      <a:pt x="32" y="8"/>
                    </a:cubicBezTo>
                    <a:cubicBezTo>
                      <a:pt x="43" y="11"/>
                      <a:pt x="52" y="8"/>
                      <a:pt x="58" y="18"/>
                    </a:cubicBezTo>
                    <a:cubicBezTo>
                      <a:pt x="63" y="25"/>
                      <a:pt x="64" y="35"/>
                      <a:pt x="64" y="43"/>
                    </a:cubicBezTo>
                    <a:cubicBezTo>
                      <a:pt x="64" y="47"/>
                      <a:pt x="63" y="50"/>
                      <a:pt x="62" y="53"/>
                    </a:cubicBezTo>
                    <a:cubicBezTo>
                      <a:pt x="67" y="47"/>
                      <a:pt x="70" y="41"/>
                      <a:pt x="70" y="33"/>
                    </a:cubicBezTo>
                    <a:cubicBezTo>
                      <a:pt x="70" y="31"/>
                      <a:pt x="70" y="30"/>
                      <a:pt x="70" y="29"/>
                    </a:cubicBezTo>
                    <a:cubicBezTo>
                      <a:pt x="69" y="22"/>
                      <a:pt x="66" y="6"/>
                      <a:pt x="57" y="4"/>
                    </a:cubicBezTo>
                    <a:cubicBezTo>
                      <a:pt x="51" y="1"/>
                      <a:pt x="46" y="4"/>
                      <a:pt x="40" y="1"/>
                    </a:cubicBezTo>
                    <a:cubicBezTo>
                      <a:pt x="36" y="0"/>
                      <a:pt x="36" y="0"/>
                      <a:pt x="36" y="0"/>
                    </a:cubicBezTo>
                  </a:path>
                </a:pathLst>
              </a:custGeom>
              <a:solidFill>
                <a:srgbClr val="6F686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385" name="Freeform 57">
                <a:extLst>
                  <a:ext uri="{FF2B5EF4-FFF2-40B4-BE49-F238E27FC236}">
                    <a16:creationId xmlns:a16="http://schemas.microsoft.com/office/drawing/2014/main" id="{96811588-67EC-4F13-93C8-FDABA732308B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2210" y="1860"/>
                <a:ext cx="74" cy="67"/>
              </a:xfrm>
              <a:custGeom>
                <a:avLst/>
                <a:gdLst>
                  <a:gd name="T0" fmla="*/ 29 w 70"/>
                  <a:gd name="T1" fmla="*/ 3 h 63"/>
                  <a:gd name="T2" fmla="*/ 7 w 70"/>
                  <a:gd name="T3" fmla="*/ 11 h 63"/>
                  <a:gd name="T4" fmla="*/ 24 w 70"/>
                  <a:gd name="T5" fmla="*/ 8 h 63"/>
                  <a:gd name="T6" fmla="*/ 29 w 70"/>
                  <a:gd name="T7" fmla="*/ 8 h 63"/>
                  <a:gd name="T8" fmla="*/ 30 w 70"/>
                  <a:gd name="T9" fmla="*/ 7 h 63"/>
                  <a:gd name="T10" fmla="*/ 30 w 70"/>
                  <a:gd name="T11" fmla="*/ 7 h 63"/>
                  <a:gd name="T12" fmla="*/ 29 w 70"/>
                  <a:gd name="T13" fmla="*/ 3 h 63"/>
                  <a:gd name="T14" fmla="*/ 40 w 70"/>
                  <a:gd name="T15" fmla="*/ 0 h 63"/>
                  <a:gd name="T16" fmla="*/ 37 w 70"/>
                  <a:gd name="T17" fmla="*/ 3 h 63"/>
                  <a:gd name="T18" fmla="*/ 37 w 70"/>
                  <a:gd name="T19" fmla="*/ 3 h 63"/>
                  <a:gd name="T20" fmla="*/ 33 w 70"/>
                  <a:gd name="T21" fmla="*/ 3 h 63"/>
                  <a:gd name="T22" fmla="*/ 33 w 70"/>
                  <a:gd name="T23" fmla="*/ 8 h 63"/>
                  <a:gd name="T24" fmla="*/ 32 w 70"/>
                  <a:gd name="T25" fmla="*/ 10 h 63"/>
                  <a:gd name="T26" fmla="*/ 29 w 70"/>
                  <a:gd name="T27" fmla="*/ 16 h 63"/>
                  <a:gd name="T28" fmla="*/ 0 w 70"/>
                  <a:gd name="T29" fmla="*/ 23 h 63"/>
                  <a:gd name="T30" fmla="*/ 0 w 70"/>
                  <a:gd name="T31" fmla="*/ 27 h 63"/>
                  <a:gd name="T32" fmla="*/ 3 w 70"/>
                  <a:gd name="T33" fmla="*/ 40 h 63"/>
                  <a:gd name="T34" fmla="*/ 25 w 70"/>
                  <a:gd name="T35" fmla="*/ 61 h 63"/>
                  <a:gd name="T36" fmla="*/ 25 w 70"/>
                  <a:gd name="T37" fmla="*/ 61 h 63"/>
                  <a:gd name="T38" fmla="*/ 36 w 70"/>
                  <a:gd name="T39" fmla="*/ 63 h 63"/>
                  <a:gd name="T40" fmla="*/ 46 w 70"/>
                  <a:gd name="T41" fmla="*/ 61 h 63"/>
                  <a:gd name="T42" fmla="*/ 55 w 70"/>
                  <a:gd name="T43" fmla="*/ 49 h 63"/>
                  <a:gd name="T44" fmla="*/ 39 w 70"/>
                  <a:gd name="T45" fmla="*/ 13 h 63"/>
                  <a:gd name="T46" fmla="*/ 40 w 70"/>
                  <a:gd name="T47" fmla="*/ 11 h 63"/>
                  <a:gd name="T48" fmla="*/ 40 w 70"/>
                  <a:gd name="T49" fmla="*/ 11 h 63"/>
                  <a:gd name="T50" fmla="*/ 62 w 70"/>
                  <a:gd name="T51" fmla="*/ 49 h 63"/>
                  <a:gd name="T52" fmla="*/ 70 w 70"/>
                  <a:gd name="T53" fmla="*/ 28 h 63"/>
                  <a:gd name="T54" fmla="*/ 69 w 70"/>
                  <a:gd name="T55" fmla="*/ 21 h 63"/>
                  <a:gd name="T56" fmla="*/ 48 w 70"/>
                  <a:gd name="T57" fmla="*/ 4 h 63"/>
                  <a:gd name="T58" fmla="*/ 40 w 70"/>
                  <a:gd name="T59" fmla="*/ 0 h 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70" h="63">
                    <a:moveTo>
                      <a:pt x="29" y="3"/>
                    </a:moveTo>
                    <a:cubicBezTo>
                      <a:pt x="21" y="4"/>
                      <a:pt x="14" y="5"/>
                      <a:pt x="7" y="11"/>
                    </a:cubicBezTo>
                    <a:cubicBezTo>
                      <a:pt x="13" y="9"/>
                      <a:pt x="19" y="8"/>
                      <a:pt x="24" y="8"/>
                    </a:cubicBezTo>
                    <a:cubicBezTo>
                      <a:pt x="26" y="8"/>
                      <a:pt x="27" y="8"/>
                      <a:pt x="29" y="8"/>
                    </a:cubicBezTo>
                    <a:cubicBezTo>
                      <a:pt x="28" y="8"/>
                      <a:pt x="29" y="7"/>
                      <a:pt x="30" y="7"/>
                    </a:cubicBezTo>
                    <a:cubicBezTo>
                      <a:pt x="30" y="7"/>
                      <a:pt x="30" y="7"/>
                      <a:pt x="30" y="7"/>
                    </a:cubicBezTo>
                    <a:cubicBezTo>
                      <a:pt x="29" y="6"/>
                      <a:pt x="29" y="5"/>
                      <a:pt x="29" y="3"/>
                    </a:cubicBezTo>
                    <a:moveTo>
                      <a:pt x="40" y="0"/>
                    </a:moveTo>
                    <a:cubicBezTo>
                      <a:pt x="37" y="3"/>
                      <a:pt x="37" y="3"/>
                      <a:pt x="37" y="3"/>
                    </a:cubicBezTo>
                    <a:cubicBezTo>
                      <a:pt x="37" y="3"/>
                      <a:pt x="37" y="3"/>
                      <a:pt x="37" y="3"/>
                    </a:cubicBezTo>
                    <a:cubicBezTo>
                      <a:pt x="36" y="3"/>
                      <a:pt x="35" y="3"/>
                      <a:pt x="33" y="3"/>
                    </a:cubicBezTo>
                    <a:cubicBezTo>
                      <a:pt x="34" y="5"/>
                      <a:pt x="34" y="7"/>
                      <a:pt x="33" y="8"/>
                    </a:cubicBezTo>
                    <a:cubicBezTo>
                      <a:pt x="33" y="9"/>
                      <a:pt x="33" y="10"/>
                      <a:pt x="32" y="10"/>
                    </a:cubicBezTo>
                    <a:cubicBezTo>
                      <a:pt x="33" y="12"/>
                      <a:pt x="32" y="16"/>
                      <a:pt x="29" y="16"/>
                    </a:cubicBezTo>
                    <a:cubicBezTo>
                      <a:pt x="20" y="16"/>
                      <a:pt x="7" y="17"/>
                      <a:pt x="0" y="23"/>
                    </a:cubicBezTo>
                    <a:cubicBezTo>
                      <a:pt x="0" y="24"/>
                      <a:pt x="0" y="26"/>
                      <a:pt x="0" y="27"/>
                    </a:cubicBezTo>
                    <a:cubicBezTo>
                      <a:pt x="0" y="31"/>
                      <a:pt x="1" y="35"/>
                      <a:pt x="3" y="40"/>
                    </a:cubicBezTo>
                    <a:cubicBezTo>
                      <a:pt x="7" y="49"/>
                      <a:pt x="15" y="57"/>
                      <a:pt x="25" y="61"/>
                    </a:cubicBezTo>
                    <a:cubicBezTo>
                      <a:pt x="25" y="61"/>
                      <a:pt x="25" y="61"/>
                      <a:pt x="25" y="61"/>
                    </a:cubicBezTo>
                    <a:cubicBezTo>
                      <a:pt x="28" y="62"/>
                      <a:pt x="32" y="63"/>
                      <a:pt x="36" y="63"/>
                    </a:cubicBezTo>
                    <a:cubicBezTo>
                      <a:pt x="39" y="63"/>
                      <a:pt x="43" y="62"/>
                      <a:pt x="46" y="61"/>
                    </a:cubicBezTo>
                    <a:cubicBezTo>
                      <a:pt x="50" y="58"/>
                      <a:pt x="53" y="54"/>
                      <a:pt x="55" y="49"/>
                    </a:cubicBezTo>
                    <a:cubicBezTo>
                      <a:pt x="64" y="32"/>
                      <a:pt x="50" y="23"/>
                      <a:pt x="39" y="13"/>
                    </a:cubicBezTo>
                    <a:cubicBezTo>
                      <a:pt x="38" y="12"/>
                      <a:pt x="39" y="11"/>
                      <a:pt x="40" y="11"/>
                    </a:cubicBezTo>
                    <a:cubicBezTo>
                      <a:pt x="40" y="11"/>
                      <a:pt x="40" y="11"/>
                      <a:pt x="40" y="11"/>
                    </a:cubicBezTo>
                    <a:cubicBezTo>
                      <a:pt x="55" y="21"/>
                      <a:pt x="70" y="29"/>
                      <a:pt x="62" y="49"/>
                    </a:cubicBezTo>
                    <a:cubicBezTo>
                      <a:pt x="67" y="43"/>
                      <a:pt x="70" y="35"/>
                      <a:pt x="70" y="28"/>
                    </a:cubicBezTo>
                    <a:cubicBezTo>
                      <a:pt x="70" y="26"/>
                      <a:pt x="70" y="23"/>
                      <a:pt x="69" y="21"/>
                    </a:cubicBezTo>
                    <a:cubicBezTo>
                      <a:pt x="64" y="14"/>
                      <a:pt x="56" y="10"/>
                      <a:pt x="48" y="4"/>
                    </a:cubicBezTo>
                    <a:cubicBezTo>
                      <a:pt x="40" y="0"/>
                      <a:pt x="40" y="0"/>
                      <a:pt x="40" y="0"/>
                    </a:cubicBezTo>
                  </a:path>
                </a:pathLst>
              </a:custGeom>
              <a:solidFill>
                <a:srgbClr val="6F686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386" name="Freeform 58">
                <a:extLst>
                  <a:ext uri="{FF2B5EF4-FFF2-40B4-BE49-F238E27FC236}">
                    <a16:creationId xmlns:a16="http://schemas.microsoft.com/office/drawing/2014/main" id="{4C7F18AC-21E7-4A64-B3D8-8BC74E262922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2142" y="1779"/>
                <a:ext cx="79" cy="75"/>
              </a:xfrm>
              <a:custGeom>
                <a:avLst/>
                <a:gdLst>
                  <a:gd name="T0" fmla="*/ 35 w 74"/>
                  <a:gd name="T1" fmla="*/ 10 h 70"/>
                  <a:gd name="T2" fmla="*/ 32 w 74"/>
                  <a:gd name="T3" fmla="*/ 14 h 70"/>
                  <a:gd name="T4" fmla="*/ 1 w 74"/>
                  <a:gd name="T5" fmla="*/ 28 h 70"/>
                  <a:gd name="T6" fmla="*/ 0 w 74"/>
                  <a:gd name="T7" fmla="*/ 39 h 70"/>
                  <a:gd name="T8" fmla="*/ 0 w 74"/>
                  <a:gd name="T9" fmla="*/ 40 h 70"/>
                  <a:gd name="T10" fmla="*/ 39 w 74"/>
                  <a:gd name="T11" fmla="*/ 70 h 70"/>
                  <a:gd name="T12" fmla="*/ 39 w 74"/>
                  <a:gd name="T13" fmla="*/ 70 h 70"/>
                  <a:gd name="T14" fmla="*/ 39 w 74"/>
                  <a:gd name="T15" fmla="*/ 70 h 70"/>
                  <a:gd name="T16" fmla="*/ 39 w 74"/>
                  <a:gd name="T17" fmla="*/ 70 h 70"/>
                  <a:gd name="T18" fmla="*/ 48 w 74"/>
                  <a:gd name="T19" fmla="*/ 69 h 70"/>
                  <a:gd name="T20" fmla="*/ 60 w 74"/>
                  <a:gd name="T21" fmla="*/ 51 h 70"/>
                  <a:gd name="T22" fmla="*/ 59 w 74"/>
                  <a:gd name="T23" fmla="*/ 27 h 70"/>
                  <a:gd name="T24" fmla="*/ 35 w 74"/>
                  <a:gd name="T25" fmla="*/ 10 h 70"/>
                  <a:gd name="T26" fmla="*/ 39 w 74"/>
                  <a:gd name="T27" fmla="*/ 0 h 70"/>
                  <a:gd name="T28" fmla="*/ 39 w 74"/>
                  <a:gd name="T29" fmla="*/ 2 h 70"/>
                  <a:gd name="T30" fmla="*/ 35 w 74"/>
                  <a:gd name="T31" fmla="*/ 2 h 70"/>
                  <a:gd name="T32" fmla="*/ 17 w 74"/>
                  <a:gd name="T33" fmla="*/ 8 h 70"/>
                  <a:gd name="T34" fmla="*/ 25 w 74"/>
                  <a:gd name="T35" fmla="*/ 7 h 70"/>
                  <a:gd name="T36" fmla="*/ 30 w 74"/>
                  <a:gd name="T37" fmla="*/ 7 h 70"/>
                  <a:gd name="T38" fmla="*/ 30 w 74"/>
                  <a:gd name="T39" fmla="*/ 7 h 70"/>
                  <a:gd name="T40" fmla="*/ 32 w 74"/>
                  <a:gd name="T41" fmla="*/ 7 h 70"/>
                  <a:gd name="T42" fmla="*/ 61 w 74"/>
                  <a:gd name="T43" fmla="*/ 20 h 70"/>
                  <a:gd name="T44" fmla="*/ 67 w 74"/>
                  <a:gd name="T45" fmla="*/ 49 h 70"/>
                  <a:gd name="T46" fmla="*/ 65 w 74"/>
                  <a:gd name="T47" fmla="*/ 57 h 70"/>
                  <a:gd name="T48" fmla="*/ 72 w 74"/>
                  <a:gd name="T49" fmla="*/ 42 h 70"/>
                  <a:gd name="T50" fmla="*/ 72 w 74"/>
                  <a:gd name="T51" fmla="*/ 42 h 70"/>
                  <a:gd name="T52" fmla="*/ 74 w 74"/>
                  <a:gd name="T53" fmla="*/ 31 h 70"/>
                  <a:gd name="T54" fmla="*/ 71 w 74"/>
                  <a:gd name="T55" fmla="*/ 18 h 70"/>
                  <a:gd name="T56" fmla="*/ 52 w 74"/>
                  <a:gd name="T57" fmla="*/ 0 h 70"/>
                  <a:gd name="T58" fmla="*/ 48 w 74"/>
                  <a:gd name="T59" fmla="*/ 0 h 70"/>
                  <a:gd name="T60" fmla="*/ 46 w 74"/>
                  <a:gd name="T61" fmla="*/ 0 h 70"/>
                  <a:gd name="T62" fmla="*/ 43 w 74"/>
                  <a:gd name="T63" fmla="*/ 0 h 70"/>
                  <a:gd name="T64" fmla="*/ 39 w 74"/>
                  <a:gd name="T65" fmla="*/ 0 h 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74" h="70">
                    <a:moveTo>
                      <a:pt x="35" y="10"/>
                    </a:moveTo>
                    <a:cubicBezTo>
                      <a:pt x="35" y="12"/>
                      <a:pt x="34" y="14"/>
                      <a:pt x="32" y="14"/>
                    </a:cubicBezTo>
                    <a:cubicBezTo>
                      <a:pt x="20" y="14"/>
                      <a:pt x="8" y="19"/>
                      <a:pt x="1" y="28"/>
                    </a:cubicBezTo>
                    <a:cubicBezTo>
                      <a:pt x="0" y="32"/>
                      <a:pt x="0" y="36"/>
                      <a:pt x="0" y="39"/>
                    </a:cubicBezTo>
                    <a:cubicBezTo>
                      <a:pt x="0" y="40"/>
                      <a:pt x="0" y="40"/>
                      <a:pt x="0" y="40"/>
                    </a:cubicBezTo>
                    <a:cubicBezTo>
                      <a:pt x="3" y="58"/>
                      <a:pt x="22" y="70"/>
                      <a:pt x="39" y="70"/>
                    </a:cubicBezTo>
                    <a:cubicBezTo>
                      <a:pt x="39" y="70"/>
                      <a:pt x="39" y="70"/>
                      <a:pt x="39" y="70"/>
                    </a:cubicBezTo>
                    <a:cubicBezTo>
                      <a:pt x="39" y="70"/>
                      <a:pt x="39" y="70"/>
                      <a:pt x="39" y="70"/>
                    </a:cubicBezTo>
                    <a:cubicBezTo>
                      <a:pt x="39" y="70"/>
                      <a:pt x="39" y="70"/>
                      <a:pt x="39" y="70"/>
                    </a:cubicBezTo>
                    <a:cubicBezTo>
                      <a:pt x="43" y="70"/>
                      <a:pt x="46" y="69"/>
                      <a:pt x="48" y="69"/>
                    </a:cubicBezTo>
                    <a:cubicBezTo>
                      <a:pt x="54" y="65"/>
                      <a:pt x="58" y="59"/>
                      <a:pt x="60" y="51"/>
                    </a:cubicBezTo>
                    <a:cubicBezTo>
                      <a:pt x="62" y="44"/>
                      <a:pt x="63" y="35"/>
                      <a:pt x="59" y="27"/>
                    </a:cubicBezTo>
                    <a:cubicBezTo>
                      <a:pt x="54" y="16"/>
                      <a:pt x="46" y="12"/>
                      <a:pt x="35" y="10"/>
                    </a:cubicBezTo>
                    <a:moveTo>
                      <a:pt x="39" y="0"/>
                    </a:moveTo>
                    <a:cubicBezTo>
                      <a:pt x="39" y="2"/>
                      <a:pt x="39" y="2"/>
                      <a:pt x="39" y="2"/>
                    </a:cubicBezTo>
                    <a:cubicBezTo>
                      <a:pt x="38" y="2"/>
                      <a:pt x="36" y="2"/>
                      <a:pt x="35" y="2"/>
                    </a:cubicBezTo>
                    <a:cubicBezTo>
                      <a:pt x="29" y="2"/>
                      <a:pt x="22" y="4"/>
                      <a:pt x="17" y="8"/>
                    </a:cubicBezTo>
                    <a:cubicBezTo>
                      <a:pt x="19" y="7"/>
                      <a:pt x="22" y="7"/>
                      <a:pt x="25" y="7"/>
                    </a:cubicBezTo>
                    <a:cubicBezTo>
                      <a:pt x="26" y="7"/>
                      <a:pt x="28" y="7"/>
                      <a:pt x="30" y="7"/>
                    </a:cubicBezTo>
                    <a:cubicBezTo>
                      <a:pt x="30" y="7"/>
                      <a:pt x="30" y="7"/>
                      <a:pt x="30" y="7"/>
                    </a:cubicBezTo>
                    <a:cubicBezTo>
                      <a:pt x="31" y="7"/>
                      <a:pt x="32" y="7"/>
                      <a:pt x="32" y="7"/>
                    </a:cubicBezTo>
                    <a:cubicBezTo>
                      <a:pt x="46" y="7"/>
                      <a:pt x="52" y="8"/>
                      <a:pt x="61" y="20"/>
                    </a:cubicBezTo>
                    <a:cubicBezTo>
                      <a:pt x="67" y="28"/>
                      <a:pt x="69" y="38"/>
                      <a:pt x="67" y="49"/>
                    </a:cubicBezTo>
                    <a:cubicBezTo>
                      <a:pt x="67" y="52"/>
                      <a:pt x="66" y="55"/>
                      <a:pt x="65" y="57"/>
                    </a:cubicBezTo>
                    <a:cubicBezTo>
                      <a:pt x="68" y="53"/>
                      <a:pt x="71" y="47"/>
                      <a:pt x="72" y="42"/>
                    </a:cubicBezTo>
                    <a:cubicBezTo>
                      <a:pt x="72" y="42"/>
                      <a:pt x="72" y="42"/>
                      <a:pt x="72" y="42"/>
                    </a:cubicBezTo>
                    <a:cubicBezTo>
                      <a:pt x="73" y="38"/>
                      <a:pt x="74" y="35"/>
                      <a:pt x="74" y="31"/>
                    </a:cubicBezTo>
                    <a:cubicBezTo>
                      <a:pt x="74" y="26"/>
                      <a:pt x="73" y="21"/>
                      <a:pt x="71" y="18"/>
                    </a:cubicBezTo>
                    <a:cubicBezTo>
                      <a:pt x="66" y="10"/>
                      <a:pt x="61" y="2"/>
                      <a:pt x="52" y="0"/>
                    </a:cubicBezTo>
                    <a:cubicBezTo>
                      <a:pt x="51" y="0"/>
                      <a:pt x="49" y="0"/>
                      <a:pt x="48" y="0"/>
                    </a:cubicBezTo>
                    <a:cubicBezTo>
                      <a:pt x="47" y="0"/>
                      <a:pt x="46" y="0"/>
                      <a:pt x="46" y="0"/>
                    </a:cubicBezTo>
                    <a:cubicBezTo>
                      <a:pt x="45" y="0"/>
                      <a:pt x="44" y="0"/>
                      <a:pt x="43" y="0"/>
                    </a:cubicBezTo>
                    <a:cubicBezTo>
                      <a:pt x="42" y="0"/>
                      <a:pt x="40" y="0"/>
                      <a:pt x="39" y="0"/>
                    </a:cubicBezTo>
                  </a:path>
                </a:pathLst>
              </a:custGeom>
              <a:solidFill>
                <a:srgbClr val="6F686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387" name="Freeform 59">
                <a:extLst>
                  <a:ext uri="{FF2B5EF4-FFF2-40B4-BE49-F238E27FC236}">
                    <a16:creationId xmlns:a16="http://schemas.microsoft.com/office/drawing/2014/main" id="{54A0FF4E-AE1C-43DF-B810-59AD57B23C2A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2421" y="2143"/>
                <a:ext cx="66" cy="62"/>
              </a:xfrm>
              <a:custGeom>
                <a:avLst/>
                <a:gdLst>
                  <a:gd name="T0" fmla="*/ 20 w 62"/>
                  <a:gd name="T1" fmla="*/ 11 h 59"/>
                  <a:gd name="T2" fmla="*/ 18 w 62"/>
                  <a:gd name="T3" fmla="*/ 14 h 59"/>
                  <a:gd name="T4" fmla="*/ 2 w 62"/>
                  <a:gd name="T5" fmla="*/ 22 h 59"/>
                  <a:gd name="T6" fmla="*/ 0 w 62"/>
                  <a:gd name="T7" fmla="*/ 33 h 59"/>
                  <a:gd name="T8" fmla="*/ 5 w 62"/>
                  <a:gd name="T9" fmla="*/ 47 h 59"/>
                  <a:gd name="T10" fmla="*/ 34 w 62"/>
                  <a:gd name="T11" fmla="*/ 59 h 59"/>
                  <a:gd name="T12" fmla="*/ 45 w 62"/>
                  <a:gd name="T13" fmla="*/ 58 h 59"/>
                  <a:gd name="T14" fmla="*/ 47 w 62"/>
                  <a:gd name="T15" fmla="*/ 25 h 59"/>
                  <a:gd name="T16" fmla="*/ 20 w 62"/>
                  <a:gd name="T17" fmla="*/ 11 h 59"/>
                  <a:gd name="T18" fmla="*/ 26 w 62"/>
                  <a:gd name="T19" fmla="*/ 0 h 59"/>
                  <a:gd name="T20" fmla="*/ 26 w 62"/>
                  <a:gd name="T21" fmla="*/ 2 h 59"/>
                  <a:gd name="T22" fmla="*/ 12 w 62"/>
                  <a:gd name="T23" fmla="*/ 7 h 59"/>
                  <a:gd name="T24" fmla="*/ 21 w 62"/>
                  <a:gd name="T25" fmla="*/ 6 h 59"/>
                  <a:gd name="T26" fmla="*/ 54 w 62"/>
                  <a:gd name="T27" fmla="*/ 30 h 59"/>
                  <a:gd name="T28" fmla="*/ 54 w 62"/>
                  <a:gd name="T29" fmla="*/ 53 h 59"/>
                  <a:gd name="T30" fmla="*/ 62 w 62"/>
                  <a:gd name="T31" fmla="*/ 33 h 59"/>
                  <a:gd name="T32" fmla="*/ 49 w 62"/>
                  <a:gd name="T33" fmla="*/ 5 h 59"/>
                  <a:gd name="T34" fmla="*/ 26 w 62"/>
                  <a:gd name="T35" fmla="*/ 0 h 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62" h="59">
                    <a:moveTo>
                      <a:pt x="20" y="11"/>
                    </a:moveTo>
                    <a:cubicBezTo>
                      <a:pt x="20" y="12"/>
                      <a:pt x="20" y="13"/>
                      <a:pt x="18" y="14"/>
                    </a:cubicBezTo>
                    <a:cubicBezTo>
                      <a:pt x="13" y="16"/>
                      <a:pt x="6" y="18"/>
                      <a:pt x="2" y="22"/>
                    </a:cubicBezTo>
                    <a:cubicBezTo>
                      <a:pt x="1" y="25"/>
                      <a:pt x="0" y="29"/>
                      <a:pt x="0" y="33"/>
                    </a:cubicBezTo>
                    <a:cubicBezTo>
                      <a:pt x="0" y="37"/>
                      <a:pt x="1" y="42"/>
                      <a:pt x="5" y="47"/>
                    </a:cubicBezTo>
                    <a:cubicBezTo>
                      <a:pt x="12" y="55"/>
                      <a:pt x="23" y="59"/>
                      <a:pt x="34" y="59"/>
                    </a:cubicBezTo>
                    <a:cubicBezTo>
                      <a:pt x="38" y="59"/>
                      <a:pt x="42" y="59"/>
                      <a:pt x="45" y="58"/>
                    </a:cubicBezTo>
                    <a:cubicBezTo>
                      <a:pt x="52" y="49"/>
                      <a:pt x="51" y="35"/>
                      <a:pt x="47" y="25"/>
                    </a:cubicBezTo>
                    <a:cubicBezTo>
                      <a:pt x="42" y="16"/>
                      <a:pt x="31" y="12"/>
                      <a:pt x="20" y="11"/>
                    </a:cubicBezTo>
                    <a:moveTo>
                      <a:pt x="26" y="0"/>
                    </a:moveTo>
                    <a:cubicBezTo>
                      <a:pt x="26" y="2"/>
                      <a:pt x="26" y="2"/>
                      <a:pt x="26" y="2"/>
                    </a:cubicBezTo>
                    <a:cubicBezTo>
                      <a:pt x="20" y="3"/>
                      <a:pt x="16" y="5"/>
                      <a:pt x="12" y="7"/>
                    </a:cubicBezTo>
                    <a:cubicBezTo>
                      <a:pt x="15" y="7"/>
                      <a:pt x="18" y="6"/>
                      <a:pt x="21" y="6"/>
                    </a:cubicBezTo>
                    <a:cubicBezTo>
                      <a:pt x="36" y="6"/>
                      <a:pt x="49" y="14"/>
                      <a:pt x="54" y="30"/>
                    </a:cubicBezTo>
                    <a:cubicBezTo>
                      <a:pt x="56" y="38"/>
                      <a:pt x="56" y="46"/>
                      <a:pt x="54" y="53"/>
                    </a:cubicBezTo>
                    <a:cubicBezTo>
                      <a:pt x="59" y="49"/>
                      <a:pt x="62" y="41"/>
                      <a:pt x="62" y="33"/>
                    </a:cubicBezTo>
                    <a:cubicBezTo>
                      <a:pt x="62" y="22"/>
                      <a:pt x="57" y="11"/>
                      <a:pt x="49" y="5"/>
                    </a:cubicBezTo>
                    <a:cubicBezTo>
                      <a:pt x="43" y="3"/>
                      <a:pt x="34" y="0"/>
                      <a:pt x="26" y="0"/>
                    </a:cubicBezTo>
                  </a:path>
                </a:pathLst>
              </a:custGeom>
              <a:solidFill>
                <a:srgbClr val="EF827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388" name="Freeform 60">
                <a:extLst>
                  <a:ext uri="{FF2B5EF4-FFF2-40B4-BE49-F238E27FC236}">
                    <a16:creationId xmlns:a16="http://schemas.microsoft.com/office/drawing/2014/main" id="{E6762DE0-F8A5-43CF-9960-24E9DD09A9C3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2544" y="2053"/>
                <a:ext cx="149" cy="138"/>
              </a:xfrm>
              <a:custGeom>
                <a:avLst/>
                <a:gdLst>
                  <a:gd name="T0" fmla="*/ 141 w 141"/>
                  <a:gd name="T1" fmla="*/ 81 h 131"/>
                  <a:gd name="T2" fmla="*/ 134 w 141"/>
                  <a:gd name="T3" fmla="*/ 90 h 131"/>
                  <a:gd name="T4" fmla="*/ 128 w 141"/>
                  <a:gd name="T5" fmla="*/ 108 h 131"/>
                  <a:gd name="T6" fmla="*/ 141 w 141"/>
                  <a:gd name="T7" fmla="*/ 81 h 131"/>
                  <a:gd name="T8" fmla="*/ 19 w 141"/>
                  <a:gd name="T9" fmla="*/ 11 h 131"/>
                  <a:gd name="T10" fmla="*/ 10 w 141"/>
                  <a:gd name="T11" fmla="*/ 15 h 131"/>
                  <a:gd name="T12" fmla="*/ 2 w 141"/>
                  <a:gd name="T13" fmla="*/ 39 h 131"/>
                  <a:gd name="T14" fmla="*/ 0 w 141"/>
                  <a:gd name="T15" fmla="*/ 53 h 131"/>
                  <a:gd name="T16" fmla="*/ 8 w 141"/>
                  <a:gd name="T17" fmla="*/ 80 h 131"/>
                  <a:gd name="T18" fmla="*/ 42 w 141"/>
                  <a:gd name="T19" fmla="*/ 118 h 131"/>
                  <a:gd name="T20" fmla="*/ 82 w 141"/>
                  <a:gd name="T21" fmla="*/ 131 h 131"/>
                  <a:gd name="T22" fmla="*/ 103 w 141"/>
                  <a:gd name="T23" fmla="*/ 127 h 131"/>
                  <a:gd name="T24" fmla="*/ 127 w 141"/>
                  <a:gd name="T25" fmla="*/ 97 h 131"/>
                  <a:gd name="T26" fmla="*/ 80 w 141"/>
                  <a:gd name="T27" fmla="*/ 116 h 131"/>
                  <a:gd name="T28" fmla="*/ 76 w 141"/>
                  <a:gd name="T29" fmla="*/ 116 h 131"/>
                  <a:gd name="T30" fmla="*/ 11 w 141"/>
                  <a:gd name="T31" fmla="*/ 51 h 131"/>
                  <a:gd name="T32" fmla="*/ 19 w 141"/>
                  <a:gd name="T33" fmla="*/ 11 h 131"/>
                  <a:gd name="T34" fmla="*/ 30 w 141"/>
                  <a:gd name="T35" fmla="*/ 8 h 131"/>
                  <a:gd name="T36" fmla="*/ 19 w 141"/>
                  <a:gd name="T37" fmla="*/ 45 h 131"/>
                  <a:gd name="T38" fmla="*/ 71 w 141"/>
                  <a:gd name="T39" fmla="*/ 109 h 131"/>
                  <a:gd name="T40" fmla="*/ 81 w 141"/>
                  <a:gd name="T41" fmla="*/ 110 h 131"/>
                  <a:gd name="T42" fmla="*/ 116 w 141"/>
                  <a:gd name="T43" fmla="*/ 98 h 131"/>
                  <a:gd name="T44" fmla="*/ 96 w 141"/>
                  <a:gd name="T45" fmla="*/ 104 h 131"/>
                  <a:gd name="T46" fmla="*/ 96 w 141"/>
                  <a:gd name="T47" fmla="*/ 104 h 131"/>
                  <a:gd name="T48" fmla="*/ 89 w 141"/>
                  <a:gd name="T49" fmla="*/ 104 h 131"/>
                  <a:gd name="T50" fmla="*/ 89 w 141"/>
                  <a:gd name="T51" fmla="*/ 104 h 131"/>
                  <a:gd name="T52" fmla="*/ 89 w 141"/>
                  <a:gd name="T53" fmla="*/ 104 h 131"/>
                  <a:gd name="T54" fmla="*/ 89 w 141"/>
                  <a:gd name="T55" fmla="*/ 104 h 131"/>
                  <a:gd name="T56" fmla="*/ 89 w 141"/>
                  <a:gd name="T57" fmla="*/ 104 h 131"/>
                  <a:gd name="T58" fmla="*/ 52 w 141"/>
                  <a:gd name="T59" fmla="*/ 88 h 131"/>
                  <a:gd name="T60" fmla="*/ 52 w 141"/>
                  <a:gd name="T61" fmla="*/ 88 h 131"/>
                  <a:gd name="T62" fmla="*/ 52 w 141"/>
                  <a:gd name="T63" fmla="*/ 88 h 131"/>
                  <a:gd name="T64" fmla="*/ 52 w 141"/>
                  <a:gd name="T65" fmla="*/ 88 h 131"/>
                  <a:gd name="T66" fmla="*/ 51 w 141"/>
                  <a:gd name="T67" fmla="*/ 87 h 131"/>
                  <a:gd name="T68" fmla="*/ 24 w 141"/>
                  <a:gd name="T69" fmla="*/ 48 h 131"/>
                  <a:gd name="T70" fmla="*/ 23 w 141"/>
                  <a:gd name="T71" fmla="*/ 39 h 131"/>
                  <a:gd name="T72" fmla="*/ 30 w 141"/>
                  <a:gd name="T73" fmla="*/ 8 h 131"/>
                  <a:gd name="T74" fmla="*/ 27 w 141"/>
                  <a:gd name="T75" fmla="*/ 0 h 131"/>
                  <a:gd name="T76" fmla="*/ 15 w 141"/>
                  <a:gd name="T77" fmla="*/ 8 h 131"/>
                  <a:gd name="T78" fmla="*/ 22 w 141"/>
                  <a:gd name="T79" fmla="*/ 6 h 131"/>
                  <a:gd name="T80" fmla="*/ 27 w 141"/>
                  <a:gd name="T81" fmla="*/ 0 h 1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141" h="131">
                    <a:moveTo>
                      <a:pt x="141" y="81"/>
                    </a:moveTo>
                    <a:cubicBezTo>
                      <a:pt x="139" y="84"/>
                      <a:pt x="137" y="87"/>
                      <a:pt x="134" y="90"/>
                    </a:cubicBezTo>
                    <a:cubicBezTo>
                      <a:pt x="133" y="97"/>
                      <a:pt x="130" y="103"/>
                      <a:pt x="128" y="108"/>
                    </a:cubicBezTo>
                    <a:cubicBezTo>
                      <a:pt x="134" y="100"/>
                      <a:pt x="139" y="90"/>
                      <a:pt x="141" y="81"/>
                    </a:cubicBezTo>
                    <a:moveTo>
                      <a:pt x="19" y="11"/>
                    </a:moveTo>
                    <a:cubicBezTo>
                      <a:pt x="15" y="12"/>
                      <a:pt x="12" y="13"/>
                      <a:pt x="10" y="15"/>
                    </a:cubicBezTo>
                    <a:cubicBezTo>
                      <a:pt x="6" y="23"/>
                      <a:pt x="3" y="32"/>
                      <a:pt x="2" y="39"/>
                    </a:cubicBezTo>
                    <a:cubicBezTo>
                      <a:pt x="1" y="44"/>
                      <a:pt x="0" y="48"/>
                      <a:pt x="0" y="53"/>
                    </a:cubicBezTo>
                    <a:cubicBezTo>
                      <a:pt x="0" y="62"/>
                      <a:pt x="3" y="71"/>
                      <a:pt x="8" y="80"/>
                    </a:cubicBezTo>
                    <a:cubicBezTo>
                      <a:pt x="16" y="95"/>
                      <a:pt x="26" y="111"/>
                      <a:pt x="42" y="118"/>
                    </a:cubicBezTo>
                    <a:cubicBezTo>
                      <a:pt x="53" y="126"/>
                      <a:pt x="68" y="131"/>
                      <a:pt x="82" y="131"/>
                    </a:cubicBezTo>
                    <a:cubicBezTo>
                      <a:pt x="90" y="131"/>
                      <a:pt x="97" y="129"/>
                      <a:pt x="103" y="127"/>
                    </a:cubicBezTo>
                    <a:cubicBezTo>
                      <a:pt x="114" y="120"/>
                      <a:pt x="122" y="109"/>
                      <a:pt x="127" y="97"/>
                    </a:cubicBezTo>
                    <a:cubicBezTo>
                      <a:pt x="114" y="109"/>
                      <a:pt x="96" y="116"/>
                      <a:pt x="80" y="116"/>
                    </a:cubicBezTo>
                    <a:cubicBezTo>
                      <a:pt x="78" y="116"/>
                      <a:pt x="77" y="116"/>
                      <a:pt x="76" y="116"/>
                    </a:cubicBezTo>
                    <a:cubicBezTo>
                      <a:pt x="45" y="113"/>
                      <a:pt x="12" y="81"/>
                      <a:pt x="11" y="51"/>
                    </a:cubicBezTo>
                    <a:cubicBezTo>
                      <a:pt x="10" y="35"/>
                      <a:pt x="13" y="22"/>
                      <a:pt x="19" y="11"/>
                    </a:cubicBezTo>
                    <a:moveTo>
                      <a:pt x="30" y="8"/>
                    </a:moveTo>
                    <a:cubicBezTo>
                      <a:pt x="23" y="18"/>
                      <a:pt x="19" y="33"/>
                      <a:pt x="19" y="45"/>
                    </a:cubicBezTo>
                    <a:cubicBezTo>
                      <a:pt x="18" y="72"/>
                      <a:pt x="45" y="103"/>
                      <a:pt x="71" y="109"/>
                    </a:cubicBezTo>
                    <a:cubicBezTo>
                      <a:pt x="74" y="109"/>
                      <a:pt x="78" y="110"/>
                      <a:pt x="81" y="110"/>
                    </a:cubicBezTo>
                    <a:cubicBezTo>
                      <a:pt x="93" y="110"/>
                      <a:pt x="105" y="105"/>
                      <a:pt x="116" y="98"/>
                    </a:cubicBezTo>
                    <a:cubicBezTo>
                      <a:pt x="109" y="101"/>
                      <a:pt x="103" y="103"/>
                      <a:pt x="96" y="104"/>
                    </a:cubicBezTo>
                    <a:cubicBezTo>
                      <a:pt x="96" y="104"/>
                      <a:pt x="96" y="104"/>
                      <a:pt x="96" y="104"/>
                    </a:cubicBezTo>
                    <a:cubicBezTo>
                      <a:pt x="93" y="104"/>
                      <a:pt x="91" y="104"/>
                      <a:pt x="89" y="104"/>
                    </a:cubicBezTo>
                    <a:cubicBezTo>
                      <a:pt x="89" y="104"/>
                      <a:pt x="89" y="104"/>
                      <a:pt x="89" y="104"/>
                    </a:cubicBezTo>
                    <a:cubicBezTo>
                      <a:pt x="89" y="104"/>
                      <a:pt x="89" y="104"/>
                      <a:pt x="89" y="104"/>
                    </a:cubicBezTo>
                    <a:cubicBezTo>
                      <a:pt x="89" y="104"/>
                      <a:pt x="89" y="104"/>
                      <a:pt x="89" y="104"/>
                    </a:cubicBezTo>
                    <a:cubicBezTo>
                      <a:pt x="89" y="104"/>
                      <a:pt x="89" y="104"/>
                      <a:pt x="89" y="104"/>
                    </a:cubicBezTo>
                    <a:cubicBezTo>
                      <a:pt x="75" y="104"/>
                      <a:pt x="63" y="98"/>
                      <a:pt x="52" y="88"/>
                    </a:cubicBezTo>
                    <a:cubicBezTo>
                      <a:pt x="52" y="88"/>
                      <a:pt x="52" y="88"/>
                      <a:pt x="52" y="88"/>
                    </a:cubicBezTo>
                    <a:cubicBezTo>
                      <a:pt x="52" y="88"/>
                      <a:pt x="52" y="88"/>
                      <a:pt x="52" y="88"/>
                    </a:cubicBezTo>
                    <a:cubicBezTo>
                      <a:pt x="52" y="88"/>
                      <a:pt x="52" y="88"/>
                      <a:pt x="52" y="88"/>
                    </a:cubicBezTo>
                    <a:cubicBezTo>
                      <a:pt x="51" y="88"/>
                      <a:pt x="51" y="87"/>
                      <a:pt x="51" y="87"/>
                    </a:cubicBezTo>
                    <a:cubicBezTo>
                      <a:pt x="38" y="76"/>
                      <a:pt x="25" y="64"/>
                      <a:pt x="24" y="48"/>
                    </a:cubicBezTo>
                    <a:cubicBezTo>
                      <a:pt x="24" y="45"/>
                      <a:pt x="23" y="42"/>
                      <a:pt x="23" y="39"/>
                    </a:cubicBezTo>
                    <a:cubicBezTo>
                      <a:pt x="23" y="29"/>
                      <a:pt x="26" y="17"/>
                      <a:pt x="30" y="8"/>
                    </a:cubicBezTo>
                    <a:moveTo>
                      <a:pt x="27" y="0"/>
                    </a:moveTo>
                    <a:cubicBezTo>
                      <a:pt x="22" y="1"/>
                      <a:pt x="18" y="4"/>
                      <a:pt x="15" y="8"/>
                    </a:cubicBezTo>
                    <a:cubicBezTo>
                      <a:pt x="17" y="7"/>
                      <a:pt x="19" y="6"/>
                      <a:pt x="22" y="6"/>
                    </a:cubicBezTo>
                    <a:cubicBezTo>
                      <a:pt x="23" y="4"/>
                      <a:pt x="25" y="2"/>
                      <a:pt x="27" y="0"/>
                    </a:cubicBezTo>
                  </a:path>
                </a:pathLst>
              </a:custGeom>
              <a:solidFill>
                <a:srgbClr val="83C3E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389" name="Freeform 61">
                <a:extLst>
                  <a:ext uri="{FF2B5EF4-FFF2-40B4-BE49-F238E27FC236}">
                    <a16:creationId xmlns:a16="http://schemas.microsoft.com/office/drawing/2014/main" id="{2685F1D5-4D07-4B0A-9C20-BD00C59196F1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568" y="2022"/>
                <a:ext cx="138" cy="141"/>
              </a:xfrm>
              <a:custGeom>
                <a:avLst/>
                <a:gdLst>
                  <a:gd name="T0" fmla="*/ 71 w 130"/>
                  <a:gd name="T1" fmla="*/ 0 h 133"/>
                  <a:gd name="T2" fmla="*/ 62 w 130"/>
                  <a:gd name="T3" fmla="*/ 0 h 133"/>
                  <a:gd name="T4" fmla="*/ 21 w 130"/>
                  <a:gd name="T5" fmla="*/ 15 h 133"/>
                  <a:gd name="T6" fmla="*/ 53 w 130"/>
                  <a:gd name="T7" fmla="*/ 5 h 133"/>
                  <a:gd name="T8" fmla="*/ 54 w 130"/>
                  <a:gd name="T9" fmla="*/ 5 h 133"/>
                  <a:gd name="T10" fmla="*/ 55 w 130"/>
                  <a:gd name="T11" fmla="*/ 12 h 133"/>
                  <a:gd name="T12" fmla="*/ 15 w 130"/>
                  <a:gd name="T13" fmla="*/ 27 h 133"/>
                  <a:gd name="T14" fmla="*/ 7 w 130"/>
                  <a:gd name="T15" fmla="*/ 37 h 133"/>
                  <a:gd name="T16" fmla="*/ 0 w 130"/>
                  <a:gd name="T17" fmla="*/ 68 h 133"/>
                  <a:gd name="T18" fmla="*/ 1 w 130"/>
                  <a:gd name="T19" fmla="*/ 77 h 133"/>
                  <a:gd name="T20" fmla="*/ 28 w 130"/>
                  <a:gd name="T21" fmla="*/ 116 h 133"/>
                  <a:gd name="T22" fmla="*/ 29 w 130"/>
                  <a:gd name="T23" fmla="*/ 117 h 133"/>
                  <a:gd name="T24" fmla="*/ 29 w 130"/>
                  <a:gd name="T25" fmla="*/ 117 h 133"/>
                  <a:gd name="T26" fmla="*/ 29 w 130"/>
                  <a:gd name="T27" fmla="*/ 117 h 133"/>
                  <a:gd name="T28" fmla="*/ 29 w 130"/>
                  <a:gd name="T29" fmla="*/ 117 h 133"/>
                  <a:gd name="T30" fmla="*/ 66 w 130"/>
                  <a:gd name="T31" fmla="*/ 133 h 133"/>
                  <a:gd name="T32" fmla="*/ 66 w 130"/>
                  <a:gd name="T33" fmla="*/ 133 h 133"/>
                  <a:gd name="T34" fmla="*/ 66 w 130"/>
                  <a:gd name="T35" fmla="*/ 133 h 133"/>
                  <a:gd name="T36" fmla="*/ 66 w 130"/>
                  <a:gd name="T37" fmla="*/ 133 h 133"/>
                  <a:gd name="T38" fmla="*/ 73 w 130"/>
                  <a:gd name="T39" fmla="*/ 133 h 133"/>
                  <a:gd name="T40" fmla="*/ 73 w 130"/>
                  <a:gd name="T41" fmla="*/ 133 h 133"/>
                  <a:gd name="T42" fmla="*/ 93 w 130"/>
                  <a:gd name="T43" fmla="*/ 127 h 133"/>
                  <a:gd name="T44" fmla="*/ 102 w 130"/>
                  <a:gd name="T45" fmla="*/ 119 h 133"/>
                  <a:gd name="T46" fmla="*/ 116 w 130"/>
                  <a:gd name="T47" fmla="*/ 70 h 133"/>
                  <a:gd name="T48" fmla="*/ 62 w 130"/>
                  <a:gd name="T49" fmla="*/ 10 h 133"/>
                  <a:gd name="T50" fmla="*/ 62 w 130"/>
                  <a:gd name="T51" fmla="*/ 7 h 133"/>
                  <a:gd name="T52" fmla="*/ 63 w 130"/>
                  <a:gd name="T53" fmla="*/ 7 h 133"/>
                  <a:gd name="T54" fmla="*/ 108 w 130"/>
                  <a:gd name="T55" fmla="*/ 35 h 133"/>
                  <a:gd name="T56" fmla="*/ 124 w 130"/>
                  <a:gd name="T57" fmla="*/ 84 h 133"/>
                  <a:gd name="T58" fmla="*/ 120 w 130"/>
                  <a:gd name="T59" fmla="*/ 105 h 133"/>
                  <a:gd name="T60" fmla="*/ 121 w 130"/>
                  <a:gd name="T61" fmla="*/ 103 h 133"/>
                  <a:gd name="T62" fmla="*/ 130 w 130"/>
                  <a:gd name="T63" fmla="*/ 78 h 133"/>
                  <a:gd name="T64" fmla="*/ 128 w 130"/>
                  <a:gd name="T65" fmla="*/ 63 h 133"/>
                  <a:gd name="T66" fmla="*/ 99 w 130"/>
                  <a:gd name="T67" fmla="*/ 13 h 133"/>
                  <a:gd name="T68" fmla="*/ 71 w 130"/>
                  <a:gd name="T69" fmla="*/ 0 h 1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130" h="133">
                    <a:moveTo>
                      <a:pt x="71" y="0"/>
                    </a:moveTo>
                    <a:cubicBezTo>
                      <a:pt x="62" y="0"/>
                      <a:pt x="62" y="0"/>
                      <a:pt x="62" y="0"/>
                    </a:cubicBezTo>
                    <a:cubicBezTo>
                      <a:pt x="47" y="3"/>
                      <a:pt x="32" y="6"/>
                      <a:pt x="21" y="15"/>
                    </a:cubicBezTo>
                    <a:cubicBezTo>
                      <a:pt x="30" y="10"/>
                      <a:pt x="41" y="7"/>
                      <a:pt x="53" y="5"/>
                    </a:cubicBezTo>
                    <a:cubicBezTo>
                      <a:pt x="54" y="5"/>
                      <a:pt x="54" y="5"/>
                      <a:pt x="54" y="5"/>
                    </a:cubicBezTo>
                    <a:cubicBezTo>
                      <a:pt x="57" y="5"/>
                      <a:pt x="58" y="11"/>
                      <a:pt x="55" y="12"/>
                    </a:cubicBezTo>
                    <a:cubicBezTo>
                      <a:pt x="41" y="16"/>
                      <a:pt x="26" y="18"/>
                      <a:pt x="15" y="27"/>
                    </a:cubicBezTo>
                    <a:cubicBezTo>
                      <a:pt x="12" y="30"/>
                      <a:pt x="9" y="33"/>
                      <a:pt x="7" y="37"/>
                    </a:cubicBezTo>
                    <a:cubicBezTo>
                      <a:pt x="3" y="46"/>
                      <a:pt x="0" y="58"/>
                      <a:pt x="0" y="68"/>
                    </a:cubicBezTo>
                    <a:cubicBezTo>
                      <a:pt x="0" y="71"/>
                      <a:pt x="1" y="74"/>
                      <a:pt x="1" y="77"/>
                    </a:cubicBezTo>
                    <a:cubicBezTo>
                      <a:pt x="2" y="93"/>
                      <a:pt x="15" y="105"/>
                      <a:pt x="28" y="116"/>
                    </a:cubicBezTo>
                    <a:cubicBezTo>
                      <a:pt x="28" y="116"/>
                      <a:pt x="28" y="117"/>
                      <a:pt x="29" y="117"/>
                    </a:cubicBezTo>
                    <a:cubicBezTo>
                      <a:pt x="29" y="117"/>
                      <a:pt x="29" y="117"/>
                      <a:pt x="29" y="117"/>
                    </a:cubicBezTo>
                    <a:cubicBezTo>
                      <a:pt x="29" y="117"/>
                      <a:pt x="29" y="117"/>
                      <a:pt x="29" y="117"/>
                    </a:cubicBezTo>
                    <a:cubicBezTo>
                      <a:pt x="29" y="117"/>
                      <a:pt x="29" y="117"/>
                      <a:pt x="29" y="117"/>
                    </a:cubicBezTo>
                    <a:cubicBezTo>
                      <a:pt x="40" y="127"/>
                      <a:pt x="52" y="133"/>
                      <a:pt x="66" y="133"/>
                    </a:cubicBezTo>
                    <a:cubicBezTo>
                      <a:pt x="66" y="133"/>
                      <a:pt x="66" y="133"/>
                      <a:pt x="66" y="133"/>
                    </a:cubicBezTo>
                    <a:cubicBezTo>
                      <a:pt x="66" y="133"/>
                      <a:pt x="66" y="133"/>
                      <a:pt x="66" y="133"/>
                    </a:cubicBezTo>
                    <a:cubicBezTo>
                      <a:pt x="66" y="133"/>
                      <a:pt x="66" y="133"/>
                      <a:pt x="66" y="133"/>
                    </a:cubicBezTo>
                    <a:cubicBezTo>
                      <a:pt x="68" y="133"/>
                      <a:pt x="70" y="133"/>
                      <a:pt x="73" y="133"/>
                    </a:cubicBezTo>
                    <a:cubicBezTo>
                      <a:pt x="73" y="133"/>
                      <a:pt x="73" y="133"/>
                      <a:pt x="73" y="133"/>
                    </a:cubicBezTo>
                    <a:cubicBezTo>
                      <a:pt x="80" y="132"/>
                      <a:pt x="86" y="130"/>
                      <a:pt x="93" y="127"/>
                    </a:cubicBezTo>
                    <a:cubicBezTo>
                      <a:pt x="96" y="124"/>
                      <a:pt x="99" y="122"/>
                      <a:pt x="102" y="119"/>
                    </a:cubicBezTo>
                    <a:cubicBezTo>
                      <a:pt x="117" y="105"/>
                      <a:pt x="120" y="90"/>
                      <a:pt x="116" y="70"/>
                    </a:cubicBezTo>
                    <a:cubicBezTo>
                      <a:pt x="109" y="37"/>
                      <a:pt x="90" y="24"/>
                      <a:pt x="62" y="10"/>
                    </a:cubicBezTo>
                    <a:cubicBezTo>
                      <a:pt x="60" y="9"/>
                      <a:pt x="61" y="7"/>
                      <a:pt x="62" y="7"/>
                    </a:cubicBezTo>
                    <a:cubicBezTo>
                      <a:pt x="63" y="7"/>
                      <a:pt x="63" y="7"/>
                      <a:pt x="63" y="7"/>
                    </a:cubicBezTo>
                    <a:cubicBezTo>
                      <a:pt x="81" y="13"/>
                      <a:pt x="97" y="18"/>
                      <a:pt x="108" y="35"/>
                    </a:cubicBezTo>
                    <a:cubicBezTo>
                      <a:pt x="118" y="48"/>
                      <a:pt x="124" y="67"/>
                      <a:pt x="124" y="84"/>
                    </a:cubicBezTo>
                    <a:cubicBezTo>
                      <a:pt x="125" y="91"/>
                      <a:pt x="123" y="98"/>
                      <a:pt x="120" y="105"/>
                    </a:cubicBezTo>
                    <a:cubicBezTo>
                      <a:pt x="121" y="104"/>
                      <a:pt x="121" y="104"/>
                      <a:pt x="121" y="103"/>
                    </a:cubicBezTo>
                    <a:cubicBezTo>
                      <a:pt x="127" y="96"/>
                      <a:pt x="130" y="87"/>
                      <a:pt x="130" y="78"/>
                    </a:cubicBezTo>
                    <a:cubicBezTo>
                      <a:pt x="130" y="73"/>
                      <a:pt x="129" y="68"/>
                      <a:pt x="128" y="63"/>
                    </a:cubicBezTo>
                    <a:cubicBezTo>
                      <a:pt x="125" y="45"/>
                      <a:pt x="115" y="22"/>
                      <a:pt x="99" y="13"/>
                    </a:cubicBezTo>
                    <a:cubicBezTo>
                      <a:pt x="90" y="6"/>
                      <a:pt x="81" y="4"/>
                      <a:pt x="71" y="0"/>
                    </a:cubicBezTo>
                  </a:path>
                </a:pathLst>
              </a:custGeom>
              <a:solidFill>
                <a:srgbClr val="83C3E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390" name="Freeform 62">
                <a:extLst>
                  <a:ext uri="{FF2B5EF4-FFF2-40B4-BE49-F238E27FC236}">
                    <a16:creationId xmlns:a16="http://schemas.microsoft.com/office/drawing/2014/main" id="{16265DE4-F69F-4652-ABCB-BACB673062B2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2234" y="2013"/>
                <a:ext cx="156" cy="103"/>
              </a:xfrm>
              <a:custGeom>
                <a:avLst/>
                <a:gdLst>
                  <a:gd name="T0" fmla="*/ 135 w 148"/>
                  <a:gd name="T1" fmla="*/ 32 h 97"/>
                  <a:gd name="T2" fmla="*/ 131 w 148"/>
                  <a:gd name="T3" fmla="*/ 38 h 97"/>
                  <a:gd name="T4" fmla="*/ 55 w 148"/>
                  <a:gd name="T5" fmla="*/ 82 h 97"/>
                  <a:gd name="T6" fmla="*/ 35 w 148"/>
                  <a:gd name="T7" fmla="*/ 79 h 97"/>
                  <a:gd name="T8" fmla="*/ 12 w 148"/>
                  <a:gd name="T9" fmla="*/ 67 h 97"/>
                  <a:gd name="T10" fmla="*/ 24 w 148"/>
                  <a:gd name="T11" fmla="*/ 81 h 97"/>
                  <a:gd name="T12" fmla="*/ 85 w 148"/>
                  <a:gd name="T13" fmla="*/ 97 h 97"/>
                  <a:gd name="T14" fmla="*/ 114 w 148"/>
                  <a:gd name="T15" fmla="*/ 89 h 97"/>
                  <a:gd name="T16" fmla="*/ 129 w 148"/>
                  <a:gd name="T17" fmla="*/ 73 h 97"/>
                  <a:gd name="T18" fmla="*/ 135 w 148"/>
                  <a:gd name="T19" fmla="*/ 32 h 97"/>
                  <a:gd name="T20" fmla="*/ 2 w 148"/>
                  <a:gd name="T21" fmla="*/ 20 h 97"/>
                  <a:gd name="T22" fmla="*/ 0 w 148"/>
                  <a:gd name="T23" fmla="*/ 32 h 97"/>
                  <a:gd name="T24" fmla="*/ 0 w 148"/>
                  <a:gd name="T25" fmla="*/ 34 h 97"/>
                  <a:gd name="T26" fmla="*/ 38 w 148"/>
                  <a:gd name="T27" fmla="*/ 69 h 97"/>
                  <a:gd name="T28" fmla="*/ 59 w 148"/>
                  <a:gd name="T29" fmla="*/ 72 h 97"/>
                  <a:gd name="T30" fmla="*/ 100 w 148"/>
                  <a:gd name="T31" fmla="*/ 62 h 97"/>
                  <a:gd name="T32" fmla="*/ 68 w 148"/>
                  <a:gd name="T33" fmla="*/ 69 h 97"/>
                  <a:gd name="T34" fmla="*/ 68 w 148"/>
                  <a:gd name="T35" fmla="*/ 69 h 97"/>
                  <a:gd name="T36" fmla="*/ 68 w 148"/>
                  <a:gd name="T37" fmla="*/ 69 h 97"/>
                  <a:gd name="T38" fmla="*/ 68 w 148"/>
                  <a:gd name="T39" fmla="*/ 69 h 97"/>
                  <a:gd name="T40" fmla="*/ 68 w 148"/>
                  <a:gd name="T41" fmla="*/ 69 h 97"/>
                  <a:gd name="T42" fmla="*/ 34 w 148"/>
                  <a:gd name="T43" fmla="*/ 61 h 97"/>
                  <a:gd name="T44" fmla="*/ 33 w 148"/>
                  <a:gd name="T45" fmla="*/ 61 h 97"/>
                  <a:gd name="T46" fmla="*/ 33 w 148"/>
                  <a:gd name="T47" fmla="*/ 61 h 97"/>
                  <a:gd name="T48" fmla="*/ 2 w 148"/>
                  <a:gd name="T49" fmla="*/ 20 h 97"/>
                  <a:gd name="T50" fmla="*/ 139 w 148"/>
                  <a:gd name="T51" fmla="*/ 0 h 97"/>
                  <a:gd name="T52" fmla="*/ 139 w 148"/>
                  <a:gd name="T53" fmla="*/ 0 h 97"/>
                  <a:gd name="T54" fmla="*/ 140 w 148"/>
                  <a:gd name="T55" fmla="*/ 12 h 97"/>
                  <a:gd name="T56" fmla="*/ 138 w 148"/>
                  <a:gd name="T57" fmla="*/ 24 h 97"/>
                  <a:gd name="T58" fmla="*/ 138 w 148"/>
                  <a:gd name="T59" fmla="*/ 25 h 97"/>
                  <a:gd name="T60" fmla="*/ 132 w 148"/>
                  <a:gd name="T61" fmla="*/ 76 h 97"/>
                  <a:gd name="T62" fmla="*/ 146 w 148"/>
                  <a:gd name="T63" fmla="*/ 50 h 97"/>
                  <a:gd name="T64" fmla="*/ 148 w 148"/>
                  <a:gd name="T65" fmla="*/ 31 h 97"/>
                  <a:gd name="T66" fmla="*/ 145 w 148"/>
                  <a:gd name="T67" fmla="*/ 13 h 97"/>
                  <a:gd name="T68" fmla="*/ 139 w 148"/>
                  <a:gd name="T69" fmla="*/ 0 h 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148" h="97">
                    <a:moveTo>
                      <a:pt x="135" y="32"/>
                    </a:moveTo>
                    <a:cubicBezTo>
                      <a:pt x="134" y="34"/>
                      <a:pt x="133" y="36"/>
                      <a:pt x="131" y="38"/>
                    </a:cubicBezTo>
                    <a:cubicBezTo>
                      <a:pt x="121" y="66"/>
                      <a:pt x="85" y="82"/>
                      <a:pt x="55" y="82"/>
                    </a:cubicBezTo>
                    <a:cubicBezTo>
                      <a:pt x="48" y="82"/>
                      <a:pt x="41" y="81"/>
                      <a:pt x="35" y="79"/>
                    </a:cubicBezTo>
                    <a:cubicBezTo>
                      <a:pt x="26" y="77"/>
                      <a:pt x="19" y="73"/>
                      <a:pt x="12" y="67"/>
                    </a:cubicBezTo>
                    <a:cubicBezTo>
                      <a:pt x="16" y="73"/>
                      <a:pt x="20" y="77"/>
                      <a:pt x="24" y="81"/>
                    </a:cubicBezTo>
                    <a:cubicBezTo>
                      <a:pt x="41" y="94"/>
                      <a:pt x="63" y="96"/>
                      <a:pt x="85" y="97"/>
                    </a:cubicBezTo>
                    <a:cubicBezTo>
                      <a:pt x="95" y="96"/>
                      <a:pt x="105" y="94"/>
                      <a:pt x="114" y="89"/>
                    </a:cubicBezTo>
                    <a:cubicBezTo>
                      <a:pt x="120" y="85"/>
                      <a:pt x="125" y="79"/>
                      <a:pt x="129" y="73"/>
                    </a:cubicBezTo>
                    <a:cubicBezTo>
                      <a:pt x="137" y="59"/>
                      <a:pt x="138" y="46"/>
                      <a:pt x="135" y="32"/>
                    </a:cubicBezTo>
                    <a:moveTo>
                      <a:pt x="2" y="20"/>
                    </a:moveTo>
                    <a:cubicBezTo>
                      <a:pt x="1" y="24"/>
                      <a:pt x="0" y="28"/>
                      <a:pt x="0" y="32"/>
                    </a:cubicBezTo>
                    <a:cubicBezTo>
                      <a:pt x="0" y="33"/>
                      <a:pt x="0" y="33"/>
                      <a:pt x="0" y="34"/>
                    </a:cubicBezTo>
                    <a:cubicBezTo>
                      <a:pt x="6" y="51"/>
                      <a:pt x="20" y="64"/>
                      <a:pt x="38" y="69"/>
                    </a:cubicBezTo>
                    <a:cubicBezTo>
                      <a:pt x="45" y="71"/>
                      <a:pt x="52" y="72"/>
                      <a:pt x="59" y="72"/>
                    </a:cubicBezTo>
                    <a:cubicBezTo>
                      <a:pt x="73" y="72"/>
                      <a:pt x="87" y="69"/>
                      <a:pt x="100" y="62"/>
                    </a:cubicBezTo>
                    <a:cubicBezTo>
                      <a:pt x="89" y="67"/>
                      <a:pt x="79" y="69"/>
                      <a:pt x="68" y="69"/>
                    </a:cubicBezTo>
                    <a:cubicBezTo>
                      <a:pt x="68" y="69"/>
                      <a:pt x="68" y="69"/>
                      <a:pt x="68" y="69"/>
                    </a:cubicBezTo>
                    <a:cubicBezTo>
                      <a:pt x="68" y="69"/>
                      <a:pt x="68" y="69"/>
                      <a:pt x="68" y="69"/>
                    </a:cubicBezTo>
                    <a:cubicBezTo>
                      <a:pt x="68" y="69"/>
                      <a:pt x="68" y="69"/>
                      <a:pt x="68" y="69"/>
                    </a:cubicBezTo>
                    <a:cubicBezTo>
                      <a:pt x="68" y="69"/>
                      <a:pt x="68" y="69"/>
                      <a:pt x="68" y="69"/>
                    </a:cubicBezTo>
                    <a:cubicBezTo>
                      <a:pt x="57" y="69"/>
                      <a:pt x="45" y="66"/>
                      <a:pt x="34" y="61"/>
                    </a:cubicBezTo>
                    <a:cubicBezTo>
                      <a:pt x="33" y="61"/>
                      <a:pt x="33" y="61"/>
                      <a:pt x="33" y="61"/>
                    </a:cubicBezTo>
                    <a:cubicBezTo>
                      <a:pt x="33" y="61"/>
                      <a:pt x="33" y="61"/>
                      <a:pt x="33" y="61"/>
                    </a:cubicBezTo>
                    <a:cubicBezTo>
                      <a:pt x="17" y="54"/>
                      <a:pt x="6" y="38"/>
                      <a:pt x="2" y="20"/>
                    </a:cubicBezTo>
                    <a:moveTo>
                      <a:pt x="139" y="0"/>
                    </a:moveTo>
                    <a:cubicBezTo>
                      <a:pt x="139" y="0"/>
                      <a:pt x="139" y="0"/>
                      <a:pt x="139" y="0"/>
                    </a:cubicBezTo>
                    <a:cubicBezTo>
                      <a:pt x="139" y="4"/>
                      <a:pt x="140" y="8"/>
                      <a:pt x="140" y="12"/>
                    </a:cubicBezTo>
                    <a:cubicBezTo>
                      <a:pt x="140" y="16"/>
                      <a:pt x="139" y="20"/>
                      <a:pt x="138" y="24"/>
                    </a:cubicBezTo>
                    <a:cubicBezTo>
                      <a:pt x="138" y="24"/>
                      <a:pt x="138" y="25"/>
                      <a:pt x="138" y="25"/>
                    </a:cubicBezTo>
                    <a:cubicBezTo>
                      <a:pt x="143" y="43"/>
                      <a:pt x="141" y="61"/>
                      <a:pt x="132" y="76"/>
                    </a:cubicBezTo>
                    <a:cubicBezTo>
                      <a:pt x="139" y="69"/>
                      <a:pt x="144" y="60"/>
                      <a:pt x="146" y="50"/>
                    </a:cubicBezTo>
                    <a:cubicBezTo>
                      <a:pt x="147" y="44"/>
                      <a:pt x="148" y="38"/>
                      <a:pt x="148" y="31"/>
                    </a:cubicBezTo>
                    <a:cubicBezTo>
                      <a:pt x="148" y="25"/>
                      <a:pt x="147" y="19"/>
                      <a:pt x="145" y="13"/>
                    </a:cubicBezTo>
                    <a:cubicBezTo>
                      <a:pt x="144" y="8"/>
                      <a:pt x="140" y="5"/>
                      <a:pt x="139" y="0"/>
                    </a:cubicBezTo>
                  </a:path>
                </a:pathLst>
              </a:custGeom>
              <a:solidFill>
                <a:srgbClr val="83C3E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391" name="Freeform 63">
                <a:extLst>
                  <a:ext uri="{FF2B5EF4-FFF2-40B4-BE49-F238E27FC236}">
                    <a16:creationId xmlns:a16="http://schemas.microsoft.com/office/drawing/2014/main" id="{4E5CA1DE-544D-48DB-95C4-C2BCB2AD435C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2234" y="1950"/>
                <a:ext cx="148" cy="136"/>
              </a:xfrm>
              <a:custGeom>
                <a:avLst/>
                <a:gdLst>
                  <a:gd name="T0" fmla="*/ 134 w 140"/>
                  <a:gd name="T1" fmla="*/ 84 h 129"/>
                  <a:gd name="T2" fmla="*/ 132 w 140"/>
                  <a:gd name="T3" fmla="*/ 94 h 129"/>
                  <a:gd name="T4" fmla="*/ 131 w 140"/>
                  <a:gd name="T5" fmla="*/ 98 h 129"/>
                  <a:gd name="T6" fmla="*/ 135 w 140"/>
                  <a:gd name="T7" fmla="*/ 92 h 129"/>
                  <a:gd name="T8" fmla="*/ 134 w 140"/>
                  <a:gd name="T9" fmla="*/ 84 h 129"/>
                  <a:gd name="T10" fmla="*/ 69 w 140"/>
                  <a:gd name="T11" fmla="*/ 14 h 129"/>
                  <a:gd name="T12" fmla="*/ 2 w 140"/>
                  <a:gd name="T13" fmla="*/ 44 h 129"/>
                  <a:gd name="T14" fmla="*/ 0 w 140"/>
                  <a:gd name="T15" fmla="*/ 63 h 129"/>
                  <a:gd name="T16" fmla="*/ 2 w 140"/>
                  <a:gd name="T17" fmla="*/ 80 h 129"/>
                  <a:gd name="T18" fmla="*/ 2 w 140"/>
                  <a:gd name="T19" fmla="*/ 80 h 129"/>
                  <a:gd name="T20" fmla="*/ 2 w 140"/>
                  <a:gd name="T21" fmla="*/ 80 h 129"/>
                  <a:gd name="T22" fmla="*/ 33 w 140"/>
                  <a:gd name="T23" fmla="*/ 121 h 129"/>
                  <a:gd name="T24" fmla="*/ 33 w 140"/>
                  <a:gd name="T25" fmla="*/ 121 h 129"/>
                  <a:gd name="T26" fmla="*/ 34 w 140"/>
                  <a:gd name="T27" fmla="*/ 121 h 129"/>
                  <a:gd name="T28" fmla="*/ 68 w 140"/>
                  <a:gd name="T29" fmla="*/ 129 h 129"/>
                  <a:gd name="T30" fmla="*/ 68 w 140"/>
                  <a:gd name="T31" fmla="*/ 129 h 129"/>
                  <a:gd name="T32" fmla="*/ 68 w 140"/>
                  <a:gd name="T33" fmla="*/ 129 h 129"/>
                  <a:gd name="T34" fmla="*/ 68 w 140"/>
                  <a:gd name="T35" fmla="*/ 129 h 129"/>
                  <a:gd name="T36" fmla="*/ 100 w 140"/>
                  <a:gd name="T37" fmla="*/ 122 h 129"/>
                  <a:gd name="T38" fmla="*/ 128 w 140"/>
                  <a:gd name="T39" fmla="*/ 71 h 129"/>
                  <a:gd name="T40" fmla="*/ 97 w 140"/>
                  <a:gd name="T41" fmla="*/ 23 h 129"/>
                  <a:gd name="T42" fmla="*/ 74 w 140"/>
                  <a:gd name="T43" fmla="*/ 14 h 129"/>
                  <a:gd name="T44" fmla="*/ 69 w 140"/>
                  <a:gd name="T45" fmla="*/ 14 h 129"/>
                  <a:gd name="T46" fmla="*/ 71 w 140"/>
                  <a:gd name="T47" fmla="*/ 0 h 129"/>
                  <a:gd name="T48" fmla="*/ 43 w 140"/>
                  <a:gd name="T49" fmla="*/ 6 h 129"/>
                  <a:gd name="T50" fmla="*/ 39 w 140"/>
                  <a:gd name="T51" fmla="*/ 8 h 129"/>
                  <a:gd name="T52" fmla="*/ 60 w 140"/>
                  <a:gd name="T53" fmla="*/ 4 h 129"/>
                  <a:gd name="T54" fmla="*/ 85 w 140"/>
                  <a:gd name="T55" fmla="*/ 10 h 129"/>
                  <a:gd name="T56" fmla="*/ 83 w 140"/>
                  <a:gd name="T57" fmla="*/ 15 h 129"/>
                  <a:gd name="T58" fmla="*/ 83 w 140"/>
                  <a:gd name="T59" fmla="*/ 15 h 129"/>
                  <a:gd name="T60" fmla="*/ 82 w 140"/>
                  <a:gd name="T61" fmla="*/ 15 h 129"/>
                  <a:gd name="T62" fmla="*/ 122 w 140"/>
                  <a:gd name="T63" fmla="*/ 39 h 129"/>
                  <a:gd name="T64" fmla="*/ 134 w 140"/>
                  <a:gd name="T65" fmla="*/ 72 h 129"/>
                  <a:gd name="T66" fmla="*/ 138 w 140"/>
                  <a:gd name="T67" fmla="*/ 85 h 129"/>
                  <a:gd name="T68" fmla="*/ 138 w 140"/>
                  <a:gd name="T69" fmla="*/ 84 h 129"/>
                  <a:gd name="T70" fmla="*/ 140 w 140"/>
                  <a:gd name="T71" fmla="*/ 72 h 129"/>
                  <a:gd name="T72" fmla="*/ 139 w 140"/>
                  <a:gd name="T73" fmla="*/ 60 h 129"/>
                  <a:gd name="T74" fmla="*/ 139 w 140"/>
                  <a:gd name="T75" fmla="*/ 60 h 129"/>
                  <a:gd name="T76" fmla="*/ 134 w 140"/>
                  <a:gd name="T77" fmla="*/ 42 h 129"/>
                  <a:gd name="T78" fmla="*/ 101 w 140"/>
                  <a:gd name="T79" fmla="*/ 10 h 129"/>
                  <a:gd name="T80" fmla="*/ 74 w 140"/>
                  <a:gd name="T81" fmla="*/ 2 h 129"/>
                  <a:gd name="T82" fmla="*/ 74 w 140"/>
                  <a:gd name="T83" fmla="*/ 2 h 129"/>
                  <a:gd name="T84" fmla="*/ 74 w 140"/>
                  <a:gd name="T85" fmla="*/ 2 h 129"/>
                  <a:gd name="T86" fmla="*/ 75 w 140"/>
                  <a:gd name="T87" fmla="*/ 0 h 129"/>
                  <a:gd name="T88" fmla="*/ 71 w 140"/>
                  <a:gd name="T89" fmla="*/ 0 h 1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140" h="129">
                    <a:moveTo>
                      <a:pt x="134" y="84"/>
                    </a:moveTo>
                    <a:cubicBezTo>
                      <a:pt x="134" y="88"/>
                      <a:pt x="133" y="91"/>
                      <a:pt x="132" y="94"/>
                    </a:cubicBezTo>
                    <a:cubicBezTo>
                      <a:pt x="132" y="95"/>
                      <a:pt x="131" y="97"/>
                      <a:pt x="131" y="98"/>
                    </a:cubicBezTo>
                    <a:cubicBezTo>
                      <a:pt x="133" y="96"/>
                      <a:pt x="134" y="94"/>
                      <a:pt x="135" y="92"/>
                    </a:cubicBezTo>
                    <a:cubicBezTo>
                      <a:pt x="135" y="89"/>
                      <a:pt x="134" y="87"/>
                      <a:pt x="134" y="84"/>
                    </a:cubicBezTo>
                    <a:moveTo>
                      <a:pt x="69" y="14"/>
                    </a:moveTo>
                    <a:cubicBezTo>
                      <a:pt x="43" y="14"/>
                      <a:pt x="15" y="22"/>
                      <a:pt x="2" y="44"/>
                    </a:cubicBezTo>
                    <a:cubicBezTo>
                      <a:pt x="1" y="50"/>
                      <a:pt x="0" y="57"/>
                      <a:pt x="0" y="63"/>
                    </a:cubicBezTo>
                    <a:cubicBezTo>
                      <a:pt x="0" y="69"/>
                      <a:pt x="0" y="75"/>
                      <a:pt x="2" y="80"/>
                    </a:cubicBezTo>
                    <a:cubicBezTo>
                      <a:pt x="2" y="80"/>
                      <a:pt x="2" y="80"/>
                      <a:pt x="2" y="80"/>
                    </a:cubicBezTo>
                    <a:cubicBezTo>
                      <a:pt x="2" y="80"/>
                      <a:pt x="2" y="80"/>
                      <a:pt x="2" y="80"/>
                    </a:cubicBezTo>
                    <a:cubicBezTo>
                      <a:pt x="6" y="98"/>
                      <a:pt x="17" y="114"/>
                      <a:pt x="33" y="121"/>
                    </a:cubicBezTo>
                    <a:cubicBezTo>
                      <a:pt x="33" y="121"/>
                      <a:pt x="33" y="121"/>
                      <a:pt x="33" y="121"/>
                    </a:cubicBezTo>
                    <a:cubicBezTo>
                      <a:pt x="33" y="121"/>
                      <a:pt x="33" y="121"/>
                      <a:pt x="34" y="121"/>
                    </a:cubicBezTo>
                    <a:cubicBezTo>
                      <a:pt x="45" y="126"/>
                      <a:pt x="57" y="129"/>
                      <a:pt x="68" y="129"/>
                    </a:cubicBezTo>
                    <a:cubicBezTo>
                      <a:pt x="68" y="129"/>
                      <a:pt x="68" y="129"/>
                      <a:pt x="68" y="129"/>
                    </a:cubicBezTo>
                    <a:cubicBezTo>
                      <a:pt x="68" y="129"/>
                      <a:pt x="68" y="129"/>
                      <a:pt x="68" y="129"/>
                    </a:cubicBezTo>
                    <a:cubicBezTo>
                      <a:pt x="68" y="129"/>
                      <a:pt x="68" y="129"/>
                      <a:pt x="68" y="129"/>
                    </a:cubicBezTo>
                    <a:cubicBezTo>
                      <a:pt x="79" y="129"/>
                      <a:pt x="89" y="127"/>
                      <a:pt x="100" y="122"/>
                    </a:cubicBezTo>
                    <a:cubicBezTo>
                      <a:pt x="118" y="111"/>
                      <a:pt x="130" y="94"/>
                      <a:pt x="128" y="71"/>
                    </a:cubicBezTo>
                    <a:cubicBezTo>
                      <a:pt x="126" y="50"/>
                      <a:pt x="116" y="33"/>
                      <a:pt x="97" y="23"/>
                    </a:cubicBezTo>
                    <a:cubicBezTo>
                      <a:pt x="90" y="19"/>
                      <a:pt x="82" y="17"/>
                      <a:pt x="74" y="14"/>
                    </a:cubicBezTo>
                    <a:cubicBezTo>
                      <a:pt x="72" y="14"/>
                      <a:pt x="71" y="14"/>
                      <a:pt x="69" y="14"/>
                    </a:cubicBezTo>
                    <a:moveTo>
                      <a:pt x="71" y="0"/>
                    </a:moveTo>
                    <a:cubicBezTo>
                      <a:pt x="62" y="0"/>
                      <a:pt x="52" y="2"/>
                      <a:pt x="43" y="6"/>
                    </a:cubicBezTo>
                    <a:cubicBezTo>
                      <a:pt x="41" y="7"/>
                      <a:pt x="40" y="7"/>
                      <a:pt x="39" y="8"/>
                    </a:cubicBezTo>
                    <a:cubicBezTo>
                      <a:pt x="46" y="6"/>
                      <a:pt x="53" y="4"/>
                      <a:pt x="60" y="4"/>
                    </a:cubicBezTo>
                    <a:cubicBezTo>
                      <a:pt x="69" y="4"/>
                      <a:pt x="77" y="6"/>
                      <a:pt x="85" y="10"/>
                    </a:cubicBezTo>
                    <a:cubicBezTo>
                      <a:pt x="87" y="11"/>
                      <a:pt x="86" y="15"/>
                      <a:pt x="83" y="15"/>
                    </a:cubicBezTo>
                    <a:cubicBezTo>
                      <a:pt x="83" y="15"/>
                      <a:pt x="83" y="15"/>
                      <a:pt x="83" y="15"/>
                    </a:cubicBezTo>
                    <a:cubicBezTo>
                      <a:pt x="83" y="15"/>
                      <a:pt x="82" y="15"/>
                      <a:pt x="82" y="15"/>
                    </a:cubicBezTo>
                    <a:cubicBezTo>
                      <a:pt x="97" y="19"/>
                      <a:pt x="111" y="24"/>
                      <a:pt x="122" y="39"/>
                    </a:cubicBezTo>
                    <a:cubicBezTo>
                      <a:pt x="128" y="48"/>
                      <a:pt x="132" y="60"/>
                      <a:pt x="134" y="72"/>
                    </a:cubicBezTo>
                    <a:cubicBezTo>
                      <a:pt x="136" y="76"/>
                      <a:pt x="137" y="81"/>
                      <a:pt x="138" y="85"/>
                    </a:cubicBezTo>
                    <a:cubicBezTo>
                      <a:pt x="138" y="85"/>
                      <a:pt x="138" y="84"/>
                      <a:pt x="138" y="84"/>
                    </a:cubicBezTo>
                    <a:cubicBezTo>
                      <a:pt x="139" y="80"/>
                      <a:pt x="140" y="76"/>
                      <a:pt x="140" y="72"/>
                    </a:cubicBezTo>
                    <a:cubicBezTo>
                      <a:pt x="140" y="68"/>
                      <a:pt x="139" y="64"/>
                      <a:pt x="139" y="60"/>
                    </a:cubicBezTo>
                    <a:cubicBezTo>
                      <a:pt x="139" y="60"/>
                      <a:pt x="139" y="60"/>
                      <a:pt x="139" y="60"/>
                    </a:cubicBezTo>
                    <a:cubicBezTo>
                      <a:pt x="138" y="53"/>
                      <a:pt x="136" y="47"/>
                      <a:pt x="134" y="42"/>
                    </a:cubicBezTo>
                    <a:cubicBezTo>
                      <a:pt x="129" y="27"/>
                      <a:pt x="116" y="15"/>
                      <a:pt x="101" y="10"/>
                    </a:cubicBezTo>
                    <a:cubicBezTo>
                      <a:pt x="93" y="6"/>
                      <a:pt x="82" y="6"/>
                      <a:pt x="74" y="2"/>
                    </a:cubicBezTo>
                    <a:cubicBezTo>
                      <a:pt x="74" y="2"/>
                      <a:pt x="74" y="2"/>
                      <a:pt x="74" y="2"/>
                    </a:cubicBezTo>
                    <a:cubicBezTo>
                      <a:pt x="74" y="2"/>
                      <a:pt x="74" y="2"/>
                      <a:pt x="74" y="2"/>
                    </a:cubicBezTo>
                    <a:cubicBezTo>
                      <a:pt x="75" y="0"/>
                      <a:pt x="75" y="0"/>
                      <a:pt x="75" y="0"/>
                    </a:cubicBezTo>
                    <a:cubicBezTo>
                      <a:pt x="73" y="0"/>
                      <a:pt x="72" y="0"/>
                      <a:pt x="71" y="0"/>
                    </a:cubicBezTo>
                  </a:path>
                </a:pathLst>
              </a:custGeom>
              <a:solidFill>
                <a:srgbClr val="83C3E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392" name="Freeform 64">
                <a:extLst>
                  <a:ext uri="{FF2B5EF4-FFF2-40B4-BE49-F238E27FC236}">
                    <a16:creationId xmlns:a16="http://schemas.microsoft.com/office/drawing/2014/main" id="{69B10569-DB85-47B4-B9C2-78E493ED0845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2505" y="1894"/>
                <a:ext cx="436" cy="334"/>
              </a:xfrm>
              <a:custGeom>
                <a:avLst/>
                <a:gdLst>
                  <a:gd name="T0" fmla="*/ 48 w 412"/>
                  <a:gd name="T1" fmla="*/ 252 h 316"/>
                  <a:gd name="T2" fmla="*/ 140 w 412"/>
                  <a:gd name="T3" fmla="*/ 277 h 316"/>
                  <a:gd name="T4" fmla="*/ 45 w 412"/>
                  <a:gd name="T5" fmla="*/ 230 h 316"/>
                  <a:gd name="T6" fmla="*/ 47 w 412"/>
                  <a:gd name="T7" fmla="*/ 165 h 316"/>
                  <a:gd name="T8" fmla="*/ 290 w 412"/>
                  <a:gd name="T9" fmla="*/ 208 h 316"/>
                  <a:gd name="T10" fmla="*/ 296 w 412"/>
                  <a:gd name="T11" fmla="*/ 203 h 316"/>
                  <a:gd name="T12" fmla="*/ 210 w 412"/>
                  <a:gd name="T13" fmla="*/ 132 h 316"/>
                  <a:gd name="T14" fmla="*/ 200 w 412"/>
                  <a:gd name="T15" fmla="*/ 113 h 316"/>
                  <a:gd name="T16" fmla="*/ 208 w 412"/>
                  <a:gd name="T17" fmla="*/ 115 h 316"/>
                  <a:gd name="T18" fmla="*/ 209 w 412"/>
                  <a:gd name="T19" fmla="*/ 95 h 316"/>
                  <a:gd name="T20" fmla="*/ 214 w 412"/>
                  <a:gd name="T21" fmla="*/ 67 h 316"/>
                  <a:gd name="T22" fmla="*/ 131 w 412"/>
                  <a:gd name="T23" fmla="*/ 121 h 316"/>
                  <a:gd name="T24" fmla="*/ 190 w 412"/>
                  <a:gd name="T25" fmla="*/ 199 h 316"/>
                  <a:gd name="T26" fmla="*/ 178 w 412"/>
                  <a:gd name="T27" fmla="*/ 231 h 316"/>
                  <a:gd name="T28" fmla="*/ 50 w 412"/>
                  <a:gd name="T29" fmla="*/ 265 h 316"/>
                  <a:gd name="T30" fmla="*/ 64 w 412"/>
                  <a:gd name="T31" fmla="*/ 150 h 316"/>
                  <a:gd name="T32" fmla="*/ 264 w 412"/>
                  <a:gd name="T33" fmla="*/ 37 h 316"/>
                  <a:gd name="T34" fmla="*/ 340 w 412"/>
                  <a:gd name="T35" fmla="*/ 54 h 316"/>
                  <a:gd name="T36" fmla="*/ 337 w 412"/>
                  <a:gd name="T37" fmla="*/ 59 h 316"/>
                  <a:gd name="T38" fmla="*/ 356 w 412"/>
                  <a:gd name="T39" fmla="*/ 83 h 316"/>
                  <a:gd name="T40" fmla="*/ 354 w 412"/>
                  <a:gd name="T41" fmla="*/ 90 h 316"/>
                  <a:gd name="T42" fmla="*/ 375 w 412"/>
                  <a:gd name="T43" fmla="*/ 98 h 316"/>
                  <a:gd name="T44" fmla="*/ 375 w 412"/>
                  <a:gd name="T45" fmla="*/ 107 h 316"/>
                  <a:gd name="T46" fmla="*/ 373 w 412"/>
                  <a:gd name="T47" fmla="*/ 127 h 316"/>
                  <a:gd name="T48" fmla="*/ 370 w 412"/>
                  <a:gd name="T49" fmla="*/ 142 h 316"/>
                  <a:gd name="T50" fmla="*/ 367 w 412"/>
                  <a:gd name="T51" fmla="*/ 154 h 316"/>
                  <a:gd name="T52" fmla="*/ 327 w 412"/>
                  <a:gd name="T53" fmla="*/ 206 h 316"/>
                  <a:gd name="T54" fmla="*/ 197 w 412"/>
                  <a:gd name="T55" fmla="*/ 104 h 316"/>
                  <a:gd name="T56" fmla="*/ 193 w 412"/>
                  <a:gd name="T57" fmla="*/ 96 h 316"/>
                  <a:gd name="T58" fmla="*/ 222 w 412"/>
                  <a:gd name="T59" fmla="*/ 55 h 316"/>
                  <a:gd name="T60" fmla="*/ 225 w 412"/>
                  <a:gd name="T61" fmla="*/ 52 h 316"/>
                  <a:gd name="T62" fmla="*/ 236 w 412"/>
                  <a:gd name="T63" fmla="*/ 47 h 316"/>
                  <a:gd name="T64" fmla="*/ 254 w 412"/>
                  <a:gd name="T65" fmla="*/ 42 h 316"/>
                  <a:gd name="T66" fmla="*/ 264 w 412"/>
                  <a:gd name="T67" fmla="*/ 37 h 316"/>
                  <a:gd name="T68" fmla="*/ 248 w 412"/>
                  <a:gd name="T69" fmla="*/ 12 h 316"/>
                  <a:gd name="T70" fmla="*/ 36 w 412"/>
                  <a:gd name="T71" fmla="*/ 140 h 316"/>
                  <a:gd name="T72" fmla="*/ 2 w 412"/>
                  <a:gd name="T73" fmla="*/ 247 h 316"/>
                  <a:gd name="T74" fmla="*/ 86 w 412"/>
                  <a:gd name="T75" fmla="*/ 314 h 316"/>
                  <a:gd name="T76" fmla="*/ 111 w 412"/>
                  <a:gd name="T77" fmla="*/ 316 h 316"/>
                  <a:gd name="T78" fmla="*/ 195 w 412"/>
                  <a:gd name="T79" fmla="*/ 303 h 316"/>
                  <a:gd name="T80" fmla="*/ 397 w 412"/>
                  <a:gd name="T81" fmla="*/ 135 h 316"/>
                  <a:gd name="T82" fmla="*/ 258 w 412"/>
                  <a:gd name="T83" fmla="*/ 0 h 316"/>
                  <a:gd name="T84" fmla="*/ 406 w 412"/>
                  <a:gd name="T85" fmla="*/ 165 h 316"/>
                  <a:gd name="T86" fmla="*/ 412 w 412"/>
                  <a:gd name="T87" fmla="*/ 149 h 316"/>
                  <a:gd name="T88" fmla="*/ 327 w 412"/>
                  <a:gd name="T89" fmla="*/ 20 h 3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412" h="316">
                    <a:moveTo>
                      <a:pt x="47" y="165"/>
                    </a:moveTo>
                    <a:cubicBezTo>
                      <a:pt x="39" y="172"/>
                      <a:pt x="36" y="184"/>
                      <a:pt x="34" y="194"/>
                    </a:cubicBezTo>
                    <a:cubicBezTo>
                      <a:pt x="29" y="216"/>
                      <a:pt x="36" y="234"/>
                      <a:pt x="48" y="252"/>
                    </a:cubicBezTo>
                    <a:cubicBezTo>
                      <a:pt x="62" y="272"/>
                      <a:pt x="87" y="286"/>
                      <a:pt x="112" y="286"/>
                    </a:cubicBezTo>
                    <a:cubicBezTo>
                      <a:pt x="112" y="286"/>
                      <a:pt x="113" y="286"/>
                      <a:pt x="113" y="286"/>
                    </a:cubicBezTo>
                    <a:cubicBezTo>
                      <a:pt x="123" y="286"/>
                      <a:pt x="133" y="282"/>
                      <a:pt x="140" y="277"/>
                    </a:cubicBezTo>
                    <a:cubicBezTo>
                      <a:pt x="134" y="279"/>
                      <a:pt x="127" y="281"/>
                      <a:pt x="119" y="281"/>
                    </a:cubicBezTo>
                    <a:cubicBezTo>
                      <a:pt x="105" y="281"/>
                      <a:pt x="90" y="276"/>
                      <a:pt x="79" y="268"/>
                    </a:cubicBezTo>
                    <a:cubicBezTo>
                      <a:pt x="63" y="261"/>
                      <a:pt x="53" y="245"/>
                      <a:pt x="45" y="230"/>
                    </a:cubicBezTo>
                    <a:cubicBezTo>
                      <a:pt x="40" y="221"/>
                      <a:pt x="37" y="212"/>
                      <a:pt x="37" y="203"/>
                    </a:cubicBezTo>
                    <a:cubicBezTo>
                      <a:pt x="37" y="198"/>
                      <a:pt x="38" y="194"/>
                      <a:pt x="39" y="189"/>
                    </a:cubicBezTo>
                    <a:cubicBezTo>
                      <a:pt x="40" y="182"/>
                      <a:pt x="43" y="173"/>
                      <a:pt x="47" y="165"/>
                    </a:cubicBezTo>
                    <a:moveTo>
                      <a:pt x="200" y="113"/>
                    </a:moveTo>
                    <a:cubicBezTo>
                      <a:pt x="202" y="150"/>
                      <a:pt x="221" y="184"/>
                      <a:pt x="255" y="200"/>
                    </a:cubicBezTo>
                    <a:cubicBezTo>
                      <a:pt x="266" y="205"/>
                      <a:pt x="278" y="208"/>
                      <a:pt x="290" y="208"/>
                    </a:cubicBezTo>
                    <a:cubicBezTo>
                      <a:pt x="300" y="208"/>
                      <a:pt x="310" y="206"/>
                      <a:pt x="319" y="203"/>
                    </a:cubicBezTo>
                    <a:cubicBezTo>
                      <a:pt x="324" y="201"/>
                      <a:pt x="329" y="198"/>
                      <a:pt x="333" y="195"/>
                    </a:cubicBezTo>
                    <a:cubicBezTo>
                      <a:pt x="321" y="201"/>
                      <a:pt x="309" y="203"/>
                      <a:pt x="296" y="203"/>
                    </a:cubicBezTo>
                    <a:cubicBezTo>
                      <a:pt x="291" y="203"/>
                      <a:pt x="286" y="203"/>
                      <a:pt x="281" y="202"/>
                    </a:cubicBezTo>
                    <a:cubicBezTo>
                      <a:pt x="256" y="196"/>
                      <a:pt x="235" y="181"/>
                      <a:pt x="222" y="158"/>
                    </a:cubicBezTo>
                    <a:cubicBezTo>
                      <a:pt x="217" y="149"/>
                      <a:pt x="213" y="141"/>
                      <a:pt x="210" y="132"/>
                    </a:cubicBezTo>
                    <a:cubicBezTo>
                      <a:pt x="209" y="132"/>
                      <a:pt x="208" y="131"/>
                      <a:pt x="208" y="130"/>
                    </a:cubicBezTo>
                    <a:cubicBezTo>
                      <a:pt x="206" y="124"/>
                      <a:pt x="203" y="120"/>
                      <a:pt x="201" y="114"/>
                    </a:cubicBezTo>
                    <a:cubicBezTo>
                      <a:pt x="201" y="114"/>
                      <a:pt x="200" y="114"/>
                      <a:pt x="200" y="113"/>
                    </a:cubicBezTo>
                    <a:moveTo>
                      <a:pt x="214" y="67"/>
                    </a:moveTo>
                    <a:cubicBezTo>
                      <a:pt x="207" y="76"/>
                      <a:pt x="200" y="89"/>
                      <a:pt x="201" y="98"/>
                    </a:cubicBezTo>
                    <a:cubicBezTo>
                      <a:pt x="201" y="104"/>
                      <a:pt x="204" y="109"/>
                      <a:pt x="208" y="115"/>
                    </a:cubicBezTo>
                    <a:cubicBezTo>
                      <a:pt x="207" y="111"/>
                      <a:pt x="207" y="107"/>
                      <a:pt x="207" y="103"/>
                    </a:cubicBezTo>
                    <a:cubicBezTo>
                      <a:pt x="207" y="101"/>
                      <a:pt x="207" y="98"/>
                      <a:pt x="207" y="95"/>
                    </a:cubicBezTo>
                    <a:cubicBezTo>
                      <a:pt x="209" y="95"/>
                      <a:pt x="209" y="95"/>
                      <a:pt x="209" y="95"/>
                    </a:cubicBezTo>
                    <a:cubicBezTo>
                      <a:pt x="208" y="92"/>
                      <a:pt x="207" y="89"/>
                      <a:pt x="204" y="88"/>
                    </a:cubicBezTo>
                    <a:cubicBezTo>
                      <a:pt x="204" y="88"/>
                      <a:pt x="204" y="88"/>
                      <a:pt x="204" y="88"/>
                    </a:cubicBezTo>
                    <a:cubicBezTo>
                      <a:pt x="207" y="81"/>
                      <a:pt x="210" y="74"/>
                      <a:pt x="214" y="67"/>
                    </a:cubicBezTo>
                    <a:moveTo>
                      <a:pt x="81" y="136"/>
                    </a:moveTo>
                    <a:cubicBezTo>
                      <a:pt x="92" y="127"/>
                      <a:pt x="107" y="124"/>
                      <a:pt x="122" y="121"/>
                    </a:cubicBezTo>
                    <a:cubicBezTo>
                      <a:pt x="131" y="121"/>
                      <a:pt x="131" y="121"/>
                      <a:pt x="131" y="121"/>
                    </a:cubicBezTo>
                    <a:cubicBezTo>
                      <a:pt x="141" y="125"/>
                      <a:pt x="150" y="127"/>
                      <a:pt x="159" y="134"/>
                    </a:cubicBezTo>
                    <a:cubicBezTo>
                      <a:pt x="175" y="143"/>
                      <a:pt x="185" y="166"/>
                      <a:pt x="188" y="184"/>
                    </a:cubicBezTo>
                    <a:cubicBezTo>
                      <a:pt x="189" y="189"/>
                      <a:pt x="190" y="194"/>
                      <a:pt x="190" y="199"/>
                    </a:cubicBezTo>
                    <a:cubicBezTo>
                      <a:pt x="190" y="208"/>
                      <a:pt x="187" y="217"/>
                      <a:pt x="181" y="224"/>
                    </a:cubicBezTo>
                    <a:cubicBezTo>
                      <a:pt x="181" y="225"/>
                      <a:pt x="181" y="225"/>
                      <a:pt x="180" y="226"/>
                    </a:cubicBezTo>
                    <a:cubicBezTo>
                      <a:pt x="180" y="227"/>
                      <a:pt x="179" y="229"/>
                      <a:pt x="178" y="231"/>
                    </a:cubicBezTo>
                    <a:cubicBezTo>
                      <a:pt x="176" y="240"/>
                      <a:pt x="171" y="250"/>
                      <a:pt x="165" y="258"/>
                    </a:cubicBezTo>
                    <a:cubicBezTo>
                      <a:pt x="153" y="280"/>
                      <a:pt x="130" y="291"/>
                      <a:pt x="107" y="291"/>
                    </a:cubicBezTo>
                    <a:cubicBezTo>
                      <a:pt x="86" y="291"/>
                      <a:pt x="65" y="283"/>
                      <a:pt x="50" y="265"/>
                    </a:cubicBezTo>
                    <a:cubicBezTo>
                      <a:pt x="31" y="244"/>
                      <a:pt x="21" y="218"/>
                      <a:pt x="29" y="191"/>
                    </a:cubicBezTo>
                    <a:cubicBezTo>
                      <a:pt x="33" y="179"/>
                      <a:pt x="40" y="163"/>
                      <a:pt x="52" y="158"/>
                    </a:cubicBezTo>
                    <a:cubicBezTo>
                      <a:pt x="55" y="154"/>
                      <a:pt x="59" y="151"/>
                      <a:pt x="64" y="150"/>
                    </a:cubicBezTo>
                    <a:cubicBezTo>
                      <a:pt x="68" y="144"/>
                      <a:pt x="74" y="140"/>
                      <a:pt x="81" y="136"/>
                    </a:cubicBezTo>
                    <a:moveTo>
                      <a:pt x="264" y="37"/>
                    </a:moveTo>
                    <a:cubicBezTo>
                      <a:pt x="264" y="37"/>
                      <a:pt x="264" y="37"/>
                      <a:pt x="264" y="37"/>
                    </a:cubicBezTo>
                    <a:cubicBezTo>
                      <a:pt x="269" y="35"/>
                      <a:pt x="273" y="34"/>
                      <a:pt x="277" y="34"/>
                    </a:cubicBezTo>
                    <a:cubicBezTo>
                      <a:pt x="279" y="34"/>
                      <a:pt x="282" y="34"/>
                      <a:pt x="284" y="35"/>
                    </a:cubicBezTo>
                    <a:cubicBezTo>
                      <a:pt x="303" y="39"/>
                      <a:pt x="322" y="43"/>
                      <a:pt x="340" y="54"/>
                    </a:cubicBezTo>
                    <a:cubicBezTo>
                      <a:pt x="340" y="54"/>
                      <a:pt x="340" y="54"/>
                      <a:pt x="340" y="54"/>
                    </a:cubicBezTo>
                    <a:cubicBezTo>
                      <a:pt x="340" y="56"/>
                      <a:pt x="339" y="58"/>
                      <a:pt x="337" y="59"/>
                    </a:cubicBezTo>
                    <a:cubicBezTo>
                      <a:pt x="337" y="59"/>
                      <a:pt x="337" y="59"/>
                      <a:pt x="337" y="59"/>
                    </a:cubicBezTo>
                    <a:cubicBezTo>
                      <a:pt x="339" y="60"/>
                      <a:pt x="339" y="60"/>
                      <a:pt x="339" y="60"/>
                    </a:cubicBezTo>
                    <a:cubicBezTo>
                      <a:pt x="344" y="65"/>
                      <a:pt x="353" y="76"/>
                      <a:pt x="356" y="83"/>
                    </a:cubicBezTo>
                    <a:cubicBezTo>
                      <a:pt x="356" y="83"/>
                      <a:pt x="356" y="83"/>
                      <a:pt x="356" y="83"/>
                    </a:cubicBezTo>
                    <a:cubicBezTo>
                      <a:pt x="356" y="83"/>
                      <a:pt x="355" y="85"/>
                      <a:pt x="355" y="88"/>
                    </a:cubicBezTo>
                    <a:cubicBezTo>
                      <a:pt x="354" y="90"/>
                      <a:pt x="354" y="90"/>
                      <a:pt x="354" y="90"/>
                    </a:cubicBezTo>
                    <a:cubicBezTo>
                      <a:pt x="354" y="90"/>
                      <a:pt x="354" y="90"/>
                      <a:pt x="354" y="90"/>
                    </a:cubicBezTo>
                    <a:cubicBezTo>
                      <a:pt x="357" y="90"/>
                      <a:pt x="360" y="91"/>
                      <a:pt x="363" y="92"/>
                    </a:cubicBezTo>
                    <a:cubicBezTo>
                      <a:pt x="365" y="92"/>
                      <a:pt x="371" y="93"/>
                      <a:pt x="373" y="94"/>
                    </a:cubicBezTo>
                    <a:cubicBezTo>
                      <a:pt x="375" y="95"/>
                      <a:pt x="375" y="97"/>
                      <a:pt x="375" y="98"/>
                    </a:cubicBezTo>
                    <a:cubicBezTo>
                      <a:pt x="375" y="100"/>
                      <a:pt x="374" y="103"/>
                      <a:pt x="374" y="105"/>
                    </a:cubicBezTo>
                    <a:cubicBezTo>
                      <a:pt x="374" y="106"/>
                      <a:pt x="375" y="107"/>
                      <a:pt x="375" y="107"/>
                    </a:cubicBezTo>
                    <a:cubicBezTo>
                      <a:pt x="375" y="107"/>
                      <a:pt x="375" y="107"/>
                      <a:pt x="375" y="107"/>
                    </a:cubicBezTo>
                    <a:cubicBezTo>
                      <a:pt x="374" y="113"/>
                      <a:pt x="373" y="118"/>
                      <a:pt x="373" y="123"/>
                    </a:cubicBezTo>
                    <a:cubicBezTo>
                      <a:pt x="373" y="124"/>
                      <a:pt x="373" y="126"/>
                      <a:pt x="373" y="127"/>
                    </a:cubicBezTo>
                    <a:cubicBezTo>
                      <a:pt x="373" y="127"/>
                      <a:pt x="373" y="127"/>
                      <a:pt x="373" y="127"/>
                    </a:cubicBezTo>
                    <a:cubicBezTo>
                      <a:pt x="372" y="131"/>
                      <a:pt x="373" y="136"/>
                      <a:pt x="370" y="142"/>
                    </a:cubicBezTo>
                    <a:cubicBezTo>
                      <a:pt x="370" y="142"/>
                      <a:pt x="370" y="142"/>
                      <a:pt x="370" y="142"/>
                    </a:cubicBezTo>
                    <a:cubicBezTo>
                      <a:pt x="370" y="142"/>
                      <a:pt x="370" y="142"/>
                      <a:pt x="370" y="142"/>
                    </a:cubicBezTo>
                    <a:cubicBezTo>
                      <a:pt x="369" y="142"/>
                      <a:pt x="369" y="142"/>
                      <a:pt x="369" y="142"/>
                    </a:cubicBezTo>
                    <a:cubicBezTo>
                      <a:pt x="369" y="141"/>
                      <a:pt x="368" y="141"/>
                      <a:pt x="368" y="141"/>
                    </a:cubicBezTo>
                    <a:cubicBezTo>
                      <a:pt x="367" y="146"/>
                      <a:pt x="368" y="149"/>
                      <a:pt x="367" y="154"/>
                    </a:cubicBezTo>
                    <a:cubicBezTo>
                      <a:pt x="367" y="163"/>
                      <a:pt x="363" y="170"/>
                      <a:pt x="358" y="176"/>
                    </a:cubicBezTo>
                    <a:cubicBezTo>
                      <a:pt x="358" y="176"/>
                      <a:pt x="358" y="176"/>
                      <a:pt x="358" y="176"/>
                    </a:cubicBezTo>
                    <a:cubicBezTo>
                      <a:pt x="353" y="190"/>
                      <a:pt x="340" y="200"/>
                      <a:pt x="327" y="206"/>
                    </a:cubicBezTo>
                    <a:cubicBezTo>
                      <a:pt x="315" y="212"/>
                      <a:pt x="300" y="216"/>
                      <a:pt x="285" y="216"/>
                    </a:cubicBezTo>
                    <a:cubicBezTo>
                      <a:pt x="281" y="216"/>
                      <a:pt x="276" y="216"/>
                      <a:pt x="272" y="215"/>
                    </a:cubicBezTo>
                    <a:cubicBezTo>
                      <a:pt x="219" y="206"/>
                      <a:pt x="196" y="152"/>
                      <a:pt x="197" y="104"/>
                    </a:cubicBezTo>
                    <a:cubicBezTo>
                      <a:pt x="197" y="103"/>
                      <a:pt x="197" y="103"/>
                      <a:pt x="198" y="103"/>
                    </a:cubicBezTo>
                    <a:cubicBezTo>
                      <a:pt x="197" y="101"/>
                      <a:pt x="196" y="100"/>
                      <a:pt x="195" y="100"/>
                    </a:cubicBezTo>
                    <a:cubicBezTo>
                      <a:pt x="193" y="99"/>
                      <a:pt x="192" y="98"/>
                      <a:pt x="193" y="96"/>
                    </a:cubicBezTo>
                    <a:cubicBezTo>
                      <a:pt x="197" y="80"/>
                      <a:pt x="207" y="64"/>
                      <a:pt x="222" y="55"/>
                    </a:cubicBezTo>
                    <a:cubicBezTo>
                      <a:pt x="222" y="55"/>
                      <a:pt x="222" y="55"/>
                      <a:pt x="222" y="55"/>
                    </a:cubicBezTo>
                    <a:cubicBezTo>
                      <a:pt x="222" y="55"/>
                      <a:pt x="222" y="55"/>
                      <a:pt x="222" y="55"/>
                    </a:cubicBezTo>
                    <a:cubicBezTo>
                      <a:pt x="222" y="55"/>
                      <a:pt x="223" y="55"/>
                      <a:pt x="223" y="55"/>
                    </a:cubicBezTo>
                    <a:cubicBezTo>
                      <a:pt x="223" y="53"/>
                      <a:pt x="223" y="52"/>
                      <a:pt x="225" y="52"/>
                    </a:cubicBezTo>
                    <a:cubicBezTo>
                      <a:pt x="225" y="52"/>
                      <a:pt x="225" y="52"/>
                      <a:pt x="225" y="52"/>
                    </a:cubicBezTo>
                    <a:cubicBezTo>
                      <a:pt x="225" y="52"/>
                      <a:pt x="225" y="52"/>
                      <a:pt x="225" y="52"/>
                    </a:cubicBezTo>
                    <a:cubicBezTo>
                      <a:pt x="227" y="50"/>
                      <a:pt x="229" y="49"/>
                      <a:pt x="231" y="47"/>
                    </a:cubicBezTo>
                    <a:cubicBezTo>
                      <a:pt x="236" y="47"/>
                      <a:pt x="236" y="47"/>
                      <a:pt x="236" y="47"/>
                    </a:cubicBezTo>
                    <a:cubicBezTo>
                      <a:pt x="237" y="48"/>
                      <a:pt x="238" y="48"/>
                      <a:pt x="239" y="49"/>
                    </a:cubicBezTo>
                    <a:cubicBezTo>
                      <a:pt x="242" y="48"/>
                      <a:pt x="242" y="48"/>
                      <a:pt x="242" y="48"/>
                    </a:cubicBezTo>
                    <a:cubicBezTo>
                      <a:pt x="247" y="46"/>
                      <a:pt x="252" y="43"/>
                      <a:pt x="254" y="42"/>
                    </a:cubicBezTo>
                    <a:cubicBezTo>
                      <a:pt x="257" y="41"/>
                      <a:pt x="261" y="39"/>
                      <a:pt x="265" y="39"/>
                    </a:cubicBezTo>
                    <a:cubicBezTo>
                      <a:pt x="265" y="39"/>
                      <a:pt x="265" y="39"/>
                      <a:pt x="265" y="39"/>
                    </a:cubicBezTo>
                    <a:cubicBezTo>
                      <a:pt x="264" y="37"/>
                      <a:pt x="264" y="37"/>
                      <a:pt x="264" y="37"/>
                    </a:cubicBezTo>
                    <a:moveTo>
                      <a:pt x="246" y="8"/>
                    </a:moveTo>
                    <a:cubicBezTo>
                      <a:pt x="211" y="13"/>
                      <a:pt x="178" y="24"/>
                      <a:pt x="148" y="41"/>
                    </a:cubicBezTo>
                    <a:cubicBezTo>
                      <a:pt x="179" y="26"/>
                      <a:pt x="213" y="16"/>
                      <a:pt x="248" y="12"/>
                    </a:cubicBezTo>
                    <a:cubicBezTo>
                      <a:pt x="249" y="12"/>
                      <a:pt x="249" y="12"/>
                      <a:pt x="249" y="12"/>
                    </a:cubicBezTo>
                    <a:cubicBezTo>
                      <a:pt x="253" y="12"/>
                      <a:pt x="254" y="19"/>
                      <a:pt x="249" y="19"/>
                    </a:cubicBezTo>
                    <a:cubicBezTo>
                      <a:pt x="167" y="29"/>
                      <a:pt x="88" y="75"/>
                      <a:pt x="36" y="140"/>
                    </a:cubicBezTo>
                    <a:cubicBezTo>
                      <a:pt x="26" y="153"/>
                      <a:pt x="16" y="166"/>
                      <a:pt x="9" y="180"/>
                    </a:cubicBezTo>
                    <a:cubicBezTo>
                      <a:pt x="3" y="195"/>
                      <a:pt x="0" y="210"/>
                      <a:pt x="0" y="226"/>
                    </a:cubicBezTo>
                    <a:cubicBezTo>
                      <a:pt x="0" y="233"/>
                      <a:pt x="0" y="240"/>
                      <a:pt x="2" y="247"/>
                    </a:cubicBezTo>
                    <a:cubicBezTo>
                      <a:pt x="11" y="285"/>
                      <a:pt x="46" y="308"/>
                      <a:pt x="85" y="314"/>
                    </a:cubicBezTo>
                    <a:cubicBezTo>
                      <a:pt x="85" y="314"/>
                      <a:pt x="85" y="314"/>
                      <a:pt x="85" y="314"/>
                    </a:cubicBezTo>
                    <a:cubicBezTo>
                      <a:pt x="85" y="314"/>
                      <a:pt x="85" y="314"/>
                      <a:pt x="86" y="314"/>
                    </a:cubicBezTo>
                    <a:cubicBezTo>
                      <a:pt x="94" y="315"/>
                      <a:pt x="103" y="316"/>
                      <a:pt x="111" y="316"/>
                    </a:cubicBezTo>
                    <a:cubicBezTo>
                      <a:pt x="111" y="316"/>
                      <a:pt x="111" y="316"/>
                      <a:pt x="111" y="316"/>
                    </a:cubicBezTo>
                    <a:cubicBezTo>
                      <a:pt x="111" y="316"/>
                      <a:pt x="111" y="316"/>
                      <a:pt x="111" y="316"/>
                    </a:cubicBezTo>
                    <a:cubicBezTo>
                      <a:pt x="138" y="316"/>
                      <a:pt x="165" y="310"/>
                      <a:pt x="192" y="303"/>
                    </a:cubicBezTo>
                    <a:cubicBezTo>
                      <a:pt x="192" y="303"/>
                      <a:pt x="192" y="303"/>
                      <a:pt x="192" y="303"/>
                    </a:cubicBezTo>
                    <a:cubicBezTo>
                      <a:pt x="193" y="303"/>
                      <a:pt x="194" y="303"/>
                      <a:pt x="195" y="303"/>
                    </a:cubicBezTo>
                    <a:cubicBezTo>
                      <a:pt x="195" y="303"/>
                      <a:pt x="195" y="303"/>
                      <a:pt x="195" y="303"/>
                    </a:cubicBezTo>
                    <a:cubicBezTo>
                      <a:pt x="234" y="296"/>
                      <a:pt x="273" y="287"/>
                      <a:pt x="311" y="271"/>
                    </a:cubicBezTo>
                    <a:cubicBezTo>
                      <a:pt x="365" y="246"/>
                      <a:pt x="411" y="201"/>
                      <a:pt x="397" y="135"/>
                    </a:cubicBezTo>
                    <a:cubicBezTo>
                      <a:pt x="382" y="64"/>
                      <a:pt x="314" y="17"/>
                      <a:pt x="246" y="9"/>
                    </a:cubicBezTo>
                    <a:cubicBezTo>
                      <a:pt x="246" y="9"/>
                      <a:pt x="246" y="9"/>
                      <a:pt x="246" y="8"/>
                    </a:cubicBezTo>
                    <a:moveTo>
                      <a:pt x="258" y="0"/>
                    </a:moveTo>
                    <a:cubicBezTo>
                      <a:pt x="257" y="7"/>
                      <a:pt x="257" y="7"/>
                      <a:pt x="257" y="7"/>
                    </a:cubicBezTo>
                    <a:cubicBezTo>
                      <a:pt x="255" y="7"/>
                      <a:pt x="252" y="7"/>
                      <a:pt x="249" y="8"/>
                    </a:cubicBezTo>
                    <a:cubicBezTo>
                      <a:pt x="328" y="12"/>
                      <a:pt x="411" y="81"/>
                      <a:pt x="406" y="165"/>
                    </a:cubicBezTo>
                    <a:cubicBezTo>
                      <a:pt x="405" y="179"/>
                      <a:pt x="402" y="193"/>
                      <a:pt x="396" y="205"/>
                    </a:cubicBezTo>
                    <a:cubicBezTo>
                      <a:pt x="398" y="202"/>
                      <a:pt x="400" y="198"/>
                      <a:pt x="402" y="195"/>
                    </a:cubicBezTo>
                    <a:cubicBezTo>
                      <a:pt x="408" y="180"/>
                      <a:pt x="412" y="164"/>
                      <a:pt x="412" y="149"/>
                    </a:cubicBezTo>
                    <a:cubicBezTo>
                      <a:pt x="412" y="145"/>
                      <a:pt x="411" y="141"/>
                      <a:pt x="411" y="138"/>
                    </a:cubicBezTo>
                    <a:cubicBezTo>
                      <a:pt x="394" y="97"/>
                      <a:pt x="370" y="59"/>
                      <a:pt x="339" y="27"/>
                    </a:cubicBezTo>
                    <a:cubicBezTo>
                      <a:pt x="335" y="25"/>
                      <a:pt x="331" y="22"/>
                      <a:pt x="327" y="20"/>
                    </a:cubicBezTo>
                    <a:cubicBezTo>
                      <a:pt x="307" y="9"/>
                      <a:pt x="283" y="2"/>
                      <a:pt x="258" y="0"/>
                    </a:cubicBezTo>
                  </a:path>
                </a:pathLst>
              </a:custGeom>
              <a:solidFill>
                <a:srgbClr val="6F686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393" name="Freeform 65">
                <a:extLst>
                  <a:ext uri="{FF2B5EF4-FFF2-40B4-BE49-F238E27FC236}">
                    <a16:creationId xmlns:a16="http://schemas.microsoft.com/office/drawing/2014/main" id="{4462CEB7-A287-4F17-874C-1837D4CDF4C2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2015" y="1756"/>
                <a:ext cx="418" cy="394"/>
              </a:xfrm>
              <a:custGeom>
                <a:avLst/>
                <a:gdLst>
                  <a:gd name="T0" fmla="*/ 320 w 394"/>
                  <a:gd name="T1" fmla="*/ 332 h 372"/>
                  <a:gd name="T2" fmla="*/ 202 w 394"/>
                  <a:gd name="T3" fmla="*/ 291 h 372"/>
                  <a:gd name="T4" fmla="*/ 206 w 394"/>
                  <a:gd name="T5" fmla="*/ 275 h 372"/>
                  <a:gd name="T6" fmla="*/ 208 w 394"/>
                  <a:gd name="T7" fmla="*/ 227 h 372"/>
                  <a:gd name="T8" fmla="*/ 112 w 394"/>
                  <a:gd name="T9" fmla="*/ 222 h 372"/>
                  <a:gd name="T10" fmla="*/ 83 w 394"/>
                  <a:gd name="T11" fmla="*/ 188 h 372"/>
                  <a:gd name="T12" fmla="*/ 209 w 394"/>
                  <a:gd name="T13" fmla="*/ 159 h 372"/>
                  <a:gd name="T14" fmla="*/ 211 w 394"/>
                  <a:gd name="T15" fmla="*/ 166 h 372"/>
                  <a:gd name="T16" fmla="*/ 24 w 394"/>
                  <a:gd name="T17" fmla="*/ 93 h 372"/>
                  <a:gd name="T18" fmla="*/ 44 w 394"/>
                  <a:gd name="T19" fmla="*/ 134 h 372"/>
                  <a:gd name="T20" fmla="*/ 24 w 394"/>
                  <a:gd name="T21" fmla="*/ 93 h 372"/>
                  <a:gd name="T22" fmla="*/ 281 w 394"/>
                  <a:gd name="T23" fmla="*/ 183 h 372"/>
                  <a:gd name="T24" fmla="*/ 307 w 394"/>
                  <a:gd name="T25" fmla="*/ 193 h 372"/>
                  <a:gd name="T26" fmla="*/ 351 w 394"/>
                  <a:gd name="T27" fmla="*/ 256 h 372"/>
                  <a:gd name="T28" fmla="*/ 283 w 394"/>
                  <a:gd name="T29" fmla="*/ 351 h 372"/>
                  <a:gd name="T30" fmla="*/ 194 w 394"/>
                  <a:gd name="T31" fmla="*/ 238 h 372"/>
                  <a:gd name="T32" fmla="*/ 163 w 394"/>
                  <a:gd name="T33" fmla="*/ 22 h 372"/>
                  <a:gd name="T34" fmla="*/ 191 w 394"/>
                  <a:gd name="T35" fmla="*/ 40 h 372"/>
                  <a:gd name="T36" fmla="*/ 200 w 394"/>
                  <a:gd name="T37" fmla="*/ 66 h 372"/>
                  <a:gd name="T38" fmla="*/ 224 w 394"/>
                  <a:gd name="T39" fmla="*/ 97 h 372"/>
                  <a:gd name="T40" fmla="*/ 253 w 394"/>
                  <a:gd name="T41" fmla="*/ 119 h 372"/>
                  <a:gd name="T42" fmla="*/ 211 w 394"/>
                  <a:gd name="T43" fmla="*/ 173 h 372"/>
                  <a:gd name="T44" fmla="*/ 159 w 394"/>
                  <a:gd name="T45" fmla="*/ 198 h 372"/>
                  <a:gd name="T46" fmla="*/ 167 w 394"/>
                  <a:gd name="T47" fmla="*/ 187 h 372"/>
                  <a:gd name="T48" fmla="*/ 109 w 394"/>
                  <a:gd name="T49" fmla="*/ 229 h 372"/>
                  <a:gd name="T50" fmla="*/ 62 w 394"/>
                  <a:gd name="T51" fmla="*/ 173 h 372"/>
                  <a:gd name="T52" fmla="*/ 53 w 394"/>
                  <a:gd name="T53" fmla="*/ 184 h 372"/>
                  <a:gd name="T54" fmla="*/ 13 w 394"/>
                  <a:gd name="T55" fmla="*/ 96 h 372"/>
                  <a:gd name="T56" fmla="*/ 68 w 394"/>
                  <a:gd name="T57" fmla="*/ 73 h 372"/>
                  <a:gd name="T58" fmla="*/ 69 w 394"/>
                  <a:gd name="T59" fmla="*/ 69 h 372"/>
                  <a:gd name="T60" fmla="*/ 106 w 394"/>
                  <a:gd name="T61" fmla="*/ 41 h 372"/>
                  <a:gd name="T62" fmla="*/ 119 w 394"/>
                  <a:gd name="T63" fmla="*/ 41 h 372"/>
                  <a:gd name="T64" fmla="*/ 152 w 394"/>
                  <a:gd name="T65" fmla="*/ 12 h 372"/>
                  <a:gd name="T66" fmla="*/ 6 w 394"/>
                  <a:gd name="T67" fmla="*/ 86 h 372"/>
                  <a:gd name="T68" fmla="*/ 231 w 394"/>
                  <a:gd name="T69" fmla="*/ 353 h 372"/>
                  <a:gd name="T70" fmla="*/ 232 w 394"/>
                  <a:gd name="T71" fmla="*/ 354 h 372"/>
                  <a:gd name="T72" fmla="*/ 234 w 394"/>
                  <a:gd name="T73" fmla="*/ 355 h 372"/>
                  <a:gd name="T74" fmla="*/ 306 w 394"/>
                  <a:gd name="T75" fmla="*/ 372 h 372"/>
                  <a:gd name="T76" fmla="*/ 321 w 394"/>
                  <a:gd name="T77" fmla="*/ 371 h 372"/>
                  <a:gd name="T78" fmla="*/ 342 w 394"/>
                  <a:gd name="T79" fmla="*/ 181 h 372"/>
                  <a:gd name="T80" fmla="*/ 159 w 394"/>
                  <a:gd name="T81" fmla="*/ 0 h 372"/>
                  <a:gd name="T82" fmla="*/ 106 w 394"/>
                  <a:gd name="T83" fmla="*/ 12 h 372"/>
                  <a:gd name="T84" fmla="*/ 99 w 394"/>
                  <a:gd name="T85" fmla="*/ 11 h 372"/>
                  <a:gd name="T86" fmla="*/ 224 w 394"/>
                  <a:gd name="T87" fmla="*/ 29 h 372"/>
                  <a:gd name="T88" fmla="*/ 381 w 394"/>
                  <a:gd name="T89" fmla="*/ 332 h 372"/>
                  <a:gd name="T90" fmla="*/ 311 w 394"/>
                  <a:gd name="T91" fmla="*/ 94 h 372"/>
                  <a:gd name="T92" fmla="*/ 230 w 394"/>
                  <a:gd name="T93" fmla="*/ 24 h 372"/>
                  <a:gd name="T94" fmla="*/ 190 w 394"/>
                  <a:gd name="T95" fmla="*/ 4 h 3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394" h="372">
                    <a:moveTo>
                      <a:pt x="202" y="291"/>
                    </a:moveTo>
                    <a:cubicBezTo>
                      <a:pt x="206" y="326"/>
                      <a:pt x="243" y="346"/>
                      <a:pt x="278" y="346"/>
                    </a:cubicBezTo>
                    <a:cubicBezTo>
                      <a:pt x="281" y="346"/>
                      <a:pt x="284" y="346"/>
                      <a:pt x="287" y="345"/>
                    </a:cubicBezTo>
                    <a:cubicBezTo>
                      <a:pt x="299" y="344"/>
                      <a:pt x="311" y="339"/>
                      <a:pt x="320" y="332"/>
                    </a:cubicBezTo>
                    <a:cubicBezTo>
                      <a:pt x="311" y="337"/>
                      <a:pt x="301" y="339"/>
                      <a:pt x="291" y="340"/>
                    </a:cubicBezTo>
                    <a:cubicBezTo>
                      <a:pt x="269" y="339"/>
                      <a:pt x="247" y="337"/>
                      <a:pt x="230" y="324"/>
                    </a:cubicBezTo>
                    <a:cubicBezTo>
                      <a:pt x="226" y="320"/>
                      <a:pt x="222" y="316"/>
                      <a:pt x="218" y="310"/>
                    </a:cubicBezTo>
                    <a:cubicBezTo>
                      <a:pt x="211" y="305"/>
                      <a:pt x="206" y="299"/>
                      <a:pt x="202" y="291"/>
                    </a:cubicBezTo>
                    <a:moveTo>
                      <a:pt x="208" y="227"/>
                    </a:moveTo>
                    <a:cubicBezTo>
                      <a:pt x="206" y="233"/>
                      <a:pt x="204" y="238"/>
                      <a:pt x="203" y="245"/>
                    </a:cubicBezTo>
                    <a:cubicBezTo>
                      <a:pt x="201" y="256"/>
                      <a:pt x="202" y="267"/>
                      <a:pt x="206" y="277"/>
                    </a:cubicBezTo>
                    <a:cubicBezTo>
                      <a:pt x="206" y="276"/>
                      <a:pt x="206" y="276"/>
                      <a:pt x="206" y="275"/>
                    </a:cubicBezTo>
                    <a:cubicBezTo>
                      <a:pt x="206" y="271"/>
                      <a:pt x="207" y="267"/>
                      <a:pt x="208" y="263"/>
                    </a:cubicBezTo>
                    <a:cubicBezTo>
                      <a:pt x="208" y="263"/>
                      <a:pt x="208" y="263"/>
                      <a:pt x="208" y="263"/>
                    </a:cubicBezTo>
                    <a:cubicBezTo>
                      <a:pt x="206" y="258"/>
                      <a:pt x="206" y="252"/>
                      <a:pt x="206" y="246"/>
                    </a:cubicBezTo>
                    <a:cubicBezTo>
                      <a:pt x="206" y="240"/>
                      <a:pt x="207" y="233"/>
                      <a:pt x="208" y="227"/>
                    </a:cubicBezTo>
                    <a:moveTo>
                      <a:pt x="82" y="177"/>
                    </a:moveTo>
                    <a:cubicBezTo>
                      <a:pt x="79" y="180"/>
                      <a:pt x="77" y="183"/>
                      <a:pt x="77" y="187"/>
                    </a:cubicBezTo>
                    <a:cubicBezTo>
                      <a:pt x="74" y="204"/>
                      <a:pt x="94" y="222"/>
                      <a:pt x="110" y="222"/>
                    </a:cubicBezTo>
                    <a:cubicBezTo>
                      <a:pt x="111" y="222"/>
                      <a:pt x="112" y="222"/>
                      <a:pt x="112" y="222"/>
                    </a:cubicBezTo>
                    <a:cubicBezTo>
                      <a:pt x="119" y="222"/>
                      <a:pt x="125" y="219"/>
                      <a:pt x="129" y="215"/>
                    </a:cubicBezTo>
                    <a:cubicBezTo>
                      <a:pt x="126" y="217"/>
                      <a:pt x="122" y="217"/>
                      <a:pt x="117" y="217"/>
                    </a:cubicBezTo>
                    <a:cubicBezTo>
                      <a:pt x="116" y="217"/>
                      <a:pt x="114" y="217"/>
                      <a:pt x="112" y="217"/>
                    </a:cubicBezTo>
                    <a:cubicBezTo>
                      <a:pt x="100" y="214"/>
                      <a:pt x="87" y="200"/>
                      <a:pt x="83" y="188"/>
                    </a:cubicBezTo>
                    <a:cubicBezTo>
                      <a:pt x="82" y="185"/>
                      <a:pt x="81" y="183"/>
                      <a:pt x="81" y="180"/>
                    </a:cubicBezTo>
                    <a:cubicBezTo>
                      <a:pt x="81" y="179"/>
                      <a:pt x="81" y="178"/>
                      <a:pt x="82" y="177"/>
                    </a:cubicBezTo>
                    <a:moveTo>
                      <a:pt x="209" y="159"/>
                    </a:moveTo>
                    <a:cubicBezTo>
                      <a:pt x="209" y="159"/>
                      <a:pt x="209" y="159"/>
                      <a:pt x="209" y="159"/>
                    </a:cubicBezTo>
                    <a:cubicBezTo>
                      <a:pt x="209" y="159"/>
                      <a:pt x="209" y="159"/>
                      <a:pt x="209" y="159"/>
                    </a:cubicBezTo>
                    <a:cubicBezTo>
                      <a:pt x="208" y="161"/>
                      <a:pt x="207" y="163"/>
                      <a:pt x="206" y="165"/>
                    </a:cubicBezTo>
                    <a:cubicBezTo>
                      <a:pt x="207" y="165"/>
                      <a:pt x="207" y="165"/>
                      <a:pt x="208" y="166"/>
                    </a:cubicBezTo>
                    <a:cubicBezTo>
                      <a:pt x="209" y="166"/>
                      <a:pt x="210" y="166"/>
                      <a:pt x="211" y="166"/>
                    </a:cubicBezTo>
                    <a:cubicBezTo>
                      <a:pt x="218" y="166"/>
                      <a:pt x="225" y="163"/>
                      <a:pt x="230" y="159"/>
                    </a:cubicBezTo>
                    <a:cubicBezTo>
                      <a:pt x="227" y="160"/>
                      <a:pt x="223" y="161"/>
                      <a:pt x="220" y="161"/>
                    </a:cubicBezTo>
                    <a:cubicBezTo>
                      <a:pt x="216" y="161"/>
                      <a:pt x="212" y="160"/>
                      <a:pt x="209" y="159"/>
                    </a:cubicBezTo>
                    <a:moveTo>
                      <a:pt x="24" y="93"/>
                    </a:moveTo>
                    <a:cubicBezTo>
                      <a:pt x="21" y="97"/>
                      <a:pt x="20" y="101"/>
                      <a:pt x="19" y="106"/>
                    </a:cubicBezTo>
                    <a:cubicBezTo>
                      <a:pt x="16" y="122"/>
                      <a:pt x="23" y="134"/>
                      <a:pt x="40" y="137"/>
                    </a:cubicBezTo>
                    <a:cubicBezTo>
                      <a:pt x="41" y="138"/>
                      <a:pt x="42" y="138"/>
                      <a:pt x="44" y="138"/>
                    </a:cubicBezTo>
                    <a:cubicBezTo>
                      <a:pt x="44" y="137"/>
                      <a:pt x="44" y="135"/>
                      <a:pt x="44" y="134"/>
                    </a:cubicBezTo>
                    <a:cubicBezTo>
                      <a:pt x="45" y="132"/>
                      <a:pt x="45" y="132"/>
                      <a:pt x="45" y="132"/>
                    </a:cubicBezTo>
                    <a:cubicBezTo>
                      <a:pt x="32" y="129"/>
                      <a:pt x="22" y="120"/>
                      <a:pt x="22" y="105"/>
                    </a:cubicBezTo>
                    <a:cubicBezTo>
                      <a:pt x="22" y="104"/>
                      <a:pt x="23" y="102"/>
                      <a:pt x="23" y="100"/>
                    </a:cubicBezTo>
                    <a:cubicBezTo>
                      <a:pt x="23" y="98"/>
                      <a:pt x="23" y="95"/>
                      <a:pt x="24" y="93"/>
                    </a:cubicBezTo>
                    <a:moveTo>
                      <a:pt x="245" y="191"/>
                    </a:moveTo>
                    <a:cubicBezTo>
                      <a:pt x="246" y="190"/>
                      <a:pt x="247" y="190"/>
                      <a:pt x="249" y="189"/>
                    </a:cubicBezTo>
                    <a:cubicBezTo>
                      <a:pt x="258" y="185"/>
                      <a:pt x="268" y="183"/>
                      <a:pt x="277" y="183"/>
                    </a:cubicBezTo>
                    <a:cubicBezTo>
                      <a:pt x="278" y="183"/>
                      <a:pt x="279" y="183"/>
                      <a:pt x="281" y="183"/>
                    </a:cubicBezTo>
                    <a:cubicBezTo>
                      <a:pt x="281" y="183"/>
                      <a:pt x="281" y="183"/>
                      <a:pt x="281" y="183"/>
                    </a:cubicBezTo>
                    <a:cubicBezTo>
                      <a:pt x="280" y="185"/>
                      <a:pt x="280" y="185"/>
                      <a:pt x="280" y="185"/>
                    </a:cubicBezTo>
                    <a:cubicBezTo>
                      <a:pt x="280" y="185"/>
                      <a:pt x="280" y="185"/>
                      <a:pt x="280" y="185"/>
                    </a:cubicBezTo>
                    <a:cubicBezTo>
                      <a:pt x="288" y="189"/>
                      <a:pt x="299" y="189"/>
                      <a:pt x="307" y="193"/>
                    </a:cubicBezTo>
                    <a:cubicBezTo>
                      <a:pt x="322" y="198"/>
                      <a:pt x="335" y="210"/>
                      <a:pt x="340" y="225"/>
                    </a:cubicBezTo>
                    <a:cubicBezTo>
                      <a:pt x="342" y="230"/>
                      <a:pt x="344" y="236"/>
                      <a:pt x="345" y="243"/>
                    </a:cubicBezTo>
                    <a:cubicBezTo>
                      <a:pt x="345" y="243"/>
                      <a:pt x="345" y="243"/>
                      <a:pt x="345" y="243"/>
                    </a:cubicBezTo>
                    <a:cubicBezTo>
                      <a:pt x="346" y="248"/>
                      <a:pt x="350" y="251"/>
                      <a:pt x="351" y="256"/>
                    </a:cubicBezTo>
                    <a:cubicBezTo>
                      <a:pt x="353" y="262"/>
                      <a:pt x="354" y="268"/>
                      <a:pt x="354" y="274"/>
                    </a:cubicBezTo>
                    <a:cubicBezTo>
                      <a:pt x="354" y="281"/>
                      <a:pt x="353" y="287"/>
                      <a:pt x="352" y="293"/>
                    </a:cubicBezTo>
                    <a:cubicBezTo>
                      <a:pt x="350" y="303"/>
                      <a:pt x="345" y="312"/>
                      <a:pt x="338" y="319"/>
                    </a:cubicBezTo>
                    <a:cubicBezTo>
                      <a:pt x="327" y="337"/>
                      <a:pt x="308" y="350"/>
                      <a:pt x="283" y="351"/>
                    </a:cubicBezTo>
                    <a:cubicBezTo>
                      <a:pt x="280" y="351"/>
                      <a:pt x="278" y="351"/>
                      <a:pt x="275" y="351"/>
                    </a:cubicBezTo>
                    <a:cubicBezTo>
                      <a:pt x="252" y="351"/>
                      <a:pt x="226" y="346"/>
                      <a:pt x="211" y="328"/>
                    </a:cubicBezTo>
                    <a:cubicBezTo>
                      <a:pt x="199" y="313"/>
                      <a:pt x="191" y="294"/>
                      <a:pt x="195" y="276"/>
                    </a:cubicBezTo>
                    <a:cubicBezTo>
                      <a:pt x="191" y="264"/>
                      <a:pt x="191" y="251"/>
                      <a:pt x="194" y="238"/>
                    </a:cubicBezTo>
                    <a:cubicBezTo>
                      <a:pt x="200" y="216"/>
                      <a:pt x="221" y="198"/>
                      <a:pt x="245" y="191"/>
                    </a:cubicBezTo>
                    <a:moveTo>
                      <a:pt x="159" y="24"/>
                    </a:moveTo>
                    <a:cubicBezTo>
                      <a:pt x="159" y="22"/>
                      <a:pt x="159" y="22"/>
                      <a:pt x="159" y="22"/>
                    </a:cubicBezTo>
                    <a:cubicBezTo>
                      <a:pt x="160" y="22"/>
                      <a:pt x="162" y="22"/>
                      <a:pt x="163" y="22"/>
                    </a:cubicBezTo>
                    <a:cubicBezTo>
                      <a:pt x="164" y="22"/>
                      <a:pt x="165" y="22"/>
                      <a:pt x="166" y="22"/>
                    </a:cubicBezTo>
                    <a:cubicBezTo>
                      <a:pt x="166" y="22"/>
                      <a:pt x="167" y="22"/>
                      <a:pt x="168" y="22"/>
                    </a:cubicBezTo>
                    <a:cubicBezTo>
                      <a:pt x="169" y="22"/>
                      <a:pt x="171" y="22"/>
                      <a:pt x="172" y="22"/>
                    </a:cubicBezTo>
                    <a:cubicBezTo>
                      <a:pt x="181" y="24"/>
                      <a:pt x="186" y="32"/>
                      <a:pt x="191" y="40"/>
                    </a:cubicBezTo>
                    <a:cubicBezTo>
                      <a:pt x="193" y="43"/>
                      <a:pt x="194" y="48"/>
                      <a:pt x="194" y="53"/>
                    </a:cubicBezTo>
                    <a:cubicBezTo>
                      <a:pt x="194" y="57"/>
                      <a:pt x="193" y="60"/>
                      <a:pt x="192" y="64"/>
                    </a:cubicBezTo>
                    <a:cubicBezTo>
                      <a:pt x="192" y="64"/>
                      <a:pt x="192" y="64"/>
                      <a:pt x="192" y="64"/>
                    </a:cubicBezTo>
                    <a:cubicBezTo>
                      <a:pt x="200" y="66"/>
                      <a:pt x="200" y="66"/>
                      <a:pt x="200" y="66"/>
                    </a:cubicBezTo>
                    <a:cubicBezTo>
                      <a:pt x="212" y="73"/>
                      <a:pt x="217" y="81"/>
                      <a:pt x="224" y="91"/>
                    </a:cubicBezTo>
                    <a:cubicBezTo>
                      <a:pt x="224" y="91"/>
                      <a:pt x="224" y="91"/>
                      <a:pt x="224" y="91"/>
                    </a:cubicBezTo>
                    <a:cubicBezTo>
                      <a:pt x="224" y="91"/>
                      <a:pt x="224" y="91"/>
                      <a:pt x="224" y="92"/>
                    </a:cubicBezTo>
                    <a:cubicBezTo>
                      <a:pt x="224" y="93"/>
                      <a:pt x="224" y="95"/>
                      <a:pt x="224" y="97"/>
                    </a:cubicBezTo>
                    <a:cubicBezTo>
                      <a:pt x="224" y="97"/>
                      <a:pt x="224" y="97"/>
                      <a:pt x="224" y="98"/>
                    </a:cubicBezTo>
                    <a:cubicBezTo>
                      <a:pt x="224" y="98"/>
                      <a:pt x="224" y="98"/>
                      <a:pt x="224" y="98"/>
                    </a:cubicBezTo>
                    <a:cubicBezTo>
                      <a:pt x="232" y="102"/>
                      <a:pt x="232" y="102"/>
                      <a:pt x="232" y="102"/>
                    </a:cubicBezTo>
                    <a:cubicBezTo>
                      <a:pt x="240" y="108"/>
                      <a:pt x="248" y="112"/>
                      <a:pt x="253" y="119"/>
                    </a:cubicBezTo>
                    <a:cubicBezTo>
                      <a:pt x="254" y="121"/>
                      <a:pt x="254" y="124"/>
                      <a:pt x="254" y="126"/>
                    </a:cubicBezTo>
                    <a:cubicBezTo>
                      <a:pt x="254" y="133"/>
                      <a:pt x="251" y="141"/>
                      <a:pt x="246" y="147"/>
                    </a:cubicBezTo>
                    <a:cubicBezTo>
                      <a:pt x="246" y="147"/>
                      <a:pt x="246" y="147"/>
                      <a:pt x="246" y="147"/>
                    </a:cubicBezTo>
                    <a:cubicBezTo>
                      <a:pt x="240" y="162"/>
                      <a:pt x="226" y="173"/>
                      <a:pt x="211" y="173"/>
                    </a:cubicBezTo>
                    <a:cubicBezTo>
                      <a:pt x="208" y="173"/>
                      <a:pt x="206" y="172"/>
                      <a:pt x="204" y="172"/>
                    </a:cubicBezTo>
                    <a:cubicBezTo>
                      <a:pt x="203" y="172"/>
                      <a:pt x="202" y="171"/>
                      <a:pt x="201" y="171"/>
                    </a:cubicBezTo>
                    <a:cubicBezTo>
                      <a:pt x="200" y="171"/>
                      <a:pt x="200" y="172"/>
                      <a:pt x="200" y="172"/>
                    </a:cubicBezTo>
                    <a:cubicBezTo>
                      <a:pt x="193" y="187"/>
                      <a:pt x="175" y="198"/>
                      <a:pt x="159" y="198"/>
                    </a:cubicBezTo>
                    <a:cubicBezTo>
                      <a:pt x="159" y="198"/>
                      <a:pt x="159" y="198"/>
                      <a:pt x="159" y="198"/>
                    </a:cubicBezTo>
                    <a:cubicBezTo>
                      <a:pt x="157" y="198"/>
                      <a:pt x="156" y="194"/>
                      <a:pt x="158" y="194"/>
                    </a:cubicBezTo>
                    <a:cubicBezTo>
                      <a:pt x="168" y="192"/>
                      <a:pt x="179" y="187"/>
                      <a:pt x="188" y="180"/>
                    </a:cubicBezTo>
                    <a:cubicBezTo>
                      <a:pt x="181" y="184"/>
                      <a:pt x="174" y="187"/>
                      <a:pt x="167" y="187"/>
                    </a:cubicBezTo>
                    <a:cubicBezTo>
                      <a:pt x="151" y="187"/>
                      <a:pt x="151" y="187"/>
                      <a:pt x="151" y="187"/>
                    </a:cubicBezTo>
                    <a:cubicBezTo>
                      <a:pt x="151" y="187"/>
                      <a:pt x="151" y="187"/>
                      <a:pt x="151" y="187"/>
                    </a:cubicBezTo>
                    <a:cubicBezTo>
                      <a:pt x="151" y="195"/>
                      <a:pt x="148" y="201"/>
                      <a:pt x="143" y="207"/>
                    </a:cubicBezTo>
                    <a:cubicBezTo>
                      <a:pt x="138" y="220"/>
                      <a:pt x="124" y="229"/>
                      <a:pt x="109" y="229"/>
                    </a:cubicBezTo>
                    <a:cubicBezTo>
                      <a:pt x="109" y="229"/>
                      <a:pt x="108" y="229"/>
                      <a:pt x="107" y="229"/>
                    </a:cubicBezTo>
                    <a:cubicBezTo>
                      <a:pt x="89" y="228"/>
                      <a:pt x="68" y="206"/>
                      <a:pt x="69" y="187"/>
                    </a:cubicBezTo>
                    <a:cubicBezTo>
                      <a:pt x="69" y="182"/>
                      <a:pt x="72" y="177"/>
                      <a:pt x="75" y="173"/>
                    </a:cubicBezTo>
                    <a:cubicBezTo>
                      <a:pt x="62" y="173"/>
                      <a:pt x="62" y="173"/>
                      <a:pt x="62" y="173"/>
                    </a:cubicBezTo>
                    <a:cubicBezTo>
                      <a:pt x="56" y="165"/>
                      <a:pt x="48" y="156"/>
                      <a:pt x="45" y="146"/>
                    </a:cubicBezTo>
                    <a:cubicBezTo>
                      <a:pt x="42" y="146"/>
                      <a:pt x="40" y="146"/>
                      <a:pt x="38" y="145"/>
                    </a:cubicBezTo>
                    <a:cubicBezTo>
                      <a:pt x="38" y="159"/>
                      <a:pt x="49" y="170"/>
                      <a:pt x="56" y="180"/>
                    </a:cubicBezTo>
                    <a:cubicBezTo>
                      <a:pt x="57" y="182"/>
                      <a:pt x="55" y="184"/>
                      <a:pt x="53" y="184"/>
                    </a:cubicBezTo>
                    <a:cubicBezTo>
                      <a:pt x="53" y="184"/>
                      <a:pt x="52" y="184"/>
                      <a:pt x="52" y="183"/>
                    </a:cubicBezTo>
                    <a:cubicBezTo>
                      <a:pt x="41" y="173"/>
                      <a:pt x="31" y="159"/>
                      <a:pt x="33" y="144"/>
                    </a:cubicBezTo>
                    <a:cubicBezTo>
                      <a:pt x="32" y="144"/>
                      <a:pt x="31" y="143"/>
                      <a:pt x="29" y="143"/>
                    </a:cubicBezTo>
                    <a:cubicBezTo>
                      <a:pt x="10" y="135"/>
                      <a:pt x="6" y="114"/>
                      <a:pt x="13" y="96"/>
                    </a:cubicBezTo>
                    <a:cubicBezTo>
                      <a:pt x="17" y="84"/>
                      <a:pt x="25" y="77"/>
                      <a:pt x="35" y="75"/>
                    </a:cubicBezTo>
                    <a:cubicBezTo>
                      <a:pt x="37" y="73"/>
                      <a:pt x="38" y="72"/>
                      <a:pt x="40" y="71"/>
                    </a:cubicBezTo>
                    <a:cubicBezTo>
                      <a:pt x="44" y="70"/>
                      <a:pt x="48" y="69"/>
                      <a:pt x="52" y="69"/>
                    </a:cubicBezTo>
                    <a:cubicBezTo>
                      <a:pt x="57" y="69"/>
                      <a:pt x="63" y="70"/>
                      <a:pt x="68" y="73"/>
                    </a:cubicBezTo>
                    <a:cubicBezTo>
                      <a:pt x="69" y="71"/>
                      <a:pt x="69" y="71"/>
                      <a:pt x="69" y="71"/>
                    </a:cubicBezTo>
                    <a:cubicBezTo>
                      <a:pt x="70" y="71"/>
                      <a:pt x="71" y="71"/>
                      <a:pt x="71" y="72"/>
                    </a:cubicBezTo>
                    <a:cubicBezTo>
                      <a:pt x="74" y="65"/>
                      <a:pt x="74" y="65"/>
                      <a:pt x="74" y="65"/>
                    </a:cubicBezTo>
                    <a:cubicBezTo>
                      <a:pt x="72" y="66"/>
                      <a:pt x="71" y="67"/>
                      <a:pt x="69" y="69"/>
                    </a:cubicBezTo>
                    <a:cubicBezTo>
                      <a:pt x="69" y="69"/>
                      <a:pt x="68" y="70"/>
                      <a:pt x="67" y="70"/>
                    </a:cubicBezTo>
                    <a:cubicBezTo>
                      <a:pt x="66" y="70"/>
                      <a:pt x="64" y="68"/>
                      <a:pt x="66" y="66"/>
                    </a:cubicBezTo>
                    <a:cubicBezTo>
                      <a:pt x="71" y="60"/>
                      <a:pt x="77" y="55"/>
                      <a:pt x="84" y="52"/>
                    </a:cubicBezTo>
                    <a:cubicBezTo>
                      <a:pt x="91" y="46"/>
                      <a:pt x="98" y="42"/>
                      <a:pt x="106" y="41"/>
                    </a:cubicBezTo>
                    <a:cubicBezTo>
                      <a:pt x="108" y="41"/>
                      <a:pt x="109" y="41"/>
                      <a:pt x="111" y="41"/>
                    </a:cubicBezTo>
                    <a:cubicBezTo>
                      <a:pt x="112" y="41"/>
                      <a:pt x="114" y="41"/>
                      <a:pt x="115" y="41"/>
                    </a:cubicBezTo>
                    <a:cubicBezTo>
                      <a:pt x="116" y="41"/>
                      <a:pt x="118" y="41"/>
                      <a:pt x="119" y="41"/>
                    </a:cubicBezTo>
                    <a:cubicBezTo>
                      <a:pt x="119" y="41"/>
                      <a:pt x="119" y="41"/>
                      <a:pt x="119" y="41"/>
                    </a:cubicBezTo>
                    <a:cubicBezTo>
                      <a:pt x="124" y="36"/>
                      <a:pt x="130" y="32"/>
                      <a:pt x="137" y="30"/>
                    </a:cubicBezTo>
                    <a:cubicBezTo>
                      <a:pt x="142" y="26"/>
                      <a:pt x="149" y="24"/>
                      <a:pt x="155" y="24"/>
                    </a:cubicBezTo>
                    <a:cubicBezTo>
                      <a:pt x="156" y="24"/>
                      <a:pt x="158" y="24"/>
                      <a:pt x="159" y="24"/>
                    </a:cubicBezTo>
                    <a:moveTo>
                      <a:pt x="152" y="12"/>
                    </a:moveTo>
                    <a:cubicBezTo>
                      <a:pt x="134" y="12"/>
                      <a:pt x="116" y="15"/>
                      <a:pt x="98" y="22"/>
                    </a:cubicBezTo>
                    <a:cubicBezTo>
                      <a:pt x="98" y="22"/>
                      <a:pt x="98" y="22"/>
                      <a:pt x="97" y="22"/>
                    </a:cubicBezTo>
                    <a:cubicBezTo>
                      <a:pt x="96" y="22"/>
                      <a:pt x="95" y="21"/>
                      <a:pt x="96" y="20"/>
                    </a:cubicBezTo>
                    <a:cubicBezTo>
                      <a:pt x="65" y="38"/>
                      <a:pt x="24" y="54"/>
                      <a:pt x="6" y="86"/>
                    </a:cubicBezTo>
                    <a:cubicBezTo>
                      <a:pt x="2" y="97"/>
                      <a:pt x="0" y="108"/>
                      <a:pt x="0" y="120"/>
                    </a:cubicBezTo>
                    <a:cubicBezTo>
                      <a:pt x="0" y="139"/>
                      <a:pt x="5" y="159"/>
                      <a:pt x="11" y="175"/>
                    </a:cubicBezTo>
                    <a:cubicBezTo>
                      <a:pt x="23" y="213"/>
                      <a:pt x="56" y="240"/>
                      <a:pt x="87" y="264"/>
                    </a:cubicBezTo>
                    <a:cubicBezTo>
                      <a:pt x="132" y="299"/>
                      <a:pt x="181" y="329"/>
                      <a:pt x="231" y="353"/>
                    </a:cubicBezTo>
                    <a:cubicBezTo>
                      <a:pt x="231" y="353"/>
                      <a:pt x="231" y="353"/>
                      <a:pt x="231" y="353"/>
                    </a:cubicBezTo>
                    <a:cubicBezTo>
                      <a:pt x="231" y="353"/>
                      <a:pt x="231" y="353"/>
                      <a:pt x="231" y="353"/>
                    </a:cubicBezTo>
                    <a:cubicBezTo>
                      <a:pt x="231" y="353"/>
                      <a:pt x="232" y="354"/>
                      <a:pt x="232" y="354"/>
                    </a:cubicBezTo>
                    <a:cubicBezTo>
                      <a:pt x="232" y="354"/>
                      <a:pt x="232" y="354"/>
                      <a:pt x="232" y="354"/>
                    </a:cubicBezTo>
                    <a:cubicBezTo>
                      <a:pt x="233" y="354"/>
                      <a:pt x="233" y="354"/>
                      <a:pt x="233" y="354"/>
                    </a:cubicBezTo>
                    <a:cubicBezTo>
                      <a:pt x="233" y="354"/>
                      <a:pt x="233" y="354"/>
                      <a:pt x="233" y="354"/>
                    </a:cubicBezTo>
                    <a:cubicBezTo>
                      <a:pt x="233" y="354"/>
                      <a:pt x="233" y="354"/>
                      <a:pt x="233" y="354"/>
                    </a:cubicBezTo>
                    <a:cubicBezTo>
                      <a:pt x="234" y="354"/>
                      <a:pt x="234" y="354"/>
                      <a:pt x="234" y="355"/>
                    </a:cubicBezTo>
                    <a:cubicBezTo>
                      <a:pt x="234" y="355"/>
                      <a:pt x="234" y="355"/>
                      <a:pt x="235" y="355"/>
                    </a:cubicBezTo>
                    <a:cubicBezTo>
                      <a:pt x="235" y="355"/>
                      <a:pt x="235" y="355"/>
                      <a:pt x="235" y="355"/>
                    </a:cubicBezTo>
                    <a:cubicBezTo>
                      <a:pt x="257" y="365"/>
                      <a:pt x="281" y="372"/>
                      <a:pt x="306" y="372"/>
                    </a:cubicBezTo>
                    <a:cubicBezTo>
                      <a:pt x="306" y="372"/>
                      <a:pt x="306" y="372"/>
                      <a:pt x="306" y="372"/>
                    </a:cubicBezTo>
                    <a:cubicBezTo>
                      <a:pt x="306" y="372"/>
                      <a:pt x="306" y="372"/>
                      <a:pt x="306" y="372"/>
                    </a:cubicBezTo>
                    <a:cubicBezTo>
                      <a:pt x="311" y="372"/>
                      <a:pt x="316" y="371"/>
                      <a:pt x="321" y="371"/>
                    </a:cubicBezTo>
                    <a:cubicBezTo>
                      <a:pt x="321" y="371"/>
                      <a:pt x="321" y="371"/>
                      <a:pt x="321" y="371"/>
                    </a:cubicBezTo>
                    <a:cubicBezTo>
                      <a:pt x="321" y="371"/>
                      <a:pt x="321" y="371"/>
                      <a:pt x="321" y="371"/>
                    </a:cubicBezTo>
                    <a:cubicBezTo>
                      <a:pt x="321" y="371"/>
                      <a:pt x="322" y="371"/>
                      <a:pt x="322" y="371"/>
                    </a:cubicBezTo>
                    <a:cubicBezTo>
                      <a:pt x="329" y="369"/>
                      <a:pt x="336" y="367"/>
                      <a:pt x="342" y="364"/>
                    </a:cubicBezTo>
                    <a:cubicBezTo>
                      <a:pt x="366" y="350"/>
                      <a:pt x="380" y="325"/>
                      <a:pt x="381" y="295"/>
                    </a:cubicBezTo>
                    <a:cubicBezTo>
                      <a:pt x="383" y="252"/>
                      <a:pt x="360" y="217"/>
                      <a:pt x="342" y="181"/>
                    </a:cubicBezTo>
                    <a:cubicBezTo>
                      <a:pt x="325" y="147"/>
                      <a:pt x="309" y="114"/>
                      <a:pt x="284" y="85"/>
                    </a:cubicBezTo>
                    <a:cubicBezTo>
                      <a:pt x="263" y="61"/>
                      <a:pt x="238" y="39"/>
                      <a:pt x="208" y="25"/>
                    </a:cubicBezTo>
                    <a:cubicBezTo>
                      <a:pt x="189" y="16"/>
                      <a:pt x="171" y="12"/>
                      <a:pt x="152" y="12"/>
                    </a:cubicBezTo>
                    <a:moveTo>
                      <a:pt x="159" y="0"/>
                    </a:moveTo>
                    <a:cubicBezTo>
                      <a:pt x="159" y="0"/>
                      <a:pt x="159" y="0"/>
                      <a:pt x="159" y="0"/>
                    </a:cubicBezTo>
                    <a:cubicBezTo>
                      <a:pt x="142" y="0"/>
                      <a:pt x="125" y="4"/>
                      <a:pt x="108" y="12"/>
                    </a:cubicBezTo>
                    <a:cubicBezTo>
                      <a:pt x="107" y="12"/>
                      <a:pt x="107" y="12"/>
                      <a:pt x="107" y="12"/>
                    </a:cubicBezTo>
                    <a:cubicBezTo>
                      <a:pt x="107" y="12"/>
                      <a:pt x="106" y="12"/>
                      <a:pt x="106" y="12"/>
                    </a:cubicBezTo>
                    <a:cubicBezTo>
                      <a:pt x="104" y="8"/>
                      <a:pt x="104" y="8"/>
                      <a:pt x="104" y="8"/>
                    </a:cubicBezTo>
                    <a:cubicBezTo>
                      <a:pt x="101" y="10"/>
                      <a:pt x="98" y="11"/>
                      <a:pt x="96" y="12"/>
                    </a:cubicBezTo>
                    <a:cubicBezTo>
                      <a:pt x="96" y="12"/>
                      <a:pt x="96" y="12"/>
                      <a:pt x="97" y="12"/>
                    </a:cubicBezTo>
                    <a:cubicBezTo>
                      <a:pt x="97" y="12"/>
                      <a:pt x="98" y="11"/>
                      <a:pt x="99" y="11"/>
                    </a:cubicBezTo>
                    <a:cubicBezTo>
                      <a:pt x="102" y="11"/>
                      <a:pt x="104" y="15"/>
                      <a:pt x="100" y="17"/>
                    </a:cubicBezTo>
                    <a:cubicBezTo>
                      <a:pt x="100" y="18"/>
                      <a:pt x="99" y="18"/>
                      <a:pt x="98" y="19"/>
                    </a:cubicBezTo>
                    <a:cubicBezTo>
                      <a:pt x="115" y="11"/>
                      <a:pt x="133" y="7"/>
                      <a:pt x="150" y="7"/>
                    </a:cubicBezTo>
                    <a:cubicBezTo>
                      <a:pt x="175" y="7"/>
                      <a:pt x="199" y="15"/>
                      <a:pt x="224" y="29"/>
                    </a:cubicBezTo>
                    <a:cubicBezTo>
                      <a:pt x="259" y="50"/>
                      <a:pt x="291" y="79"/>
                      <a:pt x="313" y="113"/>
                    </a:cubicBezTo>
                    <a:cubicBezTo>
                      <a:pt x="326" y="134"/>
                      <a:pt x="336" y="156"/>
                      <a:pt x="347" y="177"/>
                    </a:cubicBezTo>
                    <a:cubicBezTo>
                      <a:pt x="357" y="196"/>
                      <a:pt x="368" y="214"/>
                      <a:pt x="376" y="234"/>
                    </a:cubicBezTo>
                    <a:cubicBezTo>
                      <a:pt x="389" y="265"/>
                      <a:pt x="394" y="301"/>
                      <a:pt x="381" y="332"/>
                    </a:cubicBezTo>
                    <a:cubicBezTo>
                      <a:pt x="386" y="323"/>
                      <a:pt x="390" y="312"/>
                      <a:pt x="392" y="300"/>
                    </a:cubicBezTo>
                    <a:cubicBezTo>
                      <a:pt x="393" y="294"/>
                      <a:pt x="394" y="288"/>
                      <a:pt x="394" y="283"/>
                    </a:cubicBezTo>
                    <a:cubicBezTo>
                      <a:pt x="394" y="250"/>
                      <a:pt x="380" y="218"/>
                      <a:pt x="363" y="190"/>
                    </a:cubicBezTo>
                    <a:cubicBezTo>
                      <a:pt x="346" y="157"/>
                      <a:pt x="331" y="123"/>
                      <a:pt x="311" y="94"/>
                    </a:cubicBezTo>
                    <a:cubicBezTo>
                      <a:pt x="292" y="70"/>
                      <a:pt x="270" y="48"/>
                      <a:pt x="244" y="30"/>
                    </a:cubicBezTo>
                    <a:cubicBezTo>
                      <a:pt x="237" y="29"/>
                      <a:pt x="230" y="28"/>
                      <a:pt x="222" y="28"/>
                    </a:cubicBezTo>
                    <a:cubicBezTo>
                      <a:pt x="220" y="28"/>
                      <a:pt x="220" y="24"/>
                      <a:pt x="222" y="24"/>
                    </a:cubicBezTo>
                    <a:cubicBezTo>
                      <a:pt x="225" y="24"/>
                      <a:pt x="228" y="24"/>
                      <a:pt x="230" y="24"/>
                    </a:cubicBezTo>
                    <a:cubicBezTo>
                      <a:pt x="232" y="24"/>
                      <a:pt x="233" y="24"/>
                      <a:pt x="235" y="24"/>
                    </a:cubicBezTo>
                    <a:cubicBezTo>
                      <a:pt x="221" y="16"/>
                      <a:pt x="207" y="9"/>
                      <a:pt x="192" y="4"/>
                    </a:cubicBezTo>
                    <a:cubicBezTo>
                      <a:pt x="192" y="4"/>
                      <a:pt x="192" y="4"/>
                      <a:pt x="192" y="4"/>
                    </a:cubicBezTo>
                    <a:cubicBezTo>
                      <a:pt x="191" y="4"/>
                      <a:pt x="191" y="4"/>
                      <a:pt x="190" y="4"/>
                    </a:cubicBezTo>
                    <a:cubicBezTo>
                      <a:pt x="190" y="4"/>
                      <a:pt x="190" y="4"/>
                      <a:pt x="190" y="4"/>
                    </a:cubicBezTo>
                    <a:cubicBezTo>
                      <a:pt x="180" y="1"/>
                      <a:pt x="170" y="0"/>
                      <a:pt x="159" y="0"/>
                    </a:cubicBezTo>
                    <a:cubicBezTo>
                      <a:pt x="159" y="0"/>
                      <a:pt x="159" y="0"/>
                      <a:pt x="159" y="0"/>
                    </a:cubicBezTo>
                  </a:path>
                </a:pathLst>
              </a:custGeom>
              <a:solidFill>
                <a:srgbClr val="6F686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394" name="Freeform 66">
                <a:extLst>
                  <a:ext uri="{FF2B5EF4-FFF2-40B4-BE49-F238E27FC236}">
                    <a16:creationId xmlns:a16="http://schemas.microsoft.com/office/drawing/2014/main" id="{C92C7D04-D534-4079-BDC7-3E09CEC49F54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1995" y="2144"/>
                <a:ext cx="164" cy="288"/>
              </a:xfrm>
              <a:custGeom>
                <a:avLst/>
                <a:gdLst>
                  <a:gd name="T0" fmla="*/ 30 w 155"/>
                  <a:gd name="T1" fmla="*/ 210 h 272"/>
                  <a:gd name="T2" fmla="*/ 17 w 155"/>
                  <a:gd name="T3" fmla="*/ 237 h 272"/>
                  <a:gd name="T4" fmla="*/ 0 w 155"/>
                  <a:gd name="T5" fmla="*/ 272 h 272"/>
                  <a:gd name="T6" fmla="*/ 16 w 155"/>
                  <a:gd name="T7" fmla="*/ 239 h 272"/>
                  <a:gd name="T8" fmla="*/ 30 w 155"/>
                  <a:gd name="T9" fmla="*/ 210 h 272"/>
                  <a:gd name="T10" fmla="*/ 116 w 155"/>
                  <a:gd name="T11" fmla="*/ 63 h 272"/>
                  <a:gd name="T12" fmla="*/ 66 w 155"/>
                  <a:gd name="T13" fmla="*/ 150 h 272"/>
                  <a:gd name="T14" fmla="*/ 73 w 155"/>
                  <a:gd name="T15" fmla="*/ 141 h 272"/>
                  <a:gd name="T16" fmla="*/ 118 w 155"/>
                  <a:gd name="T17" fmla="*/ 67 h 272"/>
                  <a:gd name="T18" fmla="*/ 118 w 155"/>
                  <a:gd name="T19" fmla="*/ 65 h 272"/>
                  <a:gd name="T20" fmla="*/ 116 w 155"/>
                  <a:gd name="T21" fmla="*/ 63 h 272"/>
                  <a:gd name="T22" fmla="*/ 130 w 155"/>
                  <a:gd name="T23" fmla="*/ 43 h 272"/>
                  <a:gd name="T24" fmla="*/ 120 w 155"/>
                  <a:gd name="T25" fmla="*/ 57 h 272"/>
                  <a:gd name="T26" fmla="*/ 122 w 155"/>
                  <a:gd name="T27" fmla="*/ 58 h 272"/>
                  <a:gd name="T28" fmla="*/ 125 w 155"/>
                  <a:gd name="T29" fmla="*/ 51 h 272"/>
                  <a:gd name="T30" fmla="*/ 125 w 155"/>
                  <a:gd name="T31" fmla="*/ 51 h 272"/>
                  <a:gd name="T32" fmla="*/ 125 w 155"/>
                  <a:gd name="T33" fmla="*/ 51 h 272"/>
                  <a:gd name="T34" fmla="*/ 130 w 155"/>
                  <a:gd name="T35" fmla="*/ 43 h 272"/>
                  <a:gd name="T36" fmla="*/ 125 w 155"/>
                  <a:gd name="T37" fmla="*/ 15 h 272"/>
                  <a:gd name="T38" fmla="*/ 111 w 155"/>
                  <a:gd name="T39" fmla="*/ 41 h 272"/>
                  <a:gd name="T40" fmla="*/ 84 w 155"/>
                  <a:gd name="T41" fmla="*/ 91 h 272"/>
                  <a:gd name="T42" fmla="*/ 17 w 155"/>
                  <a:gd name="T43" fmla="*/ 222 h 272"/>
                  <a:gd name="T44" fmla="*/ 58 w 155"/>
                  <a:gd name="T45" fmla="*/ 154 h 272"/>
                  <a:gd name="T46" fmla="*/ 103 w 155"/>
                  <a:gd name="T47" fmla="*/ 81 h 272"/>
                  <a:gd name="T48" fmla="*/ 114 w 155"/>
                  <a:gd name="T49" fmla="*/ 62 h 272"/>
                  <a:gd name="T50" fmla="*/ 117 w 155"/>
                  <a:gd name="T51" fmla="*/ 55 h 272"/>
                  <a:gd name="T52" fmla="*/ 118 w 155"/>
                  <a:gd name="T53" fmla="*/ 55 h 272"/>
                  <a:gd name="T54" fmla="*/ 141 w 155"/>
                  <a:gd name="T55" fmla="*/ 25 h 272"/>
                  <a:gd name="T56" fmla="*/ 125 w 155"/>
                  <a:gd name="T57" fmla="*/ 15 h 272"/>
                  <a:gd name="T58" fmla="*/ 133 w 155"/>
                  <a:gd name="T59" fmla="*/ 0 h 272"/>
                  <a:gd name="T60" fmla="*/ 130 w 155"/>
                  <a:gd name="T61" fmla="*/ 6 h 272"/>
                  <a:gd name="T62" fmla="*/ 150 w 155"/>
                  <a:gd name="T63" fmla="*/ 18 h 272"/>
                  <a:gd name="T64" fmla="*/ 153 w 155"/>
                  <a:gd name="T65" fmla="*/ 15 h 272"/>
                  <a:gd name="T66" fmla="*/ 155 w 155"/>
                  <a:gd name="T67" fmla="*/ 12 h 272"/>
                  <a:gd name="T68" fmla="*/ 133 w 155"/>
                  <a:gd name="T69" fmla="*/ 0 h 2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155" h="272">
                    <a:moveTo>
                      <a:pt x="30" y="210"/>
                    </a:moveTo>
                    <a:cubicBezTo>
                      <a:pt x="26" y="219"/>
                      <a:pt x="21" y="228"/>
                      <a:pt x="17" y="237"/>
                    </a:cubicBezTo>
                    <a:cubicBezTo>
                      <a:pt x="11" y="248"/>
                      <a:pt x="6" y="261"/>
                      <a:pt x="0" y="272"/>
                    </a:cubicBezTo>
                    <a:cubicBezTo>
                      <a:pt x="6" y="261"/>
                      <a:pt x="11" y="250"/>
                      <a:pt x="16" y="239"/>
                    </a:cubicBezTo>
                    <a:cubicBezTo>
                      <a:pt x="21" y="230"/>
                      <a:pt x="26" y="220"/>
                      <a:pt x="30" y="210"/>
                    </a:cubicBezTo>
                    <a:moveTo>
                      <a:pt x="116" y="63"/>
                    </a:moveTo>
                    <a:cubicBezTo>
                      <a:pt x="98" y="91"/>
                      <a:pt x="84" y="122"/>
                      <a:pt x="66" y="150"/>
                    </a:cubicBezTo>
                    <a:cubicBezTo>
                      <a:pt x="68" y="147"/>
                      <a:pt x="71" y="144"/>
                      <a:pt x="73" y="141"/>
                    </a:cubicBezTo>
                    <a:cubicBezTo>
                      <a:pt x="87" y="115"/>
                      <a:pt x="101" y="92"/>
                      <a:pt x="118" y="67"/>
                    </a:cubicBezTo>
                    <a:cubicBezTo>
                      <a:pt x="118" y="66"/>
                      <a:pt x="118" y="66"/>
                      <a:pt x="118" y="65"/>
                    </a:cubicBezTo>
                    <a:cubicBezTo>
                      <a:pt x="118" y="64"/>
                      <a:pt x="117" y="64"/>
                      <a:pt x="116" y="63"/>
                    </a:cubicBezTo>
                    <a:moveTo>
                      <a:pt x="130" y="43"/>
                    </a:moveTo>
                    <a:cubicBezTo>
                      <a:pt x="126" y="48"/>
                      <a:pt x="123" y="52"/>
                      <a:pt x="120" y="57"/>
                    </a:cubicBezTo>
                    <a:cubicBezTo>
                      <a:pt x="121" y="57"/>
                      <a:pt x="121" y="57"/>
                      <a:pt x="122" y="58"/>
                    </a:cubicBezTo>
                    <a:cubicBezTo>
                      <a:pt x="123" y="55"/>
                      <a:pt x="124" y="53"/>
                      <a:pt x="125" y="51"/>
                    </a:cubicBezTo>
                    <a:cubicBezTo>
                      <a:pt x="125" y="51"/>
                      <a:pt x="125" y="51"/>
                      <a:pt x="125" y="51"/>
                    </a:cubicBezTo>
                    <a:cubicBezTo>
                      <a:pt x="125" y="51"/>
                      <a:pt x="125" y="51"/>
                      <a:pt x="125" y="51"/>
                    </a:cubicBezTo>
                    <a:cubicBezTo>
                      <a:pt x="127" y="48"/>
                      <a:pt x="128" y="46"/>
                      <a:pt x="130" y="43"/>
                    </a:cubicBezTo>
                    <a:moveTo>
                      <a:pt x="125" y="15"/>
                    </a:moveTo>
                    <a:cubicBezTo>
                      <a:pt x="120" y="24"/>
                      <a:pt x="116" y="32"/>
                      <a:pt x="111" y="41"/>
                    </a:cubicBezTo>
                    <a:cubicBezTo>
                      <a:pt x="102" y="58"/>
                      <a:pt x="93" y="74"/>
                      <a:pt x="84" y="91"/>
                    </a:cubicBezTo>
                    <a:cubicBezTo>
                      <a:pt x="60" y="134"/>
                      <a:pt x="38" y="178"/>
                      <a:pt x="17" y="222"/>
                    </a:cubicBezTo>
                    <a:cubicBezTo>
                      <a:pt x="29" y="198"/>
                      <a:pt x="43" y="176"/>
                      <a:pt x="58" y="154"/>
                    </a:cubicBezTo>
                    <a:cubicBezTo>
                      <a:pt x="74" y="130"/>
                      <a:pt x="88" y="105"/>
                      <a:pt x="103" y="81"/>
                    </a:cubicBezTo>
                    <a:cubicBezTo>
                      <a:pt x="107" y="75"/>
                      <a:pt x="111" y="68"/>
                      <a:pt x="114" y="62"/>
                    </a:cubicBezTo>
                    <a:cubicBezTo>
                      <a:pt x="111" y="60"/>
                      <a:pt x="114" y="55"/>
                      <a:pt x="117" y="55"/>
                    </a:cubicBezTo>
                    <a:cubicBezTo>
                      <a:pt x="117" y="55"/>
                      <a:pt x="117" y="55"/>
                      <a:pt x="118" y="55"/>
                    </a:cubicBezTo>
                    <a:cubicBezTo>
                      <a:pt x="124" y="44"/>
                      <a:pt x="131" y="33"/>
                      <a:pt x="141" y="25"/>
                    </a:cubicBezTo>
                    <a:cubicBezTo>
                      <a:pt x="135" y="22"/>
                      <a:pt x="130" y="19"/>
                      <a:pt x="125" y="15"/>
                    </a:cubicBezTo>
                    <a:moveTo>
                      <a:pt x="133" y="0"/>
                    </a:moveTo>
                    <a:cubicBezTo>
                      <a:pt x="132" y="2"/>
                      <a:pt x="131" y="4"/>
                      <a:pt x="130" y="6"/>
                    </a:cubicBezTo>
                    <a:cubicBezTo>
                      <a:pt x="136" y="10"/>
                      <a:pt x="143" y="14"/>
                      <a:pt x="150" y="18"/>
                    </a:cubicBezTo>
                    <a:cubicBezTo>
                      <a:pt x="151" y="17"/>
                      <a:pt x="152" y="16"/>
                      <a:pt x="153" y="15"/>
                    </a:cubicBezTo>
                    <a:cubicBezTo>
                      <a:pt x="155" y="12"/>
                      <a:pt x="155" y="12"/>
                      <a:pt x="155" y="12"/>
                    </a:cubicBezTo>
                    <a:cubicBezTo>
                      <a:pt x="147" y="8"/>
                      <a:pt x="140" y="4"/>
                      <a:pt x="133" y="0"/>
                    </a:cubicBezTo>
                  </a:path>
                </a:pathLst>
              </a:custGeom>
              <a:solidFill>
                <a:srgbClr val="EF827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395" name="Freeform 67">
                <a:extLst>
                  <a:ext uri="{FF2B5EF4-FFF2-40B4-BE49-F238E27FC236}">
                    <a16:creationId xmlns:a16="http://schemas.microsoft.com/office/drawing/2014/main" id="{802022EC-52DD-40EF-BE60-8CBF740A3BF6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2136" y="2125"/>
                <a:ext cx="615" cy="174"/>
              </a:xfrm>
              <a:custGeom>
                <a:avLst/>
                <a:gdLst>
                  <a:gd name="T0" fmla="*/ 2 w 580"/>
                  <a:gd name="T1" fmla="*/ 14 h 165"/>
                  <a:gd name="T2" fmla="*/ 0 w 580"/>
                  <a:gd name="T3" fmla="*/ 18 h 165"/>
                  <a:gd name="T4" fmla="*/ 22 w 580"/>
                  <a:gd name="T5" fmla="*/ 30 h 165"/>
                  <a:gd name="T6" fmla="*/ 22 w 580"/>
                  <a:gd name="T7" fmla="*/ 30 h 165"/>
                  <a:gd name="T8" fmla="*/ 63 w 580"/>
                  <a:gd name="T9" fmla="*/ 51 h 165"/>
                  <a:gd name="T10" fmla="*/ 161 w 580"/>
                  <a:gd name="T11" fmla="*/ 96 h 165"/>
                  <a:gd name="T12" fmla="*/ 241 w 580"/>
                  <a:gd name="T13" fmla="*/ 125 h 165"/>
                  <a:gd name="T14" fmla="*/ 340 w 580"/>
                  <a:gd name="T15" fmla="*/ 146 h 165"/>
                  <a:gd name="T16" fmla="*/ 415 w 580"/>
                  <a:gd name="T17" fmla="*/ 156 h 165"/>
                  <a:gd name="T18" fmla="*/ 469 w 580"/>
                  <a:gd name="T19" fmla="*/ 163 h 165"/>
                  <a:gd name="T20" fmla="*/ 517 w 580"/>
                  <a:gd name="T21" fmla="*/ 165 h 165"/>
                  <a:gd name="T22" fmla="*/ 517 w 580"/>
                  <a:gd name="T23" fmla="*/ 165 h 165"/>
                  <a:gd name="T24" fmla="*/ 518 w 580"/>
                  <a:gd name="T25" fmla="*/ 165 h 165"/>
                  <a:gd name="T26" fmla="*/ 518 w 580"/>
                  <a:gd name="T27" fmla="*/ 165 h 165"/>
                  <a:gd name="T28" fmla="*/ 518 w 580"/>
                  <a:gd name="T29" fmla="*/ 165 h 165"/>
                  <a:gd name="T30" fmla="*/ 555 w 580"/>
                  <a:gd name="T31" fmla="*/ 159 h 165"/>
                  <a:gd name="T32" fmla="*/ 560 w 580"/>
                  <a:gd name="T33" fmla="*/ 156 h 165"/>
                  <a:gd name="T34" fmla="*/ 563 w 580"/>
                  <a:gd name="T35" fmla="*/ 156 h 165"/>
                  <a:gd name="T36" fmla="*/ 568 w 580"/>
                  <a:gd name="T37" fmla="*/ 154 h 165"/>
                  <a:gd name="T38" fmla="*/ 569 w 580"/>
                  <a:gd name="T39" fmla="*/ 154 h 165"/>
                  <a:gd name="T40" fmla="*/ 569 w 580"/>
                  <a:gd name="T41" fmla="*/ 154 h 165"/>
                  <a:gd name="T42" fmla="*/ 569 w 580"/>
                  <a:gd name="T43" fmla="*/ 154 h 165"/>
                  <a:gd name="T44" fmla="*/ 580 w 580"/>
                  <a:gd name="T45" fmla="*/ 150 h 165"/>
                  <a:gd name="T46" fmla="*/ 577 w 580"/>
                  <a:gd name="T47" fmla="*/ 138 h 165"/>
                  <a:gd name="T48" fmla="*/ 483 w 580"/>
                  <a:gd name="T49" fmla="*/ 150 h 165"/>
                  <a:gd name="T50" fmla="*/ 446 w 580"/>
                  <a:gd name="T51" fmla="*/ 148 h 165"/>
                  <a:gd name="T52" fmla="*/ 254 w 580"/>
                  <a:gd name="T53" fmla="*/ 110 h 165"/>
                  <a:gd name="T54" fmla="*/ 2 w 580"/>
                  <a:gd name="T55" fmla="*/ 14 h 165"/>
                  <a:gd name="T56" fmla="*/ 10 w 580"/>
                  <a:gd name="T57" fmla="*/ 0 h 165"/>
                  <a:gd name="T58" fmla="*/ 6 w 580"/>
                  <a:gd name="T59" fmla="*/ 7 h 165"/>
                  <a:gd name="T60" fmla="*/ 74 w 580"/>
                  <a:gd name="T61" fmla="*/ 43 h 165"/>
                  <a:gd name="T62" fmla="*/ 248 w 580"/>
                  <a:gd name="T63" fmla="*/ 102 h 165"/>
                  <a:gd name="T64" fmla="*/ 490 w 580"/>
                  <a:gd name="T65" fmla="*/ 146 h 165"/>
                  <a:gd name="T66" fmla="*/ 577 w 580"/>
                  <a:gd name="T67" fmla="*/ 135 h 165"/>
                  <a:gd name="T68" fmla="*/ 575 w 580"/>
                  <a:gd name="T69" fmla="*/ 130 h 165"/>
                  <a:gd name="T70" fmla="*/ 537 w 580"/>
                  <a:gd name="T71" fmla="*/ 136 h 165"/>
                  <a:gd name="T72" fmla="*/ 483 w 580"/>
                  <a:gd name="T73" fmla="*/ 138 h 165"/>
                  <a:gd name="T74" fmla="*/ 427 w 580"/>
                  <a:gd name="T75" fmla="*/ 134 h 165"/>
                  <a:gd name="T76" fmla="*/ 270 w 580"/>
                  <a:gd name="T77" fmla="*/ 100 h 165"/>
                  <a:gd name="T78" fmla="*/ 119 w 580"/>
                  <a:gd name="T79" fmla="*/ 54 h 165"/>
                  <a:gd name="T80" fmla="*/ 10 w 580"/>
                  <a:gd name="T81" fmla="*/ 0 h 1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580" h="165">
                    <a:moveTo>
                      <a:pt x="2" y="14"/>
                    </a:moveTo>
                    <a:cubicBezTo>
                      <a:pt x="1" y="15"/>
                      <a:pt x="1" y="17"/>
                      <a:pt x="0" y="18"/>
                    </a:cubicBezTo>
                    <a:cubicBezTo>
                      <a:pt x="7" y="22"/>
                      <a:pt x="14" y="26"/>
                      <a:pt x="22" y="30"/>
                    </a:cubicBezTo>
                    <a:cubicBezTo>
                      <a:pt x="22" y="30"/>
                      <a:pt x="22" y="30"/>
                      <a:pt x="22" y="30"/>
                    </a:cubicBezTo>
                    <a:cubicBezTo>
                      <a:pt x="35" y="37"/>
                      <a:pt x="49" y="44"/>
                      <a:pt x="63" y="51"/>
                    </a:cubicBezTo>
                    <a:cubicBezTo>
                      <a:pt x="94" y="67"/>
                      <a:pt x="126" y="82"/>
                      <a:pt x="161" y="96"/>
                    </a:cubicBezTo>
                    <a:cubicBezTo>
                      <a:pt x="188" y="104"/>
                      <a:pt x="214" y="115"/>
                      <a:pt x="241" y="125"/>
                    </a:cubicBezTo>
                    <a:cubicBezTo>
                      <a:pt x="274" y="136"/>
                      <a:pt x="308" y="142"/>
                      <a:pt x="340" y="146"/>
                    </a:cubicBezTo>
                    <a:cubicBezTo>
                      <a:pt x="365" y="152"/>
                      <a:pt x="392" y="153"/>
                      <a:pt x="415" y="156"/>
                    </a:cubicBezTo>
                    <a:cubicBezTo>
                      <a:pt x="432" y="158"/>
                      <a:pt x="451" y="162"/>
                      <a:pt x="469" y="163"/>
                    </a:cubicBezTo>
                    <a:cubicBezTo>
                      <a:pt x="484" y="164"/>
                      <a:pt x="502" y="164"/>
                      <a:pt x="517" y="165"/>
                    </a:cubicBezTo>
                    <a:cubicBezTo>
                      <a:pt x="517" y="165"/>
                      <a:pt x="517" y="165"/>
                      <a:pt x="517" y="165"/>
                    </a:cubicBezTo>
                    <a:cubicBezTo>
                      <a:pt x="517" y="165"/>
                      <a:pt x="518" y="165"/>
                      <a:pt x="518" y="165"/>
                    </a:cubicBezTo>
                    <a:cubicBezTo>
                      <a:pt x="518" y="165"/>
                      <a:pt x="518" y="165"/>
                      <a:pt x="518" y="165"/>
                    </a:cubicBezTo>
                    <a:cubicBezTo>
                      <a:pt x="518" y="165"/>
                      <a:pt x="518" y="165"/>
                      <a:pt x="518" y="165"/>
                    </a:cubicBezTo>
                    <a:cubicBezTo>
                      <a:pt x="530" y="165"/>
                      <a:pt x="542" y="162"/>
                      <a:pt x="555" y="159"/>
                    </a:cubicBezTo>
                    <a:cubicBezTo>
                      <a:pt x="555" y="157"/>
                      <a:pt x="558" y="156"/>
                      <a:pt x="560" y="156"/>
                    </a:cubicBezTo>
                    <a:cubicBezTo>
                      <a:pt x="561" y="156"/>
                      <a:pt x="562" y="156"/>
                      <a:pt x="563" y="156"/>
                    </a:cubicBezTo>
                    <a:cubicBezTo>
                      <a:pt x="565" y="156"/>
                      <a:pt x="567" y="155"/>
                      <a:pt x="568" y="154"/>
                    </a:cubicBezTo>
                    <a:cubicBezTo>
                      <a:pt x="569" y="154"/>
                      <a:pt x="569" y="154"/>
                      <a:pt x="569" y="154"/>
                    </a:cubicBezTo>
                    <a:cubicBezTo>
                      <a:pt x="569" y="154"/>
                      <a:pt x="569" y="154"/>
                      <a:pt x="569" y="154"/>
                    </a:cubicBezTo>
                    <a:cubicBezTo>
                      <a:pt x="569" y="154"/>
                      <a:pt x="569" y="154"/>
                      <a:pt x="569" y="154"/>
                    </a:cubicBezTo>
                    <a:cubicBezTo>
                      <a:pt x="573" y="153"/>
                      <a:pt x="576" y="152"/>
                      <a:pt x="580" y="150"/>
                    </a:cubicBezTo>
                    <a:cubicBezTo>
                      <a:pt x="577" y="138"/>
                      <a:pt x="577" y="138"/>
                      <a:pt x="577" y="138"/>
                    </a:cubicBezTo>
                    <a:cubicBezTo>
                      <a:pt x="547" y="147"/>
                      <a:pt x="515" y="150"/>
                      <a:pt x="483" y="150"/>
                    </a:cubicBezTo>
                    <a:cubicBezTo>
                      <a:pt x="471" y="150"/>
                      <a:pt x="459" y="149"/>
                      <a:pt x="446" y="148"/>
                    </a:cubicBezTo>
                    <a:cubicBezTo>
                      <a:pt x="381" y="144"/>
                      <a:pt x="317" y="126"/>
                      <a:pt x="254" y="110"/>
                    </a:cubicBezTo>
                    <a:cubicBezTo>
                      <a:pt x="168" y="88"/>
                      <a:pt x="79" y="61"/>
                      <a:pt x="2" y="14"/>
                    </a:cubicBezTo>
                    <a:moveTo>
                      <a:pt x="10" y="0"/>
                    </a:moveTo>
                    <a:cubicBezTo>
                      <a:pt x="6" y="7"/>
                      <a:pt x="6" y="7"/>
                      <a:pt x="6" y="7"/>
                    </a:cubicBezTo>
                    <a:cubicBezTo>
                      <a:pt x="28" y="20"/>
                      <a:pt x="51" y="32"/>
                      <a:pt x="74" y="43"/>
                    </a:cubicBezTo>
                    <a:cubicBezTo>
                      <a:pt x="130" y="69"/>
                      <a:pt x="189" y="87"/>
                      <a:pt x="248" y="102"/>
                    </a:cubicBezTo>
                    <a:cubicBezTo>
                      <a:pt x="325" y="122"/>
                      <a:pt x="408" y="146"/>
                      <a:pt x="490" y="146"/>
                    </a:cubicBezTo>
                    <a:cubicBezTo>
                      <a:pt x="519" y="146"/>
                      <a:pt x="548" y="143"/>
                      <a:pt x="577" y="135"/>
                    </a:cubicBezTo>
                    <a:cubicBezTo>
                      <a:pt x="575" y="130"/>
                      <a:pt x="575" y="130"/>
                      <a:pt x="575" y="130"/>
                    </a:cubicBezTo>
                    <a:cubicBezTo>
                      <a:pt x="562" y="134"/>
                      <a:pt x="549" y="135"/>
                      <a:pt x="537" y="136"/>
                    </a:cubicBezTo>
                    <a:cubicBezTo>
                      <a:pt x="518" y="137"/>
                      <a:pt x="501" y="138"/>
                      <a:pt x="483" y="138"/>
                    </a:cubicBezTo>
                    <a:cubicBezTo>
                      <a:pt x="464" y="138"/>
                      <a:pt x="445" y="137"/>
                      <a:pt x="427" y="134"/>
                    </a:cubicBezTo>
                    <a:cubicBezTo>
                      <a:pt x="373" y="127"/>
                      <a:pt x="323" y="114"/>
                      <a:pt x="270" y="100"/>
                    </a:cubicBezTo>
                    <a:cubicBezTo>
                      <a:pt x="220" y="87"/>
                      <a:pt x="168" y="74"/>
                      <a:pt x="119" y="54"/>
                    </a:cubicBezTo>
                    <a:cubicBezTo>
                      <a:pt x="82" y="39"/>
                      <a:pt x="45" y="21"/>
                      <a:pt x="10" y="0"/>
                    </a:cubicBezTo>
                  </a:path>
                </a:pathLst>
              </a:custGeom>
              <a:solidFill>
                <a:srgbClr val="EF827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396" name="Freeform 68">
                <a:extLst>
                  <a:ext uri="{FF2B5EF4-FFF2-40B4-BE49-F238E27FC236}">
                    <a16:creationId xmlns:a16="http://schemas.microsoft.com/office/drawing/2014/main" id="{8BFA61C0-A9C4-4293-B59D-528A381A7B59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1946" y="2121"/>
                <a:ext cx="190" cy="366"/>
              </a:xfrm>
              <a:custGeom>
                <a:avLst/>
                <a:gdLst>
                  <a:gd name="T0" fmla="*/ 171 w 179"/>
                  <a:gd name="T1" fmla="*/ 36 h 345"/>
                  <a:gd name="T2" fmla="*/ 157 w 179"/>
                  <a:gd name="T3" fmla="*/ 62 h 345"/>
                  <a:gd name="T4" fmla="*/ 171 w 179"/>
                  <a:gd name="T5" fmla="*/ 36 h 345"/>
                  <a:gd name="T6" fmla="*/ 171 w 179"/>
                  <a:gd name="T7" fmla="*/ 36 h 345"/>
                  <a:gd name="T8" fmla="*/ 73 w 179"/>
                  <a:gd name="T9" fmla="*/ 170 h 345"/>
                  <a:gd name="T10" fmla="*/ 72 w 179"/>
                  <a:gd name="T11" fmla="*/ 169 h 345"/>
                  <a:gd name="T12" fmla="*/ 78 w 179"/>
                  <a:gd name="T13" fmla="*/ 160 h 345"/>
                  <a:gd name="T14" fmla="*/ 79 w 179"/>
                  <a:gd name="T15" fmla="*/ 160 h 345"/>
                  <a:gd name="T16" fmla="*/ 80 w 179"/>
                  <a:gd name="T17" fmla="*/ 162 h 345"/>
                  <a:gd name="T18" fmla="*/ 76 w 179"/>
                  <a:gd name="T19" fmla="*/ 165 h 345"/>
                  <a:gd name="T20" fmla="*/ 74 w 179"/>
                  <a:gd name="T21" fmla="*/ 169 h 345"/>
                  <a:gd name="T22" fmla="*/ 73 w 179"/>
                  <a:gd name="T23" fmla="*/ 170 h 345"/>
                  <a:gd name="T24" fmla="*/ 85 w 179"/>
                  <a:gd name="T25" fmla="*/ 145 h 345"/>
                  <a:gd name="T26" fmla="*/ 84 w 179"/>
                  <a:gd name="T27" fmla="*/ 145 h 345"/>
                  <a:gd name="T28" fmla="*/ 100 w 179"/>
                  <a:gd name="T29" fmla="*/ 108 h 345"/>
                  <a:gd name="T30" fmla="*/ 121 w 179"/>
                  <a:gd name="T31" fmla="*/ 75 h 345"/>
                  <a:gd name="T32" fmla="*/ 122 w 179"/>
                  <a:gd name="T33" fmla="*/ 75 h 345"/>
                  <a:gd name="T34" fmla="*/ 122 w 179"/>
                  <a:gd name="T35" fmla="*/ 76 h 345"/>
                  <a:gd name="T36" fmla="*/ 102 w 179"/>
                  <a:gd name="T37" fmla="*/ 114 h 345"/>
                  <a:gd name="T38" fmla="*/ 85 w 179"/>
                  <a:gd name="T39" fmla="*/ 145 h 345"/>
                  <a:gd name="T40" fmla="*/ 134 w 179"/>
                  <a:gd name="T41" fmla="*/ 63 h 345"/>
                  <a:gd name="T42" fmla="*/ 133 w 179"/>
                  <a:gd name="T43" fmla="*/ 63 h 345"/>
                  <a:gd name="T44" fmla="*/ 140 w 179"/>
                  <a:gd name="T45" fmla="*/ 51 h 345"/>
                  <a:gd name="T46" fmla="*/ 141 w 179"/>
                  <a:gd name="T47" fmla="*/ 51 h 345"/>
                  <a:gd name="T48" fmla="*/ 134 w 179"/>
                  <a:gd name="T49" fmla="*/ 63 h 345"/>
                  <a:gd name="T50" fmla="*/ 147 w 179"/>
                  <a:gd name="T51" fmla="*/ 42 h 345"/>
                  <a:gd name="T52" fmla="*/ 147 w 179"/>
                  <a:gd name="T53" fmla="*/ 41 h 345"/>
                  <a:gd name="T54" fmla="*/ 156 w 179"/>
                  <a:gd name="T55" fmla="*/ 28 h 345"/>
                  <a:gd name="T56" fmla="*/ 156 w 179"/>
                  <a:gd name="T57" fmla="*/ 27 h 345"/>
                  <a:gd name="T58" fmla="*/ 157 w 179"/>
                  <a:gd name="T59" fmla="*/ 29 h 345"/>
                  <a:gd name="T60" fmla="*/ 147 w 179"/>
                  <a:gd name="T61" fmla="*/ 42 h 345"/>
                  <a:gd name="T62" fmla="*/ 146 w 179"/>
                  <a:gd name="T63" fmla="*/ 19 h 345"/>
                  <a:gd name="T64" fmla="*/ 124 w 179"/>
                  <a:gd name="T65" fmla="*/ 56 h 345"/>
                  <a:gd name="T66" fmla="*/ 112 w 179"/>
                  <a:gd name="T67" fmla="*/ 75 h 345"/>
                  <a:gd name="T68" fmla="*/ 110 w 179"/>
                  <a:gd name="T69" fmla="*/ 78 h 345"/>
                  <a:gd name="T70" fmla="*/ 64 w 179"/>
                  <a:gd name="T71" fmla="*/ 148 h 345"/>
                  <a:gd name="T72" fmla="*/ 51 w 179"/>
                  <a:gd name="T73" fmla="*/ 178 h 345"/>
                  <a:gd name="T74" fmla="*/ 40 w 179"/>
                  <a:gd name="T75" fmla="*/ 209 h 345"/>
                  <a:gd name="T76" fmla="*/ 28 w 179"/>
                  <a:gd name="T77" fmla="*/ 253 h 345"/>
                  <a:gd name="T78" fmla="*/ 19 w 179"/>
                  <a:gd name="T79" fmla="*/ 295 h 345"/>
                  <a:gd name="T80" fmla="*/ 12 w 179"/>
                  <a:gd name="T81" fmla="*/ 315 h 345"/>
                  <a:gd name="T82" fmla="*/ 4 w 179"/>
                  <a:gd name="T83" fmla="*/ 337 h 345"/>
                  <a:gd name="T84" fmla="*/ 0 w 179"/>
                  <a:gd name="T85" fmla="*/ 345 h 345"/>
                  <a:gd name="T86" fmla="*/ 14 w 179"/>
                  <a:gd name="T87" fmla="*/ 322 h 345"/>
                  <a:gd name="T88" fmla="*/ 87 w 179"/>
                  <a:gd name="T89" fmla="*/ 172 h 345"/>
                  <a:gd name="T90" fmla="*/ 165 w 179"/>
                  <a:gd name="T91" fmla="*/ 32 h 345"/>
                  <a:gd name="T92" fmla="*/ 146 w 179"/>
                  <a:gd name="T93" fmla="*/ 19 h 345"/>
                  <a:gd name="T94" fmla="*/ 152 w 179"/>
                  <a:gd name="T95" fmla="*/ 0 h 345"/>
                  <a:gd name="T96" fmla="*/ 151 w 179"/>
                  <a:gd name="T97" fmla="*/ 1 h 345"/>
                  <a:gd name="T98" fmla="*/ 149 w 179"/>
                  <a:gd name="T99" fmla="*/ 8 h 345"/>
                  <a:gd name="T100" fmla="*/ 155 w 179"/>
                  <a:gd name="T101" fmla="*/ 13 h 345"/>
                  <a:gd name="T102" fmla="*/ 170 w 179"/>
                  <a:gd name="T103" fmla="*/ 23 h 345"/>
                  <a:gd name="T104" fmla="*/ 172 w 179"/>
                  <a:gd name="T105" fmla="*/ 22 h 345"/>
                  <a:gd name="T106" fmla="*/ 176 w 179"/>
                  <a:gd name="T107" fmla="*/ 26 h 345"/>
                  <a:gd name="T108" fmla="*/ 175 w 179"/>
                  <a:gd name="T109" fmla="*/ 27 h 345"/>
                  <a:gd name="T110" fmla="*/ 176 w 179"/>
                  <a:gd name="T111" fmla="*/ 27 h 345"/>
                  <a:gd name="T112" fmla="*/ 179 w 179"/>
                  <a:gd name="T113" fmla="*/ 21 h 345"/>
                  <a:gd name="T114" fmla="*/ 172 w 179"/>
                  <a:gd name="T115" fmla="*/ 17 h 345"/>
                  <a:gd name="T116" fmla="*/ 152 w 179"/>
                  <a:gd name="T117" fmla="*/ 0 h 3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179" h="345">
                    <a:moveTo>
                      <a:pt x="171" y="36"/>
                    </a:moveTo>
                    <a:cubicBezTo>
                      <a:pt x="166" y="45"/>
                      <a:pt x="162" y="53"/>
                      <a:pt x="157" y="62"/>
                    </a:cubicBezTo>
                    <a:cubicBezTo>
                      <a:pt x="162" y="53"/>
                      <a:pt x="166" y="45"/>
                      <a:pt x="171" y="36"/>
                    </a:cubicBezTo>
                    <a:cubicBezTo>
                      <a:pt x="171" y="36"/>
                      <a:pt x="171" y="36"/>
                      <a:pt x="171" y="36"/>
                    </a:cubicBezTo>
                    <a:moveTo>
                      <a:pt x="73" y="170"/>
                    </a:moveTo>
                    <a:cubicBezTo>
                      <a:pt x="72" y="170"/>
                      <a:pt x="72" y="170"/>
                      <a:pt x="72" y="169"/>
                    </a:cubicBezTo>
                    <a:cubicBezTo>
                      <a:pt x="72" y="165"/>
                      <a:pt x="75" y="162"/>
                      <a:pt x="78" y="160"/>
                    </a:cubicBezTo>
                    <a:cubicBezTo>
                      <a:pt x="78" y="160"/>
                      <a:pt x="79" y="160"/>
                      <a:pt x="79" y="160"/>
                    </a:cubicBezTo>
                    <a:cubicBezTo>
                      <a:pt x="80" y="160"/>
                      <a:pt x="81" y="162"/>
                      <a:pt x="80" y="162"/>
                    </a:cubicBezTo>
                    <a:cubicBezTo>
                      <a:pt x="79" y="163"/>
                      <a:pt x="77" y="164"/>
                      <a:pt x="76" y="165"/>
                    </a:cubicBezTo>
                    <a:cubicBezTo>
                      <a:pt x="75" y="166"/>
                      <a:pt x="75" y="168"/>
                      <a:pt x="74" y="169"/>
                    </a:cubicBezTo>
                    <a:cubicBezTo>
                      <a:pt x="74" y="170"/>
                      <a:pt x="73" y="170"/>
                      <a:pt x="73" y="170"/>
                    </a:cubicBezTo>
                    <a:moveTo>
                      <a:pt x="85" y="145"/>
                    </a:moveTo>
                    <a:cubicBezTo>
                      <a:pt x="84" y="145"/>
                      <a:pt x="84" y="145"/>
                      <a:pt x="84" y="145"/>
                    </a:cubicBezTo>
                    <a:cubicBezTo>
                      <a:pt x="87" y="131"/>
                      <a:pt x="93" y="120"/>
                      <a:pt x="100" y="108"/>
                    </a:cubicBezTo>
                    <a:cubicBezTo>
                      <a:pt x="106" y="96"/>
                      <a:pt x="112" y="85"/>
                      <a:pt x="121" y="75"/>
                    </a:cubicBezTo>
                    <a:cubicBezTo>
                      <a:pt x="122" y="75"/>
                      <a:pt x="122" y="75"/>
                      <a:pt x="122" y="75"/>
                    </a:cubicBezTo>
                    <a:cubicBezTo>
                      <a:pt x="122" y="75"/>
                      <a:pt x="123" y="76"/>
                      <a:pt x="122" y="76"/>
                    </a:cubicBezTo>
                    <a:cubicBezTo>
                      <a:pt x="112" y="89"/>
                      <a:pt x="109" y="100"/>
                      <a:pt x="102" y="114"/>
                    </a:cubicBezTo>
                    <a:cubicBezTo>
                      <a:pt x="96" y="124"/>
                      <a:pt x="89" y="134"/>
                      <a:pt x="85" y="145"/>
                    </a:cubicBezTo>
                    <a:moveTo>
                      <a:pt x="134" y="63"/>
                    </a:moveTo>
                    <a:cubicBezTo>
                      <a:pt x="133" y="63"/>
                      <a:pt x="133" y="63"/>
                      <a:pt x="133" y="63"/>
                    </a:cubicBezTo>
                    <a:cubicBezTo>
                      <a:pt x="134" y="58"/>
                      <a:pt x="137" y="55"/>
                      <a:pt x="140" y="51"/>
                    </a:cubicBezTo>
                    <a:cubicBezTo>
                      <a:pt x="141" y="51"/>
                      <a:pt x="141" y="51"/>
                      <a:pt x="141" y="51"/>
                    </a:cubicBezTo>
                    <a:cubicBezTo>
                      <a:pt x="138" y="55"/>
                      <a:pt x="135" y="58"/>
                      <a:pt x="134" y="63"/>
                    </a:cubicBezTo>
                    <a:moveTo>
                      <a:pt x="147" y="42"/>
                    </a:moveTo>
                    <a:cubicBezTo>
                      <a:pt x="147" y="41"/>
                      <a:pt x="147" y="41"/>
                      <a:pt x="147" y="41"/>
                    </a:cubicBezTo>
                    <a:cubicBezTo>
                      <a:pt x="149" y="36"/>
                      <a:pt x="153" y="32"/>
                      <a:pt x="156" y="28"/>
                    </a:cubicBezTo>
                    <a:cubicBezTo>
                      <a:pt x="156" y="27"/>
                      <a:pt x="156" y="27"/>
                      <a:pt x="156" y="27"/>
                    </a:cubicBezTo>
                    <a:cubicBezTo>
                      <a:pt x="157" y="27"/>
                      <a:pt x="157" y="28"/>
                      <a:pt x="157" y="29"/>
                    </a:cubicBezTo>
                    <a:cubicBezTo>
                      <a:pt x="153" y="33"/>
                      <a:pt x="150" y="37"/>
                      <a:pt x="147" y="42"/>
                    </a:cubicBezTo>
                    <a:moveTo>
                      <a:pt x="146" y="19"/>
                    </a:moveTo>
                    <a:cubicBezTo>
                      <a:pt x="140" y="32"/>
                      <a:pt x="132" y="44"/>
                      <a:pt x="124" y="56"/>
                    </a:cubicBezTo>
                    <a:cubicBezTo>
                      <a:pt x="120" y="63"/>
                      <a:pt x="116" y="69"/>
                      <a:pt x="112" y="75"/>
                    </a:cubicBezTo>
                    <a:cubicBezTo>
                      <a:pt x="111" y="76"/>
                      <a:pt x="111" y="77"/>
                      <a:pt x="110" y="78"/>
                    </a:cubicBezTo>
                    <a:cubicBezTo>
                      <a:pt x="99" y="102"/>
                      <a:pt x="78" y="124"/>
                      <a:pt x="64" y="148"/>
                    </a:cubicBezTo>
                    <a:cubicBezTo>
                      <a:pt x="60" y="158"/>
                      <a:pt x="55" y="168"/>
                      <a:pt x="51" y="178"/>
                    </a:cubicBezTo>
                    <a:cubicBezTo>
                      <a:pt x="47" y="188"/>
                      <a:pt x="42" y="198"/>
                      <a:pt x="40" y="209"/>
                    </a:cubicBezTo>
                    <a:cubicBezTo>
                      <a:pt x="37" y="223"/>
                      <a:pt x="31" y="238"/>
                      <a:pt x="28" y="253"/>
                    </a:cubicBezTo>
                    <a:cubicBezTo>
                      <a:pt x="25" y="267"/>
                      <a:pt x="22" y="282"/>
                      <a:pt x="19" y="295"/>
                    </a:cubicBezTo>
                    <a:cubicBezTo>
                      <a:pt x="18" y="301"/>
                      <a:pt x="14" y="307"/>
                      <a:pt x="12" y="315"/>
                    </a:cubicBezTo>
                    <a:cubicBezTo>
                      <a:pt x="11" y="321"/>
                      <a:pt x="7" y="329"/>
                      <a:pt x="4" y="337"/>
                    </a:cubicBezTo>
                    <a:cubicBezTo>
                      <a:pt x="3" y="339"/>
                      <a:pt x="2" y="342"/>
                      <a:pt x="0" y="345"/>
                    </a:cubicBezTo>
                    <a:cubicBezTo>
                      <a:pt x="6" y="337"/>
                      <a:pt x="11" y="329"/>
                      <a:pt x="14" y="322"/>
                    </a:cubicBezTo>
                    <a:cubicBezTo>
                      <a:pt x="41" y="273"/>
                      <a:pt x="61" y="221"/>
                      <a:pt x="87" y="172"/>
                    </a:cubicBezTo>
                    <a:cubicBezTo>
                      <a:pt x="113" y="125"/>
                      <a:pt x="140" y="80"/>
                      <a:pt x="165" y="32"/>
                    </a:cubicBezTo>
                    <a:cubicBezTo>
                      <a:pt x="158" y="28"/>
                      <a:pt x="152" y="23"/>
                      <a:pt x="146" y="19"/>
                    </a:cubicBezTo>
                    <a:moveTo>
                      <a:pt x="152" y="0"/>
                    </a:moveTo>
                    <a:cubicBezTo>
                      <a:pt x="151" y="1"/>
                      <a:pt x="151" y="1"/>
                      <a:pt x="151" y="1"/>
                    </a:cubicBezTo>
                    <a:cubicBezTo>
                      <a:pt x="151" y="4"/>
                      <a:pt x="150" y="6"/>
                      <a:pt x="149" y="8"/>
                    </a:cubicBezTo>
                    <a:cubicBezTo>
                      <a:pt x="151" y="10"/>
                      <a:pt x="153" y="12"/>
                      <a:pt x="155" y="13"/>
                    </a:cubicBezTo>
                    <a:cubicBezTo>
                      <a:pt x="160" y="17"/>
                      <a:pt x="165" y="20"/>
                      <a:pt x="170" y="23"/>
                    </a:cubicBezTo>
                    <a:cubicBezTo>
                      <a:pt x="170" y="22"/>
                      <a:pt x="171" y="22"/>
                      <a:pt x="172" y="22"/>
                    </a:cubicBezTo>
                    <a:cubicBezTo>
                      <a:pt x="175" y="22"/>
                      <a:pt x="177" y="24"/>
                      <a:pt x="176" y="26"/>
                    </a:cubicBezTo>
                    <a:cubicBezTo>
                      <a:pt x="176" y="27"/>
                      <a:pt x="175" y="27"/>
                      <a:pt x="175" y="27"/>
                    </a:cubicBezTo>
                    <a:cubicBezTo>
                      <a:pt x="175" y="27"/>
                      <a:pt x="176" y="27"/>
                      <a:pt x="176" y="27"/>
                    </a:cubicBezTo>
                    <a:cubicBezTo>
                      <a:pt x="177" y="25"/>
                      <a:pt x="178" y="23"/>
                      <a:pt x="179" y="21"/>
                    </a:cubicBezTo>
                    <a:cubicBezTo>
                      <a:pt x="177" y="19"/>
                      <a:pt x="175" y="18"/>
                      <a:pt x="172" y="17"/>
                    </a:cubicBezTo>
                    <a:cubicBezTo>
                      <a:pt x="165" y="12"/>
                      <a:pt x="159" y="6"/>
                      <a:pt x="152" y="0"/>
                    </a:cubicBezTo>
                  </a:path>
                </a:pathLst>
              </a:custGeom>
              <a:solidFill>
                <a:srgbClr val="EF827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397" name="Freeform 69">
                <a:extLst>
                  <a:ext uri="{FF2B5EF4-FFF2-40B4-BE49-F238E27FC236}">
                    <a16:creationId xmlns:a16="http://schemas.microsoft.com/office/drawing/2014/main" id="{165C30DE-3C56-4C11-8443-3E7B51C7C2AD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2739" y="2275"/>
                <a:ext cx="76" cy="456"/>
              </a:xfrm>
              <a:custGeom>
                <a:avLst/>
                <a:gdLst>
                  <a:gd name="T0" fmla="*/ 12 w 72"/>
                  <a:gd name="T1" fmla="*/ 256 h 431"/>
                  <a:gd name="T2" fmla="*/ 12 w 72"/>
                  <a:gd name="T3" fmla="*/ 255 h 431"/>
                  <a:gd name="T4" fmla="*/ 23 w 72"/>
                  <a:gd name="T5" fmla="*/ 137 h 431"/>
                  <a:gd name="T6" fmla="*/ 18 w 72"/>
                  <a:gd name="T7" fmla="*/ 76 h 431"/>
                  <a:gd name="T8" fmla="*/ 12 w 72"/>
                  <a:gd name="T9" fmla="*/ 26 h 431"/>
                  <a:gd name="T10" fmla="*/ 13 w 72"/>
                  <a:gd name="T11" fmla="*/ 24 h 431"/>
                  <a:gd name="T12" fmla="*/ 15 w 72"/>
                  <a:gd name="T13" fmla="*/ 26 h 431"/>
                  <a:gd name="T14" fmla="*/ 23 w 72"/>
                  <a:gd name="T15" fmla="*/ 137 h 431"/>
                  <a:gd name="T16" fmla="*/ 13 w 72"/>
                  <a:gd name="T17" fmla="*/ 255 h 431"/>
                  <a:gd name="T18" fmla="*/ 12 w 72"/>
                  <a:gd name="T19" fmla="*/ 256 h 431"/>
                  <a:gd name="T20" fmla="*/ 34 w 72"/>
                  <a:gd name="T21" fmla="*/ 11 h 431"/>
                  <a:gd name="T22" fmla="*/ 14 w 72"/>
                  <a:gd name="T23" fmla="*/ 18 h 431"/>
                  <a:gd name="T24" fmla="*/ 2 w 72"/>
                  <a:gd name="T25" fmla="*/ 21 h 431"/>
                  <a:gd name="T26" fmla="*/ 10 w 72"/>
                  <a:gd name="T27" fmla="*/ 65 h 431"/>
                  <a:gd name="T28" fmla="*/ 12 w 72"/>
                  <a:gd name="T29" fmla="*/ 110 h 431"/>
                  <a:gd name="T30" fmla="*/ 4 w 72"/>
                  <a:gd name="T31" fmla="*/ 254 h 431"/>
                  <a:gd name="T32" fmla="*/ 4 w 72"/>
                  <a:gd name="T33" fmla="*/ 265 h 431"/>
                  <a:gd name="T34" fmla="*/ 6 w 72"/>
                  <a:gd name="T35" fmla="*/ 322 h 431"/>
                  <a:gd name="T36" fmla="*/ 6 w 72"/>
                  <a:gd name="T37" fmla="*/ 322 h 431"/>
                  <a:gd name="T38" fmla="*/ 6 w 72"/>
                  <a:gd name="T39" fmla="*/ 322 h 431"/>
                  <a:gd name="T40" fmla="*/ 11 w 72"/>
                  <a:gd name="T41" fmla="*/ 355 h 431"/>
                  <a:gd name="T42" fmla="*/ 14 w 72"/>
                  <a:gd name="T43" fmla="*/ 369 h 431"/>
                  <a:gd name="T44" fmla="*/ 11 w 72"/>
                  <a:gd name="T45" fmla="*/ 334 h 431"/>
                  <a:gd name="T46" fmla="*/ 9 w 72"/>
                  <a:gd name="T47" fmla="*/ 294 h 431"/>
                  <a:gd name="T48" fmla="*/ 10 w 72"/>
                  <a:gd name="T49" fmla="*/ 293 h 431"/>
                  <a:gd name="T50" fmla="*/ 12 w 72"/>
                  <a:gd name="T51" fmla="*/ 295 h 431"/>
                  <a:gd name="T52" fmla="*/ 16 w 72"/>
                  <a:gd name="T53" fmla="*/ 337 h 431"/>
                  <a:gd name="T54" fmla="*/ 19 w 72"/>
                  <a:gd name="T55" fmla="*/ 373 h 431"/>
                  <a:gd name="T56" fmla="*/ 33 w 72"/>
                  <a:gd name="T57" fmla="*/ 410 h 431"/>
                  <a:gd name="T58" fmla="*/ 39 w 72"/>
                  <a:gd name="T59" fmla="*/ 416 h 431"/>
                  <a:gd name="T60" fmla="*/ 42 w 72"/>
                  <a:gd name="T61" fmla="*/ 418 h 431"/>
                  <a:gd name="T62" fmla="*/ 31 w 72"/>
                  <a:gd name="T63" fmla="*/ 375 h 431"/>
                  <a:gd name="T64" fmla="*/ 31 w 72"/>
                  <a:gd name="T65" fmla="*/ 246 h 431"/>
                  <a:gd name="T66" fmla="*/ 38 w 72"/>
                  <a:gd name="T67" fmla="*/ 94 h 431"/>
                  <a:gd name="T68" fmla="*/ 34 w 72"/>
                  <a:gd name="T69" fmla="*/ 11 h 431"/>
                  <a:gd name="T70" fmla="*/ 44 w 72"/>
                  <a:gd name="T71" fmla="*/ 7 h 431"/>
                  <a:gd name="T72" fmla="*/ 41 w 72"/>
                  <a:gd name="T73" fmla="*/ 8 h 431"/>
                  <a:gd name="T74" fmla="*/ 39 w 72"/>
                  <a:gd name="T75" fmla="*/ 68 h 431"/>
                  <a:gd name="T76" fmla="*/ 42 w 72"/>
                  <a:gd name="T77" fmla="*/ 129 h 431"/>
                  <a:gd name="T78" fmla="*/ 37 w 72"/>
                  <a:gd name="T79" fmla="*/ 239 h 431"/>
                  <a:gd name="T80" fmla="*/ 35 w 72"/>
                  <a:gd name="T81" fmla="*/ 349 h 431"/>
                  <a:gd name="T82" fmla="*/ 58 w 72"/>
                  <a:gd name="T83" fmla="*/ 428 h 431"/>
                  <a:gd name="T84" fmla="*/ 72 w 72"/>
                  <a:gd name="T85" fmla="*/ 431 h 431"/>
                  <a:gd name="T86" fmla="*/ 42 w 72"/>
                  <a:gd name="T87" fmla="*/ 362 h 431"/>
                  <a:gd name="T88" fmla="*/ 39 w 72"/>
                  <a:gd name="T89" fmla="*/ 306 h 431"/>
                  <a:gd name="T90" fmla="*/ 40 w 72"/>
                  <a:gd name="T91" fmla="*/ 279 h 431"/>
                  <a:gd name="T92" fmla="*/ 48 w 72"/>
                  <a:gd name="T93" fmla="*/ 173 h 431"/>
                  <a:gd name="T94" fmla="*/ 49 w 72"/>
                  <a:gd name="T95" fmla="*/ 121 h 431"/>
                  <a:gd name="T96" fmla="*/ 47 w 72"/>
                  <a:gd name="T97" fmla="*/ 67 h 431"/>
                  <a:gd name="T98" fmla="*/ 42 w 72"/>
                  <a:gd name="T99" fmla="*/ 25 h 431"/>
                  <a:gd name="T100" fmla="*/ 44 w 72"/>
                  <a:gd name="T101" fmla="*/ 9 h 431"/>
                  <a:gd name="T102" fmla="*/ 44 w 72"/>
                  <a:gd name="T103" fmla="*/ 7 h 431"/>
                  <a:gd name="T104" fmla="*/ 43 w 72"/>
                  <a:gd name="T105" fmla="*/ 0 h 431"/>
                  <a:gd name="T106" fmla="*/ 16 w 72"/>
                  <a:gd name="T107" fmla="*/ 7 h 431"/>
                  <a:gd name="T108" fmla="*/ 11 w 72"/>
                  <a:gd name="T109" fmla="*/ 8 h 431"/>
                  <a:gd name="T110" fmla="*/ 11 w 72"/>
                  <a:gd name="T111" fmla="*/ 8 h 431"/>
                  <a:gd name="T112" fmla="*/ 0 w 72"/>
                  <a:gd name="T113" fmla="*/ 12 h 431"/>
                  <a:gd name="T114" fmla="*/ 0 w 72"/>
                  <a:gd name="T115" fmla="*/ 13 h 431"/>
                  <a:gd name="T116" fmla="*/ 6 w 72"/>
                  <a:gd name="T117" fmla="*/ 12 h 431"/>
                  <a:gd name="T118" fmla="*/ 43 w 72"/>
                  <a:gd name="T119" fmla="*/ 0 h 4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72" h="431">
                    <a:moveTo>
                      <a:pt x="12" y="256"/>
                    </a:moveTo>
                    <a:cubicBezTo>
                      <a:pt x="12" y="256"/>
                      <a:pt x="12" y="256"/>
                      <a:pt x="12" y="255"/>
                    </a:cubicBezTo>
                    <a:cubicBezTo>
                      <a:pt x="14" y="216"/>
                      <a:pt x="22" y="176"/>
                      <a:pt x="23" y="137"/>
                    </a:cubicBezTo>
                    <a:cubicBezTo>
                      <a:pt x="23" y="117"/>
                      <a:pt x="20" y="96"/>
                      <a:pt x="18" y="76"/>
                    </a:cubicBezTo>
                    <a:cubicBezTo>
                      <a:pt x="17" y="59"/>
                      <a:pt x="12" y="43"/>
                      <a:pt x="12" y="26"/>
                    </a:cubicBezTo>
                    <a:cubicBezTo>
                      <a:pt x="12" y="25"/>
                      <a:pt x="13" y="24"/>
                      <a:pt x="13" y="24"/>
                    </a:cubicBezTo>
                    <a:cubicBezTo>
                      <a:pt x="14" y="24"/>
                      <a:pt x="15" y="25"/>
                      <a:pt x="15" y="26"/>
                    </a:cubicBezTo>
                    <a:cubicBezTo>
                      <a:pt x="17" y="63"/>
                      <a:pt x="24" y="100"/>
                      <a:pt x="23" y="137"/>
                    </a:cubicBezTo>
                    <a:cubicBezTo>
                      <a:pt x="23" y="177"/>
                      <a:pt x="17" y="216"/>
                      <a:pt x="13" y="255"/>
                    </a:cubicBezTo>
                    <a:cubicBezTo>
                      <a:pt x="13" y="256"/>
                      <a:pt x="13" y="256"/>
                      <a:pt x="12" y="256"/>
                    </a:cubicBezTo>
                    <a:moveTo>
                      <a:pt x="34" y="11"/>
                    </a:moveTo>
                    <a:cubicBezTo>
                      <a:pt x="27" y="14"/>
                      <a:pt x="21" y="16"/>
                      <a:pt x="14" y="18"/>
                    </a:cubicBezTo>
                    <a:cubicBezTo>
                      <a:pt x="10" y="19"/>
                      <a:pt x="6" y="20"/>
                      <a:pt x="2" y="21"/>
                    </a:cubicBezTo>
                    <a:cubicBezTo>
                      <a:pt x="6" y="36"/>
                      <a:pt x="9" y="51"/>
                      <a:pt x="10" y="65"/>
                    </a:cubicBezTo>
                    <a:cubicBezTo>
                      <a:pt x="11" y="80"/>
                      <a:pt x="12" y="95"/>
                      <a:pt x="12" y="110"/>
                    </a:cubicBezTo>
                    <a:cubicBezTo>
                      <a:pt x="12" y="159"/>
                      <a:pt x="6" y="207"/>
                      <a:pt x="4" y="254"/>
                    </a:cubicBezTo>
                    <a:cubicBezTo>
                      <a:pt x="4" y="258"/>
                      <a:pt x="4" y="262"/>
                      <a:pt x="4" y="265"/>
                    </a:cubicBezTo>
                    <a:cubicBezTo>
                      <a:pt x="4" y="284"/>
                      <a:pt x="5" y="303"/>
                      <a:pt x="6" y="322"/>
                    </a:cubicBezTo>
                    <a:cubicBezTo>
                      <a:pt x="6" y="322"/>
                      <a:pt x="6" y="322"/>
                      <a:pt x="6" y="322"/>
                    </a:cubicBezTo>
                    <a:cubicBezTo>
                      <a:pt x="6" y="322"/>
                      <a:pt x="6" y="322"/>
                      <a:pt x="6" y="322"/>
                    </a:cubicBezTo>
                    <a:cubicBezTo>
                      <a:pt x="7" y="333"/>
                      <a:pt x="9" y="344"/>
                      <a:pt x="11" y="355"/>
                    </a:cubicBezTo>
                    <a:cubicBezTo>
                      <a:pt x="12" y="359"/>
                      <a:pt x="13" y="364"/>
                      <a:pt x="14" y="369"/>
                    </a:cubicBezTo>
                    <a:cubicBezTo>
                      <a:pt x="12" y="357"/>
                      <a:pt x="12" y="346"/>
                      <a:pt x="11" y="334"/>
                    </a:cubicBezTo>
                    <a:cubicBezTo>
                      <a:pt x="10" y="321"/>
                      <a:pt x="7" y="308"/>
                      <a:pt x="9" y="294"/>
                    </a:cubicBezTo>
                    <a:cubicBezTo>
                      <a:pt x="9" y="294"/>
                      <a:pt x="10" y="293"/>
                      <a:pt x="10" y="293"/>
                    </a:cubicBezTo>
                    <a:cubicBezTo>
                      <a:pt x="11" y="293"/>
                      <a:pt x="12" y="294"/>
                      <a:pt x="12" y="295"/>
                    </a:cubicBezTo>
                    <a:cubicBezTo>
                      <a:pt x="11" y="309"/>
                      <a:pt x="14" y="323"/>
                      <a:pt x="16" y="337"/>
                    </a:cubicBezTo>
                    <a:cubicBezTo>
                      <a:pt x="17" y="349"/>
                      <a:pt x="17" y="361"/>
                      <a:pt x="19" y="373"/>
                    </a:cubicBezTo>
                    <a:cubicBezTo>
                      <a:pt x="22" y="386"/>
                      <a:pt x="27" y="398"/>
                      <a:pt x="33" y="410"/>
                    </a:cubicBezTo>
                    <a:cubicBezTo>
                      <a:pt x="35" y="412"/>
                      <a:pt x="37" y="414"/>
                      <a:pt x="39" y="416"/>
                    </a:cubicBezTo>
                    <a:cubicBezTo>
                      <a:pt x="40" y="417"/>
                      <a:pt x="41" y="418"/>
                      <a:pt x="42" y="418"/>
                    </a:cubicBezTo>
                    <a:cubicBezTo>
                      <a:pt x="35" y="404"/>
                      <a:pt x="32" y="388"/>
                      <a:pt x="31" y="375"/>
                    </a:cubicBezTo>
                    <a:cubicBezTo>
                      <a:pt x="26" y="332"/>
                      <a:pt x="28" y="289"/>
                      <a:pt x="31" y="246"/>
                    </a:cubicBezTo>
                    <a:cubicBezTo>
                      <a:pt x="35" y="195"/>
                      <a:pt x="40" y="145"/>
                      <a:pt x="38" y="94"/>
                    </a:cubicBezTo>
                    <a:cubicBezTo>
                      <a:pt x="37" y="75"/>
                      <a:pt x="23" y="33"/>
                      <a:pt x="34" y="11"/>
                    </a:cubicBezTo>
                    <a:moveTo>
                      <a:pt x="44" y="7"/>
                    </a:moveTo>
                    <a:cubicBezTo>
                      <a:pt x="43" y="7"/>
                      <a:pt x="42" y="8"/>
                      <a:pt x="41" y="8"/>
                    </a:cubicBezTo>
                    <a:cubicBezTo>
                      <a:pt x="31" y="24"/>
                      <a:pt x="38" y="52"/>
                      <a:pt x="39" y="68"/>
                    </a:cubicBezTo>
                    <a:cubicBezTo>
                      <a:pt x="41" y="88"/>
                      <a:pt x="42" y="108"/>
                      <a:pt x="42" y="129"/>
                    </a:cubicBezTo>
                    <a:cubicBezTo>
                      <a:pt x="43" y="166"/>
                      <a:pt x="40" y="202"/>
                      <a:pt x="37" y="239"/>
                    </a:cubicBezTo>
                    <a:cubicBezTo>
                      <a:pt x="34" y="275"/>
                      <a:pt x="33" y="312"/>
                      <a:pt x="35" y="349"/>
                    </a:cubicBezTo>
                    <a:cubicBezTo>
                      <a:pt x="37" y="378"/>
                      <a:pt x="40" y="406"/>
                      <a:pt x="58" y="428"/>
                    </a:cubicBezTo>
                    <a:cubicBezTo>
                      <a:pt x="62" y="430"/>
                      <a:pt x="67" y="431"/>
                      <a:pt x="72" y="431"/>
                    </a:cubicBezTo>
                    <a:cubicBezTo>
                      <a:pt x="52" y="417"/>
                      <a:pt x="44" y="383"/>
                      <a:pt x="42" y="362"/>
                    </a:cubicBezTo>
                    <a:cubicBezTo>
                      <a:pt x="41" y="342"/>
                      <a:pt x="39" y="324"/>
                      <a:pt x="39" y="306"/>
                    </a:cubicBezTo>
                    <a:cubicBezTo>
                      <a:pt x="39" y="297"/>
                      <a:pt x="40" y="288"/>
                      <a:pt x="40" y="279"/>
                    </a:cubicBezTo>
                    <a:cubicBezTo>
                      <a:pt x="41" y="244"/>
                      <a:pt x="45" y="208"/>
                      <a:pt x="48" y="173"/>
                    </a:cubicBezTo>
                    <a:cubicBezTo>
                      <a:pt x="49" y="156"/>
                      <a:pt x="49" y="138"/>
                      <a:pt x="49" y="121"/>
                    </a:cubicBezTo>
                    <a:cubicBezTo>
                      <a:pt x="49" y="103"/>
                      <a:pt x="48" y="85"/>
                      <a:pt x="47" y="67"/>
                    </a:cubicBezTo>
                    <a:cubicBezTo>
                      <a:pt x="45" y="52"/>
                      <a:pt x="42" y="38"/>
                      <a:pt x="42" y="25"/>
                    </a:cubicBezTo>
                    <a:cubicBezTo>
                      <a:pt x="42" y="19"/>
                      <a:pt x="43" y="14"/>
                      <a:pt x="44" y="9"/>
                    </a:cubicBezTo>
                    <a:cubicBezTo>
                      <a:pt x="44" y="8"/>
                      <a:pt x="44" y="7"/>
                      <a:pt x="44" y="7"/>
                    </a:cubicBezTo>
                    <a:moveTo>
                      <a:pt x="43" y="0"/>
                    </a:moveTo>
                    <a:cubicBezTo>
                      <a:pt x="34" y="3"/>
                      <a:pt x="25" y="5"/>
                      <a:pt x="16" y="7"/>
                    </a:cubicBezTo>
                    <a:cubicBezTo>
                      <a:pt x="14" y="7"/>
                      <a:pt x="13" y="8"/>
                      <a:pt x="11" y="8"/>
                    </a:cubicBezTo>
                    <a:cubicBezTo>
                      <a:pt x="11" y="8"/>
                      <a:pt x="11" y="8"/>
                      <a:pt x="11" y="8"/>
                    </a:cubicBezTo>
                    <a:cubicBezTo>
                      <a:pt x="7" y="10"/>
                      <a:pt x="4" y="11"/>
                      <a:pt x="0" y="12"/>
                    </a:cubicBezTo>
                    <a:cubicBezTo>
                      <a:pt x="0" y="13"/>
                      <a:pt x="0" y="13"/>
                      <a:pt x="0" y="13"/>
                    </a:cubicBezTo>
                    <a:cubicBezTo>
                      <a:pt x="2" y="13"/>
                      <a:pt x="4" y="12"/>
                      <a:pt x="6" y="12"/>
                    </a:cubicBezTo>
                    <a:cubicBezTo>
                      <a:pt x="20" y="8"/>
                      <a:pt x="31" y="6"/>
                      <a:pt x="43" y="0"/>
                    </a:cubicBezTo>
                  </a:path>
                </a:pathLst>
              </a:custGeom>
              <a:solidFill>
                <a:srgbClr val="EF827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398" name="Freeform 70">
                <a:extLst>
                  <a:ext uri="{FF2B5EF4-FFF2-40B4-BE49-F238E27FC236}">
                    <a16:creationId xmlns:a16="http://schemas.microsoft.com/office/drawing/2014/main" id="{E26BE3D6-E55B-4C3E-BD8B-16939B07DBAE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2128" y="2156"/>
                <a:ext cx="624" cy="461"/>
              </a:xfrm>
              <a:custGeom>
                <a:avLst/>
                <a:gdLst>
                  <a:gd name="T0" fmla="*/ 574 w 589"/>
                  <a:gd name="T1" fmla="*/ 134 h 435"/>
                  <a:gd name="T2" fmla="*/ 577 w 589"/>
                  <a:gd name="T3" fmla="*/ 435 h 435"/>
                  <a:gd name="T4" fmla="*/ 581 w 589"/>
                  <a:gd name="T5" fmla="*/ 377 h 435"/>
                  <a:gd name="T6" fmla="*/ 589 w 589"/>
                  <a:gd name="T7" fmla="*/ 222 h 435"/>
                  <a:gd name="T8" fmla="*/ 579 w 589"/>
                  <a:gd name="T9" fmla="*/ 133 h 435"/>
                  <a:gd name="T10" fmla="*/ 577 w 589"/>
                  <a:gd name="T11" fmla="*/ 124 h 435"/>
                  <a:gd name="T12" fmla="*/ 571 w 589"/>
                  <a:gd name="T13" fmla="*/ 126 h 435"/>
                  <a:gd name="T14" fmla="*/ 577 w 589"/>
                  <a:gd name="T15" fmla="*/ 125 h 435"/>
                  <a:gd name="T16" fmla="*/ 577 w 589"/>
                  <a:gd name="T17" fmla="*/ 124 h 435"/>
                  <a:gd name="T18" fmla="*/ 5 w 589"/>
                  <a:gd name="T19" fmla="*/ 31 h 435"/>
                  <a:gd name="T20" fmla="*/ 0 w 589"/>
                  <a:gd name="T21" fmla="*/ 39 h 435"/>
                  <a:gd name="T22" fmla="*/ 38 w 589"/>
                  <a:gd name="T23" fmla="*/ 69 h 435"/>
                  <a:gd name="T24" fmla="*/ 147 w 589"/>
                  <a:gd name="T25" fmla="*/ 115 h 435"/>
                  <a:gd name="T26" fmla="*/ 159 w 589"/>
                  <a:gd name="T27" fmla="*/ 115 h 435"/>
                  <a:gd name="T28" fmla="*/ 128 w 589"/>
                  <a:gd name="T29" fmla="*/ 96 h 435"/>
                  <a:gd name="T30" fmla="*/ 171 w 589"/>
                  <a:gd name="T31" fmla="*/ 110 h 435"/>
                  <a:gd name="T32" fmla="*/ 201 w 589"/>
                  <a:gd name="T33" fmla="*/ 113 h 435"/>
                  <a:gd name="T34" fmla="*/ 344 w 589"/>
                  <a:gd name="T35" fmla="*/ 146 h 435"/>
                  <a:gd name="T36" fmla="*/ 367 w 589"/>
                  <a:gd name="T37" fmla="*/ 151 h 435"/>
                  <a:gd name="T38" fmla="*/ 370 w 589"/>
                  <a:gd name="T39" fmla="*/ 157 h 435"/>
                  <a:gd name="T40" fmla="*/ 376 w 589"/>
                  <a:gd name="T41" fmla="*/ 157 h 435"/>
                  <a:gd name="T42" fmla="*/ 373 w 589"/>
                  <a:gd name="T43" fmla="*/ 163 h 435"/>
                  <a:gd name="T44" fmla="*/ 420 w 589"/>
                  <a:gd name="T45" fmla="*/ 175 h 435"/>
                  <a:gd name="T46" fmla="*/ 450 w 589"/>
                  <a:gd name="T47" fmla="*/ 174 h 435"/>
                  <a:gd name="T48" fmla="*/ 486 w 589"/>
                  <a:gd name="T49" fmla="*/ 171 h 435"/>
                  <a:gd name="T50" fmla="*/ 553 w 589"/>
                  <a:gd name="T51" fmla="*/ 159 h 435"/>
                  <a:gd name="T52" fmla="*/ 552 w 589"/>
                  <a:gd name="T53" fmla="*/ 143 h 435"/>
                  <a:gd name="T54" fmla="*/ 558 w 589"/>
                  <a:gd name="T55" fmla="*/ 158 h 435"/>
                  <a:gd name="T56" fmla="*/ 568 w 589"/>
                  <a:gd name="T57" fmla="*/ 173 h 435"/>
                  <a:gd name="T58" fmla="*/ 573 w 589"/>
                  <a:gd name="T59" fmla="*/ 278 h 435"/>
                  <a:gd name="T60" fmla="*/ 564 w 589"/>
                  <a:gd name="T61" fmla="*/ 137 h 435"/>
                  <a:gd name="T62" fmla="*/ 503 w 589"/>
                  <a:gd name="T63" fmla="*/ 147 h 435"/>
                  <a:gd name="T64" fmla="*/ 210 w 589"/>
                  <a:gd name="T65" fmla="*/ 97 h 435"/>
                  <a:gd name="T66" fmla="*/ 19 w 589"/>
                  <a:gd name="T67" fmla="*/ 14 h 435"/>
                  <a:gd name="T68" fmla="*/ 30 w 589"/>
                  <a:gd name="T69" fmla="*/ 0 h 435"/>
                  <a:gd name="T70" fmla="*/ 25 w 589"/>
                  <a:gd name="T71" fmla="*/ 6 h 435"/>
                  <a:gd name="T72" fmla="*/ 115 w 589"/>
                  <a:gd name="T73" fmla="*/ 50 h 435"/>
                  <a:gd name="T74" fmla="*/ 305 w 589"/>
                  <a:gd name="T75" fmla="*/ 115 h 435"/>
                  <a:gd name="T76" fmla="*/ 489 w 589"/>
                  <a:gd name="T77" fmla="*/ 139 h 435"/>
                  <a:gd name="T78" fmla="*/ 542 w 589"/>
                  <a:gd name="T79" fmla="*/ 136 h 435"/>
                  <a:gd name="T80" fmla="*/ 563 w 589"/>
                  <a:gd name="T81" fmla="*/ 129 h 435"/>
                  <a:gd name="T82" fmla="*/ 526 w 589"/>
                  <a:gd name="T83" fmla="*/ 135 h 435"/>
                  <a:gd name="T84" fmla="*/ 526 w 589"/>
                  <a:gd name="T85" fmla="*/ 135 h 435"/>
                  <a:gd name="T86" fmla="*/ 525 w 589"/>
                  <a:gd name="T87" fmla="*/ 135 h 435"/>
                  <a:gd name="T88" fmla="*/ 423 w 589"/>
                  <a:gd name="T89" fmla="*/ 126 h 435"/>
                  <a:gd name="T90" fmla="*/ 249 w 589"/>
                  <a:gd name="T91" fmla="*/ 95 h 435"/>
                  <a:gd name="T92" fmla="*/ 71 w 589"/>
                  <a:gd name="T93" fmla="*/ 21 h 4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589" h="435">
                    <a:moveTo>
                      <a:pt x="579" y="133"/>
                    </a:moveTo>
                    <a:cubicBezTo>
                      <a:pt x="578" y="134"/>
                      <a:pt x="576" y="134"/>
                      <a:pt x="574" y="134"/>
                    </a:cubicBezTo>
                    <a:cubicBezTo>
                      <a:pt x="588" y="195"/>
                      <a:pt x="585" y="254"/>
                      <a:pt x="581" y="316"/>
                    </a:cubicBezTo>
                    <a:cubicBezTo>
                      <a:pt x="578" y="354"/>
                      <a:pt x="574" y="395"/>
                      <a:pt x="577" y="435"/>
                    </a:cubicBezTo>
                    <a:cubicBezTo>
                      <a:pt x="583" y="434"/>
                      <a:pt x="583" y="434"/>
                      <a:pt x="583" y="434"/>
                    </a:cubicBezTo>
                    <a:cubicBezTo>
                      <a:pt x="582" y="415"/>
                      <a:pt x="581" y="396"/>
                      <a:pt x="581" y="377"/>
                    </a:cubicBezTo>
                    <a:cubicBezTo>
                      <a:pt x="581" y="374"/>
                      <a:pt x="581" y="370"/>
                      <a:pt x="581" y="366"/>
                    </a:cubicBezTo>
                    <a:cubicBezTo>
                      <a:pt x="583" y="319"/>
                      <a:pt x="589" y="271"/>
                      <a:pt x="589" y="222"/>
                    </a:cubicBezTo>
                    <a:cubicBezTo>
                      <a:pt x="589" y="207"/>
                      <a:pt x="588" y="192"/>
                      <a:pt x="587" y="177"/>
                    </a:cubicBezTo>
                    <a:cubicBezTo>
                      <a:pt x="586" y="163"/>
                      <a:pt x="583" y="148"/>
                      <a:pt x="579" y="133"/>
                    </a:cubicBezTo>
                    <a:moveTo>
                      <a:pt x="577" y="124"/>
                    </a:moveTo>
                    <a:cubicBezTo>
                      <a:pt x="577" y="124"/>
                      <a:pt x="577" y="124"/>
                      <a:pt x="577" y="124"/>
                    </a:cubicBezTo>
                    <a:cubicBezTo>
                      <a:pt x="577" y="124"/>
                      <a:pt x="577" y="124"/>
                      <a:pt x="576" y="124"/>
                    </a:cubicBezTo>
                    <a:cubicBezTo>
                      <a:pt x="575" y="125"/>
                      <a:pt x="573" y="126"/>
                      <a:pt x="571" y="126"/>
                    </a:cubicBezTo>
                    <a:cubicBezTo>
                      <a:pt x="571" y="127"/>
                      <a:pt x="571" y="127"/>
                      <a:pt x="572" y="127"/>
                    </a:cubicBezTo>
                    <a:cubicBezTo>
                      <a:pt x="574" y="127"/>
                      <a:pt x="575" y="126"/>
                      <a:pt x="577" y="125"/>
                    </a:cubicBezTo>
                    <a:cubicBezTo>
                      <a:pt x="577" y="125"/>
                      <a:pt x="577" y="125"/>
                      <a:pt x="577" y="124"/>
                    </a:cubicBezTo>
                    <a:cubicBezTo>
                      <a:pt x="577" y="124"/>
                      <a:pt x="577" y="124"/>
                      <a:pt x="577" y="124"/>
                    </a:cubicBezTo>
                    <a:moveTo>
                      <a:pt x="19" y="14"/>
                    </a:moveTo>
                    <a:cubicBezTo>
                      <a:pt x="14" y="20"/>
                      <a:pt x="9" y="25"/>
                      <a:pt x="5" y="31"/>
                    </a:cubicBezTo>
                    <a:cubicBezTo>
                      <a:pt x="3" y="34"/>
                      <a:pt x="2" y="36"/>
                      <a:pt x="0" y="39"/>
                    </a:cubicBezTo>
                    <a:cubicBezTo>
                      <a:pt x="0" y="39"/>
                      <a:pt x="0" y="39"/>
                      <a:pt x="0" y="39"/>
                    </a:cubicBezTo>
                    <a:cubicBezTo>
                      <a:pt x="5" y="40"/>
                      <a:pt x="8" y="45"/>
                      <a:pt x="10" y="47"/>
                    </a:cubicBezTo>
                    <a:cubicBezTo>
                      <a:pt x="19" y="54"/>
                      <a:pt x="28" y="62"/>
                      <a:pt x="38" y="69"/>
                    </a:cubicBezTo>
                    <a:cubicBezTo>
                      <a:pt x="54" y="79"/>
                      <a:pt x="73" y="90"/>
                      <a:pt x="91" y="98"/>
                    </a:cubicBezTo>
                    <a:cubicBezTo>
                      <a:pt x="110" y="104"/>
                      <a:pt x="128" y="111"/>
                      <a:pt x="147" y="115"/>
                    </a:cubicBezTo>
                    <a:cubicBezTo>
                      <a:pt x="150" y="115"/>
                      <a:pt x="153" y="116"/>
                      <a:pt x="155" y="116"/>
                    </a:cubicBezTo>
                    <a:cubicBezTo>
                      <a:pt x="156" y="116"/>
                      <a:pt x="158" y="116"/>
                      <a:pt x="159" y="115"/>
                    </a:cubicBezTo>
                    <a:cubicBezTo>
                      <a:pt x="148" y="112"/>
                      <a:pt x="137" y="108"/>
                      <a:pt x="127" y="102"/>
                    </a:cubicBezTo>
                    <a:cubicBezTo>
                      <a:pt x="125" y="100"/>
                      <a:pt x="126" y="96"/>
                      <a:pt x="128" y="96"/>
                    </a:cubicBezTo>
                    <a:cubicBezTo>
                      <a:pt x="129" y="96"/>
                      <a:pt x="129" y="96"/>
                      <a:pt x="129" y="96"/>
                    </a:cubicBezTo>
                    <a:cubicBezTo>
                      <a:pt x="143" y="101"/>
                      <a:pt x="157" y="106"/>
                      <a:pt x="171" y="110"/>
                    </a:cubicBezTo>
                    <a:cubicBezTo>
                      <a:pt x="174" y="109"/>
                      <a:pt x="177" y="107"/>
                      <a:pt x="179" y="106"/>
                    </a:cubicBezTo>
                    <a:cubicBezTo>
                      <a:pt x="186" y="108"/>
                      <a:pt x="194" y="110"/>
                      <a:pt x="201" y="113"/>
                    </a:cubicBezTo>
                    <a:cubicBezTo>
                      <a:pt x="223" y="120"/>
                      <a:pt x="249" y="126"/>
                      <a:pt x="272" y="131"/>
                    </a:cubicBezTo>
                    <a:cubicBezTo>
                      <a:pt x="295" y="136"/>
                      <a:pt x="320" y="141"/>
                      <a:pt x="344" y="146"/>
                    </a:cubicBezTo>
                    <a:cubicBezTo>
                      <a:pt x="352" y="148"/>
                      <a:pt x="359" y="148"/>
                      <a:pt x="367" y="150"/>
                    </a:cubicBezTo>
                    <a:cubicBezTo>
                      <a:pt x="367" y="151"/>
                      <a:pt x="367" y="151"/>
                      <a:pt x="367" y="151"/>
                    </a:cubicBezTo>
                    <a:cubicBezTo>
                      <a:pt x="367" y="154"/>
                      <a:pt x="368" y="155"/>
                      <a:pt x="369" y="157"/>
                    </a:cubicBezTo>
                    <a:cubicBezTo>
                      <a:pt x="369" y="157"/>
                      <a:pt x="370" y="157"/>
                      <a:pt x="370" y="157"/>
                    </a:cubicBezTo>
                    <a:cubicBezTo>
                      <a:pt x="372" y="157"/>
                      <a:pt x="374" y="157"/>
                      <a:pt x="376" y="157"/>
                    </a:cubicBezTo>
                    <a:cubicBezTo>
                      <a:pt x="376" y="157"/>
                      <a:pt x="376" y="157"/>
                      <a:pt x="376" y="157"/>
                    </a:cubicBezTo>
                    <a:cubicBezTo>
                      <a:pt x="379" y="157"/>
                      <a:pt x="380" y="161"/>
                      <a:pt x="377" y="162"/>
                    </a:cubicBezTo>
                    <a:cubicBezTo>
                      <a:pt x="376" y="162"/>
                      <a:pt x="374" y="163"/>
                      <a:pt x="373" y="163"/>
                    </a:cubicBezTo>
                    <a:cubicBezTo>
                      <a:pt x="380" y="170"/>
                      <a:pt x="391" y="172"/>
                      <a:pt x="402" y="172"/>
                    </a:cubicBezTo>
                    <a:cubicBezTo>
                      <a:pt x="407" y="173"/>
                      <a:pt x="414" y="175"/>
                      <a:pt x="420" y="175"/>
                    </a:cubicBezTo>
                    <a:cubicBezTo>
                      <a:pt x="421" y="175"/>
                      <a:pt x="423" y="175"/>
                      <a:pt x="424" y="175"/>
                    </a:cubicBezTo>
                    <a:cubicBezTo>
                      <a:pt x="433" y="175"/>
                      <a:pt x="441" y="174"/>
                      <a:pt x="450" y="174"/>
                    </a:cubicBezTo>
                    <a:cubicBezTo>
                      <a:pt x="463" y="173"/>
                      <a:pt x="474" y="171"/>
                      <a:pt x="485" y="171"/>
                    </a:cubicBezTo>
                    <a:cubicBezTo>
                      <a:pt x="485" y="171"/>
                      <a:pt x="486" y="171"/>
                      <a:pt x="486" y="171"/>
                    </a:cubicBezTo>
                    <a:cubicBezTo>
                      <a:pt x="495" y="171"/>
                      <a:pt x="505" y="166"/>
                      <a:pt x="514" y="166"/>
                    </a:cubicBezTo>
                    <a:cubicBezTo>
                      <a:pt x="528" y="164"/>
                      <a:pt x="540" y="162"/>
                      <a:pt x="553" y="159"/>
                    </a:cubicBezTo>
                    <a:cubicBezTo>
                      <a:pt x="552" y="154"/>
                      <a:pt x="551" y="149"/>
                      <a:pt x="550" y="145"/>
                    </a:cubicBezTo>
                    <a:cubicBezTo>
                      <a:pt x="549" y="144"/>
                      <a:pt x="551" y="143"/>
                      <a:pt x="552" y="143"/>
                    </a:cubicBezTo>
                    <a:cubicBezTo>
                      <a:pt x="552" y="143"/>
                      <a:pt x="553" y="143"/>
                      <a:pt x="553" y="144"/>
                    </a:cubicBezTo>
                    <a:cubicBezTo>
                      <a:pt x="555" y="148"/>
                      <a:pt x="556" y="153"/>
                      <a:pt x="558" y="158"/>
                    </a:cubicBezTo>
                    <a:cubicBezTo>
                      <a:pt x="560" y="157"/>
                      <a:pt x="562" y="157"/>
                      <a:pt x="564" y="156"/>
                    </a:cubicBezTo>
                    <a:cubicBezTo>
                      <a:pt x="565" y="162"/>
                      <a:pt x="566" y="168"/>
                      <a:pt x="568" y="173"/>
                    </a:cubicBezTo>
                    <a:cubicBezTo>
                      <a:pt x="567" y="184"/>
                      <a:pt x="569" y="195"/>
                      <a:pt x="571" y="207"/>
                    </a:cubicBezTo>
                    <a:cubicBezTo>
                      <a:pt x="573" y="229"/>
                      <a:pt x="572" y="253"/>
                      <a:pt x="573" y="278"/>
                    </a:cubicBezTo>
                    <a:cubicBezTo>
                      <a:pt x="573" y="279"/>
                      <a:pt x="573" y="280"/>
                      <a:pt x="573" y="281"/>
                    </a:cubicBezTo>
                    <a:cubicBezTo>
                      <a:pt x="576" y="232"/>
                      <a:pt x="576" y="185"/>
                      <a:pt x="564" y="137"/>
                    </a:cubicBezTo>
                    <a:cubicBezTo>
                      <a:pt x="546" y="143"/>
                      <a:pt x="527" y="147"/>
                      <a:pt x="507" y="147"/>
                    </a:cubicBezTo>
                    <a:cubicBezTo>
                      <a:pt x="505" y="147"/>
                      <a:pt x="504" y="147"/>
                      <a:pt x="503" y="147"/>
                    </a:cubicBezTo>
                    <a:cubicBezTo>
                      <a:pt x="438" y="145"/>
                      <a:pt x="374" y="135"/>
                      <a:pt x="310" y="125"/>
                    </a:cubicBezTo>
                    <a:cubicBezTo>
                      <a:pt x="275" y="119"/>
                      <a:pt x="243" y="109"/>
                      <a:pt x="210" y="97"/>
                    </a:cubicBezTo>
                    <a:cubicBezTo>
                      <a:pt x="177" y="84"/>
                      <a:pt x="144" y="73"/>
                      <a:pt x="111" y="58"/>
                    </a:cubicBezTo>
                    <a:cubicBezTo>
                      <a:pt x="82" y="45"/>
                      <a:pt x="49" y="31"/>
                      <a:pt x="19" y="14"/>
                    </a:cubicBezTo>
                    <a:moveTo>
                      <a:pt x="30" y="0"/>
                    </a:moveTo>
                    <a:cubicBezTo>
                      <a:pt x="30" y="0"/>
                      <a:pt x="30" y="0"/>
                      <a:pt x="30" y="0"/>
                    </a:cubicBezTo>
                    <a:cubicBezTo>
                      <a:pt x="28" y="3"/>
                      <a:pt x="28" y="3"/>
                      <a:pt x="28" y="3"/>
                    </a:cubicBezTo>
                    <a:cubicBezTo>
                      <a:pt x="27" y="4"/>
                      <a:pt x="26" y="5"/>
                      <a:pt x="25" y="6"/>
                    </a:cubicBezTo>
                    <a:cubicBezTo>
                      <a:pt x="27" y="7"/>
                      <a:pt x="29" y="8"/>
                      <a:pt x="32" y="9"/>
                    </a:cubicBezTo>
                    <a:cubicBezTo>
                      <a:pt x="59" y="24"/>
                      <a:pt x="87" y="37"/>
                      <a:pt x="115" y="50"/>
                    </a:cubicBezTo>
                    <a:cubicBezTo>
                      <a:pt x="147" y="65"/>
                      <a:pt x="180" y="76"/>
                      <a:pt x="212" y="88"/>
                    </a:cubicBezTo>
                    <a:cubicBezTo>
                      <a:pt x="243" y="100"/>
                      <a:pt x="273" y="110"/>
                      <a:pt x="305" y="115"/>
                    </a:cubicBezTo>
                    <a:cubicBezTo>
                      <a:pt x="337" y="121"/>
                      <a:pt x="369" y="126"/>
                      <a:pt x="401" y="129"/>
                    </a:cubicBezTo>
                    <a:cubicBezTo>
                      <a:pt x="431" y="132"/>
                      <a:pt x="459" y="138"/>
                      <a:pt x="489" y="139"/>
                    </a:cubicBezTo>
                    <a:cubicBezTo>
                      <a:pt x="497" y="139"/>
                      <a:pt x="505" y="139"/>
                      <a:pt x="514" y="139"/>
                    </a:cubicBezTo>
                    <a:cubicBezTo>
                      <a:pt x="523" y="139"/>
                      <a:pt x="533" y="139"/>
                      <a:pt x="542" y="136"/>
                    </a:cubicBezTo>
                    <a:cubicBezTo>
                      <a:pt x="549" y="135"/>
                      <a:pt x="556" y="133"/>
                      <a:pt x="563" y="130"/>
                    </a:cubicBezTo>
                    <a:cubicBezTo>
                      <a:pt x="563" y="130"/>
                      <a:pt x="563" y="129"/>
                      <a:pt x="563" y="129"/>
                    </a:cubicBezTo>
                    <a:cubicBezTo>
                      <a:pt x="550" y="132"/>
                      <a:pt x="538" y="135"/>
                      <a:pt x="526" y="135"/>
                    </a:cubicBezTo>
                    <a:cubicBezTo>
                      <a:pt x="526" y="135"/>
                      <a:pt x="526" y="135"/>
                      <a:pt x="526" y="135"/>
                    </a:cubicBezTo>
                    <a:cubicBezTo>
                      <a:pt x="526" y="135"/>
                      <a:pt x="526" y="135"/>
                      <a:pt x="526" y="135"/>
                    </a:cubicBezTo>
                    <a:cubicBezTo>
                      <a:pt x="526" y="135"/>
                      <a:pt x="526" y="135"/>
                      <a:pt x="526" y="135"/>
                    </a:cubicBezTo>
                    <a:cubicBezTo>
                      <a:pt x="526" y="135"/>
                      <a:pt x="525" y="135"/>
                      <a:pt x="525" y="135"/>
                    </a:cubicBezTo>
                    <a:cubicBezTo>
                      <a:pt x="525" y="135"/>
                      <a:pt x="525" y="135"/>
                      <a:pt x="525" y="135"/>
                    </a:cubicBezTo>
                    <a:cubicBezTo>
                      <a:pt x="510" y="134"/>
                      <a:pt x="492" y="134"/>
                      <a:pt x="477" y="133"/>
                    </a:cubicBezTo>
                    <a:cubicBezTo>
                      <a:pt x="459" y="132"/>
                      <a:pt x="440" y="128"/>
                      <a:pt x="423" y="126"/>
                    </a:cubicBezTo>
                    <a:cubicBezTo>
                      <a:pt x="400" y="123"/>
                      <a:pt x="373" y="122"/>
                      <a:pt x="348" y="116"/>
                    </a:cubicBezTo>
                    <a:cubicBezTo>
                      <a:pt x="316" y="112"/>
                      <a:pt x="282" y="106"/>
                      <a:pt x="249" y="95"/>
                    </a:cubicBezTo>
                    <a:cubicBezTo>
                      <a:pt x="222" y="85"/>
                      <a:pt x="196" y="74"/>
                      <a:pt x="169" y="66"/>
                    </a:cubicBezTo>
                    <a:cubicBezTo>
                      <a:pt x="134" y="52"/>
                      <a:pt x="102" y="37"/>
                      <a:pt x="71" y="21"/>
                    </a:cubicBezTo>
                    <a:cubicBezTo>
                      <a:pt x="57" y="14"/>
                      <a:pt x="43" y="7"/>
                      <a:pt x="30" y="0"/>
                    </a:cubicBezTo>
                  </a:path>
                </a:pathLst>
              </a:custGeom>
              <a:solidFill>
                <a:srgbClr val="EF827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399" name="Freeform 71">
                <a:extLst>
                  <a:ext uri="{FF2B5EF4-FFF2-40B4-BE49-F238E27FC236}">
                    <a16:creationId xmlns:a16="http://schemas.microsoft.com/office/drawing/2014/main" id="{A52AC8B6-BDC6-4716-8DC1-7812980682B2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2155" y="1715"/>
                <a:ext cx="838" cy="918"/>
              </a:xfrm>
              <a:custGeom>
                <a:avLst/>
                <a:gdLst>
                  <a:gd name="T0" fmla="*/ 401 w 791"/>
                  <a:gd name="T1" fmla="*/ 93 h 867"/>
                  <a:gd name="T2" fmla="*/ 401 w 791"/>
                  <a:gd name="T3" fmla="*/ 97 h 867"/>
                  <a:gd name="T4" fmla="*/ 401 w 791"/>
                  <a:gd name="T5" fmla="*/ 97 h 867"/>
                  <a:gd name="T6" fmla="*/ 519 w 791"/>
                  <a:gd name="T7" fmla="*/ 110 h 867"/>
                  <a:gd name="T8" fmla="*/ 665 w 791"/>
                  <a:gd name="T9" fmla="*/ 180 h 867"/>
                  <a:gd name="T10" fmla="*/ 785 w 791"/>
                  <a:gd name="T11" fmla="*/ 484 h 867"/>
                  <a:gd name="T12" fmla="*/ 769 w 791"/>
                  <a:gd name="T13" fmla="*/ 671 h 867"/>
                  <a:gd name="T14" fmla="*/ 730 w 791"/>
                  <a:gd name="T15" fmla="*/ 849 h 867"/>
                  <a:gd name="T16" fmla="*/ 724 w 791"/>
                  <a:gd name="T17" fmla="*/ 867 h 867"/>
                  <a:gd name="T18" fmla="*/ 730 w 791"/>
                  <a:gd name="T19" fmla="*/ 852 h 867"/>
                  <a:gd name="T20" fmla="*/ 758 w 791"/>
                  <a:gd name="T21" fmla="*/ 743 h 867"/>
                  <a:gd name="T22" fmla="*/ 789 w 791"/>
                  <a:gd name="T23" fmla="*/ 498 h 867"/>
                  <a:gd name="T24" fmla="*/ 754 w 791"/>
                  <a:gd name="T25" fmla="*/ 296 h 867"/>
                  <a:gd name="T26" fmla="*/ 630 w 791"/>
                  <a:gd name="T27" fmla="*/ 143 h 867"/>
                  <a:gd name="T28" fmla="*/ 437 w 791"/>
                  <a:gd name="T29" fmla="*/ 97 h 867"/>
                  <a:gd name="T30" fmla="*/ 401 w 791"/>
                  <a:gd name="T31" fmla="*/ 93 h 867"/>
                  <a:gd name="T32" fmla="*/ 65 w 791"/>
                  <a:gd name="T33" fmla="*/ 0 h 867"/>
                  <a:gd name="T34" fmla="*/ 0 w 791"/>
                  <a:gd name="T35" fmla="*/ 13 h 867"/>
                  <a:gd name="T36" fmla="*/ 56 w 791"/>
                  <a:gd name="T37" fmla="*/ 5 h 867"/>
                  <a:gd name="T38" fmla="*/ 160 w 791"/>
                  <a:gd name="T39" fmla="*/ 27 h 867"/>
                  <a:gd name="T40" fmla="*/ 336 w 791"/>
                  <a:gd name="T41" fmla="*/ 89 h 867"/>
                  <a:gd name="T42" fmla="*/ 391 w 791"/>
                  <a:gd name="T43" fmla="*/ 96 h 867"/>
                  <a:gd name="T44" fmla="*/ 391 w 791"/>
                  <a:gd name="T45" fmla="*/ 92 h 867"/>
                  <a:gd name="T46" fmla="*/ 336 w 791"/>
                  <a:gd name="T47" fmla="*/ 84 h 867"/>
                  <a:gd name="T48" fmla="*/ 239 w 791"/>
                  <a:gd name="T49" fmla="*/ 54 h 867"/>
                  <a:gd name="T50" fmla="*/ 65 w 791"/>
                  <a:gd name="T51" fmla="*/ 0 h 8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791" h="867">
                    <a:moveTo>
                      <a:pt x="401" y="93"/>
                    </a:moveTo>
                    <a:cubicBezTo>
                      <a:pt x="401" y="95"/>
                      <a:pt x="401" y="96"/>
                      <a:pt x="401" y="97"/>
                    </a:cubicBezTo>
                    <a:cubicBezTo>
                      <a:pt x="401" y="97"/>
                      <a:pt x="401" y="97"/>
                      <a:pt x="401" y="97"/>
                    </a:cubicBezTo>
                    <a:cubicBezTo>
                      <a:pt x="440" y="101"/>
                      <a:pt x="480" y="103"/>
                      <a:pt x="519" y="110"/>
                    </a:cubicBezTo>
                    <a:cubicBezTo>
                      <a:pt x="574" y="120"/>
                      <a:pt x="624" y="142"/>
                      <a:pt x="665" y="180"/>
                    </a:cubicBezTo>
                    <a:cubicBezTo>
                      <a:pt x="748" y="257"/>
                      <a:pt x="785" y="373"/>
                      <a:pt x="785" y="484"/>
                    </a:cubicBezTo>
                    <a:cubicBezTo>
                      <a:pt x="786" y="547"/>
                      <a:pt x="779" y="610"/>
                      <a:pt x="769" y="671"/>
                    </a:cubicBezTo>
                    <a:cubicBezTo>
                      <a:pt x="760" y="731"/>
                      <a:pt x="749" y="792"/>
                      <a:pt x="730" y="849"/>
                    </a:cubicBezTo>
                    <a:cubicBezTo>
                      <a:pt x="728" y="855"/>
                      <a:pt x="726" y="861"/>
                      <a:pt x="724" y="867"/>
                    </a:cubicBezTo>
                    <a:cubicBezTo>
                      <a:pt x="726" y="862"/>
                      <a:pt x="728" y="857"/>
                      <a:pt x="730" y="852"/>
                    </a:cubicBezTo>
                    <a:cubicBezTo>
                      <a:pt x="742" y="817"/>
                      <a:pt x="752" y="781"/>
                      <a:pt x="758" y="743"/>
                    </a:cubicBezTo>
                    <a:cubicBezTo>
                      <a:pt x="775" y="663"/>
                      <a:pt x="787" y="579"/>
                      <a:pt x="789" y="498"/>
                    </a:cubicBezTo>
                    <a:cubicBezTo>
                      <a:pt x="791" y="428"/>
                      <a:pt x="782" y="359"/>
                      <a:pt x="754" y="296"/>
                    </a:cubicBezTo>
                    <a:cubicBezTo>
                      <a:pt x="729" y="235"/>
                      <a:pt x="686" y="180"/>
                      <a:pt x="630" y="143"/>
                    </a:cubicBezTo>
                    <a:cubicBezTo>
                      <a:pt x="571" y="108"/>
                      <a:pt x="504" y="100"/>
                      <a:pt x="437" y="97"/>
                    </a:cubicBezTo>
                    <a:cubicBezTo>
                      <a:pt x="425" y="96"/>
                      <a:pt x="413" y="95"/>
                      <a:pt x="401" y="93"/>
                    </a:cubicBezTo>
                    <a:moveTo>
                      <a:pt x="65" y="0"/>
                    </a:moveTo>
                    <a:cubicBezTo>
                      <a:pt x="42" y="1"/>
                      <a:pt x="21" y="5"/>
                      <a:pt x="0" y="13"/>
                    </a:cubicBezTo>
                    <a:cubicBezTo>
                      <a:pt x="19" y="7"/>
                      <a:pt x="38" y="5"/>
                      <a:pt x="56" y="5"/>
                    </a:cubicBezTo>
                    <a:cubicBezTo>
                      <a:pt x="91" y="5"/>
                      <a:pt x="126" y="13"/>
                      <a:pt x="160" y="27"/>
                    </a:cubicBezTo>
                    <a:cubicBezTo>
                      <a:pt x="219" y="50"/>
                      <a:pt x="274" y="76"/>
                      <a:pt x="336" y="89"/>
                    </a:cubicBezTo>
                    <a:cubicBezTo>
                      <a:pt x="354" y="92"/>
                      <a:pt x="373" y="95"/>
                      <a:pt x="391" y="96"/>
                    </a:cubicBezTo>
                    <a:cubicBezTo>
                      <a:pt x="391" y="95"/>
                      <a:pt x="391" y="94"/>
                      <a:pt x="391" y="92"/>
                    </a:cubicBezTo>
                    <a:cubicBezTo>
                      <a:pt x="373" y="90"/>
                      <a:pt x="354" y="88"/>
                      <a:pt x="336" y="84"/>
                    </a:cubicBezTo>
                    <a:cubicBezTo>
                      <a:pt x="302" y="78"/>
                      <a:pt x="271" y="67"/>
                      <a:pt x="239" y="54"/>
                    </a:cubicBezTo>
                    <a:cubicBezTo>
                      <a:pt x="184" y="31"/>
                      <a:pt x="126" y="0"/>
                      <a:pt x="65" y="0"/>
                    </a:cubicBezTo>
                  </a:path>
                </a:pathLst>
              </a:custGeom>
              <a:solidFill>
                <a:srgbClr val="EF827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400" name="Freeform 72">
                <a:extLst>
                  <a:ext uri="{FF2B5EF4-FFF2-40B4-BE49-F238E27FC236}">
                    <a16:creationId xmlns:a16="http://schemas.microsoft.com/office/drawing/2014/main" id="{84EFF04B-94C2-4B3D-A589-CF0B24EB0140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569" y="1812"/>
                <a:ext cx="11" cy="6"/>
              </a:xfrm>
              <a:custGeom>
                <a:avLst/>
                <a:gdLst>
                  <a:gd name="T0" fmla="*/ 0 w 10"/>
                  <a:gd name="T1" fmla="*/ 0 h 5"/>
                  <a:gd name="T2" fmla="*/ 0 w 10"/>
                  <a:gd name="T3" fmla="*/ 4 h 5"/>
                  <a:gd name="T4" fmla="*/ 10 w 10"/>
                  <a:gd name="T5" fmla="*/ 5 h 5"/>
                  <a:gd name="T6" fmla="*/ 10 w 10"/>
                  <a:gd name="T7" fmla="*/ 5 h 5"/>
                  <a:gd name="T8" fmla="*/ 10 w 10"/>
                  <a:gd name="T9" fmla="*/ 1 h 5"/>
                  <a:gd name="T10" fmla="*/ 0 w 10"/>
                  <a:gd name="T11" fmla="*/ 0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0" h="5">
                    <a:moveTo>
                      <a:pt x="0" y="0"/>
                    </a:moveTo>
                    <a:cubicBezTo>
                      <a:pt x="0" y="2"/>
                      <a:pt x="0" y="3"/>
                      <a:pt x="0" y="4"/>
                    </a:cubicBezTo>
                    <a:cubicBezTo>
                      <a:pt x="3" y="5"/>
                      <a:pt x="6" y="5"/>
                      <a:pt x="10" y="5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4"/>
                      <a:pt x="10" y="3"/>
                      <a:pt x="10" y="1"/>
                    </a:cubicBezTo>
                    <a:cubicBezTo>
                      <a:pt x="6" y="1"/>
                      <a:pt x="3" y="1"/>
                      <a:pt x="0" y="0"/>
                    </a:cubicBezTo>
                  </a:path>
                </a:pathLst>
              </a:custGeom>
              <a:solidFill>
                <a:srgbClr val="9F333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401" name="Freeform 73">
                <a:extLst>
                  <a:ext uri="{FF2B5EF4-FFF2-40B4-BE49-F238E27FC236}">
                    <a16:creationId xmlns:a16="http://schemas.microsoft.com/office/drawing/2014/main" id="{4D9FD2D0-C909-4549-BB03-844207D7591B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1799" y="1732"/>
                <a:ext cx="1193" cy="999"/>
              </a:xfrm>
              <a:custGeom>
                <a:avLst/>
                <a:gdLst>
                  <a:gd name="T0" fmla="*/ 176 w 1126"/>
                  <a:gd name="T1" fmla="*/ 577 h 944"/>
                  <a:gd name="T2" fmla="*/ 158 w 1126"/>
                  <a:gd name="T3" fmla="*/ 663 h 944"/>
                  <a:gd name="T4" fmla="*/ 203 w 1126"/>
                  <a:gd name="T5" fmla="*/ 516 h 944"/>
                  <a:gd name="T6" fmla="*/ 586 w 1126"/>
                  <a:gd name="T7" fmla="*/ 413 h 944"/>
                  <a:gd name="T8" fmla="*/ 632 w 1126"/>
                  <a:gd name="T9" fmla="*/ 446 h 944"/>
                  <a:gd name="T10" fmla="*/ 589 w 1126"/>
                  <a:gd name="T11" fmla="*/ 410 h 944"/>
                  <a:gd name="T12" fmla="*/ 282 w 1126"/>
                  <a:gd name="T13" fmla="*/ 384 h 944"/>
                  <a:gd name="T14" fmla="*/ 768 w 1126"/>
                  <a:gd name="T15" fmla="*/ 473 h 944"/>
                  <a:gd name="T16" fmla="*/ 861 w 1126"/>
                  <a:gd name="T17" fmla="*/ 456 h 944"/>
                  <a:gd name="T18" fmla="*/ 777 w 1126"/>
                  <a:gd name="T19" fmla="*/ 469 h 944"/>
                  <a:gd name="T20" fmla="*/ 752 w 1126"/>
                  <a:gd name="T21" fmla="*/ 467 h 944"/>
                  <a:gd name="T22" fmla="*/ 666 w 1126"/>
                  <a:gd name="T23" fmla="*/ 379 h 944"/>
                  <a:gd name="T24" fmla="*/ 232 w 1126"/>
                  <a:gd name="T25" fmla="*/ 245 h 944"/>
                  <a:gd name="T26" fmla="*/ 527 w 1126"/>
                  <a:gd name="T27" fmla="*/ 396 h 944"/>
                  <a:gd name="T28" fmla="*/ 525 w 1126"/>
                  <a:gd name="T29" fmla="*/ 394 h 944"/>
                  <a:gd name="T30" fmla="*/ 510 w 1126"/>
                  <a:gd name="T31" fmla="*/ 395 h 944"/>
                  <a:gd name="T32" fmla="*/ 438 w 1126"/>
                  <a:gd name="T33" fmla="*/ 378 h 944"/>
                  <a:gd name="T34" fmla="*/ 436 w 1126"/>
                  <a:gd name="T35" fmla="*/ 377 h 944"/>
                  <a:gd name="T36" fmla="*/ 435 w 1126"/>
                  <a:gd name="T37" fmla="*/ 376 h 944"/>
                  <a:gd name="T38" fmla="*/ 210 w 1126"/>
                  <a:gd name="T39" fmla="*/ 109 h 944"/>
                  <a:gd name="T40" fmla="*/ 636 w 1126"/>
                  <a:gd name="T41" fmla="*/ 393 h 944"/>
                  <a:gd name="T42" fmla="*/ 612 w 1126"/>
                  <a:gd name="T43" fmla="*/ 459 h 944"/>
                  <a:gd name="T44" fmla="*/ 599 w 1126"/>
                  <a:gd name="T45" fmla="*/ 395 h 944"/>
                  <a:gd name="T46" fmla="*/ 868 w 1126"/>
                  <a:gd name="T47" fmla="*/ 142 h 944"/>
                  <a:gd name="T48" fmla="*/ 785 w 1126"/>
                  <a:gd name="T49" fmla="*/ 132 h 944"/>
                  <a:gd name="T50" fmla="*/ 746 w 1126"/>
                  <a:gd name="T51" fmla="*/ 127 h 944"/>
                  <a:gd name="T52" fmla="*/ 363 w 1126"/>
                  <a:gd name="T53" fmla="*/ 23 h 944"/>
                  <a:gd name="T54" fmla="*/ 396 w 1126"/>
                  <a:gd name="T55" fmla="*/ 27 h 944"/>
                  <a:gd name="T56" fmla="*/ 616 w 1126"/>
                  <a:gd name="T57" fmla="*/ 110 h 944"/>
                  <a:gd name="T58" fmla="*/ 515 w 1126"/>
                  <a:gd name="T59" fmla="*/ 117 h 944"/>
                  <a:gd name="T60" fmla="*/ 585 w 1126"/>
                  <a:gd name="T61" fmla="*/ 355 h 944"/>
                  <a:gd name="T62" fmla="*/ 271 w 1126"/>
                  <a:gd name="T63" fmla="*/ 292 h 944"/>
                  <a:gd name="T64" fmla="*/ 308 w 1126"/>
                  <a:gd name="T65" fmla="*/ 31 h 944"/>
                  <a:gd name="T66" fmla="*/ 363 w 1126"/>
                  <a:gd name="T67" fmla="*/ 23 h 944"/>
                  <a:gd name="T68" fmla="*/ 89 w 1126"/>
                  <a:gd name="T69" fmla="*/ 259 h 944"/>
                  <a:gd name="T70" fmla="*/ 58 w 1126"/>
                  <a:gd name="T71" fmla="*/ 767 h 944"/>
                  <a:gd name="T72" fmla="*/ 98 w 1126"/>
                  <a:gd name="T73" fmla="*/ 755 h 944"/>
                  <a:gd name="T74" fmla="*/ 256 w 1126"/>
                  <a:gd name="T75" fmla="*/ 427 h 944"/>
                  <a:gd name="T76" fmla="*/ 256 w 1126"/>
                  <a:gd name="T77" fmla="*/ 349 h 944"/>
                  <a:gd name="T78" fmla="*/ 311 w 1126"/>
                  <a:gd name="T79" fmla="*/ 385 h 944"/>
                  <a:gd name="T80" fmla="*/ 245 w 1126"/>
                  <a:gd name="T81" fmla="*/ 323 h 944"/>
                  <a:gd name="T82" fmla="*/ 437 w 1126"/>
                  <a:gd name="T83" fmla="*/ 425 h 944"/>
                  <a:gd name="T84" fmla="*/ 855 w 1126"/>
                  <a:gd name="T85" fmla="*/ 507 h 944"/>
                  <a:gd name="T86" fmla="*/ 942 w 1126"/>
                  <a:gd name="T87" fmla="*/ 490 h 944"/>
                  <a:gd name="T88" fmla="*/ 903 w 1126"/>
                  <a:gd name="T89" fmla="*/ 520 h 944"/>
                  <a:gd name="T90" fmla="*/ 979 w 1126"/>
                  <a:gd name="T91" fmla="*/ 483 h 944"/>
                  <a:gd name="T92" fmla="*/ 929 w 1126"/>
                  <a:gd name="T93" fmla="*/ 538 h 944"/>
                  <a:gd name="T94" fmla="*/ 927 w 1126"/>
                  <a:gd name="T95" fmla="*/ 792 h 944"/>
                  <a:gd name="T96" fmla="*/ 961 w 1126"/>
                  <a:gd name="T97" fmla="*/ 944 h 944"/>
                  <a:gd name="T98" fmla="*/ 1099 w 1126"/>
                  <a:gd name="T99" fmla="*/ 357 h 944"/>
                  <a:gd name="T100" fmla="*/ 1062 w 1126"/>
                  <a:gd name="T101" fmla="*/ 358 h 944"/>
                  <a:gd name="T102" fmla="*/ 769 w 1126"/>
                  <a:gd name="T103" fmla="*/ 482 h 944"/>
                  <a:gd name="T104" fmla="*/ 912 w 1126"/>
                  <a:gd name="T105" fmla="*/ 161 h 944"/>
                  <a:gd name="T106" fmla="*/ 923 w 1126"/>
                  <a:gd name="T107" fmla="*/ 160 h 944"/>
                  <a:gd name="T108" fmla="*/ 911 w 1126"/>
                  <a:gd name="T109" fmla="*/ 119 h 944"/>
                  <a:gd name="T110" fmla="*/ 397 w 1126"/>
                  <a:gd name="T111" fmla="*/ 0 h 9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1126" h="944">
                    <a:moveTo>
                      <a:pt x="251" y="443"/>
                    </a:moveTo>
                    <a:cubicBezTo>
                      <a:pt x="246" y="451"/>
                      <a:pt x="240" y="459"/>
                      <a:pt x="236" y="468"/>
                    </a:cubicBezTo>
                    <a:cubicBezTo>
                      <a:pt x="223" y="488"/>
                      <a:pt x="206" y="507"/>
                      <a:pt x="196" y="528"/>
                    </a:cubicBezTo>
                    <a:cubicBezTo>
                      <a:pt x="188" y="544"/>
                      <a:pt x="181" y="561"/>
                      <a:pt x="176" y="577"/>
                    </a:cubicBezTo>
                    <a:cubicBezTo>
                      <a:pt x="164" y="614"/>
                      <a:pt x="159" y="653"/>
                      <a:pt x="148" y="690"/>
                    </a:cubicBezTo>
                    <a:cubicBezTo>
                      <a:pt x="146" y="695"/>
                      <a:pt x="144" y="700"/>
                      <a:pt x="143" y="705"/>
                    </a:cubicBezTo>
                    <a:cubicBezTo>
                      <a:pt x="146" y="697"/>
                      <a:pt x="150" y="689"/>
                      <a:pt x="151" y="683"/>
                    </a:cubicBezTo>
                    <a:cubicBezTo>
                      <a:pt x="153" y="675"/>
                      <a:pt x="157" y="669"/>
                      <a:pt x="158" y="663"/>
                    </a:cubicBezTo>
                    <a:cubicBezTo>
                      <a:pt x="161" y="650"/>
                      <a:pt x="164" y="635"/>
                      <a:pt x="167" y="621"/>
                    </a:cubicBezTo>
                    <a:cubicBezTo>
                      <a:pt x="170" y="606"/>
                      <a:pt x="176" y="591"/>
                      <a:pt x="179" y="577"/>
                    </a:cubicBezTo>
                    <a:cubicBezTo>
                      <a:pt x="181" y="566"/>
                      <a:pt x="186" y="556"/>
                      <a:pt x="190" y="546"/>
                    </a:cubicBezTo>
                    <a:cubicBezTo>
                      <a:pt x="194" y="536"/>
                      <a:pt x="199" y="526"/>
                      <a:pt x="203" y="516"/>
                    </a:cubicBezTo>
                    <a:cubicBezTo>
                      <a:pt x="217" y="492"/>
                      <a:pt x="238" y="470"/>
                      <a:pt x="249" y="446"/>
                    </a:cubicBezTo>
                    <a:cubicBezTo>
                      <a:pt x="250" y="445"/>
                      <a:pt x="250" y="444"/>
                      <a:pt x="251" y="443"/>
                    </a:cubicBezTo>
                    <a:moveTo>
                      <a:pt x="589" y="410"/>
                    </a:moveTo>
                    <a:cubicBezTo>
                      <a:pt x="588" y="411"/>
                      <a:pt x="587" y="412"/>
                      <a:pt x="586" y="413"/>
                    </a:cubicBezTo>
                    <a:cubicBezTo>
                      <a:pt x="582" y="420"/>
                      <a:pt x="581" y="430"/>
                      <a:pt x="583" y="436"/>
                    </a:cubicBezTo>
                    <a:cubicBezTo>
                      <a:pt x="587" y="447"/>
                      <a:pt x="600" y="453"/>
                      <a:pt x="613" y="453"/>
                    </a:cubicBezTo>
                    <a:cubicBezTo>
                      <a:pt x="618" y="453"/>
                      <a:pt x="623" y="452"/>
                      <a:pt x="627" y="450"/>
                    </a:cubicBezTo>
                    <a:cubicBezTo>
                      <a:pt x="629" y="449"/>
                      <a:pt x="631" y="447"/>
                      <a:pt x="632" y="446"/>
                    </a:cubicBezTo>
                    <a:cubicBezTo>
                      <a:pt x="629" y="447"/>
                      <a:pt x="625" y="447"/>
                      <a:pt x="621" y="447"/>
                    </a:cubicBezTo>
                    <a:cubicBezTo>
                      <a:pt x="610" y="447"/>
                      <a:pt x="599" y="443"/>
                      <a:pt x="592" y="435"/>
                    </a:cubicBezTo>
                    <a:cubicBezTo>
                      <a:pt x="588" y="430"/>
                      <a:pt x="587" y="425"/>
                      <a:pt x="587" y="421"/>
                    </a:cubicBezTo>
                    <a:cubicBezTo>
                      <a:pt x="587" y="417"/>
                      <a:pt x="588" y="413"/>
                      <a:pt x="589" y="410"/>
                    </a:cubicBezTo>
                    <a:moveTo>
                      <a:pt x="282" y="384"/>
                    </a:moveTo>
                    <a:cubicBezTo>
                      <a:pt x="277" y="398"/>
                      <a:pt x="271" y="412"/>
                      <a:pt x="263" y="424"/>
                    </a:cubicBezTo>
                    <a:cubicBezTo>
                      <a:pt x="271" y="412"/>
                      <a:pt x="279" y="400"/>
                      <a:pt x="285" y="387"/>
                    </a:cubicBezTo>
                    <a:cubicBezTo>
                      <a:pt x="284" y="386"/>
                      <a:pt x="283" y="385"/>
                      <a:pt x="282" y="384"/>
                    </a:cubicBezTo>
                    <a:moveTo>
                      <a:pt x="675" y="333"/>
                    </a:moveTo>
                    <a:cubicBezTo>
                      <a:pt x="666" y="351"/>
                      <a:pt x="661" y="369"/>
                      <a:pt x="661" y="389"/>
                    </a:cubicBezTo>
                    <a:cubicBezTo>
                      <a:pt x="662" y="427"/>
                      <a:pt x="688" y="454"/>
                      <a:pt x="722" y="466"/>
                    </a:cubicBezTo>
                    <a:cubicBezTo>
                      <a:pt x="737" y="471"/>
                      <a:pt x="752" y="473"/>
                      <a:pt x="768" y="473"/>
                    </a:cubicBezTo>
                    <a:cubicBezTo>
                      <a:pt x="790" y="473"/>
                      <a:pt x="812" y="469"/>
                      <a:pt x="833" y="465"/>
                    </a:cubicBezTo>
                    <a:cubicBezTo>
                      <a:pt x="869" y="457"/>
                      <a:pt x="905" y="451"/>
                      <a:pt x="939" y="439"/>
                    </a:cubicBezTo>
                    <a:cubicBezTo>
                      <a:pt x="952" y="435"/>
                      <a:pt x="965" y="430"/>
                      <a:pt x="977" y="424"/>
                    </a:cubicBezTo>
                    <a:cubicBezTo>
                      <a:pt x="939" y="440"/>
                      <a:pt x="900" y="449"/>
                      <a:pt x="861" y="456"/>
                    </a:cubicBezTo>
                    <a:cubicBezTo>
                      <a:pt x="861" y="456"/>
                      <a:pt x="861" y="456"/>
                      <a:pt x="861" y="456"/>
                    </a:cubicBezTo>
                    <a:cubicBezTo>
                      <a:pt x="860" y="456"/>
                      <a:pt x="859" y="456"/>
                      <a:pt x="858" y="456"/>
                    </a:cubicBezTo>
                    <a:cubicBezTo>
                      <a:pt x="858" y="456"/>
                      <a:pt x="858" y="456"/>
                      <a:pt x="858" y="456"/>
                    </a:cubicBezTo>
                    <a:cubicBezTo>
                      <a:pt x="831" y="463"/>
                      <a:pt x="804" y="469"/>
                      <a:pt x="777" y="469"/>
                    </a:cubicBezTo>
                    <a:cubicBezTo>
                      <a:pt x="777" y="469"/>
                      <a:pt x="777" y="469"/>
                      <a:pt x="777" y="469"/>
                    </a:cubicBezTo>
                    <a:cubicBezTo>
                      <a:pt x="777" y="469"/>
                      <a:pt x="777" y="469"/>
                      <a:pt x="777" y="469"/>
                    </a:cubicBezTo>
                    <a:cubicBezTo>
                      <a:pt x="777" y="469"/>
                      <a:pt x="777" y="469"/>
                      <a:pt x="777" y="469"/>
                    </a:cubicBezTo>
                    <a:cubicBezTo>
                      <a:pt x="769" y="469"/>
                      <a:pt x="760" y="468"/>
                      <a:pt x="752" y="467"/>
                    </a:cubicBezTo>
                    <a:cubicBezTo>
                      <a:pt x="751" y="467"/>
                      <a:pt x="751" y="467"/>
                      <a:pt x="751" y="467"/>
                    </a:cubicBezTo>
                    <a:cubicBezTo>
                      <a:pt x="751" y="467"/>
                      <a:pt x="751" y="467"/>
                      <a:pt x="751" y="467"/>
                    </a:cubicBezTo>
                    <a:cubicBezTo>
                      <a:pt x="712" y="461"/>
                      <a:pt x="677" y="438"/>
                      <a:pt x="668" y="400"/>
                    </a:cubicBezTo>
                    <a:cubicBezTo>
                      <a:pt x="666" y="393"/>
                      <a:pt x="666" y="386"/>
                      <a:pt x="666" y="379"/>
                    </a:cubicBezTo>
                    <a:cubicBezTo>
                      <a:pt x="666" y="363"/>
                      <a:pt x="669" y="348"/>
                      <a:pt x="675" y="333"/>
                    </a:cubicBezTo>
                    <a:moveTo>
                      <a:pt x="210" y="109"/>
                    </a:moveTo>
                    <a:cubicBezTo>
                      <a:pt x="207" y="114"/>
                      <a:pt x="205" y="119"/>
                      <a:pt x="203" y="125"/>
                    </a:cubicBezTo>
                    <a:cubicBezTo>
                      <a:pt x="191" y="164"/>
                      <a:pt x="207" y="214"/>
                      <a:pt x="232" y="245"/>
                    </a:cubicBezTo>
                    <a:cubicBezTo>
                      <a:pt x="253" y="271"/>
                      <a:pt x="281" y="291"/>
                      <a:pt x="308" y="310"/>
                    </a:cubicBezTo>
                    <a:cubicBezTo>
                      <a:pt x="341" y="333"/>
                      <a:pt x="375" y="355"/>
                      <a:pt x="411" y="373"/>
                    </a:cubicBezTo>
                    <a:cubicBezTo>
                      <a:pt x="437" y="387"/>
                      <a:pt x="469" y="400"/>
                      <a:pt x="500" y="400"/>
                    </a:cubicBezTo>
                    <a:cubicBezTo>
                      <a:pt x="509" y="400"/>
                      <a:pt x="518" y="399"/>
                      <a:pt x="527" y="396"/>
                    </a:cubicBezTo>
                    <a:cubicBezTo>
                      <a:pt x="534" y="394"/>
                      <a:pt x="540" y="391"/>
                      <a:pt x="546" y="387"/>
                    </a:cubicBezTo>
                    <a:cubicBezTo>
                      <a:pt x="540" y="390"/>
                      <a:pt x="533" y="392"/>
                      <a:pt x="526" y="394"/>
                    </a:cubicBezTo>
                    <a:cubicBezTo>
                      <a:pt x="526" y="394"/>
                      <a:pt x="525" y="394"/>
                      <a:pt x="525" y="394"/>
                    </a:cubicBezTo>
                    <a:cubicBezTo>
                      <a:pt x="525" y="394"/>
                      <a:pt x="525" y="394"/>
                      <a:pt x="525" y="394"/>
                    </a:cubicBezTo>
                    <a:cubicBezTo>
                      <a:pt x="525" y="394"/>
                      <a:pt x="525" y="394"/>
                      <a:pt x="525" y="394"/>
                    </a:cubicBezTo>
                    <a:cubicBezTo>
                      <a:pt x="520" y="394"/>
                      <a:pt x="515" y="395"/>
                      <a:pt x="510" y="395"/>
                    </a:cubicBezTo>
                    <a:cubicBezTo>
                      <a:pt x="510" y="395"/>
                      <a:pt x="510" y="395"/>
                      <a:pt x="510" y="395"/>
                    </a:cubicBezTo>
                    <a:cubicBezTo>
                      <a:pt x="510" y="395"/>
                      <a:pt x="510" y="395"/>
                      <a:pt x="510" y="395"/>
                    </a:cubicBezTo>
                    <a:cubicBezTo>
                      <a:pt x="510" y="395"/>
                      <a:pt x="510" y="395"/>
                      <a:pt x="510" y="395"/>
                    </a:cubicBezTo>
                    <a:cubicBezTo>
                      <a:pt x="485" y="395"/>
                      <a:pt x="461" y="388"/>
                      <a:pt x="439" y="378"/>
                    </a:cubicBezTo>
                    <a:cubicBezTo>
                      <a:pt x="439" y="378"/>
                      <a:pt x="439" y="378"/>
                      <a:pt x="439" y="378"/>
                    </a:cubicBezTo>
                    <a:cubicBezTo>
                      <a:pt x="438" y="378"/>
                      <a:pt x="438" y="378"/>
                      <a:pt x="438" y="378"/>
                    </a:cubicBezTo>
                    <a:cubicBezTo>
                      <a:pt x="438" y="377"/>
                      <a:pt x="438" y="377"/>
                      <a:pt x="437" y="377"/>
                    </a:cubicBezTo>
                    <a:cubicBezTo>
                      <a:pt x="437" y="377"/>
                      <a:pt x="437" y="377"/>
                      <a:pt x="437" y="377"/>
                    </a:cubicBezTo>
                    <a:cubicBezTo>
                      <a:pt x="437" y="377"/>
                      <a:pt x="437" y="377"/>
                      <a:pt x="437" y="377"/>
                    </a:cubicBezTo>
                    <a:cubicBezTo>
                      <a:pt x="437" y="377"/>
                      <a:pt x="437" y="377"/>
                      <a:pt x="436" y="377"/>
                    </a:cubicBezTo>
                    <a:cubicBezTo>
                      <a:pt x="436" y="377"/>
                      <a:pt x="436" y="377"/>
                      <a:pt x="436" y="377"/>
                    </a:cubicBezTo>
                    <a:cubicBezTo>
                      <a:pt x="436" y="377"/>
                      <a:pt x="435" y="376"/>
                      <a:pt x="435" y="376"/>
                    </a:cubicBezTo>
                    <a:cubicBezTo>
                      <a:pt x="435" y="376"/>
                      <a:pt x="435" y="376"/>
                      <a:pt x="435" y="376"/>
                    </a:cubicBezTo>
                    <a:cubicBezTo>
                      <a:pt x="435" y="376"/>
                      <a:pt x="435" y="376"/>
                      <a:pt x="435" y="376"/>
                    </a:cubicBezTo>
                    <a:cubicBezTo>
                      <a:pt x="385" y="352"/>
                      <a:pt x="336" y="322"/>
                      <a:pt x="291" y="287"/>
                    </a:cubicBezTo>
                    <a:cubicBezTo>
                      <a:pt x="260" y="263"/>
                      <a:pt x="227" y="236"/>
                      <a:pt x="215" y="198"/>
                    </a:cubicBezTo>
                    <a:cubicBezTo>
                      <a:pt x="209" y="182"/>
                      <a:pt x="204" y="162"/>
                      <a:pt x="204" y="143"/>
                    </a:cubicBezTo>
                    <a:cubicBezTo>
                      <a:pt x="204" y="131"/>
                      <a:pt x="206" y="120"/>
                      <a:pt x="210" y="109"/>
                    </a:cubicBezTo>
                    <a:moveTo>
                      <a:pt x="599" y="395"/>
                    </a:moveTo>
                    <a:cubicBezTo>
                      <a:pt x="603" y="393"/>
                      <a:pt x="607" y="391"/>
                      <a:pt x="613" y="390"/>
                    </a:cubicBezTo>
                    <a:cubicBezTo>
                      <a:pt x="613" y="388"/>
                      <a:pt x="613" y="388"/>
                      <a:pt x="613" y="388"/>
                    </a:cubicBezTo>
                    <a:cubicBezTo>
                      <a:pt x="621" y="388"/>
                      <a:pt x="630" y="391"/>
                      <a:pt x="636" y="393"/>
                    </a:cubicBezTo>
                    <a:cubicBezTo>
                      <a:pt x="644" y="399"/>
                      <a:pt x="649" y="410"/>
                      <a:pt x="649" y="421"/>
                    </a:cubicBezTo>
                    <a:cubicBezTo>
                      <a:pt x="649" y="429"/>
                      <a:pt x="646" y="437"/>
                      <a:pt x="641" y="441"/>
                    </a:cubicBezTo>
                    <a:cubicBezTo>
                      <a:pt x="638" y="449"/>
                      <a:pt x="633" y="454"/>
                      <a:pt x="624" y="457"/>
                    </a:cubicBezTo>
                    <a:cubicBezTo>
                      <a:pt x="620" y="458"/>
                      <a:pt x="616" y="459"/>
                      <a:pt x="612" y="459"/>
                    </a:cubicBezTo>
                    <a:cubicBezTo>
                      <a:pt x="597" y="459"/>
                      <a:pt x="580" y="451"/>
                      <a:pt x="576" y="435"/>
                    </a:cubicBezTo>
                    <a:cubicBezTo>
                      <a:pt x="572" y="420"/>
                      <a:pt x="580" y="403"/>
                      <a:pt x="595" y="398"/>
                    </a:cubicBezTo>
                    <a:cubicBezTo>
                      <a:pt x="594" y="397"/>
                      <a:pt x="594" y="396"/>
                      <a:pt x="595" y="396"/>
                    </a:cubicBezTo>
                    <a:cubicBezTo>
                      <a:pt x="597" y="396"/>
                      <a:pt x="598" y="395"/>
                      <a:pt x="599" y="395"/>
                    </a:cubicBezTo>
                    <a:moveTo>
                      <a:pt x="763" y="127"/>
                    </a:moveTo>
                    <a:cubicBezTo>
                      <a:pt x="770" y="127"/>
                      <a:pt x="778" y="127"/>
                      <a:pt x="785" y="127"/>
                    </a:cubicBezTo>
                    <a:cubicBezTo>
                      <a:pt x="787" y="127"/>
                      <a:pt x="789" y="127"/>
                      <a:pt x="790" y="127"/>
                    </a:cubicBezTo>
                    <a:cubicBezTo>
                      <a:pt x="818" y="127"/>
                      <a:pt x="842" y="133"/>
                      <a:pt x="868" y="142"/>
                    </a:cubicBezTo>
                    <a:cubicBezTo>
                      <a:pt x="869" y="142"/>
                      <a:pt x="869" y="144"/>
                      <a:pt x="867" y="144"/>
                    </a:cubicBezTo>
                    <a:cubicBezTo>
                      <a:pt x="867" y="144"/>
                      <a:pt x="867" y="144"/>
                      <a:pt x="867" y="144"/>
                    </a:cubicBezTo>
                    <a:cubicBezTo>
                      <a:pt x="841" y="138"/>
                      <a:pt x="817" y="132"/>
                      <a:pt x="790" y="132"/>
                    </a:cubicBezTo>
                    <a:cubicBezTo>
                      <a:pt x="789" y="132"/>
                      <a:pt x="787" y="132"/>
                      <a:pt x="785" y="132"/>
                    </a:cubicBezTo>
                    <a:cubicBezTo>
                      <a:pt x="754" y="133"/>
                      <a:pt x="724" y="133"/>
                      <a:pt x="693" y="133"/>
                    </a:cubicBezTo>
                    <a:cubicBezTo>
                      <a:pt x="693" y="133"/>
                      <a:pt x="693" y="133"/>
                      <a:pt x="693" y="133"/>
                    </a:cubicBezTo>
                    <a:cubicBezTo>
                      <a:pt x="691" y="133"/>
                      <a:pt x="690" y="130"/>
                      <a:pt x="693" y="129"/>
                    </a:cubicBezTo>
                    <a:cubicBezTo>
                      <a:pt x="711" y="127"/>
                      <a:pt x="728" y="127"/>
                      <a:pt x="746" y="127"/>
                    </a:cubicBezTo>
                    <a:cubicBezTo>
                      <a:pt x="749" y="127"/>
                      <a:pt x="752" y="127"/>
                      <a:pt x="754" y="127"/>
                    </a:cubicBezTo>
                    <a:cubicBezTo>
                      <a:pt x="757" y="127"/>
                      <a:pt x="760" y="127"/>
                      <a:pt x="763" y="127"/>
                    </a:cubicBezTo>
                    <a:moveTo>
                      <a:pt x="363" y="23"/>
                    </a:moveTo>
                    <a:cubicBezTo>
                      <a:pt x="363" y="23"/>
                      <a:pt x="363" y="23"/>
                      <a:pt x="363" y="23"/>
                    </a:cubicBezTo>
                    <a:cubicBezTo>
                      <a:pt x="363" y="23"/>
                      <a:pt x="363" y="23"/>
                      <a:pt x="363" y="23"/>
                    </a:cubicBezTo>
                    <a:cubicBezTo>
                      <a:pt x="374" y="23"/>
                      <a:pt x="384" y="24"/>
                      <a:pt x="394" y="27"/>
                    </a:cubicBezTo>
                    <a:cubicBezTo>
                      <a:pt x="394" y="27"/>
                      <a:pt x="394" y="27"/>
                      <a:pt x="394" y="27"/>
                    </a:cubicBezTo>
                    <a:cubicBezTo>
                      <a:pt x="395" y="27"/>
                      <a:pt x="395" y="27"/>
                      <a:pt x="396" y="27"/>
                    </a:cubicBezTo>
                    <a:cubicBezTo>
                      <a:pt x="396" y="27"/>
                      <a:pt x="396" y="27"/>
                      <a:pt x="396" y="27"/>
                    </a:cubicBezTo>
                    <a:cubicBezTo>
                      <a:pt x="411" y="32"/>
                      <a:pt x="425" y="39"/>
                      <a:pt x="439" y="47"/>
                    </a:cubicBezTo>
                    <a:cubicBezTo>
                      <a:pt x="464" y="48"/>
                      <a:pt x="487" y="59"/>
                      <a:pt x="510" y="71"/>
                    </a:cubicBezTo>
                    <a:cubicBezTo>
                      <a:pt x="543" y="89"/>
                      <a:pt x="578" y="105"/>
                      <a:pt x="616" y="110"/>
                    </a:cubicBezTo>
                    <a:cubicBezTo>
                      <a:pt x="616" y="110"/>
                      <a:pt x="616" y="110"/>
                      <a:pt x="616" y="110"/>
                    </a:cubicBezTo>
                    <a:cubicBezTo>
                      <a:pt x="584" y="109"/>
                      <a:pt x="553" y="100"/>
                      <a:pt x="524" y="86"/>
                    </a:cubicBezTo>
                    <a:cubicBezTo>
                      <a:pt x="499" y="74"/>
                      <a:pt x="475" y="59"/>
                      <a:pt x="448" y="53"/>
                    </a:cubicBezTo>
                    <a:cubicBezTo>
                      <a:pt x="474" y="71"/>
                      <a:pt x="496" y="93"/>
                      <a:pt x="515" y="117"/>
                    </a:cubicBezTo>
                    <a:cubicBezTo>
                      <a:pt x="535" y="146"/>
                      <a:pt x="550" y="180"/>
                      <a:pt x="567" y="213"/>
                    </a:cubicBezTo>
                    <a:cubicBezTo>
                      <a:pt x="584" y="241"/>
                      <a:pt x="598" y="273"/>
                      <a:pt x="598" y="306"/>
                    </a:cubicBezTo>
                    <a:cubicBezTo>
                      <a:pt x="598" y="311"/>
                      <a:pt x="597" y="317"/>
                      <a:pt x="596" y="323"/>
                    </a:cubicBezTo>
                    <a:cubicBezTo>
                      <a:pt x="594" y="335"/>
                      <a:pt x="590" y="346"/>
                      <a:pt x="585" y="355"/>
                    </a:cubicBezTo>
                    <a:cubicBezTo>
                      <a:pt x="583" y="358"/>
                      <a:pt x="582" y="361"/>
                      <a:pt x="580" y="364"/>
                    </a:cubicBezTo>
                    <a:cubicBezTo>
                      <a:pt x="562" y="395"/>
                      <a:pt x="534" y="406"/>
                      <a:pt x="504" y="406"/>
                    </a:cubicBezTo>
                    <a:cubicBezTo>
                      <a:pt x="465" y="406"/>
                      <a:pt x="423" y="388"/>
                      <a:pt x="391" y="371"/>
                    </a:cubicBezTo>
                    <a:cubicBezTo>
                      <a:pt x="349" y="348"/>
                      <a:pt x="308" y="322"/>
                      <a:pt x="271" y="292"/>
                    </a:cubicBezTo>
                    <a:cubicBezTo>
                      <a:pt x="242" y="269"/>
                      <a:pt x="215" y="244"/>
                      <a:pt x="203" y="208"/>
                    </a:cubicBezTo>
                    <a:cubicBezTo>
                      <a:pt x="191" y="176"/>
                      <a:pt x="184" y="135"/>
                      <a:pt x="203" y="105"/>
                    </a:cubicBezTo>
                    <a:cubicBezTo>
                      <a:pt x="223" y="72"/>
                      <a:pt x="266" y="52"/>
                      <a:pt x="300" y="35"/>
                    </a:cubicBezTo>
                    <a:cubicBezTo>
                      <a:pt x="302" y="34"/>
                      <a:pt x="305" y="33"/>
                      <a:pt x="308" y="31"/>
                    </a:cubicBezTo>
                    <a:cubicBezTo>
                      <a:pt x="310" y="35"/>
                      <a:pt x="310" y="35"/>
                      <a:pt x="310" y="35"/>
                    </a:cubicBezTo>
                    <a:cubicBezTo>
                      <a:pt x="310" y="35"/>
                      <a:pt x="311" y="35"/>
                      <a:pt x="311" y="35"/>
                    </a:cubicBezTo>
                    <a:cubicBezTo>
                      <a:pt x="311" y="35"/>
                      <a:pt x="311" y="35"/>
                      <a:pt x="312" y="35"/>
                    </a:cubicBezTo>
                    <a:cubicBezTo>
                      <a:pt x="329" y="27"/>
                      <a:pt x="346" y="23"/>
                      <a:pt x="363" y="23"/>
                    </a:cubicBezTo>
                    <a:cubicBezTo>
                      <a:pt x="363" y="23"/>
                      <a:pt x="363" y="23"/>
                      <a:pt x="363" y="23"/>
                    </a:cubicBezTo>
                    <a:moveTo>
                      <a:pt x="397" y="0"/>
                    </a:moveTo>
                    <a:cubicBezTo>
                      <a:pt x="358" y="0"/>
                      <a:pt x="321" y="11"/>
                      <a:pt x="285" y="31"/>
                    </a:cubicBezTo>
                    <a:cubicBezTo>
                      <a:pt x="193" y="82"/>
                      <a:pt x="126" y="162"/>
                      <a:pt x="89" y="259"/>
                    </a:cubicBezTo>
                    <a:cubicBezTo>
                      <a:pt x="81" y="280"/>
                      <a:pt x="75" y="300"/>
                      <a:pt x="69" y="321"/>
                    </a:cubicBezTo>
                    <a:cubicBezTo>
                      <a:pt x="49" y="392"/>
                      <a:pt x="34" y="463"/>
                      <a:pt x="20" y="536"/>
                    </a:cubicBezTo>
                    <a:cubicBezTo>
                      <a:pt x="11" y="587"/>
                      <a:pt x="0" y="639"/>
                      <a:pt x="4" y="691"/>
                    </a:cubicBezTo>
                    <a:cubicBezTo>
                      <a:pt x="8" y="723"/>
                      <a:pt x="22" y="761"/>
                      <a:pt x="58" y="767"/>
                    </a:cubicBezTo>
                    <a:cubicBezTo>
                      <a:pt x="62" y="768"/>
                      <a:pt x="66" y="768"/>
                      <a:pt x="70" y="768"/>
                    </a:cubicBezTo>
                    <a:cubicBezTo>
                      <a:pt x="75" y="768"/>
                      <a:pt x="80" y="768"/>
                      <a:pt x="84" y="766"/>
                    </a:cubicBezTo>
                    <a:cubicBezTo>
                      <a:pt x="88" y="764"/>
                      <a:pt x="93" y="762"/>
                      <a:pt x="97" y="759"/>
                    </a:cubicBezTo>
                    <a:cubicBezTo>
                      <a:pt x="96" y="758"/>
                      <a:pt x="96" y="756"/>
                      <a:pt x="98" y="755"/>
                    </a:cubicBezTo>
                    <a:cubicBezTo>
                      <a:pt x="154" y="704"/>
                      <a:pt x="150" y="620"/>
                      <a:pt x="179" y="554"/>
                    </a:cubicBezTo>
                    <a:cubicBezTo>
                      <a:pt x="185" y="539"/>
                      <a:pt x="191" y="525"/>
                      <a:pt x="200" y="511"/>
                    </a:cubicBezTo>
                    <a:cubicBezTo>
                      <a:pt x="210" y="498"/>
                      <a:pt x="220" y="485"/>
                      <a:pt x="229" y="472"/>
                    </a:cubicBezTo>
                    <a:cubicBezTo>
                      <a:pt x="238" y="457"/>
                      <a:pt x="246" y="442"/>
                      <a:pt x="256" y="427"/>
                    </a:cubicBezTo>
                    <a:cubicBezTo>
                      <a:pt x="265" y="413"/>
                      <a:pt x="274" y="398"/>
                      <a:pt x="279" y="382"/>
                    </a:cubicBezTo>
                    <a:cubicBezTo>
                      <a:pt x="269" y="373"/>
                      <a:pt x="260" y="364"/>
                      <a:pt x="252" y="354"/>
                    </a:cubicBezTo>
                    <a:cubicBezTo>
                      <a:pt x="251" y="352"/>
                      <a:pt x="252" y="349"/>
                      <a:pt x="254" y="349"/>
                    </a:cubicBezTo>
                    <a:cubicBezTo>
                      <a:pt x="255" y="349"/>
                      <a:pt x="255" y="349"/>
                      <a:pt x="256" y="349"/>
                    </a:cubicBezTo>
                    <a:cubicBezTo>
                      <a:pt x="267" y="357"/>
                      <a:pt x="278" y="367"/>
                      <a:pt x="288" y="376"/>
                    </a:cubicBezTo>
                    <a:cubicBezTo>
                      <a:pt x="289" y="374"/>
                      <a:pt x="290" y="372"/>
                      <a:pt x="290" y="369"/>
                    </a:cubicBezTo>
                    <a:cubicBezTo>
                      <a:pt x="291" y="368"/>
                      <a:pt x="291" y="368"/>
                      <a:pt x="291" y="368"/>
                    </a:cubicBezTo>
                    <a:cubicBezTo>
                      <a:pt x="298" y="374"/>
                      <a:pt x="304" y="380"/>
                      <a:pt x="311" y="385"/>
                    </a:cubicBezTo>
                    <a:cubicBezTo>
                      <a:pt x="314" y="386"/>
                      <a:pt x="316" y="387"/>
                      <a:pt x="318" y="389"/>
                    </a:cubicBezTo>
                    <a:cubicBezTo>
                      <a:pt x="319" y="388"/>
                      <a:pt x="319" y="386"/>
                      <a:pt x="320" y="385"/>
                    </a:cubicBezTo>
                    <a:cubicBezTo>
                      <a:pt x="292" y="368"/>
                      <a:pt x="266" y="349"/>
                      <a:pt x="243" y="327"/>
                    </a:cubicBezTo>
                    <a:cubicBezTo>
                      <a:pt x="241" y="325"/>
                      <a:pt x="243" y="323"/>
                      <a:pt x="245" y="323"/>
                    </a:cubicBezTo>
                    <a:cubicBezTo>
                      <a:pt x="245" y="323"/>
                      <a:pt x="246" y="323"/>
                      <a:pt x="246" y="323"/>
                    </a:cubicBezTo>
                    <a:cubicBezTo>
                      <a:pt x="271" y="343"/>
                      <a:pt x="297" y="361"/>
                      <a:pt x="324" y="378"/>
                    </a:cubicBezTo>
                    <a:cubicBezTo>
                      <a:pt x="328" y="371"/>
                      <a:pt x="328" y="371"/>
                      <a:pt x="328" y="371"/>
                    </a:cubicBezTo>
                    <a:cubicBezTo>
                      <a:pt x="363" y="392"/>
                      <a:pt x="400" y="410"/>
                      <a:pt x="437" y="425"/>
                    </a:cubicBezTo>
                    <a:cubicBezTo>
                      <a:pt x="486" y="445"/>
                      <a:pt x="538" y="458"/>
                      <a:pt x="588" y="471"/>
                    </a:cubicBezTo>
                    <a:cubicBezTo>
                      <a:pt x="641" y="485"/>
                      <a:pt x="691" y="498"/>
                      <a:pt x="745" y="505"/>
                    </a:cubicBezTo>
                    <a:cubicBezTo>
                      <a:pt x="763" y="508"/>
                      <a:pt x="782" y="509"/>
                      <a:pt x="801" y="509"/>
                    </a:cubicBezTo>
                    <a:cubicBezTo>
                      <a:pt x="819" y="509"/>
                      <a:pt x="836" y="508"/>
                      <a:pt x="855" y="507"/>
                    </a:cubicBezTo>
                    <a:cubicBezTo>
                      <a:pt x="867" y="506"/>
                      <a:pt x="880" y="505"/>
                      <a:pt x="893" y="501"/>
                    </a:cubicBezTo>
                    <a:cubicBezTo>
                      <a:pt x="895" y="506"/>
                      <a:pt x="895" y="506"/>
                      <a:pt x="895" y="506"/>
                    </a:cubicBezTo>
                    <a:cubicBezTo>
                      <a:pt x="911" y="502"/>
                      <a:pt x="926" y="497"/>
                      <a:pt x="942" y="490"/>
                    </a:cubicBezTo>
                    <a:cubicBezTo>
                      <a:pt x="942" y="490"/>
                      <a:pt x="942" y="490"/>
                      <a:pt x="942" y="490"/>
                    </a:cubicBezTo>
                    <a:cubicBezTo>
                      <a:pt x="942" y="490"/>
                      <a:pt x="943" y="490"/>
                      <a:pt x="942" y="491"/>
                    </a:cubicBezTo>
                    <a:cubicBezTo>
                      <a:pt x="927" y="499"/>
                      <a:pt x="911" y="505"/>
                      <a:pt x="895" y="509"/>
                    </a:cubicBezTo>
                    <a:cubicBezTo>
                      <a:pt x="898" y="521"/>
                      <a:pt x="898" y="521"/>
                      <a:pt x="898" y="521"/>
                    </a:cubicBezTo>
                    <a:cubicBezTo>
                      <a:pt x="900" y="521"/>
                      <a:pt x="901" y="520"/>
                      <a:pt x="903" y="520"/>
                    </a:cubicBezTo>
                    <a:cubicBezTo>
                      <a:pt x="912" y="518"/>
                      <a:pt x="921" y="516"/>
                      <a:pt x="930" y="513"/>
                    </a:cubicBezTo>
                    <a:cubicBezTo>
                      <a:pt x="933" y="512"/>
                      <a:pt x="935" y="510"/>
                      <a:pt x="937" y="509"/>
                    </a:cubicBezTo>
                    <a:cubicBezTo>
                      <a:pt x="951" y="501"/>
                      <a:pt x="964" y="492"/>
                      <a:pt x="978" y="483"/>
                    </a:cubicBezTo>
                    <a:cubicBezTo>
                      <a:pt x="978" y="483"/>
                      <a:pt x="978" y="483"/>
                      <a:pt x="979" y="483"/>
                    </a:cubicBezTo>
                    <a:cubicBezTo>
                      <a:pt x="980" y="483"/>
                      <a:pt x="981" y="485"/>
                      <a:pt x="980" y="486"/>
                    </a:cubicBezTo>
                    <a:cubicBezTo>
                      <a:pt x="964" y="500"/>
                      <a:pt x="949" y="511"/>
                      <a:pt x="931" y="520"/>
                    </a:cubicBezTo>
                    <a:cubicBezTo>
                      <a:pt x="931" y="520"/>
                      <a:pt x="931" y="521"/>
                      <a:pt x="931" y="522"/>
                    </a:cubicBezTo>
                    <a:cubicBezTo>
                      <a:pt x="930" y="527"/>
                      <a:pt x="929" y="532"/>
                      <a:pt x="929" y="538"/>
                    </a:cubicBezTo>
                    <a:cubicBezTo>
                      <a:pt x="929" y="551"/>
                      <a:pt x="932" y="565"/>
                      <a:pt x="934" y="580"/>
                    </a:cubicBezTo>
                    <a:cubicBezTo>
                      <a:pt x="935" y="598"/>
                      <a:pt x="936" y="616"/>
                      <a:pt x="936" y="634"/>
                    </a:cubicBezTo>
                    <a:cubicBezTo>
                      <a:pt x="936" y="651"/>
                      <a:pt x="936" y="669"/>
                      <a:pt x="935" y="686"/>
                    </a:cubicBezTo>
                    <a:cubicBezTo>
                      <a:pt x="932" y="721"/>
                      <a:pt x="928" y="757"/>
                      <a:pt x="927" y="792"/>
                    </a:cubicBezTo>
                    <a:cubicBezTo>
                      <a:pt x="927" y="801"/>
                      <a:pt x="926" y="810"/>
                      <a:pt x="926" y="819"/>
                    </a:cubicBezTo>
                    <a:cubicBezTo>
                      <a:pt x="926" y="837"/>
                      <a:pt x="928" y="855"/>
                      <a:pt x="929" y="875"/>
                    </a:cubicBezTo>
                    <a:cubicBezTo>
                      <a:pt x="931" y="896"/>
                      <a:pt x="939" y="930"/>
                      <a:pt x="959" y="944"/>
                    </a:cubicBezTo>
                    <a:cubicBezTo>
                      <a:pt x="960" y="944"/>
                      <a:pt x="961" y="944"/>
                      <a:pt x="961" y="944"/>
                    </a:cubicBezTo>
                    <a:cubicBezTo>
                      <a:pt x="968" y="944"/>
                      <a:pt x="974" y="943"/>
                      <a:pt x="980" y="941"/>
                    </a:cubicBezTo>
                    <a:cubicBezTo>
                      <a:pt x="1007" y="928"/>
                      <a:pt x="1024" y="905"/>
                      <a:pt x="1037" y="879"/>
                    </a:cubicBezTo>
                    <a:cubicBezTo>
                      <a:pt x="1065" y="823"/>
                      <a:pt x="1076" y="760"/>
                      <a:pt x="1088" y="698"/>
                    </a:cubicBezTo>
                    <a:cubicBezTo>
                      <a:pt x="1109" y="588"/>
                      <a:pt x="1126" y="468"/>
                      <a:pt x="1099" y="357"/>
                    </a:cubicBezTo>
                    <a:cubicBezTo>
                      <a:pt x="1094" y="335"/>
                      <a:pt x="1086" y="312"/>
                      <a:pt x="1077" y="291"/>
                    </a:cubicBezTo>
                    <a:cubicBezTo>
                      <a:pt x="1077" y="294"/>
                      <a:pt x="1078" y="298"/>
                      <a:pt x="1078" y="302"/>
                    </a:cubicBezTo>
                    <a:cubicBezTo>
                      <a:pt x="1078" y="317"/>
                      <a:pt x="1074" y="333"/>
                      <a:pt x="1068" y="348"/>
                    </a:cubicBezTo>
                    <a:cubicBezTo>
                      <a:pt x="1066" y="351"/>
                      <a:pt x="1064" y="355"/>
                      <a:pt x="1062" y="358"/>
                    </a:cubicBezTo>
                    <a:cubicBezTo>
                      <a:pt x="1038" y="412"/>
                      <a:pt x="972" y="439"/>
                      <a:pt x="916" y="455"/>
                    </a:cubicBezTo>
                    <a:cubicBezTo>
                      <a:pt x="893" y="461"/>
                      <a:pt x="869" y="465"/>
                      <a:pt x="846" y="470"/>
                    </a:cubicBezTo>
                    <a:cubicBezTo>
                      <a:pt x="825" y="475"/>
                      <a:pt x="804" y="480"/>
                      <a:pt x="782" y="481"/>
                    </a:cubicBezTo>
                    <a:cubicBezTo>
                      <a:pt x="778" y="481"/>
                      <a:pt x="773" y="482"/>
                      <a:pt x="769" y="482"/>
                    </a:cubicBezTo>
                    <a:cubicBezTo>
                      <a:pt x="739" y="482"/>
                      <a:pt x="709" y="475"/>
                      <a:pt x="686" y="456"/>
                    </a:cubicBezTo>
                    <a:cubicBezTo>
                      <a:pt x="625" y="407"/>
                      <a:pt x="660" y="328"/>
                      <a:pt x="702" y="280"/>
                    </a:cubicBezTo>
                    <a:cubicBezTo>
                      <a:pt x="733" y="244"/>
                      <a:pt x="771" y="215"/>
                      <a:pt x="814" y="194"/>
                    </a:cubicBezTo>
                    <a:cubicBezTo>
                      <a:pt x="844" y="177"/>
                      <a:pt x="877" y="166"/>
                      <a:pt x="912" y="161"/>
                    </a:cubicBezTo>
                    <a:cubicBezTo>
                      <a:pt x="911" y="161"/>
                      <a:pt x="912" y="161"/>
                      <a:pt x="912" y="161"/>
                    </a:cubicBezTo>
                    <a:cubicBezTo>
                      <a:pt x="912" y="161"/>
                      <a:pt x="912" y="161"/>
                      <a:pt x="912" y="161"/>
                    </a:cubicBezTo>
                    <a:cubicBezTo>
                      <a:pt x="913" y="161"/>
                      <a:pt x="914" y="161"/>
                      <a:pt x="915" y="161"/>
                    </a:cubicBezTo>
                    <a:cubicBezTo>
                      <a:pt x="918" y="160"/>
                      <a:pt x="921" y="160"/>
                      <a:pt x="923" y="160"/>
                    </a:cubicBezTo>
                    <a:cubicBezTo>
                      <a:pt x="924" y="153"/>
                      <a:pt x="924" y="153"/>
                      <a:pt x="924" y="153"/>
                    </a:cubicBezTo>
                    <a:cubicBezTo>
                      <a:pt x="949" y="155"/>
                      <a:pt x="973" y="162"/>
                      <a:pt x="993" y="173"/>
                    </a:cubicBezTo>
                    <a:cubicBezTo>
                      <a:pt x="997" y="175"/>
                      <a:pt x="1001" y="178"/>
                      <a:pt x="1005" y="180"/>
                    </a:cubicBezTo>
                    <a:cubicBezTo>
                      <a:pt x="978" y="154"/>
                      <a:pt x="947" y="133"/>
                      <a:pt x="911" y="119"/>
                    </a:cubicBezTo>
                    <a:cubicBezTo>
                      <a:pt x="862" y="101"/>
                      <a:pt x="809" y="98"/>
                      <a:pt x="757" y="94"/>
                    </a:cubicBezTo>
                    <a:cubicBezTo>
                      <a:pt x="703" y="90"/>
                      <a:pt x="649" y="83"/>
                      <a:pt x="599" y="65"/>
                    </a:cubicBezTo>
                    <a:cubicBezTo>
                      <a:pt x="548" y="47"/>
                      <a:pt x="501" y="20"/>
                      <a:pt x="450" y="7"/>
                    </a:cubicBezTo>
                    <a:cubicBezTo>
                      <a:pt x="432" y="2"/>
                      <a:pt x="414" y="0"/>
                      <a:pt x="397" y="0"/>
                    </a:cubicBezTo>
                  </a:path>
                </a:pathLst>
              </a:custGeom>
              <a:solidFill>
                <a:srgbClr val="EF827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402" name="Freeform 74">
                <a:extLst>
                  <a:ext uri="{FF2B5EF4-FFF2-40B4-BE49-F238E27FC236}">
                    <a16:creationId xmlns:a16="http://schemas.microsoft.com/office/drawing/2014/main" id="{17E42520-FE7E-4A3D-86B9-575269373BEE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777" y="1720"/>
                <a:ext cx="1215" cy="1025"/>
              </a:xfrm>
              <a:custGeom>
                <a:avLst/>
                <a:gdLst>
                  <a:gd name="T0" fmla="*/ 357 w 1147"/>
                  <a:gd name="T1" fmla="*/ 8 h 968"/>
                  <a:gd name="T2" fmla="*/ 117 w 1147"/>
                  <a:gd name="T3" fmla="*/ 227 h 968"/>
                  <a:gd name="T4" fmla="*/ 21 w 1147"/>
                  <a:gd name="T5" fmla="*/ 591 h 968"/>
                  <a:gd name="T6" fmla="*/ 83 w 1147"/>
                  <a:gd name="T7" fmla="*/ 793 h 968"/>
                  <a:gd name="T8" fmla="*/ 187 w 1147"/>
                  <a:gd name="T9" fmla="*/ 700 h 968"/>
                  <a:gd name="T10" fmla="*/ 185 w 1147"/>
                  <a:gd name="T11" fmla="*/ 696 h 968"/>
                  <a:gd name="T12" fmla="*/ 223 w 1147"/>
                  <a:gd name="T13" fmla="*/ 622 h 968"/>
                  <a:gd name="T14" fmla="*/ 317 w 1147"/>
                  <a:gd name="T15" fmla="*/ 441 h 968"/>
                  <a:gd name="T16" fmla="*/ 331 w 1147"/>
                  <a:gd name="T17" fmla="*/ 415 h 968"/>
                  <a:gd name="T18" fmla="*/ 247 w 1147"/>
                  <a:gd name="T19" fmla="*/ 551 h 968"/>
                  <a:gd name="T20" fmla="*/ 160 w 1147"/>
                  <a:gd name="T21" fmla="*/ 724 h 968"/>
                  <a:gd name="T22" fmla="*/ 120 w 1147"/>
                  <a:gd name="T23" fmla="*/ 773 h 968"/>
                  <a:gd name="T24" fmla="*/ 105 w 1147"/>
                  <a:gd name="T25" fmla="*/ 777 h 968"/>
                  <a:gd name="T26" fmla="*/ 48 w 1147"/>
                  <a:gd name="T27" fmla="*/ 770 h 968"/>
                  <a:gd name="T28" fmla="*/ 108 w 1147"/>
                  <a:gd name="T29" fmla="*/ 276 h 968"/>
                  <a:gd name="T30" fmla="*/ 306 w 1147"/>
                  <a:gd name="T31" fmla="*/ 42 h 968"/>
                  <a:gd name="T32" fmla="*/ 471 w 1147"/>
                  <a:gd name="T33" fmla="*/ 18 h 968"/>
                  <a:gd name="T34" fmla="*/ 778 w 1147"/>
                  <a:gd name="T35" fmla="*/ 105 h 968"/>
                  <a:gd name="T36" fmla="*/ 1026 w 1147"/>
                  <a:gd name="T37" fmla="*/ 191 h 968"/>
                  <a:gd name="T38" fmla="*/ 1098 w 1147"/>
                  <a:gd name="T39" fmla="*/ 302 h 968"/>
                  <a:gd name="T40" fmla="*/ 1120 w 1147"/>
                  <a:gd name="T41" fmla="*/ 368 h 968"/>
                  <a:gd name="T42" fmla="*/ 1058 w 1147"/>
                  <a:gd name="T43" fmla="*/ 890 h 968"/>
                  <a:gd name="T44" fmla="*/ 999 w 1147"/>
                  <a:gd name="T45" fmla="*/ 953 h 968"/>
                  <a:gd name="T46" fmla="*/ 971 w 1147"/>
                  <a:gd name="T47" fmla="*/ 958 h 968"/>
                  <a:gd name="T48" fmla="*/ 974 w 1147"/>
                  <a:gd name="T49" fmla="*/ 968 h 968"/>
                  <a:gd name="T50" fmla="*/ 1002 w 1147"/>
                  <a:gd name="T51" fmla="*/ 962 h 968"/>
                  <a:gd name="T52" fmla="*/ 1087 w 1147"/>
                  <a:gd name="T53" fmla="*/ 844 h 968"/>
                  <a:gd name="T54" fmla="*/ 1142 w 1147"/>
                  <a:gd name="T55" fmla="*/ 479 h 968"/>
                  <a:gd name="T56" fmla="*/ 876 w 1147"/>
                  <a:gd name="T57" fmla="*/ 105 h 968"/>
                  <a:gd name="T58" fmla="*/ 752 w 1147"/>
                  <a:gd name="T59" fmla="*/ 97 h 968"/>
                  <a:gd name="T60" fmla="*/ 748 w 1147"/>
                  <a:gd name="T61" fmla="*/ 91 h 968"/>
                  <a:gd name="T62" fmla="*/ 517 w 1147"/>
                  <a:gd name="T63" fmla="*/ 22 h 9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1147" h="968">
                    <a:moveTo>
                      <a:pt x="413" y="0"/>
                    </a:moveTo>
                    <a:cubicBezTo>
                      <a:pt x="395" y="0"/>
                      <a:pt x="376" y="2"/>
                      <a:pt x="357" y="8"/>
                    </a:cubicBezTo>
                    <a:cubicBezTo>
                      <a:pt x="355" y="8"/>
                      <a:pt x="353" y="9"/>
                      <a:pt x="351" y="10"/>
                    </a:cubicBezTo>
                    <a:cubicBezTo>
                      <a:pt x="249" y="44"/>
                      <a:pt x="162" y="131"/>
                      <a:pt x="117" y="227"/>
                    </a:cubicBezTo>
                    <a:cubicBezTo>
                      <a:pt x="90" y="283"/>
                      <a:pt x="74" y="344"/>
                      <a:pt x="59" y="405"/>
                    </a:cubicBezTo>
                    <a:cubicBezTo>
                      <a:pt x="44" y="467"/>
                      <a:pt x="32" y="529"/>
                      <a:pt x="21" y="591"/>
                    </a:cubicBezTo>
                    <a:cubicBezTo>
                      <a:pt x="12" y="642"/>
                      <a:pt x="0" y="703"/>
                      <a:pt x="22" y="752"/>
                    </a:cubicBezTo>
                    <a:cubicBezTo>
                      <a:pt x="34" y="779"/>
                      <a:pt x="57" y="793"/>
                      <a:pt x="83" y="793"/>
                    </a:cubicBezTo>
                    <a:cubicBezTo>
                      <a:pt x="95" y="793"/>
                      <a:pt x="107" y="790"/>
                      <a:pt x="119" y="783"/>
                    </a:cubicBezTo>
                    <a:cubicBezTo>
                      <a:pt x="151" y="765"/>
                      <a:pt x="171" y="733"/>
                      <a:pt x="187" y="700"/>
                    </a:cubicBezTo>
                    <a:cubicBezTo>
                      <a:pt x="187" y="700"/>
                      <a:pt x="187" y="700"/>
                      <a:pt x="187" y="700"/>
                    </a:cubicBezTo>
                    <a:cubicBezTo>
                      <a:pt x="185" y="700"/>
                      <a:pt x="183" y="698"/>
                      <a:pt x="185" y="696"/>
                    </a:cubicBezTo>
                    <a:cubicBezTo>
                      <a:pt x="199" y="674"/>
                      <a:pt x="209" y="650"/>
                      <a:pt x="220" y="627"/>
                    </a:cubicBezTo>
                    <a:cubicBezTo>
                      <a:pt x="221" y="625"/>
                      <a:pt x="222" y="624"/>
                      <a:pt x="223" y="622"/>
                    </a:cubicBezTo>
                    <a:cubicBezTo>
                      <a:pt x="244" y="578"/>
                      <a:pt x="266" y="534"/>
                      <a:pt x="290" y="491"/>
                    </a:cubicBezTo>
                    <a:cubicBezTo>
                      <a:pt x="299" y="474"/>
                      <a:pt x="308" y="458"/>
                      <a:pt x="317" y="441"/>
                    </a:cubicBezTo>
                    <a:cubicBezTo>
                      <a:pt x="317" y="441"/>
                      <a:pt x="317" y="441"/>
                      <a:pt x="317" y="441"/>
                    </a:cubicBezTo>
                    <a:cubicBezTo>
                      <a:pt x="322" y="432"/>
                      <a:pt x="326" y="424"/>
                      <a:pt x="331" y="415"/>
                    </a:cubicBezTo>
                    <a:cubicBezTo>
                      <a:pt x="329" y="414"/>
                      <a:pt x="327" y="413"/>
                      <a:pt x="325" y="411"/>
                    </a:cubicBezTo>
                    <a:cubicBezTo>
                      <a:pt x="300" y="459"/>
                      <a:pt x="273" y="504"/>
                      <a:pt x="247" y="551"/>
                    </a:cubicBezTo>
                    <a:cubicBezTo>
                      <a:pt x="221" y="600"/>
                      <a:pt x="201" y="652"/>
                      <a:pt x="174" y="701"/>
                    </a:cubicBezTo>
                    <a:cubicBezTo>
                      <a:pt x="171" y="708"/>
                      <a:pt x="166" y="716"/>
                      <a:pt x="160" y="724"/>
                    </a:cubicBezTo>
                    <a:cubicBezTo>
                      <a:pt x="152" y="743"/>
                      <a:pt x="140" y="762"/>
                      <a:pt x="122" y="772"/>
                    </a:cubicBezTo>
                    <a:cubicBezTo>
                      <a:pt x="122" y="773"/>
                      <a:pt x="121" y="773"/>
                      <a:pt x="120" y="773"/>
                    </a:cubicBezTo>
                    <a:cubicBezTo>
                      <a:pt x="119" y="773"/>
                      <a:pt x="118" y="771"/>
                      <a:pt x="118" y="770"/>
                    </a:cubicBezTo>
                    <a:cubicBezTo>
                      <a:pt x="114" y="773"/>
                      <a:pt x="109" y="775"/>
                      <a:pt x="105" y="777"/>
                    </a:cubicBezTo>
                    <a:cubicBezTo>
                      <a:pt x="97" y="781"/>
                      <a:pt x="89" y="784"/>
                      <a:pt x="81" y="784"/>
                    </a:cubicBezTo>
                    <a:cubicBezTo>
                      <a:pt x="70" y="784"/>
                      <a:pt x="59" y="779"/>
                      <a:pt x="48" y="770"/>
                    </a:cubicBezTo>
                    <a:cubicBezTo>
                      <a:pt x="7" y="734"/>
                      <a:pt x="20" y="661"/>
                      <a:pt x="27" y="615"/>
                    </a:cubicBezTo>
                    <a:cubicBezTo>
                      <a:pt x="45" y="501"/>
                      <a:pt x="68" y="384"/>
                      <a:pt x="108" y="276"/>
                    </a:cubicBezTo>
                    <a:cubicBezTo>
                      <a:pt x="108" y="274"/>
                      <a:pt x="109" y="272"/>
                      <a:pt x="110" y="270"/>
                    </a:cubicBezTo>
                    <a:cubicBezTo>
                      <a:pt x="147" y="173"/>
                      <a:pt x="214" y="93"/>
                      <a:pt x="306" y="42"/>
                    </a:cubicBezTo>
                    <a:cubicBezTo>
                      <a:pt x="342" y="22"/>
                      <a:pt x="379" y="11"/>
                      <a:pt x="418" y="11"/>
                    </a:cubicBezTo>
                    <a:cubicBezTo>
                      <a:pt x="435" y="11"/>
                      <a:pt x="453" y="13"/>
                      <a:pt x="471" y="18"/>
                    </a:cubicBezTo>
                    <a:cubicBezTo>
                      <a:pt x="522" y="31"/>
                      <a:pt x="569" y="58"/>
                      <a:pt x="620" y="76"/>
                    </a:cubicBezTo>
                    <a:cubicBezTo>
                      <a:pt x="670" y="94"/>
                      <a:pt x="724" y="101"/>
                      <a:pt x="778" y="105"/>
                    </a:cubicBezTo>
                    <a:cubicBezTo>
                      <a:pt x="830" y="109"/>
                      <a:pt x="883" y="112"/>
                      <a:pt x="932" y="130"/>
                    </a:cubicBezTo>
                    <a:cubicBezTo>
                      <a:pt x="968" y="144"/>
                      <a:pt x="999" y="165"/>
                      <a:pt x="1026" y="191"/>
                    </a:cubicBezTo>
                    <a:cubicBezTo>
                      <a:pt x="1026" y="191"/>
                      <a:pt x="1026" y="191"/>
                      <a:pt x="1026" y="191"/>
                    </a:cubicBezTo>
                    <a:cubicBezTo>
                      <a:pt x="1057" y="223"/>
                      <a:pt x="1081" y="261"/>
                      <a:pt x="1098" y="302"/>
                    </a:cubicBezTo>
                    <a:cubicBezTo>
                      <a:pt x="1098" y="302"/>
                      <a:pt x="1098" y="302"/>
                      <a:pt x="1098" y="302"/>
                    </a:cubicBezTo>
                    <a:cubicBezTo>
                      <a:pt x="1107" y="323"/>
                      <a:pt x="1115" y="346"/>
                      <a:pt x="1120" y="368"/>
                    </a:cubicBezTo>
                    <a:cubicBezTo>
                      <a:pt x="1147" y="479"/>
                      <a:pt x="1130" y="599"/>
                      <a:pt x="1109" y="709"/>
                    </a:cubicBezTo>
                    <a:cubicBezTo>
                      <a:pt x="1097" y="771"/>
                      <a:pt x="1086" y="834"/>
                      <a:pt x="1058" y="890"/>
                    </a:cubicBezTo>
                    <a:cubicBezTo>
                      <a:pt x="1045" y="916"/>
                      <a:pt x="1028" y="939"/>
                      <a:pt x="1001" y="952"/>
                    </a:cubicBezTo>
                    <a:cubicBezTo>
                      <a:pt x="1001" y="953"/>
                      <a:pt x="1000" y="953"/>
                      <a:pt x="999" y="953"/>
                    </a:cubicBezTo>
                    <a:cubicBezTo>
                      <a:pt x="991" y="957"/>
                      <a:pt x="983" y="959"/>
                      <a:pt x="976" y="959"/>
                    </a:cubicBezTo>
                    <a:cubicBezTo>
                      <a:pt x="974" y="959"/>
                      <a:pt x="972" y="958"/>
                      <a:pt x="971" y="958"/>
                    </a:cubicBezTo>
                    <a:cubicBezTo>
                      <a:pt x="972" y="960"/>
                      <a:pt x="973" y="961"/>
                      <a:pt x="975" y="962"/>
                    </a:cubicBezTo>
                    <a:cubicBezTo>
                      <a:pt x="977" y="964"/>
                      <a:pt x="976" y="967"/>
                      <a:pt x="974" y="968"/>
                    </a:cubicBezTo>
                    <a:cubicBezTo>
                      <a:pt x="975" y="968"/>
                      <a:pt x="975" y="968"/>
                      <a:pt x="976" y="968"/>
                    </a:cubicBezTo>
                    <a:cubicBezTo>
                      <a:pt x="984" y="968"/>
                      <a:pt x="993" y="966"/>
                      <a:pt x="1002" y="962"/>
                    </a:cubicBezTo>
                    <a:cubicBezTo>
                      <a:pt x="1043" y="944"/>
                      <a:pt x="1066" y="902"/>
                      <a:pt x="1081" y="862"/>
                    </a:cubicBezTo>
                    <a:cubicBezTo>
                      <a:pt x="1083" y="856"/>
                      <a:pt x="1085" y="850"/>
                      <a:pt x="1087" y="844"/>
                    </a:cubicBezTo>
                    <a:cubicBezTo>
                      <a:pt x="1106" y="787"/>
                      <a:pt x="1117" y="726"/>
                      <a:pt x="1126" y="666"/>
                    </a:cubicBezTo>
                    <a:cubicBezTo>
                      <a:pt x="1136" y="605"/>
                      <a:pt x="1143" y="542"/>
                      <a:pt x="1142" y="479"/>
                    </a:cubicBezTo>
                    <a:cubicBezTo>
                      <a:pt x="1142" y="368"/>
                      <a:pt x="1105" y="252"/>
                      <a:pt x="1022" y="175"/>
                    </a:cubicBezTo>
                    <a:cubicBezTo>
                      <a:pt x="981" y="137"/>
                      <a:pt x="931" y="115"/>
                      <a:pt x="876" y="105"/>
                    </a:cubicBezTo>
                    <a:cubicBezTo>
                      <a:pt x="837" y="98"/>
                      <a:pt x="797" y="96"/>
                      <a:pt x="758" y="92"/>
                    </a:cubicBezTo>
                    <a:cubicBezTo>
                      <a:pt x="757" y="95"/>
                      <a:pt x="755" y="97"/>
                      <a:pt x="752" y="97"/>
                    </a:cubicBezTo>
                    <a:cubicBezTo>
                      <a:pt x="750" y="97"/>
                      <a:pt x="748" y="96"/>
                      <a:pt x="748" y="93"/>
                    </a:cubicBezTo>
                    <a:cubicBezTo>
                      <a:pt x="748" y="92"/>
                      <a:pt x="748" y="92"/>
                      <a:pt x="748" y="91"/>
                    </a:cubicBezTo>
                    <a:cubicBezTo>
                      <a:pt x="730" y="90"/>
                      <a:pt x="711" y="87"/>
                      <a:pt x="693" y="84"/>
                    </a:cubicBezTo>
                    <a:cubicBezTo>
                      <a:pt x="631" y="71"/>
                      <a:pt x="576" y="45"/>
                      <a:pt x="517" y="22"/>
                    </a:cubicBezTo>
                    <a:cubicBezTo>
                      <a:pt x="483" y="8"/>
                      <a:pt x="448" y="0"/>
                      <a:pt x="413" y="0"/>
                    </a:cubicBezTo>
                  </a:path>
                </a:pathLst>
              </a:custGeom>
              <a:solidFill>
                <a:srgbClr val="544D4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403" name="Freeform 75">
                <a:extLst>
                  <a:ext uri="{FF2B5EF4-FFF2-40B4-BE49-F238E27FC236}">
                    <a16:creationId xmlns:a16="http://schemas.microsoft.com/office/drawing/2014/main" id="{4366D971-BA1F-4E61-92C4-4DE2778A0614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569" y="1816"/>
                <a:ext cx="11" cy="7"/>
              </a:xfrm>
              <a:custGeom>
                <a:avLst/>
                <a:gdLst>
                  <a:gd name="T0" fmla="*/ 0 w 10"/>
                  <a:gd name="T1" fmla="*/ 0 h 6"/>
                  <a:gd name="T2" fmla="*/ 0 w 10"/>
                  <a:gd name="T3" fmla="*/ 2 h 6"/>
                  <a:gd name="T4" fmla="*/ 4 w 10"/>
                  <a:gd name="T5" fmla="*/ 6 h 6"/>
                  <a:gd name="T6" fmla="*/ 10 w 10"/>
                  <a:gd name="T7" fmla="*/ 1 h 6"/>
                  <a:gd name="T8" fmla="*/ 0 w 10"/>
                  <a:gd name="T9" fmla="*/ 0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" h="6">
                    <a:moveTo>
                      <a:pt x="0" y="0"/>
                    </a:moveTo>
                    <a:cubicBezTo>
                      <a:pt x="0" y="1"/>
                      <a:pt x="0" y="1"/>
                      <a:pt x="0" y="2"/>
                    </a:cubicBezTo>
                    <a:cubicBezTo>
                      <a:pt x="0" y="5"/>
                      <a:pt x="2" y="6"/>
                      <a:pt x="4" y="6"/>
                    </a:cubicBezTo>
                    <a:cubicBezTo>
                      <a:pt x="7" y="6"/>
                      <a:pt x="9" y="4"/>
                      <a:pt x="10" y="1"/>
                    </a:cubicBezTo>
                    <a:cubicBezTo>
                      <a:pt x="6" y="1"/>
                      <a:pt x="3" y="1"/>
                      <a:pt x="0" y="0"/>
                    </a:cubicBezTo>
                  </a:path>
                </a:pathLst>
              </a:custGeom>
              <a:solidFill>
                <a:srgbClr val="14161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404" name="Freeform 76">
                <a:extLst>
                  <a:ext uri="{FF2B5EF4-FFF2-40B4-BE49-F238E27FC236}">
                    <a16:creationId xmlns:a16="http://schemas.microsoft.com/office/drawing/2014/main" id="{55602395-8E71-4A2B-8945-0AD74A6C971D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2127" y="2145"/>
                <a:ext cx="679" cy="600"/>
              </a:xfrm>
              <a:custGeom>
                <a:avLst/>
                <a:gdLst>
                  <a:gd name="T0" fmla="*/ 623 w 641"/>
                  <a:gd name="T1" fmla="*/ 551 h 567"/>
                  <a:gd name="T2" fmla="*/ 630 w 641"/>
                  <a:gd name="T3" fmla="*/ 561 h 567"/>
                  <a:gd name="T4" fmla="*/ 630 w 641"/>
                  <a:gd name="T5" fmla="*/ 565 h 567"/>
                  <a:gd name="T6" fmla="*/ 641 w 641"/>
                  <a:gd name="T7" fmla="*/ 567 h 567"/>
                  <a:gd name="T8" fmla="*/ 626 w 641"/>
                  <a:gd name="T9" fmla="*/ 553 h 567"/>
                  <a:gd name="T10" fmla="*/ 623 w 641"/>
                  <a:gd name="T11" fmla="*/ 551 h 567"/>
                  <a:gd name="T12" fmla="*/ 575 w 641"/>
                  <a:gd name="T13" fmla="*/ 145 h 567"/>
                  <a:gd name="T14" fmla="*/ 565 w 641"/>
                  <a:gd name="T15" fmla="*/ 148 h 567"/>
                  <a:gd name="T16" fmla="*/ 574 w 641"/>
                  <a:gd name="T17" fmla="*/ 292 h 567"/>
                  <a:gd name="T18" fmla="*/ 571 w 641"/>
                  <a:gd name="T19" fmla="*/ 340 h 567"/>
                  <a:gd name="T20" fmla="*/ 581 w 641"/>
                  <a:gd name="T21" fmla="*/ 510 h 567"/>
                  <a:gd name="T22" fmla="*/ 623 w 641"/>
                  <a:gd name="T23" fmla="*/ 562 h 567"/>
                  <a:gd name="T24" fmla="*/ 608 w 641"/>
                  <a:gd name="T25" fmla="*/ 539 h 567"/>
                  <a:gd name="T26" fmla="*/ 592 w 641"/>
                  <a:gd name="T27" fmla="*/ 512 h 567"/>
                  <a:gd name="T28" fmla="*/ 578 w 641"/>
                  <a:gd name="T29" fmla="*/ 446 h 567"/>
                  <a:gd name="T30" fmla="*/ 582 w 641"/>
                  <a:gd name="T31" fmla="*/ 327 h 567"/>
                  <a:gd name="T32" fmla="*/ 575 w 641"/>
                  <a:gd name="T33" fmla="*/ 145 h 567"/>
                  <a:gd name="T34" fmla="*/ 569 w 641"/>
                  <a:gd name="T35" fmla="*/ 137 h 567"/>
                  <a:gd name="T36" fmla="*/ 564 w 641"/>
                  <a:gd name="T37" fmla="*/ 140 h 567"/>
                  <a:gd name="T38" fmla="*/ 564 w 641"/>
                  <a:gd name="T39" fmla="*/ 141 h 567"/>
                  <a:gd name="T40" fmla="*/ 573 w 641"/>
                  <a:gd name="T41" fmla="*/ 138 h 567"/>
                  <a:gd name="T42" fmla="*/ 572 w 641"/>
                  <a:gd name="T43" fmla="*/ 137 h 567"/>
                  <a:gd name="T44" fmla="*/ 569 w 641"/>
                  <a:gd name="T45" fmla="*/ 137 h 567"/>
                  <a:gd name="T46" fmla="*/ 2 w 641"/>
                  <a:gd name="T47" fmla="*/ 0 h 567"/>
                  <a:gd name="T48" fmla="*/ 0 w 641"/>
                  <a:gd name="T49" fmla="*/ 1 h 567"/>
                  <a:gd name="T50" fmla="*/ 5 w 641"/>
                  <a:gd name="T51" fmla="*/ 5 h 567"/>
                  <a:gd name="T52" fmla="*/ 6 w 641"/>
                  <a:gd name="T53" fmla="*/ 4 h 567"/>
                  <a:gd name="T54" fmla="*/ 2 w 641"/>
                  <a:gd name="T55" fmla="*/ 0 h 5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641" h="567">
                    <a:moveTo>
                      <a:pt x="623" y="551"/>
                    </a:moveTo>
                    <a:cubicBezTo>
                      <a:pt x="625" y="555"/>
                      <a:pt x="627" y="558"/>
                      <a:pt x="630" y="561"/>
                    </a:cubicBezTo>
                    <a:cubicBezTo>
                      <a:pt x="631" y="562"/>
                      <a:pt x="630" y="564"/>
                      <a:pt x="630" y="565"/>
                    </a:cubicBezTo>
                    <a:cubicBezTo>
                      <a:pt x="633" y="566"/>
                      <a:pt x="637" y="567"/>
                      <a:pt x="641" y="567"/>
                    </a:cubicBezTo>
                    <a:cubicBezTo>
                      <a:pt x="635" y="564"/>
                      <a:pt x="630" y="559"/>
                      <a:pt x="626" y="553"/>
                    </a:cubicBezTo>
                    <a:cubicBezTo>
                      <a:pt x="625" y="553"/>
                      <a:pt x="624" y="552"/>
                      <a:pt x="623" y="551"/>
                    </a:cubicBezTo>
                    <a:moveTo>
                      <a:pt x="575" y="145"/>
                    </a:moveTo>
                    <a:cubicBezTo>
                      <a:pt x="572" y="146"/>
                      <a:pt x="569" y="147"/>
                      <a:pt x="565" y="148"/>
                    </a:cubicBezTo>
                    <a:cubicBezTo>
                      <a:pt x="577" y="196"/>
                      <a:pt x="577" y="243"/>
                      <a:pt x="574" y="292"/>
                    </a:cubicBezTo>
                    <a:cubicBezTo>
                      <a:pt x="573" y="308"/>
                      <a:pt x="572" y="324"/>
                      <a:pt x="571" y="340"/>
                    </a:cubicBezTo>
                    <a:cubicBezTo>
                      <a:pt x="567" y="396"/>
                      <a:pt x="564" y="456"/>
                      <a:pt x="581" y="510"/>
                    </a:cubicBezTo>
                    <a:cubicBezTo>
                      <a:pt x="589" y="534"/>
                      <a:pt x="604" y="553"/>
                      <a:pt x="623" y="562"/>
                    </a:cubicBezTo>
                    <a:cubicBezTo>
                      <a:pt x="617" y="555"/>
                      <a:pt x="612" y="548"/>
                      <a:pt x="608" y="539"/>
                    </a:cubicBezTo>
                    <a:cubicBezTo>
                      <a:pt x="601" y="532"/>
                      <a:pt x="596" y="523"/>
                      <a:pt x="592" y="512"/>
                    </a:cubicBezTo>
                    <a:cubicBezTo>
                      <a:pt x="584" y="491"/>
                      <a:pt x="580" y="469"/>
                      <a:pt x="578" y="446"/>
                    </a:cubicBezTo>
                    <a:cubicBezTo>
                      <a:pt x="575" y="406"/>
                      <a:pt x="579" y="365"/>
                      <a:pt x="582" y="327"/>
                    </a:cubicBezTo>
                    <a:cubicBezTo>
                      <a:pt x="586" y="265"/>
                      <a:pt x="589" y="206"/>
                      <a:pt x="575" y="145"/>
                    </a:cubicBezTo>
                    <a:moveTo>
                      <a:pt x="569" y="137"/>
                    </a:moveTo>
                    <a:cubicBezTo>
                      <a:pt x="567" y="137"/>
                      <a:pt x="564" y="138"/>
                      <a:pt x="564" y="140"/>
                    </a:cubicBezTo>
                    <a:cubicBezTo>
                      <a:pt x="564" y="140"/>
                      <a:pt x="564" y="141"/>
                      <a:pt x="564" y="141"/>
                    </a:cubicBezTo>
                    <a:cubicBezTo>
                      <a:pt x="567" y="140"/>
                      <a:pt x="570" y="139"/>
                      <a:pt x="573" y="138"/>
                    </a:cubicBezTo>
                    <a:cubicBezTo>
                      <a:pt x="572" y="138"/>
                      <a:pt x="572" y="138"/>
                      <a:pt x="572" y="137"/>
                    </a:cubicBezTo>
                    <a:cubicBezTo>
                      <a:pt x="571" y="137"/>
                      <a:pt x="570" y="137"/>
                      <a:pt x="569" y="137"/>
                    </a:cubicBezTo>
                    <a:moveTo>
                      <a:pt x="2" y="0"/>
                    </a:moveTo>
                    <a:cubicBezTo>
                      <a:pt x="1" y="0"/>
                      <a:pt x="0" y="0"/>
                      <a:pt x="0" y="1"/>
                    </a:cubicBezTo>
                    <a:cubicBezTo>
                      <a:pt x="2" y="3"/>
                      <a:pt x="3" y="4"/>
                      <a:pt x="5" y="5"/>
                    </a:cubicBezTo>
                    <a:cubicBezTo>
                      <a:pt x="5" y="5"/>
                      <a:pt x="6" y="5"/>
                      <a:pt x="6" y="4"/>
                    </a:cubicBezTo>
                    <a:cubicBezTo>
                      <a:pt x="7" y="2"/>
                      <a:pt x="5" y="0"/>
                      <a:pt x="2" y="0"/>
                    </a:cubicBezTo>
                  </a:path>
                </a:pathLst>
              </a:custGeom>
              <a:solidFill>
                <a:srgbClr val="544D4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405" name="Freeform 77">
                <a:extLst>
                  <a:ext uri="{FF2B5EF4-FFF2-40B4-BE49-F238E27FC236}">
                    <a16:creationId xmlns:a16="http://schemas.microsoft.com/office/drawing/2014/main" id="{FEF4ED2E-46A2-4199-93DD-61DCED3EAF27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065" y="2101"/>
                <a:ext cx="774" cy="211"/>
              </a:xfrm>
              <a:custGeom>
                <a:avLst/>
                <a:gdLst>
                  <a:gd name="T0" fmla="*/ 3 w 730"/>
                  <a:gd name="T1" fmla="*/ 0 h 199"/>
                  <a:gd name="T2" fmla="*/ 1 w 730"/>
                  <a:gd name="T3" fmla="*/ 5 h 199"/>
                  <a:gd name="T4" fmla="*/ 28 w 730"/>
                  <a:gd name="T5" fmla="*/ 33 h 199"/>
                  <a:gd name="T6" fmla="*/ 29 w 730"/>
                  <a:gd name="T7" fmla="*/ 28 h 199"/>
                  <a:gd name="T8" fmla="*/ 31 w 730"/>
                  <a:gd name="T9" fmla="*/ 27 h 199"/>
                  <a:gd name="T10" fmla="*/ 32 w 730"/>
                  <a:gd name="T11" fmla="*/ 29 h 199"/>
                  <a:gd name="T12" fmla="*/ 31 w 730"/>
                  <a:gd name="T13" fmla="*/ 35 h 199"/>
                  <a:gd name="T14" fmla="*/ 34 w 730"/>
                  <a:gd name="T15" fmla="*/ 38 h 199"/>
                  <a:gd name="T16" fmla="*/ 34 w 730"/>
                  <a:gd name="T17" fmla="*/ 38 h 199"/>
                  <a:gd name="T18" fmla="*/ 53 w 730"/>
                  <a:gd name="T19" fmla="*/ 51 h 199"/>
                  <a:gd name="T20" fmla="*/ 59 w 730"/>
                  <a:gd name="T21" fmla="*/ 55 h 199"/>
                  <a:gd name="T22" fmla="*/ 59 w 730"/>
                  <a:gd name="T23" fmla="*/ 55 h 199"/>
                  <a:gd name="T24" fmla="*/ 59 w 730"/>
                  <a:gd name="T25" fmla="*/ 55 h 199"/>
                  <a:gd name="T26" fmla="*/ 75 w 730"/>
                  <a:gd name="T27" fmla="*/ 65 h 199"/>
                  <a:gd name="T28" fmla="*/ 78 w 730"/>
                  <a:gd name="T29" fmla="*/ 62 h 199"/>
                  <a:gd name="T30" fmla="*/ 78 w 730"/>
                  <a:gd name="T31" fmla="*/ 62 h 199"/>
                  <a:gd name="T32" fmla="*/ 80 w 730"/>
                  <a:gd name="T33" fmla="*/ 64 h 199"/>
                  <a:gd name="T34" fmla="*/ 78 w 730"/>
                  <a:gd name="T35" fmla="*/ 66 h 199"/>
                  <a:gd name="T36" fmla="*/ 170 w 730"/>
                  <a:gd name="T37" fmla="*/ 110 h 199"/>
                  <a:gd name="T38" fmla="*/ 269 w 730"/>
                  <a:gd name="T39" fmla="*/ 149 h 199"/>
                  <a:gd name="T40" fmla="*/ 369 w 730"/>
                  <a:gd name="T41" fmla="*/ 177 h 199"/>
                  <a:gd name="T42" fmla="*/ 562 w 730"/>
                  <a:gd name="T43" fmla="*/ 199 h 199"/>
                  <a:gd name="T44" fmla="*/ 566 w 730"/>
                  <a:gd name="T45" fmla="*/ 199 h 199"/>
                  <a:gd name="T46" fmla="*/ 623 w 730"/>
                  <a:gd name="T47" fmla="*/ 189 h 199"/>
                  <a:gd name="T48" fmla="*/ 633 w 730"/>
                  <a:gd name="T49" fmla="*/ 186 h 199"/>
                  <a:gd name="T50" fmla="*/ 638 w 730"/>
                  <a:gd name="T51" fmla="*/ 185 h 199"/>
                  <a:gd name="T52" fmla="*/ 650 w 730"/>
                  <a:gd name="T53" fmla="*/ 182 h 199"/>
                  <a:gd name="T54" fmla="*/ 670 w 730"/>
                  <a:gd name="T55" fmla="*/ 175 h 199"/>
                  <a:gd name="T56" fmla="*/ 678 w 730"/>
                  <a:gd name="T57" fmla="*/ 166 h 199"/>
                  <a:gd name="T58" fmla="*/ 679 w 730"/>
                  <a:gd name="T59" fmla="*/ 166 h 199"/>
                  <a:gd name="T60" fmla="*/ 680 w 730"/>
                  <a:gd name="T61" fmla="*/ 169 h 199"/>
                  <a:gd name="T62" fmla="*/ 677 w 730"/>
                  <a:gd name="T63" fmla="*/ 172 h 199"/>
                  <a:gd name="T64" fmla="*/ 680 w 730"/>
                  <a:gd name="T65" fmla="*/ 171 h 199"/>
                  <a:gd name="T66" fmla="*/ 729 w 730"/>
                  <a:gd name="T67" fmla="*/ 137 h 199"/>
                  <a:gd name="T68" fmla="*/ 728 w 730"/>
                  <a:gd name="T69" fmla="*/ 134 h 199"/>
                  <a:gd name="T70" fmla="*/ 727 w 730"/>
                  <a:gd name="T71" fmla="*/ 134 h 199"/>
                  <a:gd name="T72" fmla="*/ 686 w 730"/>
                  <a:gd name="T73" fmla="*/ 160 h 199"/>
                  <a:gd name="T74" fmla="*/ 679 w 730"/>
                  <a:gd name="T75" fmla="*/ 164 h 199"/>
                  <a:gd name="T76" fmla="*/ 679 w 730"/>
                  <a:gd name="T77" fmla="*/ 164 h 199"/>
                  <a:gd name="T78" fmla="*/ 642 w 730"/>
                  <a:gd name="T79" fmla="*/ 176 h 199"/>
                  <a:gd name="T80" fmla="*/ 636 w 730"/>
                  <a:gd name="T81" fmla="*/ 177 h 199"/>
                  <a:gd name="T82" fmla="*/ 631 w 730"/>
                  <a:gd name="T83" fmla="*/ 179 h 199"/>
                  <a:gd name="T84" fmla="*/ 622 w 730"/>
                  <a:gd name="T85" fmla="*/ 182 h 199"/>
                  <a:gd name="T86" fmla="*/ 601 w 730"/>
                  <a:gd name="T87" fmla="*/ 188 h 199"/>
                  <a:gd name="T88" fmla="*/ 573 w 730"/>
                  <a:gd name="T89" fmla="*/ 191 h 199"/>
                  <a:gd name="T90" fmla="*/ 548 w 730"/>
                  <a:gd name="T91" fmla="*/ 191 h 199"/>
                  <a:gd name="T92" fmla="*/ 460 w 730"/>
                  <a:gd name="T93" fmla="*/ 181 h 199"/>
                  <a:gd name="T94" fmla="*/ 364 w 730"/>
                  <a:gd name="T95" fmla="*/ 167 h 199"/>
                  <a:gd name="T96" fmla="*/ 271 w 730"/>
                  <a:gd name="T97" fmla="*/ 140 h 199"/>
                  <a:gd name="T98" fmla="*/ 174 w 730"/>
                  <a:gd name="T99" fmla="*/ 102 h 199"/>
                  <a:gd name="T100" fmla="*/ 91 w 730"/>
                  <a:gd name="T101" fmla="*/ 61 h 199"/>
                  <a:gd name="T102" fmla="*/ 84 w 730"/>
                  <a:gd name="T103" fmla="*/ 58 h 199"/>
                  <a:gd name="T104" fmla="*/ 64 w 730"/>
                  <a:gd name="T105" fmla="*/ 46 h 199"/>
                  <a:gd name="T106" fmla="*/ 64 w 730"/>
                  <a:gd name="T107" fmla="*/ 46 h 199"/>
                  <a:gd name="T108" fmla="*/ 63 w 730"/>
                  <a:gd name="T109" fmla="*/ 46 h 199"/>
                  <a:gd name="T110" fmla="*/ 58 w 730"/>
                  <a:gd name="T111" fmla="*/ 42 h 199"/>
                  <a:gd name="T112" fmla="*/ 43 w 730"/>
                  <a:gd name="T113" fmla="*/ 32 h 199"/>
                  <a:gd name="T114" fmla="*/ 37 w 730"/>
                  <a:gd name="T115" fmla="*/ 27 h 199"/>
                  <a:gd name="T116" fmla="*/ 37 w 730"/>
                  <a:gd name="T117" fmla="*/ 27 h 199"/>
                  <a:gd name="T118" fmla="*/ 5 w 730"/>
                  <a:gd name="T119" fmla="*/ 0 h 199"/>
                  <a:gd name="T120" fmla="*/ 3 w 730"/>
                  <a:gd name="T121" fmla="*/ 0 h 1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730" h="199">
                    <a:moveTo>
                      <a:pt x="3" y="0"/>
                    </a:moveTo>
                    <a:cubicBezTo>
                      <a:pt x="1" y="0"/>
                      <a:pt x="0" y="3"/>
                      <a:pt x="1" y="5"/>
                    </a:cubicBezTo>
                    <a:cubicBezTo>
                      <a:pt x="9" y="15"/>
                      <a:pt x="18" y="24"/>
                      <a:pt x="28" y="33"/>
                    </a:cubicBezTo>
                    <a:cubicBezTo>
                      <a:pt x="28" y="31"/>
                      <a:pt x="29" y="30"/>
                      <a:pt x="29" y="28"/>
                    </a:cubicBezTo>
                    <a:cubicBezTo>
                      <a:pt x="29" y="27"/>
                      <a:pt x="30" y="27"/>
                      <a:pt x="31" y="27"/>
                    </a:cubicBezTo>
                    <a:cubicBezTo>
                      <a:pt x="32" y="27"/>
                      <a:pt x="33" y="28"/>
                      <a:pt x="32" y="29"/>
                    </a:cubicBezTo>
                    <a:cubicBezTo>
                      <a:pt x="32" y="31"/>
                      <a:pt x="31" y="33"/>
                      <a:pt x="31" y="35"/>
                    </a:cubicBezTo>
                    <a:cubicBezTo>
                      <a:pt x="32" y="36"/>
                      <a:pt x="33" y="37"/>
                      <a:pt x="34" y="38"/>
                    </a:cubicBezTo>
                    <a:cubicBezTo>
                      <a:pt x="34" y="38"/>
                      <a:pt x="34" y="38"/>
                      <a:pt x="34" y="38"/>
                    </a:cubicBezTo>
                    <a:cubicBezTo>
                      <a:pt x="40" y="42"/>
                      <a:pt x="46" y="47"/>
                      <a:pt x="53" y="51"/>
                    </a:cubicBezTo>
                    <a:cubicBezTo>
                      <a:pt x="55" y="53"/>
                      <a:pt x="57" y="54"/>
                      <a:pt x="59" y="55"/>
                    </a:cubicBezTo>
                    <a:cubicBezTo>
                      <a:pt x="59" y="55"/>
                      <a:pt x="59" y="55"/>
                      <a:pt x="59" y="55"/>
                    </a:cubicBezTo>
                    <a:cubicBezTo>
                      <a:pt x="59" y="55"/>
                      <a:pt x="59" y="55"/>
                      <a:pt x="59" y="55"/>
                    </a:cubicBezTo>
                    <a:cubicBezTo>
                      <a:pt x="64" y="59"/>
                      <a:pt x="69" y="62"/>
                      <a:pt x="75" y="65"/>
                    </a:cubicBezTo>
                    <a:cubicBezTo>
                      <a:pt x="76" y="64"/>
                      <a:pt x="77" y="63"/>
                      <a:pt x="78" y="62"/>
                    </a:cubicBezTo>
                    <a:cubicBezTo>
                      <a:pt x="78" y="62"/>
                      <a:pt x="78" y="62"/>
                      <a:pt x="78" y="62"/>
                    </a:cubicBezTo>
                    <a:cubicBezTo>
                      <a:pt x="79" y="62"/>
                      <a:pt x="80" y="63"/>
                      <a:pt x="80" y="64"/>
                    </a:cubicBezTo>
                    <a:cubicBezTo>
                      <a:pt x="79" y="65"/>
                      <a:pt x="78" y="66"/>
                      <a:pt x="78" y="66"/>
                    </a:cubicBezTo>
                    <a:cubicBezTo>
                      <a:pt x="108" y="83"/>
                      <a:pt x="141" y="97"/>
                      <a:pt x="170" y="110"/>
                    </a:cubicBezTo>
                    <a:cubicBezTo>
                      <a:pt x="203" y="125"/>
                      <a:pt x="236" y="136"/>
                      <a:pt x="269" y="149"/>
                    </a:cubicBezTo>
                    <a:cubicBezTo>
                      <a:pt x="302" y="161"/>
                      <a:pt x="334" y="171"/>
                      <a:pt x="369" y="177"/>
                    </a:cubicBezTo>
                    <a:cubicBezTo>
                      <a:pt x="433" y="187"/>
                      <a:pt x="497" y="197"/>
                      <a:pt x="562" y="199"/>
                    </a:cubicBezTo>
                    <a:cubicBezTo>
                      <a:pt x="563" y="199"/>
                      <a:pt x="564" y="199"/>
                      <a:pt x="566" y="199"/>
                    </a:cubicBezTo>
                    <a:cubicBezTo>
                      <a:pt x="586" y="199"/>
                      <a:pt x="605" y="195"/>
                      <a:pt x="623" y="189"/>
                    </a:cubicBezTo>
                    <a:cubicBezTo>
                      <a:pt x="627" y="188"/>
                      <a:pt x="630" y="187"/>
                      <a:pt x="633" y="186"/>
                    </a:cubicBezTo>
                    <a:cubicBezTo>
                      <a:pt x="635" y="186"/>
                      <a:pt x="637" y="186"/>
                      <a:pt x="638" y="185"/>
                    </a:cubicBezTo>
                    <a:cubicBezTo>
                      <a:pt x="642" y="184"/>
                      <a:pt x="646" y="183"/>
                      <a:pt x="650" y="182"/>
                    </a:cubicBezTo>
                    <a:cubicBezTo>
                      <a:pt x="657" y="180"/>
                      <a:pt x="663" y="178"/>
                      <a:pt x="670" y="175"/>
                    </a:cubicBezTo>
                    <a:cubicBezTo>
                      <a:pt x="672" y="172"/>
                      <a:pt x="674" y="169"/>
                      <a:pt x="678" y="166"/>
                    </a:cubicBezTo>
                    <a:cubicBezTo>
                      <a:pt x="678" y="166"/>
                      <a:pt x="678" y="166"/>
                      <a:pt x="679" y="166"/>
                    </a:cubicBezTo>
                    <a:cubicBezTo>
                      <a:pt x="680" y="166"/>
                      <a:pt x="681" y="167"/>
                      <a:pt x="680" y="169"/>
                    </a:cubicBezTo>
                    <a:cubicBezTo>
                      <a:pt x="679" y="170"/>
                      <a:pt x="678" y="171"/>
                      <a:pt x="677" y="172"/>
                    </a:cubicBezTo>
                    <a:cubicBezTo>
                      <a:pt x="678" y="172"/>
                      <a:pt x="679" y="171"/>
                      <a:pt x="680" y="171"/>
                    </a:cubicBezTo>
                    <a:cubicBezTo>
                      <a:pt x="698" y="162"/>
                      <a:pt x="713" y="151"/>
                      <a:pt x="729" y="137"/>
                    </a:cubicBezTo>
                    <a:cubicBezTo>
                      <a:pt x="730" y="136"/>
                      <a:pt x="729" y="134"/>
                      <a:pt x="728" y="134"/>
                    </a:cubicBezTo>
                    <a:cubicBezTo>
                      <a:pt x="727" y="134"/>
                      <a:pt x="727" y="134"/>
                      <a:pt x="727" y="134"/>
                    </a:cubicBezTo>
                    <a:cubicBezTo>
                      <a:pt x="713" y="143"/>
                      <a:pt x="700" y="152"/>
                      <a:pt x="686" y="160"/>
                    </a:cubicBezTo>
                    <a:cubicBezTo>
                      <a:pt x="684" y="161"/>
                      <a:pt x="682" y="163"/>
                      <a:pt x="679" y="164"/>
                    </a:cubicBezTo>
                    <a:cubicBezTo>
                      <a:pt x="679" y="164"/>
                      <a:pt x="679" y="164"/>
                      <a:pt x="679" y="164"/>
                    </a:cubicBezTo>
                    <a:cubicBezTo>
                      <a:pt x="667" y="170"/>
                      <a:pt x="656" y="172"/>
                      <a:pt x="642" y="176"/>
                    </a:cubicBezTo>
                    <a:cubicBezTo>
                      <a:pt x="640" y="176"/>
                      <a:pt x="638" y="177"/>
                      <a:pt x="636" y="177"/>
                    </a:cubicBezTo>
                    <a:cubicBezTo>
                      <a:pt x="634" y="178"/>
                      <a:pt x="633" y="179"/>
                      <a:pt x="631" y="179"/>
                    </a:cubicBezTo>
                    <a:cubicBezTo>
                      <a:pt x="628" y="180"/>
                      <a:pt x="625" y="181"/>
                      <a:pt x="622" y="182"/>
                    </a:cubicBezTo>
                    <a:cubicBezTo>
                      <a:pt x="615" y="185"/>
                      <a:pt x="608" y="187"/>
                      <a:pt x="601" y="188"/>
                    </a:cubicBezTo>
                    <a:cubicBezTo>
                      <a:pt x="592" y="191"/>
                      <a:pt x="582" y="191"/>
                      <a:pt x="573" y="191"/>
                    </a:cubicBezTo>
                    <a:cubicBezTo>
                      <a:pt x="564" y="191"/>
                      <a:pt x="556" y="191"/>
                      <a:pt x="548" y="191"/>
                    </a:cubicBezTo>
                    <a:cubicBezTo>
                      <a:pt x="518" y="190"/>
                      <a:pt x="490" y="184"/>
                      <a:pt x="460" y="181"/>
                    </a:cubicBezTo>
                    <a:cubicBezTo>
                      <a:pt x="428" y="178"/>
                      <a:pt x="396" y="173"/>
                      <a:pt x="364" y="167"/>
                    </a:cubicBezTo>
                    <a:cubicBezTo>
                      <a:pt x="332" y="162"/>
                      <a:pt x="302" y="152"/>
                      <a:pt x="271" y="140"/>
                    </a:cubicBezTo>
                    <a:cubicBezTo>
                      <a:pt x="239" y="128"/>
                      <a:pt x="206" y="117"/>
                      <a:pt x="174" y="102"/>
                    </a:cubicBezTo>
                    <a:cubicBezTo>
                      <a:pt x="146" y="89"/>
                      <a:pt x="118" y="76"/>
                      <a:pt x="91" y="61"/>
                    </a:cubicBezTo>
                    <a:cubicBezTo>
                      <a:pt x="88" y="60"/>
                      <a:pt x="86" y="59"/>
                      <a:pt x="84" y="58"/>
                    </a:cubicBezTo>
                    <a:cubicBezTo>
                      <a:pt x="77" y="54"/>
                      <a:pt x="70" y="50"/>
                      <a:pt x="64" y="46"/>
                    </a:cubicBezTo>
                    <a:cubicBezTo>
                      <a:pt x="64" y="46"/>
                      <a:pt x="64" y="46"/>
                      <a:pt x="64" y="46"/>
                    </a:cubicBezTo>
                    <a:cubicBezTo>
                      <a:pt x="64" y="46"/>
                      <a:pt x="63" y="46"/>
                      <a:pt x="63" y="46"/>
                    </a:cubicBezTo>
                    <a:cubicBezTo>
                      <a:pt x="61" y="45"/>
                      <a:pt x="60" y="44"/>
                      <a:pt x="58" y="42"/>
                    </a:cubicBezTo>
                    <a:cubicBezTo>
                      <a:pt x="53" y="39"/>
                      <a:pt x="48" y="36"/>
                      <a:pt x="43" y="32"/>
                    </a:cubicBezTo>
                    <a:cubicBezTo>
                      <a:pt x="41" y="31"/>
                      <a:pt x="39" y="29"/>
                      <a:pt x="37" y="27"/>
                    </a:cubicBezTo>
                    <a:cubicBezTo>
                      <a:pt x="37" y="27"/>
                      <a:pt x="37" y="27"/>
                      <a:pt x="37" y="27"/>
                    </a:cubicBezTo>
                    <a:cubicBezTo>
                      <a:pt x="27" y="18"/>
                      <a:pt x="16" y="8"/>
                      <a:pt x="5" y="0"/>
                    </a:cubicBezTo>
                    <a:cubicBezTo>
                      <a:pt x="4" y="0"/>
                      <a:pt x="4" y="0"/>
                      <a:pt x="3" y="0"/>
                    </a:cubicBezTo>
                  </a:path>
                </a:pathLst>
              </a:custGeom>
              <a:solidFill>
                <a:srgbClr val="544D4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406" name="Freeform 78">
                <a:extLst>
                  <a:ext uri="{FF2B5EF4-FFF2-40B4-BE49-F238E27FC236}">
                    <a16:creationId xmlns:a16="http://schemas.microsoft.com/office/drawing/2014/main" id="{D215E65E-91F6-4679-8A65-8071A9D6C949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901" y="2130"/>
                <a:ext cx="199" cy="408"/>
              </a:xfrm>
              <a:custGeom>
                <a:avLst/>
                <a:gdLst>
                  <a:gd name="T0" fmla="*/ 186 w 188"/>
                  <a:gd name="T1" fmla="*/ 0 h 386"/>
                  <a:gd name="T2" fmla="*/ 184 w 188"/>
                  <a:gd name="T3" fmla="*/ 1 h 386"/>
                  <a:gd name="T4" fmla="*/ 183 w 188"/>
                  <a:gd name="T5" fmla="*/ 6 h 386"/>
                  <a:gd name="T6" fmla="*/ 160 w 188"/>
                  <a:gd name="T7" fmla="*/ 51 h 386"/>
                  <a:gd name="T8" fmla="*/ 133 w 188"/>
                  <a:gd name="T9" fmla="*/ 96 h 386"/>
                  <a:gd name="T10" fmla="*/ 104 w 188"/>
                  <a:gd name="T11" fmla="*/ 135 h 386"/>
                  <a:gd name="T12" fmla="*/ 83 w 188"/>
                  <a:gd name="T13" fmla="*/ 178 h 386"/>
                  <a:gd name="T14" fmla="*/ 2 w 188"/>
                  <a:gd name="T15" fmla="*/ 379 h 386"/>
                  <a:gd name="T16" fmla="*/ 1 w 188"/>
                  <a:gd name="T17" fmla="*/ 383 h 386"/>
                  <a:gd name="T18" fmla="*/ 3 w 188"/>
                  <a:gd name="T19" fmla="*/ 386 h 386"/>
                  <a:gd name="T20" fmla="*/ 5 w 188"/>
                  <a:gd name="T21" fmla="*/ 385 h 386"/>
                  <a:gd name="T22" fmla="*/ 43 w 188"/>
                  <a:gd name="T23" fmla="*/ 337 h 386"/>
                  <a:gd name="T24" fmla="*/ 47 w 188"/>
                  <a:gd name="T25" fmla="*/ 329 h 386"/>
                  <a:gd name="T26" fmla="*/ 47 w 188"/>
                  <a:gd name="T27" fmla="*/ 329 h 386"/>
                  <a:gd name="T28" fmla="*/ 52 w 188"/>
                  <a:gd name="T29" fmla="*/ 314 h 386"/>
                  <a:gd name="T30" fmla="*/ 80 w 188"/>
                  <a:gd name="T31" fmla="*/ 201 h 386"/>
                  <a:gd name="T32" fmla="*/ 100 w 188"/>
                  <a:gd name="T33" fmla="*/ 152 h 386"/>
                  <a:gd name="T34" fmla="*/ 140 w 188"/>
                  <a:gd name="T35" fmla="*/ 92 h 386"/>
                  <a:gd name="T36" fmla="*/ 155 w 188"/>
                  <a:gd name="T37" fmla="*/ 67 h 386"/>
                  <a:gd name="T38" fmla="*/ 155 w 188"/>
                  <a:gd name="T39" fmla="*/ 67 h 386"/>
                  <a:gd name="T40" fmla="*/ 167 w 188"/>
                  <a:gd name="T41" fmla="*/ 48 h 386"/>
                  <a:gd name="T42" fmla="*/ 167 w 188"/>
                  <a:gd name="T43" fmla="*/ 48 h 386"/>
                  <a:gd name="T44" fmla="*/ 186 w 188"/>
                  <a:gd name="T45" fmla="*/ 8 h 386"/>
                  <a:gd name="T46" fmla="*/ 187 w 188"/>
                  <a:gd name="T47" fmla="*/ 2 h 386"/>
                  <a:gd name="T48" fmla="*/ 186 w 188"/>
                  <a:gd name="T49" fmla="*/ 0 h 3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188" h="386">
                    <a:moveTo>
                      <a:pt x="186" y="0"/>
                    </a:moveTo>
                    <a:cubicBezTo>
                      <a:pt x="185" y="0"/>
                      <a:pt x="184" y="0"/>
                      <a:pt x="184" y="1"/>
                    </a:cubicBezTo>
                    <a:cubicBezTo>
                      <a:pt x="184" y="3"/>
                      <a:pt x="183" y="4"/>
                      <a:pt x="183" y="6"/>
                    </a:cubicBezTo>
                    <a:cubicBezTo>
                      <a:pt x="178" y="22"/>
                      <a:pt x="169" y="37"/>
                      <a:pt x="160" y="51"/>
                    </a:cubicBezTo>
                    <a:cubicBezTo>
                      <a:pt x="150" y="66"/>
                      <a:pt x="142" y="81"/>
                      <a:pt x="133" y="96"/>
                    </a:cubicBezTo>
                    <a:cubicBezTo>
                      <a:pt x="124" y="109"/>
                      <a:pt x="114" y="122"/>
                      <a:pt x="104" y="135"/>
                    </a:cubicBezTo>
                    <a:cubicBezTo>
                      <a:pt x="95" y="149"/>
                      <a:pt x="89" y="163"/>
                      <a:pt x="83" y="178"/>
                    </a:cubicBezTo>
                    <a:cubicBezTo>
                      <a:pt x="54" y="244"/>
                      <a:pt x="58" y="328"/>
                      <a:pt x="2" y="379"/>
                    </a:cubicBezTo>
                    <a:cubicBezTo>
                      <a:pt x="0" y="380"/>
                      <a:pt x="0" y="382"/>
                      <a:pt x="1" y="383"/>
                    </a:cubicBezTo>
                    <a:cubicBezTo>
                      <a:pt x="1" y="384"/>
                      <a:pt x="2" y="386"/>
                      <a:pt x="3" y="386"/>
                    </a:cubicBezTo>
                    <a:cubicBezTo>
                      <a:pt x="4" y="386"/>
                      <a:pt x="5" y="386"/>
                      <a:pt x="5" y="385"/>
                    </a:cubicBezTo>
                    <a:cubicBezTo>
                      <a:pt x="23" y="375"/>
                      <a:pt x="35" y="356"/>
                      <a:pt x="43" y="337"/>
                    </a:cubicBezTo>
                    <a:cubicBezTo>
                      <a:pt x="45" y="334"/>
                      <a:pt x="46" y="331"/>
                      <a:pt x="47" y="329"/>
                    </a:cubicBezTo>
                    <a:cubicBezTo>
                      <a:pt x="47" y="329"/>
                      <a:pt x="47" y="329"/>
                      <a:pt x="47" y="329"/>
                    </a:cubicBezTo>
                    <a:cubicBezTo>
                      <a:pt x="48" y="324"/>
                      <a:pt x="50" y="319"/>
                      <a:pt x="52" y="314"/>
                    </a:cubicBezTo>
                    <a:cubicBezTo>
                      <a:pt x="63" y="277"/>
                      <a:pt x="68" y="238"/>
                      <a:pt x="80" y="201"/>
                    </a:cubicBezTo>
                    <a:cubicBezTo>
                      <a:pt x="85" y="185"/>
                      <a:pt x="92" y="168"/>
                      <a:pt x="100" y="152"/>
                    </a:cubicBezTo>
                    <a:cubicBezTo>
                      <a:pt x="110" y="131"/>
                      <a:pt x="127" y="112"/>
                      <a:pt x="140" y="92"/>
                    </a:cubicBezTo>
                    <a:cubicBezTo>
                      <a:pt x="144" y="83"/>
                      <a:pt x="150" y="75"/>
                      <a:pt x="155" y="67"/>
                    </a:cubicBezTo>
                    <a:cubicBezTo>
                      <a:pt x="155" y="67"/>
                      <a:pt x="155" y="67"/>
                      <a:pt x="155" y="67"/>
                    </a:cubicBezTo>
                    <a:cubicBezTo>
                      <a:pt x="159" y="61"/>
                      <a:pt x="163" y="55"/>
                      <a:pt x="167" y="48"/>
                    </a:cubicBezTo>
                    <a:cubicBezTo>
                      <a:pt x="167" y="48"/>
                      <a:pt x="167" y="48"/>
                      <a:pt x="167" y="48"/>
                    </a:cubicBezTo>
                    <a:cubicBezTo>
                      <a:pt x="175" y="36"/>
                      <a:pt x="181" y="22"/>
                      <a:pt x="186" y="8"/>
                    </a:cubicBezTo>
                    <a:cubicBezTo>
                      <a:pt x="186" y="6"/>
                      <a:pt x="187" y="4"/>
                      <a:pt x="187" y="2"/>
                    </a:cubicBezTo>
                    <a:cubicBezTo>
                      <a:pt x="188" y="1"/>
                      <a:pt x="187" y="0"/>
                      <a:pt x="186" y="0"/>
                    </a:cubicBezTo>
                  </a:path>
                </a:pathLst>
              </a:custGeom>
              <a:solidFill>
                <a:srgbClr val="544D4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407" name="Freeform 79">
                <a:extLst>
                  <a:ext uri="{FF2B5EF4-FFF2-40B4-BE49-F238E27FC236}">
                    <a16:creationId xmlns:a16="http://schemas.microsoft.com/office/drawing/2014/main" id="{535CF329-5551-4F93-A0A3-1BAE75564328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763" y="2277"/>
                <a:ext cx="49" cy="468"/>
              </a:xfrm>
              <a:custGeom>
                <a:avLst/>
                <a:gdLst>
                  <a:gd name="T0" fmla="*/ 20 w 46"/>
                  <a:gd name="T1" fmla="*/ 0 h 442"/>
                  <a:gd name="T2" fmla="*/ 19 w 46"/>
                  <a:gd name="T3" fmla="*/ 0 h 442"/>
                  <a:gd name="T4" fmla="*/ 11 w 46"/>
                  <a:gd name="T5" fmla="*/ 9 h 442"/>
                  <a:gd name="T6" fmla="*/ 15 w 46"/>
                  <a:gd name="T7" fmla="*/ 92 h 442"/>
                  <a:gd name="T8" fmla="*/ 8 w 46"/>
                  <a:gd name="T9" fmla="*/ 244 h 442"/>
                  <a:gd name="T10" fmla="*/ 8 w 46"/>
                  <a:gd name="T11" fmla="*/ 373 h 442"/>
                  <a:gd name="T12" fmla="*/ 19 w 46"/>
                  <a:gd name="T13" fmla="*/ 416 h 442"/>
                  <a:gd name="T14" fmla="*/ 25 w 46"/>
                  <a:gd name="T15" fmla="*/ 428 h 442"/>
                  <a:gd name="T16" fmla="*/ 40 w 46"/>
                  <a:gd name="T17" fmla="*/ 442 h 442"/>
                  <a:gd name="T18" fmla="*/ 40 w 46"/>
                  <a:gd name="T19" fmla="*/ 442 h 442"/>
                  <a:gd name="T20" fmla="*/ 42 w 46"/>
                  <a:gd name="T21" fmla="*/ 442 h 442"/>
                  <a:gd name="T22" fmla="*/ 43 w 46"/>
                  <a:gd name="T23" fmla="*/ 442 h 442"/>
                  <a:gd name="T24" fmla="*/ 44 w 46"/>
                  <a:gd name="T25" fmla="*/ 436 h 442"/>
                  <a:gd name="T26" fmla="*/ 40 w 46"/>
                  <a:gd name="T27" fmla="*/ 432 h 442"/>
                  <a:gd name="T28" fmla="*/ 35 w 46"/>
                  <a:gd name="T29" fmla="*/ 426 h 442"/>
                  <a:gd name="T30" fmla="*/ 12 w 46"/>
                  <a:gd name="T31" fmla="*/ 347 h 442"/>
                  <a:gd name="T32" fmla="*/ 14 w 46"/>
                  <a:gd name="T33" fmla="*/ 237 h 442"/>
                  <a:gd name="T34" fmla="*/ 19 w 46"/>
                  <a:gd name="T35" fmla="*/ 127 h 442"/>
                  <a:gd name="T36" fmla="*/ 16 w 46"/>
                  <a:gd name="T37" fmla="*/ 66 h 442"/>
                  <a:gd name="T38" fmla="*/ 18 w 46"/>
                  <a:gd name="T39" fmla="*/ 6 h 442"/>
                  <a:gd name="T40" fmla="*/ 21 w 46"/>
                  <a:gd name="T41" fmla="*/ 3 h 442"/>
                  <a:gd name="T42" fmla="*/ 20 w 46"/>
                  <a:gd name="T43" fmla="*/ 0 h 4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46" h="442">
                    <a:moveTo>
                      <a:pt x="20" y="0"/>
                    </a:moveTo>
                    <a:cubicBezTo>
                      <a:pt x="19" y="0"/>
                      <a:pt x="19" y="0"/>
                      <a:pt x="19" y="0"/>
                    </a:cubicBezTo>
                    <a:cubicBezTo>
                      <a:pt x="15" y="3"/>
                      <a:pt x="13" y="6"/>
                      <a:pt x="11" y="9"/>
                    </a:cubicBezTo>
                    <a:cubicBezTo>
                      <a:pt x="0" y="31"/>
                      <a:pt x="14" y="73"/>
                      <a:pt x="15" y="92"/>
                    </a:cubicBezTo>
                    <a:cubicBezTo>
                      <a:pt x="17" y="143"/>
                      <a:pt x="12" y="193"/>
                      <a:pt x="8" y="244"/>
                    </a:cubicBezTo>
                    <a:cubicBezTo>
                      <a:pt x="5" y="287"/>
                      <a:pt x="3" y="330"/>
                      <a:pt x="8" y="373"/>
                    </a:cubicBezTo>
                    <a:cubicBezTo>
                      <a:pt x="9" y="386"/>
                      <a:pt x="12" y="402"/>
                      <a:pt x="19" y="416"/>
                    </a:cubicBezTo>
                    <a:cubicBezTo>
                      <a:pt x="20" y="421"/>
                      <a:pt x="23" y="425"/>
                      <a:pt x="25" y="428"/>
                    </a:cubicBezTo>
                    <a:cubicBezTo>
                      <a:pt x="29" y="434"/>
                      <a:pt x="34" y="439"/>
                      <a:pt x="40" y="442"/>
                    </a:cubicBezTo>
                    <a:cubicBezTo>
                      <a:pt x="40" y="442"/>
                      <a:pt x="40" y="442"/>
                      <a:pt x="40" y="442"/>
                    </a:cubicBezTo>
                    <a:cubicBezTo>
                      <a:pt x="41" y="442"/>
                      <a:pt x="41" y="442"/>
                      <a:pt x="42" y="442"/>
                    </a:cubicBezTo>
                    <a:cubicBezTo>
                      <a:pt x="42" y="442"/>
                      <a:pt x="43" y="442"/>
                      <a:pt x="43" y="442"/>
                    </a:cubicBezTo>
                    <a:cubicBezTo>
                      <a:pt x="45" y="441"/>
                      <a:pt x="46" y="438"/>
                      <a:pt x="44" y="436"/>
                    </a:cubicBezTo>
                    <a:cubicBezTo>
                      <a:pt x="42" y="435"/>
                      <a:pt x="41" y="434"/>
                      <a:pt x="40" y="432"/>
                    </a:cubicBezTo>
                    <a:cubicBezTo>
                      <a:pt x="38" y="430"/>
                      <a:pt x="36" y="428"/>
                      <a:pt x="35" y="426"/>
                    </a:cubicBezTo>
                    <a:cubicBezTo>
                      <a:pt x="17" y="404"/>
                      <a:pt x="14" y="376"/>
                      <a:pt x="12" y="347"/>
                    </a:cubicBezTo>
                    <a:cubicBezTo>
                      <a:pt x="10" y="310"/>
                      <a:pt x="11" y="273"/>
                      <a:pt x="14" y="237"/>
                    </a:cubicBezTo>
                    <a:cubicBezTo>
                      <a:pt x="17" y="200"/>
                      <a:pt x="20" y="164"/>
                      <a:pt x="19" y="127"/>
                    </a:cubicBezTo>
                    <a:cubicBezTo>
                      <a:pt x="19" y="106"/>
                      <a:pt x="18" y="86"/>
                      <a:pt x="16" y="66"/>
                    </a:cubicBezTo>
                    <a:cubicBezTo>
                      <a:pt x="15" y="50"/>
                      <a:pt x="8" y="22"/>
                      <a:pt x="18" y="6"/>
                    </a:cubicBezTo>
                    <a:cubicBezTo>
                      <a:pt x="19" y="5"/>
                      <a:pt x="20" y="4"/>
                      <a:pt x="21" y="3"/>
                    </a:cubicBezTo>
                    <a:cubicBezTo>
                      <a:pt x="22" y="1"/>
                      <a:pt x="21" y="0"/>
                      <a:pt x="20" y="0"/>
                    </a:cubicBezTo>
                  </a:path>
                </a:pathLst>
              </a:custGeom>
              <a:solidFill>
                <a:srgbClr val="544D4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408" name="Freeform 80">
                <a:extLst>
                  <a:ext uri="{FF2B5EF4-FFF2-40B4-BE49-F238E27FC236}">
                    <a16:creationId xmlns:a16="http://schemas.microsoft.com/office/drawing/2014/main" id="{07D635F7-8FCA-4BEA-9985-64345E3936A0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035" y="2201"/>
                <a:ext cx="42" cy="74"/>
              </a:xfrm>
              <a:custGeom>
                <a:avLst/>
                <a:gdLst>
                  <a:gd name="T0" fmla="*/ 38 w 39"/>
                  <a:gd name="T1" fmla="*/ 0 h 70"/>
                  <a:gd name="T2" fmla="*/ 37 w 39"/>
                  <a:gd name="T3" fmla="*/ 0 h 70"/>
                  <a:gd name="T4" fmla="*/ 16 w 39"/>
                  <a:gd name="T5" fmla="*/ 33 h 70"/>
                  <a:gd name="T6" fmla="*/ 0 w 39"/>
                  <a:gd name="T7" fmla="*/ 70 h 70"/>
                  <a:gd name="T8" fmla="*/ 1 w 39"/>
                  <a:gd name="T9" fmla="*/ 70 h 70"/>
                  <a:gd name="T10" fmla="*/ 18 w 39"/>
                  <a:gd name="T11" fmla="*/ 39 h 70"/>
                  <a:gd name="T12" fmla="*/ 38 w 39"/>
                  <a:gd name="T13" fmla="*/ 1 h 70"/>
                  <a:gd name="T14" fmla="*/ 38 w 39"/>
                  <a:gd name="T15" fmla="*/ 0 h 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9" h="70">
                    <a:moveTo>
                      <a:pt x="38" y="0"/>
                    </a:moveTo>
                    <a:cubicBezTo>
                      <a:pt x="38" y="0"/>
                      <a:pt x="38" y="0"/>
                      <a:pt x="37" y="0"/>
                    </a:cubicBezTo>
                    <a:cubicBezTo>
                      <a:pt x="28" y="10"/>
                      <a:pt x="22" y="21"/>
                      <a:pt x="16" y="33"/>
                    </a:cubicBezTo>
                    <a:cubicBezTo>
                      <a:pt x="9" y="45"/>
                      <a:pt x="3" y="56"/>
                      <a:pt x="0" y="70"/>
                    </a:cubicBezTo>
                    <a:cubicBezTo>
                      <a:pt x="1" y="70"/>
                      <a:pt x="1" y="70"/>
                      <a:pt x="1" y="70"/>
                    </a:cubicBezTo>
                    <a:cubicBezTo>
                      <a:pt x="5" y="59"/>
                      <a:pt x="12" y="49"/>
                      <a:pt x="18" y="39"/>
                    </a:cubicBezTo>
                    <a:cubicBezTo>
                      <a:pt x="25" y="25"/>
                      <a:pt x="28" y="14"/>
                      <a:pt x="38" y="1"/>
                    </a:cubicBezTo>
                    <a:cubicBezTo>
                      <a:pt x="39" y="1"/>
                      <a:pt x="38" y="0"/>
                      <a:pt x="38" y="0"/>
                    </a:cubicBezTo>
                  </a:path>
                </a:pathLst>
              </a:custGeom>
              <a:solidFill>
                <a:srgbClr val="544D4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409" name="Freeform 81">
                <a:extLst>
                  <a:ext uri="{FF2B5EF4-FFF2-40B4-BE49-F238E27FC236}">
                    <a16:creationId xmlns:a16="http://schemas.microsoft.com/office/drawing/2014/main" id="{5ACA31AB-8D65-498C-8824-51301ABC8A88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087" y="2175"/>
                <a:ext cx="9" cy="13"/>
              </a:xfrm>
              <a:custGeom>
                <a:avLst/>
                <a:gdLst>
                  <a:gd name="T0" fmla="*/ 7 w 8"/>
                  <a:gd name="T1" fmla="*/ 0 h 12"/>
                  <a:gd name="T2" fmla="*/ 0 w 8"/>
                  <a:gd name="T3" fmla="*/ 12 h 12"/>
                  <a:gd name="T4" fmla="*/ 1 w 8"/>
                  <a:gd name="T5" fmla="*/ 12 h 12"/>
                  <a:gd name="T6" fmla="*/ 8 w 8"/>
                  <a:gd name="T7" fmla="*/ 0 h 12"/>
                  <a:gd name="T8" fmla="*/ 7 w 8"/>
                  <a:gd name="T9" fmla="*/ 0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12">
                    <a:moveTo>
                      <a:pt x="7" y="0"/>
                    </a:moveTo>
                    <a:cubicBezTo>
                      <a:pt x="4" y="4"/>
                      <a:pt x="1" y="7"/>
                      <a:pt x="0" y="12"/>
                    </a:cubicBezTo>
                    <a:cubicBezTo>
                      <a:pt x="1" y="12"/>
                      <a:pt x="1" y="12"/>
                      <a:pt x="1" y="12"/>
                    </a:cubicBezTo>
                    <a:cubicBezTo>
                      <a:pt x="2" y="7"/>
                      <a:pt x="5" y="4"/>
                      <a:pt x="8" y="0"/>
                    </a:cubicBezTo>
                    <a:cubicBezTo>
                      <a:pt x="7" y="0"/>
                      <a:pt x="7" y="0"/>
                      <a:pt x="7" y="0"/>
                    </a:cubicBezTo>
                  </a:path>
                </a:pathLst>
              </a:custGeom>
              <a:solidFill>
                <a:srgbClr val="544D4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410" name="Freeform 82">
                <a:extLst>
                  <a:ext uri="{FF2B5EF4-FFF2-40B4-BE49-F238E27FC236}">
                    <a16:creationId xmlns:a16="http://schemas.microsoft.com/office/drawing/2014/main" id="{0F511F33-4760-43FD-94A1-92DE42431FAB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102" y="2150"/>
                <a:ext cx="11" cy="16"/>
              </a:xfrm>
              <a:custGeom>
                <a:avLst/>
                <a:gdLst>
                  <a:gd name="T0" fmla="*/ 9 w 10"/>
                  <a:gd name="T1" fmla="*/ 0 h 15"/>
                  <a:gd name="T2" fmla="*/ 9 w 10"/>
                  <a:gd name="T3" fmla="*/ 1 h 15"/>
                  <a:gd name="T4" fmla="*/ 0 w 10"/>
                  <a:gd name="T5" fmla="*/ 14 h 15"/>
                  <a:gd name="T6" fmla="*/ 0 w 10"/>
                  <a:gd name="T7" fmla="*/ 15 h 15"/>
                  <a:gd name="T8" fmla="*/ 10 w 10"/>
                  <a:gd name="T9" fmla="*/ 2 h 15"/>
                  <a:gd name="T10" fmla="*/ 9 w 10"/>
                  <a:gd name="T11" fmla="*/ 0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0" h="15">
                    <a:moveTo>
                      <a:pt x="9" y="0"/>
                    </a:moveTo>
                    <a:cubicBezTo>
                      <a:pt x="9" y="0"/>
                      <a:pt x="9" y="0"/>
                      <a:pt x="9" y="1"/>
                    </a:cubicBezTo>
                    <a:cubicBezTo>
                      <a:pt x="6" y="5"/>
                      <a:pt x="2" y="9"/>
                      <a:pt x="0" y="14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0"/>
                      <a:pt x="6" y="6"/>
                      <a:pt x="10" y="2"/>
                    </a:cubicBezTo>
                    <a:cubicBezTo>
                      <a:pt x="10" y="1"/>
                      <a:pt x="10" y="0"/>
                      <a:pt x="9" y="0"/>
                    </a:cubicBezTo>
                  </a:path>
                </a:pathLst>
              </a:custGeom>
              <a:solidFill>
                <a:srgbClr val="544D4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411" name="Freeform 83">
                <a:extLst>
                  <a:ext uri="{FF2B5EF4-FFF2-40B4-BE49-F238E27FC236}">
                    <a16:creationId xmlns:a16="http://schemas.microsoft.com/office/drawing/2014/main" id="{14E59240-4200-4602-8540-2C629AFBC083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023" y="2291"/>
                <a:ext cx="9" cy="10"/>
              </a:xfrm>
              <a:custGeom>
                <a:avLst/>
                <a:gdLst>
                  <a:gd name="T0" fmla="*/ 7 w 9"/>
                  <a:gd name="T1" fmla="*/ 0 h 10"/>
                  <a:gd name="T2" fmla="*/ 6 w 9"/>
                  <a:gd name="T3" fmla="*/ 0 h 10"/>
                  <a:gd name="T4" fmla="*/ 0 w 9"/>
                  <a:gd name="T5" fmla="*/ 9 h 10"/>
                  <a:gd name="T6" fmla="*/ 1 w 9"/>
                  <a:gd name="T7" fmla="*/ 10 h 10"/>
                  <a:gd name="T8" fmla="*/ 2 w 9"/>
                  <a:gd name="T9" fmla="*/ 9 h 10"/>
                  <a:gd name="T10" fmla="*/ 4 w 9"/>
                  <a:gd name="T11" fmla="*/ 5 h 10"/>
                  <a:gd name="T12" fmla="*/ 8 w 9"/>
                  <a:gd name="T13" fmla="*/ 2 h 10"/>
                  <a:gd name="T14" fmla="*/ 7 w 9"/>
                  <a:gd name="T15" fmla="*/ 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9" h="10">
                    <a:moveTo>
                      <a:pt x="7" y="0"/>
                    </a:moveTo>
                    <a:cubicBezTo>
                      <a:pt x="7" y="0"/>
                      <a:pt x="6" y="0"/>
                      <a:pt x="6" y="0"/>
                    </a:cubicBezTo>
                    <a:cubicBezTo>
                      <a:pt x="3" y="2"/>
                      <a:pt x="0" y="5"/>
                      <a:pt x="0" y="9"/>
                    </a:cubicBezTo>
                    <a:cubicBezTo>
                      <a:pt x="0" y="10"/>
                      <a:pt x="0" y="10"/>
                      <a:pt x="1" y="10"/>
                    </a:cubicBezTo>
                    <a:cubicBezTo>
                      <a:pt x="1" y="10"/>
                      <a:pt x="2" y="10"/>
                      <a:pt x="2" y="9"/>
                    </a:cubicBezTo>
                    <a:cubicBezTo>
                      <a:pt x="3" y="8"/>
                      <a:pt x="3" y="6"/>
                      <a:pt x="4" y="5"/>
                    </a:cubicBezTo>
                    <a:cubicBezTo>
                      <a:pt x="5" y="4"/>
                      <a:pt x="7" y="3"/>
                      <a:pt x="8" y="2"/>
                    </a:cubicBezTo>
                    <a:cubicBezTo>
                      <a:pt x="9" y="2"/>
                      <a:pt x="8" y="0"/>
                      <a:pt x="7" y="0"/>
                    </a:cubicBezTo>
                  </a:path>
                </a:pathLst>
              </a:custGeom>
              <a:solidFill>
                <a:srgbClr val="544D4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412" name="Freeform 84">
                <a:extLst>
                  <a:ext uri="{FF2B5EF4-FFF2-40B4-BE49-F238E27FC236}">
                    <a16:creationId xmlns:a16="http://schemas.microsoft.com/office/drawing/2014/main" id="{7C5DF5D7-CAF1-4B0D-97DE-B2ECA32A1B30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752" y="2300"/>
                <a:ext cx="12" cy="246"/>
              </a:xfrm>
              <a:custGeom>
                <a:avLst/>
                <a:gdLst>
                  <a:gd name="T0" fmla="*/ 1 w 12"/>
                  <a:gd name="T1" fmla="*/ 0 h 232"/>
                  <a:gd name="T2" fmla="*/ 0 w 12"/>
                  <a:gd name="T3" fmla="*/ 2 h 232"/>
                  <a:gd name="T4" fmla="*/ 6 w 12"/>
                  <a:gd name="T5" fmla="*/ 52 h 232"/>
                  <a:gd name="T6" fmla="*/ 11 w 12"/>
                  <a:gd name="T7" fmla="*/ 113 h 232"/>
                  <a:gd name="T8" fmla="*/ 0 w 12"/>
                  <a:gd name="T9" fmla="*/ 231 h 232"/>
                  <a:gd name="T10" fmla="*/ 0 w 12"/>
                  <a:gd name="T11" fmla="*/ 232 h 232"/>
                  <a:gd name="T12" fmla="*/ 1 w 12"/>
                  <a:gd name="T13" fmla="*/ 231 h 232"/>
                  <a:gd name="T14" fmla="*/ 11 w 12"/>
                  <a:gd name="T15" fmla="*/ 113 h 232"/>
                  <a:gd name="T16" fmla="*/ 3 w 12"/>
                  <a:gd name="T17" fmla="*/ 2 h 232"/>
                  <a:gd name="T18" fmla="*/ 1 w 12"/>
                  <a:gd name="T19" fmla="*/ 0 h 2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2" h="232">
                    <a:moveTo>
                      <a:pt x="1" y="0"/>
                    </a:moveTo>
                    <a:cubicBezTo>
                      <a:pt x="1" y="0"/>
                      <a:pt x="0" y="1"/>
                      <a:pt x="0" y="2"/>
                    </a:cubicBezTo>
                    <a:cubicBezTo>
                      <a:pt x="0" y="19"/>
                      <a:pt x="5" y="35"/>
                      <a:pt x="6" y="52"/>
                    </a:cubicBezTo>
                    <a:cubicBezTo>
                      <a:pt x="8" y="72"/>
                      <a:pt x="11" y="93"/>
                      <a:pt x="11" y="113"/>
                    </a:cubicBezTo>
                    <a:cubicBezTo>
                      <a:pt x="10" y="152"/>
                      <a:pt x="2" y="192"/>
                      <a:pt x="0" y="231"/>
                    </a:cubicBezTo>
                    <a:cubicBezTo>
                      <a:pt x="0" y="232"/>
                      <a:pt x="0" y="232"/>
                      <a:pt x="0" y="232"/>
                    </a:cubicBezTo>
                    <a:cubicBezTo>
                      <a:pt x="1" y="232"/>
                      <a:pt x="1" y="232"/>
                      <a:pt x="1" y="231"/>
                    </a:cubicBezTo>
                    <a:cubicBezTo>
                      <a:pt x="5" y="192"/>
                      <a:pt x="11" y="153"/>
                      <a:pt x="11" y="113"/>
                    </a:cubicBezTo>
                    <a:cubicBezTo>
                      <a:pt x="12" y="76"/>
                      <a:pt x="5" y="39"/>
                      <a:pt x="3" y="2"/>
                    </a:cubicBezTo>
                    <a:cubicBezTo>
                      <a:pt x="3" y="1"/>
                      <a:pt x="2" y="0"/>
                      <a:pt x="1" y="0"/>
                    </a:cubicBezTo>
                  </a:path>
                </a:pathLst>
              </a:custGeom>
              <a:solidFill>
                <a:srgbClr val="544D4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413" name="Freeform 85">
                <a:extLst>
                  <a:ext uri="{FF2B5EF4-FFF2-40B4-BE49-F238E27FC236}">
                    <a16:creationId xmlns:a16="http://schemas.microsoft.com/office/drawing/2014/main" id="{12AFE8D5-19EA-451A-9E05-1113A443836D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746" y="2585"/>
                <a:ext cx="49" cy="159"/>
              </a:xfrm>
              <a:custGeom>
                <a:avLst/>
                <a:gdLst>
                  <a:gd name="T0" fmla="*/ 3 w 46"/>
                  <a:gd name="T1" fmla="*/ 0 h 150"/>
                  <a:gd name="T2" fmla="*/ 2 w 46"/>
                  <a:gd name="T3" fmla="*/ 1 h 150"/>
                  <a:gd name="T4" fmla="*/ 4 w 46"/>
                  <a:gd name="T5" fmla="*/ 41 h 150"/>
                  <a:gd name="T6" fmla="*/ 7 w 46"/>
                  <a:gd name="T7" fmla="*/ 76 h 150"/>
                  <a:gd name="T8" fmla="*/ 9 w 46"/>
                  <a:gd name="T9" fmla="*/ 87 h 150"/>
                  <a:gd name="T10" fmla="*/ 23 w 46"/>
                  <a:gd name="T11" fmla="*/ 123 h 150"/>
                  <a:gd name="T12" fmla="*/ 38 w 46"/>
                  <a:gd name="T13" fmla="*/ 146 h 150"/>
                  <a:gd name="T14" fmla="*/ 40 w 46"/>
                  <a:gd name="T15" fmla="*/ 149 h 150"/>
                  <a:gd name="T16" fmla="*/ 42 w 46"/>
                  <a:gd name="T17" fmla="*/ 150 h 150"/>
                  <a:gd name="T18" fmla="*/ 45 w 46"/>
                  <a:gd name="T19" fmla="*/ 149 h 150"/>
                  <a:gd name="T20" fmla="*/ 45 w 46"/>
                  <a:gd name="T21" fmla="*/ 145 h 150"/>
                  <a:gd name="T22" fmla="*/ 38 w 46"/>
                  <a:gd name="T23" fmla="*/ 135 h 150"/>
                  <a:gd name="T24" fmla="*/ 26 w 46"/>
                  <a:gd name="T25" fmla="*/ 117 h 150"/>
                  <a:gd name="T26" fmla="*/ 12 w 46"/>
                  <a:gd name="T27" fmla="*/ 80 h 150"/>
                  <a:gd name="T28" fmla="*/ 9 w 46"/>
                  <a:gd name="T29" fmla="*/ 44 h 150"/>
                  <a:gd name="T30" fmla="*/ 5 w 46"/>
                  <a:gd name="T31" fmla="*/ 2 h 150"/>
                  <a:gd name="T32" fmla="*/ 3 w 46"/>
                  <a:gd name="T33" fmla="*/ 0 h 1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46" h="150">
                    <a:moveTo>
                      <a:pt x="3" y="0"/>
                    </a:moveTo>
                    <a:cubicBezTo>
                      <a:pt x="3" y="0"/>
                      <a:pt x="2" y="1"/>
                      <a:pt x="2" y="1"/>
                    </a:cubicBezTo>
                    <a:cubicBezTo>
                      <a:pt x="0" y="15"/>
                      <a:pt x="3" y="28"/>
                      <a:pt x="4" y="41"/>
                    </a:cubicBezTo>
                    <a:cubicBezTo>
                      <a:pt x="5" y="53"/>
                      <a:pt x="5" y="64"/>
                      <a:pt x="7" y="76"/>
                    </a:cubicBezTo>
                    <a:cubicBezTo>
                      <a:pt x="8" y="80"/>
                      <a:pt x="8" y="83"/>
                      <a:pt x="9" y="87"/>
                    </a:cubicBezTo>
                    <a:cubicBezTo>
                      <a:pt x="12" y="99"/>
                      <a:pt x="17" y="112"/>
                      <a:pt x="23" y="123"/>
                    </a:cubicBezTo>
                    <a:cubicBezTo>
                      <a:pt x="27" y="132"/>
                      <a:pt x="32" y="139"/>
                      <a:pt x="38" y="146"/>
                    </a:cubicBezTo>
                    <a:cubicBezTo>
                      <a:pt x="39" y="147"/>
                      <a:pt x="40" y="148"/>
                      <a:pt x="40" y="149"/>
                    </a:cubicBezTo>
                    <a:cubicBezTo>
                      <a:pt x="41" y="149"/>
                      <a:pt x="42" y="150"/>
                      <a:pt x="42" y="150"/>
                    </a:cubicBezTo>
                    <a:cubicBezTo>
                      <a:pt x="43" y="150"/>
                      <a:pt x="44" y="149"/>
                      <a:pt x="45" y="149"/>
                    </a:cubicBezTo>
                    <a:cubicBezTo>
                      <a:pt x="45" y="148"/>
                      <a:pt x="46" y="146"/>
                      <a:pt x="45" y="145"/>
                    </a:cubicBezTo>
                    <a:cubicBezTo>
                      <a:pt x="42" y="142"/>
                      <a:pt x="40" y="139"/>
                      <a:pt x="38" y="135"/>
                    </a:cubicBezTo>
                    <a:cubicBezTo>
                      <a:pt x="33" y="129"/>
                      <a:pt x="30" y="123"/>
                      <a:pt x="26" y="117"/>
                    </a:cubicBezTo>
                    <a:cubicBezTo>
                      <a:pt x="20" y="105"/>
                      <a:pt x="15" y="93"/>
                      <a:pt x="12" y="80"/>
                    </a:cubicBezTo>
                    <a:cubicBezTo>
                      <a:pt x="10" y="68"/>
                      <a:pt x="10" y="56"/>
                      <a:pt x="9" y="44"/>
                    </a:cubicBezTo>
                    <a:cubicBezTo>
                      <a:pt x="7" y="30"/>
                      <a:pt x="4" y="16"/>
                      <a:pt x="5" y="2"/>
                    </a:cubicBezTo>
                    <a:cubicBezTo>
                      <a:pt x="5" y="1"/>
                      <a:pt x="4" y="0"/>
                      <a:pt x="3" y="0"/>
                    </a:cubicBezTo>
                  </a:path>
                </a:pathLst>
              </a:custGeom>
              <a:solidFill>
                <a:srgbClr val="544D4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414" name="Freeform 86">
                <a:extLst>
                  <a:ext uri="{FF2B5EF4-FFF2-40B4-BE49-F238E27FC236}">
                    <a16:creationId xmlns:a16="http://schemas.microsoft.com/office/drawing/2014/main" id="{8A36F28C-3062-407F-B56B-E068A0127D20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2709" y="2308"/>
                <a:ext cx="22" cy="320"/>
              </a:xfrm>
              <a:custGeom>
                <a:avLst/>
                <a:gdLst>
                  <a:gd name="T0" fmla="*/ 11 w 20"/>
                  <a:gd name="T1" fmla="*/ 23 h 303"/>
                  <a:gd name="T2" fmla="*/ 10 w 20"/>
                  <a:gd name="T3" fmla="*/ 23 h 303"/>
                  <a:gd name="T4" fmla="*/ 6 w 20"/>
                  <a:gd name="T5" fmla="*/ 25 h 303"/>
                  <a:gd name="T6" fmla="*/ 11 w 20"/>
                  <a:gd name="T7" fmla="*/ 73 h 303"/>
                  <a:gd name="T8" fmla="*/ 13 w 20"/>
                  <a:gd name="T9" fmla="*/ 155 h 303"/>
                  <a:gd name="T10" fmla="*/ 10 w 20"/>
                  <a:gd name="T11" fmla="*/ 230 h 303"/>
                  <a:gd name="T12" fmla="*/ 15 w 20"/>
                  <a:gd name="T13" fmla="*/ 302 h 303"/>
                  <a:gd name="T14" fmla="*/ 17 w 20"/>
                  <a:gd name="T15" fmla="*/ 303 h 303"/>
                  <a:gd name="T16" fmla="*/ 19 w 20"/>
                  <a:gd name="T17" fmla="*/ 301 h 303"/>
                  <a:gd name="T18" fmla="*/ 18 w 20"/>
                  <a:gd name="T19" fmla="*/ 144 h 303"/>
                  <a:gd name="T20" fmla="*/ 16 w 20"/>
                  <a:gd name="T21" fmla="*/ 72 h 303"/>
                  <a:gd name="T22" fmla="*/ 11 w 20"/>
                  <a:gd name="T23" fmla="*/ 23 h 303"/>
                  <a:gd name="T24" fmla="*/ 3 w 20"/>
                  <a:gd name="T25" fmla="*/ 0 h 303"/>
                  <a:gd name="T26" fmla="*/ 1 w 20"/>
                  <a:gd name="T27" fmla="*/ 2 h 303"/>
                  <a:gd name="T28" fmla="*/ 4 w 20"/>
                  <a:gd name="T29" fmla="*/ 16 h 303"/>
                  <a:gd name="T30" fmla="*/ 5 w 20"/>
                  <a:gd name="T31" fmla="*/ 19 h 303"/>
                  <a:gd name="T32" fmla="*/ 9 w 20"/>
                  <a:gd name="T33" fmla="*/ 18 h 303"/>
                  <a:gd name="T34" fmla="*/ 9 w 20"/>
                  <a:gd name="T35" fmla="*/ 18 h 303"/>
                  <a:gd name="T36" fmla="*/ 9 w 20"/>
                  <a:gd name="T37" fmla="*/ 15 h 303"/>
                  <a:gd name="T38" fmla="*/ 4 w 20"/>
                  <a:gd name="T39" fmla="*/ 1 h 303"/>
                  <a:gd name="T40" fmla="*/ 3 w 20"/>
                  <a:gd name="T41" fmla="*/ 0 h 3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0" h="303">
                    <a:moveTo>
                      <a:pt x="11" y="23"/>
                    </a:moveTo>
                    <a:cubicBezTo>
                      <a:pt x="10" y="23"/>
                      <a:pt x="10" y="23"/>
                      <a:pt x="10" y="23"/>
                    </a:cubicBezTo>
                    <a:cubicBezTo>
                      <a:pt x="9" y="24"/>
                      <a:pt x="7" y="24"/>
                      <a:pt x="6" y="25"/>
                    </a:cubicBezTo>
                    <a:cubicBezTo>
                      <a:pt x="8" y="41"/>
                      <a:pt x="10" y="58"/>
                      <a:pt x="11" y="73"/>
                    </a:cubicBezTo>
                    <a:cubicBezTo>
                      <a:pt x="14" y="100"/>
                      <a:pt x="13" y="128"/>
                      <a:pt x="13" y="155"/>
                    </a:cubicBezTo>
                    <a:cubicBezTo>
                      <a:pt x="13" y="180"/>
                      <a:pt x="11" y="205"/>
                      <a:pt x="10" y="230"/>
                    </a:cubicBezTo>
                    <a:cubicBezTo>
                      <a:pt x="9" y="253"/>
                      <a:pt x="9" y="280"/>
                      <a:pt x="15" y="302"/>
                    </a:cubicBezTo>
                    <a:cubicBezTo>
                      <a:pt x="15" y="303"/>
                      <a:pt x="16" y="303"/>
                      <a:pt x="17" y="303"/>
                    </a:cubicBezTo>
                    <a:cubicBezTo>
                      <a:pt x="18" y="303"/>
                      <a:pt x="20" y="302"/>
                      <a:pt x="19" y="301"/>
                    </a:cubicBezTo>
                    <a:cubicBezTo>
                      <a:pt x="13" y="249"/>
                      <a:pt x="19" y="196"/>
                      <a:pt x="18" y="144"/>
                    </a:cubicBezTo>
                    <a:cubicBezTo>
                      <a:pt x="18" y="120"/>
                      <a:pt x="19" y="96"/>
                      <a:pt x="16" y="72"/>
                    </a:cubicBezTo>
                    <a:cubicBezTo>
                      <a:pt x="14" y="57"/>
                      <a:pt x="14" y="39"/>
                      <a:pt x="11" y="23"/>
                    </a:cubicBezTo>
                    <a:moveTo>
                      <a:pt x="3" y="0"/>
                    </a:moveTo>
                    <a:cubicBezTo>
                      <a:pt x="2" y="0"/>
                      <a:pt x="0" y="1"/>
                      <a:pt x="1" y="2"/>
                    </a:cubicBezTo>
                    <a:cubicBezTo>
                      <a:pt x="2" y="6"/>
                      <a:pt x="3" y="11"/>
                      <a:pt x="4" y="16"/>
                    </a:cubicBezTo>
                    <a:cubicBezTo>
                      <a:pt x="4" y="17"/>
                      <a:pt x="5" y="18"/>
                      <a:pt x="5" y="19"/>
                    </a:cubicBezTo>
                    <a:cubicBezTo>
                      <a:pt x="6" y="19"/>
                      <a:pt x="8" y="18"/>
                      <a:pt x="9" y="18"/>
                    </a:cubicBezTo>
                    <a:cubicBezTo>
                      <a:pt x="9" y="18"/>
                      <a:pt x="9" y="18"/>
                      <a:pt x="9" y="18"/>
                    </a:cubicBezTo>
                    <a:cubicBezTo>
                      <a:pt x="9" y="17"/>
                      <a:pt x="9" y="16"/>
                      <a:pt x="9" y="15"/>
                    </a:cubicBezTo>
                    <a:cubicBezTo>
                      <a:pt x="7" y="10"/>
                      <a:pt x="6" y="5"/>
                      <a:pt x="4" y="1"/>
                    </a:cubicBezTo>
                    <a:cubicBezTo>
                      <a:pt x="4" y="0"/>
                      <a:pt x="3" y="0"/>
                      <a:pt x="3" y="0"/>
                    </a:cubicBezTo>
                  </a:path>
                </a:pathLst>
              </a:custGeom>
              <a:solidFill>
                <a:srgbClr val="544D4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415" name="Freeform 87">
                <a:extLst>
                  <a:ext uri="{FF2B5EF4-FFF2-40B4-BE49-F238E27FC236}">
                    <a16:creationId xmlns:a16="http://schemas.microsoft.com/office/drawing/2014/main" id="{9AB441D5-8DFE-49DD-A9E3-59A61D382067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1971" y="2167"/>
                <a:ext cx="179" cy="294"/>
              </a:xfrm>
              <a:custGeom>
                <a:avLst/>
                <a:gdLst>
                  <a:gd name="T0" fmla="*/ 137 w 169"/>
                  <a:gd name="T1" fmla="*/ 40 h 278"/>
                  <a:gd name="T2" fmla="*/ 126 w 169"/>
                  <a:gd name="T3" fmla="*/ 59 h 278"/>
                  <a:gd name="T4" fmla="*/ 81 w 169"/>
                  <a:gd name="T5" fmla="*/ 132 h 278"/>
                  <a:gd name="T6" fmla="*/ 40 w 169"/>
                  <a:gd name="T7" fmla="*/ 200 h 278"/>
                  <a:gd name="T8" fmla="*/ 37 w 169"/>
                  <a:gd name="T9" fmla="*/ 205 h 278"/>
                  <a:gd name="T10" fmla="*/ 2 w 169"/>
                  <a:gd name="T11" fmla="*/ 274 h 278"/>
                  <a:gd name="T12" fmla="*/ 4 w 169"/>
                  <a:gd name="T13" fmla="*/ 278 h 278"/>
                  <a:gd name="T14" fmla="*/ 4 w 169"/>
                  <a:gd name="T15" fmla="*/ 278 h 278"/>
                  <a:gd name="T16" fmla="*/ 6 w 169"/>
                  <a:gd name="T17" fmla="*/ 277 h 278"/>
                  <a:gd name="T18" fmla="*/ 23 w 169"/>
                  <a:gd name="T19" fmla="*/ 250 h 278"/>
                  <a:gd name="T20" fmla="*/ 40 w 169"/>
                  <a:gd name="T21" fmla="*/ 215 h 278"/>
                  <a:gd name="T22" fmla="*/ 53 w 169"/>
                  <a:gd name="T23" fmla="*/ 188 h 278"/>
                  <a:gd name="T24" fmla="*/ 83 w 169"/>
                  <a:gd name="T25" fmla="*/ 138 h 278"/>
                  <a:gd name="T26" fmla="*/ 89 w 169"/>
                  <a:gd name="T27" fmla="*/ 128 h 278"/>
                  <a:gd name="T28" fmla="*/ 139 w 169"/>
                  <a:gd name="T29" fmla="*/ 41 h 278"/>
                  <a:gd name="T30" fmla="*/ 138 w 169"/>
                  <a:gd name="T31" fmla="*/ 40 h 278"/>
                  <a:gd name="T32" fmla="*/ 137 w 169"/>
                  <a:gd name="T33" fmla="*/ 40 h 278"/>
                  <a:gd name="T34" fmla="*/ 167 w 169"/>
                  <a:gd name="T35" fmla="*/ 0 h 278"/>
                  <a:gd name="T36" fmla="*/ 167 w 169"/>
                  <a:gd name="T37" fmla="*/ 0 h 278"/>
                  <a:gd name="T38" fmla="*/ 164 w 169"/>
                  <a:gd name="T39" fmla="*/ 3 h 278"/>
                  <a:gd name="T40" fmla="*/ 141 w 169"/>
                  <a:gd name="T41" fmla="*/ 33 h 278"/>
                  <a:gd name="T42" fmla="*/ 141 w 169"/>
                  <a:gd name="T43" fmla="*/ 34 h 278"/>
                  <a:gd name="T44" fmla="*/ 143 w 169"/>
                  <a:gd name="T45" fmla="*/ 35 h 278"/>
                  <a:gd name="T46" fmla="*/ 153 w 169"/>
                  <a:gd name="T47" fmla="*/ 21 h 278"/>
                  <a:gd name="T48" fmla="*/ 167 w 169"/>
                  <a:gd name="T49" fmla="*/ 4 h 278"/>
                  <a:gd name="T50" fmla="*/ 169 w 169"/>
                  <a:gd name="T51" fmla="*/ 2 h 278"/>
                  <a:gd name="T52" fmla="*/ 167 w 169"/>
                  <a:gd name="T53" fmla="*/ 0 h 2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169" h="278">
                    <a:moveTo>
                      <a:pt x="137" y="40"/>
                    </a:moveTo>
                    <a:cubicBezTo>
                      <a:pt x="134" y="46"/>
                      <a:pt x="130" y="53"/>
                      <a:pt x="126" y="59"/>
                    </a:cubicBezTo>
                    <a:cubicBezTo>
                      <a:pt x="111" y="83"/>
                      <a:pt x="97" y="108"/>
                      <a:pt x="81" y="132"/>
                    </a:cubicBezTo>
                    <a:cubicBezTo>
                      <a:pt x="66" y="154"/>
                      <a:pt x="52" y="176"/>
                      <a:pt x="40" y="200"/>
                    </a:cubicBezTo>
                    <a:cubicBezTo>
                      <a:pt x="39" y="202"/>
                      <a:pt x="38" y="203"/>
                      <a:pt x="37" y="205"/>
                    </a:cubicBezTo>
                    <a:cubicBezTo>
                      <a:pt x="26" y="228"/>
                      <a:pt x="16" y="252"/>
                      <a:pt x="2" y="274"/>
                    </a:cubicBezTo>
                    <a:cubicBezTo>
                      <a:pt x="0" y="276"/>
                      <a:pt x="2" y="278"/>
                      <a:pt x="4" y="278"/>
                    </a:cubicBezTo>
                    <a:cubicBezTo>
                      <a:pt x="4" y="278"/>
                      <a:pt x="4" y="278"/>
                      <a:pt x="4" y="278"/>
                    </a:cubicBezTo>
                    <a:cubicBezTo>
                      <a:pt x="5" y="278"/>
                      <a:pt x="6" y="278"/>
                      <a:pt x="6" y="277"/>
                    </a:cubicBezTo>
                    <a:cubicBezTo>
                      <a:pt x="13" y="269"/>
                      <a:pt x="18" y="260"/>
                      <a:pt x="23" y="250"/>
                    </a:cubicBezTo>
                    <a:cubicBezTo>
                      <a:pt x="29" y="239"/>
                      <a:pt x="34" y="226"/>
                      <a:pt x="40" y="215"/>
                    </a:cubicBezTo>
                    <a:cubicBezTo>
                      <a:pt x="44" y="206"/>
                      <a:pt x="49" y="197"/>
                      <a:pt x="53" y="188"/>
                    </a:cubicBezTo>
                    <a:cubicBezTo>
                      <a:pt x="63" y="171"/>
                      <a:pt x="72" y="154"/>
                      <a:pt x="83" y="138"/>
                    </a:cubicBezTo>
                    <a:cubicBezTo>
                      <a:pt x="85" y="135"/>
                      <a:pt x="87" y="131"/>
                      <a:pt x="89" y="128"/>
                    </a:cubicBezTo>
                    <a:cubicBezTo>
                      <a:pt x="107" y="100"/>
                      <a:pt x="121" y="69"/>
                      <a:pt x="139" y="41"/>
                    </a:cubicBezTo>
                    <a:cubicBezTo>
                      <a:pt x="139" y="41"/>
                      <a:pt x="138" y="41"/>
                      <a:pt x="138" y="40"/>
                    </a:cubicBezTo>
                    <a:cubicBezTo>
                      <a:pt x="137" y="40"/>
                      <a:pt x="137" y="40"/>
                      <a:pt x="137" y="40"/>
                    </a:cubicBezTo>
                    <a:moveTo>
                      <a:pt x="167" y="0"/>
                    </a:moveTo>
                    <a:cubicBezTo>
                      <a:pt x="167" y="0"/>
                      <a:pt x="167" y="0"/>
                      <a:pt x="167" y="0"/>
                    </a:cubicBezTo>
                    <a:cubicBezTo>
                      <a:pt x="166" y="1"/>
                      <a:pt x="165" y="2"/>
                      <a:pt x="164" y="3"/>
                    </a:cubicBezTo>
                    <a:cubicBezTo>
                      <a:pt x="154" y="11"/>
                      <a:pt x="147" y="22"/>
                      <a:pt x="141" y="33"/>
                    </a:cubicBezTo>
                    <a:cubicBezTo>
                      <a:pt x="141" y="34"/>
                      <a:pt x="141" y="34"/>
                      <a:pt x="141" y="34"/>
                    </a:cubicBezTo>
                    <a:cubicBezTo>
                      <a:pt x="142" y="34"/>
                      <a:pt x="143" y="34"/>
                      <a:pt x="143" y="35"/>
                    </a:cubicBezTo>
                    <a:cubicBezTo>
                      <a:pt x="146" y="30"/>
                      <a:pt x="149" y="26"/>
                      <a:pt x="153" y="21"/>
                    </a:cubicBezTo>
                    <a:cubicBezTo>
                      <a:pt x="157" y="15"/>
                      <a:pt x="162" y="10"/>
                      <a:pt x="167" y="4"/>
                    </a:cubicBezTo>
                    <a:cubicBezTo>
                      <a:pt x="167" y="4"/>
                      <a:pt x="168" y="3"/>
                      <a:pt x="169" y="2"/>
                    </a:cubicBezTo>
                    <a:cubicBezTo>
                      <a:pt x="169" y="1"/>
                      <a:pt x="168" y="0"/>
                      <a:pt x="167" y="0"/>
                    </a:cubicBezTo>
                  </a:path>
                </a:pathLst>
              </a:custGeom>
              <a:solidFill>
                <a:srgbClr val="544D4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416" name="Freeform 88">
                <a:extLst>
                  <a:ext uri="{FF2B5EF4-FFF2-40B4-BE49-F238E27FC236}">
                    <a16:creationId xmlns:a16="http://schemas.microsoft.com/office/drawing/2014/main" id="{E0AF3F92-65F6-47A3-88E2-E63F5511DC80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2504" y="2321"/>
                <a:ext cx="219" cy="33"/>
              </a:xfrm>
              <a:custGeom>
                <a:avLst/>
                <a:gdLst>
                  <a:gd name="T0" fmla="*/ 204 w 207"/>
                  <a:gd name="T1" fmla="*/ 5 h 31"/>
                  <a:gd name="T2" fmla="*/ 203 w 207"/>
                  <a:gd name="T3" fmla="*/ 5 h 31"/>
                  <a:gd name="T4" fmla="*/ 203 w 207"/>
                  <a:gd name="T5" fmla="*/ 5 h 31"/>
                  <a:gd name="T6" fmla="*/ 199 w 207"/>
                  <a:gd name="T7" fmla="*/ 6 h 31"/>
                  <a:gd name="T8" fmla="*/ 108 w 207"/>
                  <a:gd name="T9" fmla="*/ 21 h 31"/>
                  <a:gd name="T10" fmla="*/ 62 w 207"/>
                  <a:gd name="T11" fmla="*/ 24 h 31"/>
                  <a:gd name="T12" fmla="*/ 60 w 207"/>
                  <a:gd name="T13" fmla="*/ 24 h 31"/>
                  <a:gd name="T14" fmla="*/ 9 w 207"/>
                  <a:gd name="T15" fmla="*/ 8 h 31"/>
                  <a:gd name="T16" fmla="*/ 0 w 207"/>
                  <a:gd name="T17" fmla="*/ 7 h 31"/>
                  <a:gd name="T18" fmla="*/ 56 w 207"/>
                  <a:gd name="T19" fmla="*/ 31 h 31"/>
                  <a:gd name="T20" fmla="*/ 80 w 207"/>
                  <a:gd name="T21" fmla="*/ 30 h 31"/>
                  <a:gd name="T22" fmla="*/ 200 w 207"/>
                  <a:gd name="T23" fmla="*/ 12 h 31"/>
                  <a:gd name="T24" fmla="*/ 204 w 207"/>
                  <a:gd name="T25" fmla="*/ 10 h 31"/>
                  <a:gd name="T26" fmla="*/ 205 w 207"/>
                  <a:gd name="T27" fmla="*/ 10 h 31"/>
                  <a:gd name="T28" fmla="*/ 204 w 207"/>
                  <a:gd name="T29" fmla="*/ 5 h 31"/>
                  <a:gd name="T30" fmla="*/ 4 w 207"/>
                  <a:gd name="T31" fmla="*/ 0 h 31"/>
                  <a:gd name="T32" fmla="*/ 3 w 207"/>
                  <a:gd name="T33" fmla="*/ 0 h 31"/>
                  <a:gd name="T34" fmla="*/ 5 w 207"/>
                  <a:gd name="T35" fmla="*/ 1 h 31"/>
                  <a:gd name="T36" fmla="*/ 4 w 207"/>
                  <a:gd name="T37" fmla="*/ 0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207" h="31">
                    <a:moveTo>
                      <a:pt x="204" y="5"/>
                    </a:moveTo>
                    <a:cubicBezTo>
                      <a:pt x="204" y="5"/>
                      <a:pt x="204" y="5"/>
                      <a:pt x="203" y="5"/>
                    </a:cubicBezTo>
                    <a:cubicBezTo>
                      <a:pt x="203" y="5"/>
                      <a:pt x="203" y="5"/>
                      <a:pt x="203" y="5"/>
                    </a:cubicBezTo>
                    <a:cubicBezTo>
                      <a:pt x="202" y="5"/>
                      <a:pt x="200" y="6"/>
                      <a:pt x="199" y="6"/>
                    </a:cubicBezTo>
                    <a:cubicBezTo>
                      <a:pt x="169" y="13"/>
                      <a:pt x="139" y="18"/>
                      <a:pt x="108" y="21"/>
                    </a:cubicBezTo>
                    <a:cubicBezTo>
                      <a:pt x="93" y="22"/>
                      <a:pt x="78" y="24"/>
                      <a:pt x="62" y="24"/>
                    </a:cubicBezTo>
                    <a:cubicBezTo>
                      <a:pt x="61" y="24"/>
                      <a:pt x="60" y="24"/>
                      <a:pt x="60" y="24"/>
                    </a:cubicBezTo>
                    <a:cubicBezTo>
                      <a:pt x="44" y="24"/>
                      <a:pt x="18" y="22"/>
                      <a:pt x="9" y="8"/>
                    </a:cubicBezTo>
                    <a:cubicBezTo>
                      <a:pt x="6" y="8"/>
                      <a:pt x="3" y="7"/>
                      <a:pt x="0" y="7"/>
                    </a:cubicBezTo>
                    <a:cubicBezTo>
                      <a:pt x="8" y="28"/>
                      <a:pt x="33" y="31"/>
                      <a:pt x="56" y="31"/>
                    </a:cubicBezTo>
                    <a:cubicBezTo>
                      <a:pt x="65" y="31"/>
                      <a:pt x="74" y="31"/>
                      <a:pt x="80" y="30"/>
                    </a:cubicBezTo>
                    <a:cubicBezTo>
                      <a:pt x="120" y="28"/>
                      <a:pt x="161" y="22"/>
                      <a:pt x="200" y="12"/>
                    </a:cubicBezTo>
                    <a:cubicBezTo>
                      <a:pt x="201" y="11"/>
                      <a:pt x="203" y="11"/>
                      <a:pt x="204" y="10"/>
                    </a:cubicBezTo>
                    <a:cubicBezTo>
                      <a:pt x="204" y="10"/>
                      <a:pt x="204" y="10"/>
                      <a:pt x="205" y="10"/>
                    </a:cubicBezTo>
                    <a:cubicBezTo>
                      <a:pt x="207" y="9"/>
                      <a:pt x="206" y="5"/>
                      <a:pt x="204" y="5"/>
                    </a:cubicBezTo>
                    <a:moveTo>
                      <a:pt x="4" y="0"/>
                    </a:moveTo>
                    <a:cubicBezTo>
                      <a:pt x="4" y="0"/>
                      <a:pt x="3" y="0"/>
                      <a:pt x="3" y="0"/>
                    </a:cubicBezTo>
                    <a:cubicBezTo>
                      <a:pt x="4" y="0"/>
                      <a:pt x="4" y="0"/>
                      <a:pt x="5" y="1"/>
                    </a:cubicBezTo>
                    <a:cubicBezTo>
                      <a:pt x="5" y="0"/>
                      <a:pt x="4" y="0"/>
                      <a:pt x="4" y="0"/>
                    </a:cubicBezTo>
                  </a:path>
                </a:pathLst>
              </a:custGeom>
              <a:solidFill>
                <a:srgbClr val="544D4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417" name="Freeform 89">
                <a:extLst>
                  <a:ext uri="{FF2B5EF4-FFF2-40B4-BE49-F238E27FC236}">
                    <a16:creationId xmlns:a16="http://schemas.microsoft.com/office/drawing/2014/main" id="{F5B60E67-9558-4511-A269-439F6AE44184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2260" y="2258"/>
                <a:ext cx="270" cy="72"/>
              </a:xfrm>
              <a:custGeom>
                <a:avLst/>
                <a:gdLst>
                  <a:gd name="T0" fmla="*/ 51 w 255"/>
                  <a:gd name="T1" fmla="*/ 16 h 68"/>
                  <a:gd name="T2" fmla="*/ 51 w 255"/>
                  <a:gd name="T3" fmla="*/ 17 h 68"/>
                  <a:gd name="T4" fmla="*/ 44 w 255"/>
                  <a:gd name="T5" fmla="*/ 22 h 68"/>
                  <a:gd name="T6" fmla="*/ 63 w 255"/>
                  <a:gd name="T7" fmla="*/ 28 h 68"/>
                  <a:gd name="T8" fmla="*/ 131 w 255"/>
                  <a:gd name="T9" fmla="*/ 46 h 68"/>
                  <a:gd name="T10" fmla="*/ 203 w 255"/>
                  <a:gd name="T11" fmla="*/ 61 h 68"/>
                  <a:gd name="T12" fmla="*/ 230 w 255"/>
                  <a:gd name="T13" fmla="*/ 67 h 68"/>
                  <a:gd name="T14" fmla="*/ 239 w 255"/>
                  <a:gd name="T15" fmla="*/ 68 h 68"/>
                  <a:gd name="T16" fmla="*/ 240 w 255"/>
                  <a:gd name="T17" fmla="*/ 68 h 68"/>
                  <a:gd name="T18" fmla="*/ 248 w 255"/>
                  <a:gd name="T19" fmla="*/ 67 h 68"/>
                  <a:gd name="T20" fmla="*/ 252 w 255"/>
                  <a:gd name="T21" fmla="*/ 66 h 68"/>
                  <a:gd name="T22" fmla="*/ 251 w 255"/>
                  <a:gd name="T23" fmla="*/ 61 h 68"/>
                  <a:gd name="T24" fmla="*/ 251 w 255"/>
                  <a:gd name="T25" fmla="*/ 61 h 68"/>
                  <a:gd name="T26" fmla="*/ 245 w 255"/>
                  <a:gd name="T27" fmla="*/ 61 h 68"/>
                  <a:gd name="T28" fmla="*/ 244 w 255"/>
                  <a:gd name="T29" fmla="*/ 61 h 68"/>
                  <a:gd name="T30" fmla="*/ 235 w 255"/>
                  <a:gd name="T31" fmla="*/ 61 h 68"/>
                  <a:gd name="T32" fmla="*/ 233 w 255"/>
                  <a:gd name="T33" fmla="*/ 60 h 68"/>
                  <a:gd name="T34" fmla="*/ 196 w 255"/>
                  <a:gd name="T35" fmla="*/ 52 h 68"/>
                  <a:gd name="T36" fmla="*/ 132 w 255"/>
                  <a:gd name="T37" fmla="*/ 38 h 68"/>
                  <a:gd name="T38" fmla="*/ 51 w 255"/>
                  <a:gd name="T39" fmla="*/ 16 h 68"/>
                  <a:gd name="T40" fmla="*/ 3 w 255"/>
                  <a:gd name="T41" fmla="*/ 0 h 68"/>
                  <a:gd name="T42" fmla="*/ 2 w 255"/>
                  <a:gd name="T43" fmla="*/ 6 h 68"/>
                  <a:gd name="T44" fmla="*/ 34 w 255"/>
                  <a:gd name="T45" fmla="*/ 19 h 68"/>
                  <a:gd name="T46" fmla="*/ 36 w 255"/>
                  <a:gd name="T47" fmla="*/ 20 h 68"/>
                  <a:gd name="T48" fmla="*/ 47 w 255"/>
                  <a:gd name="T49" fmla="*/ 15 h 68"/>
                  <a:gd name="T50" fmla="*/ 46 w 255"/>
                  <a:gd name="T51" fmla="*/ 14 h 68"/>
                  <a:gd name="T52" fmla="*/ 4 w 255"/>
                  <a:gd name="T53" fmla="*/ 0 h 68"/>
                  <a:gd name="T54" fmla="*/ 3 w 255"/>
                  <a:gd name="T55" fmla="*/ 0 h 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255" h="68">
                    <a:moveTo>
                      <a:pt x="51" y="16"/>
                    </a:moveTo>
                    <a:cubicBezTo>
                      <a:pt x="51" y="16"/>
                      <a:pt x="51" y="16"/>
                      <a:pt x="51" y="17"/>
                    </a:cubicBezTo>
                    <a:cubicBezTo>
                      <a:pt x="49" y="19"/>
                      <a:pt x="46" y="21"/>
                      <a:pt x="44" y="22"/>
                    </a:cubicBezTo>
                    <a:cubicBezTo>
                      <a:pt x="50" y="24"/>
                      <a:pt x="57" y="26"/>
                      <a:pt x="63" y="28"/>
                    </a:cubicBezTo>
                    <a:cubicBezTo>
                      <a:pt x="85" y="36"/>
                      <a:pt x="108" y="41"/>
                      <a:pt x="131" y="46"/>
                    </a:cubicBezTo>
                    <a:cubicBezTo>
                      <a:pt x="155" y="51"/>
                      <a:pt x="179" y="56"/>
                      <a:pt x="203" y="61"/>
                    </a:cubicBezTo>
                    <a:cubicBezTo>
                      <a:pt x="210" y="63"/>
                      <a:pt x="220" y="66"/>
                      <a:pt x="230" y="67"/>
                    </a:cubicBezTo>
                    <a:cubicBezTo>
                      <a:pt x="233" y="67"/>
                      <a:pt x="236" y="68"/>
                      <a:pt x="239" y="68"/>
                    </a:cubicBezTo>
                    <a:cubicBezTo>
                      <a:pt x="239" y="68"/>
                      <a:pt x="240" y="68"/>
                      <a:pt x="240" y="68"/>
                    </a:cubicBezTo>
                    <a:cubicBezTo>
                      <a:pt x="243" y="68"/>
                      <a:pt x="245" y="67"/>
                      <a:pt x="248" y="67"/>
                    </a:cubicBezTo>
                    <a:cubicBezTo>
                      <a:pt x="249" y="67"/>
                      <a:pt x="251" y="66"/>
                      <a:pt x="252" y="66"/>
                    </a:cubicBezTo>
                    <a:cubicBezTo>
                      <a:pt x="255" y="65"/>
                      <a:pt x="254" y="61"/>
                      <a:pt x="251" y="61"/>
                    </a:cubicBezTo>
                    <a:cubicBezTo>
                      <a:pt x="251" y="61"/>
                      <a:pt x="251" y="61"/>
                      <a:pt x="251" y="61"/>
                    </a:cubicBezTo>
                    <a:cubicBezTo>
                      <a:pt x="249" y="61"/>
                      <a:pt x="247" y="61"/>
                      <a:pt x="245" y="61"/>
                    </a:cubicBezTo>
                    <a:cubicBezTo>
                      <a:pt x="245" y="61"/>
                      <a:pt x="244" y="61"/>
                      <a:pt x="244" y="61"/>
                    </a:cubicBezTo>
                    <a:cubicBezTo>
                      <a:pt x="241" y="61"/>
                      <a:pt x="238" y="61"/>
                      <a:pt x="235" y="61"/>
                    </a:cubicBezTo>
                    <a:cubicBezTo>
                      <a:pt x="234" y="60"/>
                      <a:pt x="234" y="60"/>
                      <a:pt x="233" y="60"/>
                    </a:cubicBezTo>
                    <a:cubicBezTo>
                      <a:pt x="220" y="58"/>
                      <a:pt x="207" y="54"/>
                      <a:pt x="196" y="52"/>
                    </a:cubicBezTo>
                    <a:cubicBezTo>
                      <a:pt x="175" y="47"/>
                      <a:pt x="153" y="43"/>
                      <a:pt x="132" y="38"/>
                    </a:cubicBezTo>
                    <a:cubicBezTo>
                      <a:pt x="104" y="32"/>
                      <a:pt x="78" y="24"/>
                      <a:pt x="51" y="16"/>
                    </a:cubicBezTo>
                    <a:moveTo>
                      <a:pt x="3" y="0"/>
                    </a:moveTo>
                    <a:cubicBezTo>
                      <a:pt x="1" y="0"/>
                      <a:pt x="0" y="4"/>
                      <a:pt x="2" y="6"/>
                    </a:cubicBezTo>
                    <a:cubicBezTo>
                      <a:pt x="12" y="12"/>
                      <a:pt x="23" y="16"/>
                      <a:pt x="34" y="19"/>
                    </a:cubicBezTo>
                    <a:cubicBezTo>
                      <a:pt x="34" y="20"/>
                      <a:pt x="35" y="20"/>
                      <a:pt x="36" y="20"/>
                    </a:cubicBezTo>
                    <a:cubicBezTo>
                      <a:pt x="40" y="19"/>
                      <a:pt x="44" y="17"/>
                      <a:pt x="47" y="15"/>
                    </a:cubicBezTo>
                    <a:cubicBezTo>
                      <a:pt x="47" y="15"/>
                      <a:pt x="46" y="14"/>
                      <a:pt x="46" y="14"/>
                    </a:cubicBezTo>
                    <a:cubicBezTo>
                      <a:pt x="32" y="10"/>
                      <a:pt x="18" y="5"/>
                      <a:pt x="4" y="0"/>
                    </a:cubicBezTo>
                    <a:cubicBezTo>
                      <a:pt x="4" y="0"/>
                      <a:pt x="4" y="0"/>
                      <a:pt x="3" y="0"/>
                    </a:cubicBezTo>
                  </a:path>
                </a:pathLst>
              </a:custGeom>
              <a:solidFill>
                <a:srgbClr val="544D4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418" name="Freeform 90">
                <a:extLst>
                  <a:ext uri="{FF2B5EF4-FFF2-40B4-BE49-F238E27FC236}">
                    <a16:creationId xmlns:a16="http://schemas.microsoft.com/office/drawing/2014/main" id="{B8BBB9C1-213D-4C89-8587-3424A2B57AB3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113" y="2202"/>
                <a:ext cx="202" cy="89"/>
              </a:xfrm>
              <a:custGeom>
                <a:avLst/>
                <a:gdLst>
                  <a:gd name="T0" fmla="*/ 6 w 191"/>
                  <a:gd name="T1" fmla="*/ 0 h 84"/>
                  <a:gd name="T2" fmla="*/ 3 w 191"/>
                  <a:gd name="T3" fmla="*/ 7 h 84"/>
                  <a:gd name="T4" fmla="*/ 4 w 191"/>
                  <a:gd name="T5" fmla="*/ 7 h 84"/>
                  <a:gd name="T6" fmla="*/ 5 w 191"/>
                  <a:gd name="T7" fmla="*/ 8 h 84"/>
                  <a:gd name="T8" fmla="*/ 7 w 191"/>
                  <a:gd name="T9" fmla="*/ 10 h 84"/>
                  <a:gd name="T10" fmla="*/ 21 w 191"/>
                  <a:gd name="T11" fmla="*/ 23 h 84"/>
                  <a:gd name="T12" fmla="*/ 46 w 191"/>
                  <a:gd name="T13" fmla="*/ 41 h 84"/>
                  <a:gd name="T14" fmla="*/ 106 w 191"/>
                  <a:gd name="T15" fmla="*/ 71 h 84"/>
                  <a:gd name="T16" fmla="*/ 157 w 191"/>
                  <a:gd name="T17" fmla="*/ 84 h 84"/>
                  <a:gd name="T18" fmla="*/ 183 w 191"/>
                  <a:gd name="T19" fmla="*/ 75 h 84"/>
                  <a:gd name="T20" fmla="*/ 190 w 191"/>
                  <a:gd name="T21" fmla="*/ 70 h 84"/>
                  <a:gd name="T22" fmla="*/ 190 w 191"/>
                  <a:gd name="T23" fmla="*/ 69 h 84"/>
                  <a:gd name="T24" fmla="*/ 188 w 191"/>
                  <a:gd name="T25" fmla="*/ 66 h 84"/>
                  <a:gd name="T26" fmla="*/ 188 w 191"/>
                  <a:gd name="T27" fmla="*/ 67 h 84"/>
                  <a:gd name="T28" fmla="*/ 186 w 191"/>
                  <a:gd name="T29" fmla="*/ 68 h 84"/>
                  <a:gd name="T30" fmla="*/ 175 w 191"/>
                  <a:gd name="T31" fmla="*/ 73 h 84"/>
                  <a:gd name="T32" fmla="*/ 156 w 191"/>
                  <a:gd name="T33" fmla="*/ 76 h 84"/>
                  <a:gd name="T34" fmla="*/ 80 w 191"/>
                  <a:gd name="T35" fmla="*/ 51 h 84"/>
                  <a:gd name="T36" fmla="*/ 34 w 191"/>
                  <a:gd name="T37" fmla="*/ 23 h 84"/>
                  <a:gd name="T38" fmla="*/ 11 w 191"/>
                  <a:gd name="T39" fmla="*/ 3 h 84"/>
                  <a:gd name="T40" fmla="*/ 9 w 191"/>
                  <a:gd name="T41" fmla="*/ 2 h 84"/>
                  <a:gd name="T42" fmla="*/ 7 w 191"/>
                  <a:gd name="T43" fmla="*/ 1 h 84"/>
                  <a:gd name="T44" fmla="*/ 7 w 191"/>
                  <a:gd name="T45" fmla="*/ 0 h 84"/>
                  <a:gd name="T46" fmla="*/ 6 w 191"/>
                  <a:gd name="T47" fmla="*/ 0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191" h="84">
                    <a:moveTo>
                      <a:pt x="6" y="0"/>
                    </a:moveTo>
                    <a:cubicBezTo>
                      <a:pt x="3" y="0"/>
                      <a:pt x="0" y="5"/>
                      <a:pt x="3" y="7"/>
                    </a:cubicBezTo>
                    <a:cubicBezTo>
                      <a:pt x="3" y="7"/>
                      <a:pt x="3" y="7"/>
                      <a:pt x="4" y="7"/>
                    </a:cubicBezTo>
                    <a:cubicBezTo>
                      <a:pt x="4" y="8"/>
                      <a:pt x="5" y="8"/>
                      <a:pt x="5" y="8"/>
                    </a:cubicBezTo>
                    <a:cubicBezTo>
                      <a:pt x="6" y="9"/>
                      <a:pt x="7" y="9"/>
                      <a:pt x="7" y="10"/>
                    </a:cubicBezTo>
                    <a:cubicBezTo>
                      <a:pt x="12" y="14"/>
                      <a:pt x="17" y="19"/>
                      <a:pt x="21" y="23"/>
                    </a:cubicBezTo>
                    <a:cubicBezTo>
                      <a:pt x="30" y="29"/>
                      <a:pt x="38" y="35"/>
                      <a:pt x="46" y="41"/>
                    </a:cubicBezTo>
                    <a:cubicBezTo>
                      <a:pt x="65" y="53"/>
                      <a:pt x="85" y="64"/>
                      <a:pt x="106" y="71"/>
                    </a:cubicBezTo>
                    <a:cubicBezTo>
                      <a:pt x="123" y="76"/>
                      <a:pt x="140" y="84"/>
                      <a:pt x="157" y="84"/>
                    </a:cubicBezTo>
                    <a:cubicBezTo>
                      <a:pt x="166" y="84"/>
                      <a:pt x="175" y="81"/>
                      <a:pt x="183" y="75"/>
                    </a:cubicBezTo>
                    <a:cubicBezTo>
                      <a:pt x="185" y="74"/>
                      <a:pt x="188" y="72"/>
                      <a:pt x="190" y="70"/>
                    </a:cubicBezTo>
                    <a:cubicBezTo>
                      <a:pt x="190" y="69"/>
                      <a:pt x="190" y="69"/>
                      <a:pt x="190" y="69"/>
                    </a:cubicBezTo>
                    <a:cubicBezTo>
                      <a:pt x="191" y="68"/>
                      <a:pt x="190" y="66"/>
                      <a:pt x="188" y="66"/>
                    </a:cubicBezTo>
                    <a:cubicBezTo>
                      <a:pt x="188" y="66"/>
                      <a:pt x="188" y="66"/>
                      <a:pt x="188" y="67"/>
                    </a:cubicBezTo>
                    <a:cubicBezTo>
                      <a:pt x="187" y="67"/>
                      <a:pt x="187" y="67"/>
                      <a:pt x="186" y="68"/>
                    </a:cubicBezTo>
                    <a:cubicBezTo>
                      <a:pt x="183" y="70"/>
                      <a:pt x="179" y="72"/>
                      <a:pt x="175" y="73"/>
                    </a:cubicBezTo>
                    <a:cubicBezTo>
                      <a:pt x="169" y="75"/>
                      <a:pt x="163" y="76"/>
                      <a:pt x="156" y="76"/>
                    </a:cubicBezTo>
                    <a:cubicBezTo>
                      <a:pt x="130" y="76"/>
                      <a:pt x="100" y="62"/>
                      <a:pt x="80" y="51"/>
                    </a:cubicBezTo>
                    <a:cubicBezTo>
                      <a:pt x="64" y="43"/>
                      <a:pt x="48" y="34"/>
                      <a:pt x="34" y="23"/>
                    </a:cubicBezTo>
                    <a:cubicBezTo>
                      <a:pt x="26" y="17"/>
                      <a:pt x="19" y="8"/>
                      <a:pt x="11" y="3"/>
                    </a:cubicBezTo>
                    <a:cubicBezTo>
                      <a:pt x="10" y="2"/>
                      <a:pt x="10" y="2"/>
                      <a:pt x="9" y="2"/>
                    </a:cubicBezTo>
                    <a:cubicBezTo>
                      <a:pt x="9" y="1"/>
                      <a:pt x="8" y="1"/>
                      <a:pt x="7" y="1"/>
                    </a:cubicBezTo>
                    <a:cubicBezTo>
                      <a:pt x="7" y="1"/>
                      <a:pt x="7" y="1"/>
                      <a:pt x="7" y="0"/>
                    </a:cubicBezTo>
                    <a:cubicBezTo>
                      <a:pt x="6" y="0"/>
                      <a:pt x="6" y="0"/>
                      <a:pt x="6" y="0"/>
                    </a:cubicBezTo>
                  </a:path>
                </a:pathLst>
              </a:custGeom>
              <a:solidFill>
                <a:srgbClr val="544D4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419" name="Freeform 91">
                <a:extLst>
                  <a:ext uri="{FF2B5EF4-FFF2-40B4-BE49-F238E27FC236}">
                    <a16:creationId xmlns:a16="http://schemas.microsoft.com/office/drawing/2014/main" id="{7161C59B-AB95-40C4-B15F-E43FA6C7922E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2405" y="2149"/>
                <a:ext cx="75" cy="69"/>
              </a:xfrm>
              <a:custGeom>
                <a:avLst/>
                <a:gdLst>
                  <a:gd name="T0" fmla="*/ 17 w 71"/>
                  <a:gd name="T1" fmla="*/ 16 h 65"/>
                  <a:gd name="T2" fmla="*/ 33 w 71"/>
                  <a:gd name="T3" fmla="*/ 8 h 65"/>
                  <a:gd name="T4" fmla="*/ 35 w 71"/>
                  <a:gd name="T5" fmla="*/ 5 h 65"/>
                  <a:gd name="T6" fmla="*/ 62 w 71"/>
                  <a:gd name="T7" fmla="*/ 19 h 65"/>
                  <a:gd name="T8" fmla="*/ 60 w 71"/>
                  <a:gd name="T9" fmla="*/ 52 h 65"/>
                  <a:gd name="T10" fmla="*/ 55 w 71"/>
                  <a:gd name="T11" fmla="*/ 56 h 65"/>
                  <a:gd name="T12" fmla="*/ 41 w 71"/>
                  <a:gd name="T13" fmla="*/ 59 h 65"/>
                  <a:gd name="T14" fmla="*/ 11 w 71"/>
                  <a:gd name="T15" fmla="*/ 42 h 65"/>
                  <a:gd name="T16" fmla="*/ 14 w 71"/>
                  <a:gd name="T17" fmla="*/ 19 h 65"/>
                  <a:gd name="T18" fmla="*/ 17 w 71"/>
                  <a:gd name="T19" fmla="*/ 16 h 65"/>
                  <a:gd name="T20" fmla="*/ 17 w 71"/>
                  <a:gd name="T21" fmla="*/ 16 h 65"/>
                  <a:gd name="T22" fmla="*/ 36 w 71"/>
                  <a:gd name="T23" fmla="*/ 0 h 65"/>
                  <a:gd name="T24" fmla="*/ 27 w 71"/>
                  <a:gd name="T25" fmla="*/ 1 h 65"/>
                  <a:gd name="T26" fmla="*/ 27 w 71"/>
                  <a:gd name="T27" fmla="*/ 1 h 65"/>
                  <a:gd name="T28" fmla="*/ 23 w 71"/>
                  <a:gd name="T29" fmla="*/ 2 h 65"/>
                  <a:gd name="T30" fmla="*/ 23 w 71"/>
                  <a:gd name="T31" fmla="*/ 4 h 65"/>
                  <a:gd name="T32" fmla="*/ 4 w 71"/>
                  <a:gd name="T33" fmla="*/ 41 h 65"/>
                  <a:gd name="T34" fmla="*/ 40 w 71"/>
                  <a:gd name="T35" fmla="*/ 65 h 65"/>
                  <a:gd name="T36" fmla="*/ 52 w 71"/>
                  <a:gd name="T37" fmla="*/ 63 h 65"/>
                  <a:gd name="T38" fmla="*/ 69 w 71"/>
                  <a:gd name="T39" fmla="*/ 47 h 65"/>
                  <a:gd name="T40" fmla="*/ 69 w 71"/>
                  <a:gd name="T41" fmla="*/ 24 h 65"/>
                  <a:gd name="T42" fmla="*/ 36 w 71"/>
                  <a:gd name="T43" fmla="*/ 0 h 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71" h="65">
                    <a:moveTo>
                      <a:pt x="17" y="16"/>
                    </a:moveTo>
                    <a:cubicBezTo>
                      <a:pt x="21" y="12"/>
                      <a:pt x="28" y="10"/>
                      <a:pt x="33" y="8"/>
                    </a:cubicBezTo>
                    <a:cubicBezTo>
                      <a:pt x="35" y="7"/>
                      <a:pt x="35" y="6"/>
                      <a:pt x="35" y="5"/>
                    </a:cubicBezTo>
                    <a:cubicBezTo>
                      <a:pt x="46" y="6"/>
                      <a:pt x="57" y="10"/>
                      <a:pt x="62" y="19"/>
                    </a:cubicBezTo>
                    <a:cubicBezTo>
                      <a:pt x="66" y="29"/>
                      <a:pt x="67" y="43"/>
                      <a:pt x="60" y="52"/>
                    </a:cubicBezTo>
                    <a:cubicBezTo>
                      <a:pt x="59" y="53"/>
                      <a:pt x="57" y="55"/>
                      <a:pt x="55" y="56"/>
                    </a:cubicBezTo>
                    <a:cubicBezTo>
                      <a:pt x="51" y="58"/>
                      <a:pt x="46" y="59"/>
                      <a:pt x="41" y="59"/>
                    </a:cubicBezTo>
                    <a:cubicBezTo>
                      <a:pt x="28" y="59"/>
                      <a:pt x="15" y="53"/>
                      <a:pt x="11" y="42"/>
                    </a:cubicBezTo>
                    <a:cubicBezTo>
                      <a:pt x="9" y="36"/>
                      <a:pt x="10" y="26"/>
                      <a:pt x="14" y="19"/>
                    </a:cubicBezTo>
                    <a:cubicBezTo>
                      <a:pt x="15" y="18"/>
                      <a:pt x="16" y="17"/>
                      <a:pt x="17" y="16"/>
                    </a:cubicBezTo>
                    <a:cubicBezTo>
                      <a:pt x="17" y="16"/>
                      <a:pt x="17" y="16"/>
                      <a:pt x="17" y="16"/>
                    </a:cubicBezTo>
                    <a:moveTo>
                      <a:pt x="36" y="0"/>
                    </a:moveTo>
                    <a:cubicBezTo>
                      <a:pt x="33" y="0"/>
                      <a:pt x="30" y="1"/>
                      <a:pt x="27" y="1"/>
                    </a:cubicBezTo>
                    <a:cubicBezTo>
                      <a:pt x="27" y="1"/>
                      <a:pt x="27" y="1"/>
                      <a:pt x="27" y="1"/>
                    </a:cubicBezTo>
                    <a:cubicBezTo>
                      <a:pt x="26" y="1"/>
                      <a:pt x="25" y="2"/>
                      <a:pt x="23" y="2"/>
                    </a:cubicBezTo>
                    <a:cubicBezTo>
                      <a:pt x="22" y="2"/>
                      <a:pt x="22" y="3"/>
                      <a:pt x="23" y="4"/>
                    </a:cubicBezTo>
                    <a:cubicBezTo>
                      <a:pt x="8" y="9"/>
                      <a:pt x="0" y="26"/>
                      <a:pt x="4" y="41"/>
                    </a:cubicBezTo>
                    <a:cubicBezTo>
                      <a:pt x="8" y="57"/>
                      <a:pt x="25" y="65"/>
                      <a:pt x="40" y="65"/>
                    </a:cubicBezTo>
                    <a:cubicBezTo>
                      <a:pt x="44" y="65"/>
                      <a:pt x="48" y="64"/>
                      <a:pt x="52" y="63"/>
                    </a:cubicBezTo>
                    <a:cubicBezTo>
                      <a:pt x="61" y="60"/>
                      <a:pt x="66" y="55"/>
                      <a:pt x="69" y="47"/>
                    </a:cubicBezTo>
                    <a:cubicBezTo>
                      <a:pt x="71" y="40"/>
                      <a:pt x="71" y="32"/>
                      <a:pt x="69" y="24"/>
                    </a:cubicBezTo>
                    <a:cubicBezTo>
                      <a:pt x="64" y="8"/>
                      <a:pt x="51" y="0"/>
                      <a:pt x="36" y="0"/>
                    </a:cubicBezTo>
                  </a:path>
                </a:pathLst>
              </a:custGeom>
              <a:solidFill>
                <a:srgbClr val="544D4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420" name="Freeform 92">
                <a:extLst>
                  <a:ext uri="{FF2B5EF4-FFF2-40B4-BE49-F238E27FC236}">
                    <a16:creationId xmlns:a16="http://schemas.microsoft.com/office/drawing/2014/main" id="{03ACF1DD-2C0B-45A8-9736-1D68793181E5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055" y="2074"/>
                <a:ext cx="743" cy="209"/>
              </a:xfrm>
              <a:custGeom>
                <a:avLst/>
                <a:gdLst>
                  <a:gd name="T0" fmla="*/ 4 w 702"/>
                  <a:gd name="T1" fmla="*/ 0 h 198"/>
                  <a:gd name="T2" fmla="*/ 2 w 702"/>
                  <a:gd name="T3" fmla="*/ 4 h 198"/>
                  <a:gd name="T4" fmla="*/ 79 w 702"/>
                  <a:gd name="T5" fmla="*/ 62 h 198"/>
                  <a:gd name="T6" fmla="*/ 79 w 702"/>
                  <a:gd name="T7" fmla="*/ 62 h 198"/>
                  <a:gd name="T8" fmla="*/ 331 w 702"/>
                  <a:gd name="T9" fmla="*/ 158 h 198"/>
                  <a:gd name="T10" fmla="*/ 523 w 702"/>
                  <a:gd name="T11" fmla="*/ 196 h 198"/>
                  <a:gd name="T12" fmla="*/ 560 w 702"/>
                  <a:gd name="T13" fmla="*/ 198 h 198"/>
                  <a:gd name="T14" fmla="*/ 654 w 702"/>
                  <a:gd name="T15" fmla="*/ 186 h 198"/>
                  <a:gd name="T16" fmla="*/ 654 w 702"/>
                  <a:gd name="T17" fmla="*/ 186 h 198"/>
                  <a:gd name="T18" fmla="*/ 701 w 702"/>
                  <a:gd name="T19" fmla="*/ 168 h 198"/>
                  <a:gd name="T20" fmla="*/ 701 w 702"/>
                  <a:gd name="T21" fmla="*/ 167 h 198"/>
                  <a:gd name="T22" fmla="*/ 701 w 702"/>
                  <a:gd name="T23" fmla="*/ 167 h 198"/>
                  <a:gd name="T24" fmla="*/ 654 w 702"/>
                  <a:gd name="T25" fmla="*/ 183 h 198"/>
                  <a:gd name="T26" fmla="*/ 654 w 702"/>
                  <a:gd name="T27" fmla="*/ 183 h 198"/>
                  <a:gd name="T28" fmla="*/ 567 w 702"/>
                  <a:gd name="T29" fmla="*/ 194 h 198"/>
                  <a:gd name="T30" fmla="*/ 325 w 702"/>
                  <a:gd name="T31" fmla="*/ 150 h 198"/>
                  <a:gd name="T32" fmla="*/ 151 w 702"/>
                  <a:gd name="T33" fmla="*/ 91 h 198"/>
                  <a:gd name="T34" fmla="*/ 83 w 702"/>
                  <a:gd name="T35" fmla="*/ 55 h 198"/>
                  <a:gd name="T36" fmla="*/ 83 w 702"/>
                  <a:gd name="T37" fmla="*/ 55 h 198"/>
                  <a:gd name="T38" fmla="*/ 5 w 702"/>
                  <a:gd name="T39" fmla="*/ 0 h 198"/>
                  <a:gd name="T40" fmla="*/ 4 w 702"/>
                  <a:gd name="T41" fmla="*/ 0 h 1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702" h="198">
                    <a:moveTo>
                      <a:pt x="4" y="0"/>
                    </a:moveTo>
                    <a:cubicBezTo>
                      <a:pt x="2" y="0"/>
                      <a:pt x="0" y="2"/>
                      <a:pt x="2" y="4"/>
                    </a:cubicBezTo>
                    <a:cubicBezTo>
                      <a:pt x="25" y="26"/>
                      <a:pt x="51" y="45"/>
                      <a:pt x="79" y="62"/>
                    </a:cubicBezTo>
                    <a:cubicBezTo>
                      <a:pt x="79" y="62"/>
                      <a:pt x="79" y="62"/>
                      <a:pt x="79" y="62"/>
                    </a:cubicBezTo>
                    <a:cubicBezTo>
                      <a:pt x="156" y="109"/>
                      <a:pt x="245" y="136"/>
                      <a:pt x="331" y="158"/>
                    </a:cubicBezTo>
                    <a:cubicBezTo>
                      <a:pt x="394" y="174"/>
                      <a:pt x="458" y="192"/>
                      <a:pt x="523" y="196"/>
                    </a:cubicBezTo>
                    <a:cubicBezTo>
                      <a:pt x="536" y="197"/>
                      <a:pt x="548" y="198"/>
                      <a:pt x="560" y="198"/>
                    </a:cubicBezTo>
                    <a:cubicBezTo>
                      <a:pt x="592" y="198"/>
                      <a:pt x="624" y="195"/>
                      <a:pt x="654" y="186"/>
                    </a:cubicBezTo>
                    <a:cubicBezTo>
                      <a:pt x="654" y="186"/>
                      <a:pt x="654" y="186"/>
                      <a:pt x="654" y="186"/>
                    </a:cubicBezTo>
                    <a:cubicBezTo>
                      <a:pt x="670" y="182"/>
                      <a:pt x="686" y="176"/>
                      <a:pt x="701" y="168"/>
                    </a:cubicBezTo>
                    <a:cubicBezTo>
                      <a:pt x="702" y="167"/>
                      <a:pt x="701" y="167"/>
                      <a:pt x="701" y="167"/>
                    </a:cubicBezTo>
                    <a:cubicBezTo>
                      <a:pt x="701" y="167"/>
                      <a:pt x="701" y="167"/>
                      <a:pt x="701" y="167"/>
                    </a:cubicBezTo>
                    <a:cubicBezTo>
                      <a:pt x="685" y="174"/>
                      <a:pt x="670" y="179"/>
                      <a:pt x="654" y="183"/>
                    </a:cubicBezTo>
                    <a:cubicBezTo>
                      <a:pt x="654" y="183"/>
                      <a:pt x="654" y="183"/>
                      <a:pt x="654" y="183"/>
                    </a:cubicBezTo>
                    <a:cubicBezTo>
                      <a:pt x="625" y="191"/>
                      <a:pt x="596" y="194"/>
                      <a:pt x="567" y="194"/>
                    </a:cubicBezTo>
                    <a:cubicBezTo>
                      <a:pt x="485" y="194"/>
                      <a:pt x="402" y="170"/>
                      <a:pt x="325" y="150"/>
                    </a:cubicBezTo>
                    <a:cubicBezTo>
                      <a:pt x="266" y="135"/>
                      <a:pt x="207" y="117"/>
                      <a:pt x="151" y="91"/>
                    </a:cubicBezTo>
                    <a:cubicBezTo>
                      <a:pt x="128" y="80"/>
                      <a:pt x="105" y="68"/>
                      <a:pt x="83" y="55"/>
                    </a:cubicBezTo>
                    <a:cubicBezTo>
                      <a:pt x="83" y="55"/>
                      <a:pt x="83" y="55"/>
                      <a:pt x="83" y="55"/>
                    </a:cubicBezTo>
                    <a:cubicBezTo>
                      <a:pt x="56" y="38"/>
                      <a:pt x="30" y="20"/>
                      <a:pt x="5" y="0"/>
                    </a:cubicBezTo>
                    <a:cubicBezTo>
                      <a:pt x="5" y="0"/>
                      <a:pt x="4" y="0"/>
                      <a:pt x="4" y="0"/>
                    </a:cubicBezTo>
                  </a:path>
                </a:pathLst>
              </a:custGeom>
              <a:solidFill>
                <a:srgbClr val="544D4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421" name="Freeform 93">
                <a:extLst>
                  <a:ext uri="{FF2B5EF4-FFF2-40B4-BE49-F238E27FC236}">
                    <a16:creationId xmlns:a16="http://schemas.microsoft.com/office/drawing/2014/main" id="{8719ECA7-F027-4ABC-9A13-D45949A5E303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1994" y="1764"/>
                <a:ext cx="439" cy="398"/>
              </a:xfrm>
              <a:custGeom>
                <a:avLst/>
                <a:gdLst>
                  <a:gd name="T0" fmla="*/ 117 w 414"/>
                  <a:gd name="T1" fmla="*/ 15 h 376"/>
                  <a:gd name="T2" fmla="*/ 118 w 414"/>
                  <a:gd name="T3" fmla="*/ 15 h 376"/>
                  <a:gd name="T4" fmla="*/ 172 w 414"/>
                  <a:gd name="T5" fmla="*/ 5 h 376"/>
                  <a:gd name="T6" fmla="*/ 228 w 414"/>
                  <a:gd name="T7" fmla="*/ 18 h 376"/>
                  <a:gd name="T8" fmla="*/ 304 w 414"/>
                  <a:gd name="T9" fmla="*/ 78 h 376"/>
                  <a:gd name="T10" fmla="*/ 362 w 414"/>
                  <a:gd name="T11" fmla="*/ 174 h 376"/>
                  <a:gd name="T12" fmla="*/ 401 w 414"/>
                  <a:gd name="T13" fmla="*/ 288 h 376"/>
                  <a:gd name="T14" fmla="*/ 362 w 414"/>
                  <a:gd name="T15" fmla="*/ 357 h 376"/>
                  <a:gd name="T16" fmla="*/ 343 w 414"/>
                  <a:gd name="T17" fmla="*/ 366 h 376"/>
                  <a:gd name="T18" fmla="*/ 316 w 414"/>
                  <a:gd name="T19" fmla="*/ 370 h 376"/>
                  <a:gd name="T20" fmla="*/ 227 w 414"/>
                  <a:gd name="T21" fmla="*/ 343 h 376"/>
                  <a:gd name="T22" fmla="*/ 124 w 414"/>
                  <a:gd name="T23" fmla="*/ 280 h 376"/>
                  <a:gd name="T24" fmla="*/ 48 w 414"/>
                  <a:gd name="T25" fmla="*/ 215 h 376"/>
                  <a:gd name="T26" fmla="*/ 19 w 414"/>
                  <a:gd name="T27" fmla="*/ 95 h 376"/>
                  <a:gd name="T28" fmla="*/ 26 w 414"/>
                  <a:gd name="T29" fmla="*/ 79 h 376"/>
                  <a:gd name="T30" fmla="*/ 26 w 414"/>
                  <a:gd name="T31" fmla="*/ 79 h 376"/>
                  <a:gd name="T32" fmla="*/ 116 w 414"/>
                  <a:gd name="T33" fmla="*/ 13 h 376"/>
                  <a:gd name="T34" fmla="*/ 117 w 414"/>
                  <a:gd name="T35" fmla="*/ 15 h 376"/>
                  <a:gd name="T36" fmla="*/ 170 w 414"/>
                  <a:gd name="T37" fmla="*/ 0 h 376"/>
                  <a:gd name="T38" fmla="*/ 118 w 414"/>
                  <a:gd name="T39" fmla="*/ 12 h 376"/>
                  <a:gd name="T40" fmla="*/ 120 w 414"/>
                  <a:gd name="T41" fmla="*/ 10 h 376"/>
                  <a:gd name="T42" fmla="*/ 119 w 414"/>
                  <a:gd name="T43" fmla="*/ 4 h 376"/>
                  <a:gd name="T44" fmla="*/ 117 w 414"/>
                  <a:gd name="T45" fmla="*/ 5 h 376"/>
                  <a:gd name="T46" fmla="*/ 116 w 414"/>
                  <a:gd name="T47" fmla="*/ 5 h 376"/>
                  <a:gd name="T48" fmla="*/ 116 w 414"/>
                  <a:gd name="T49" fmla="*/ 5 h 376"/>
                  <a:gd name="T50" fmla="*/ 19 w 414"/>
                  <a:gd name="T51" fmla="*/ 75 h 376"/>
                  <a:gd name="T52" fmla="*/ 19 w 414"/>
                  <a:gd name="T53" fmla="*/ 178 h 376"/>
                  <a:gd name="T54" fmla="*/ 87 w 414"/>
                  <a:gd name="T55" fmla="*/ 262 h 376"/>
                  <a:gd name="T56" fmla="*/ 207 w 414"/>
                  <a:gd name="T57" fmla="*/ 341 h 376"/>
                  <a:gd name="T58" fmla="*/ 320 w 414"/>
                  <a:gd name="T59" fmla="*/ 376 h 376"/>
                  <a:gd name="T60" fmla="*/ 396 w 414"/>
                  <a:gd name="T61" fmla="*/ 334 h 376"/>
                  <a:gd name="T62" fmla="*/ 401 w 414"/>
                  <a:gd name="T63" fmla="*/ 325 h 376"/>
                  <a:gd name="T64" fmla="*/ 396 w 414"/>
                  <a:gd name="T65" fmla="*/ 227 h 376"/>
                  <a:gd name="T66" fmla="*/ 367 w 414"/>
                  <a:gd name="T67" fmla="*/ 170 h 376"/>
                  <a:gd name="T68" fmla="*/ 333 w 414"/>
                  <a:gd name="T69" fmla="*/ 106 h 376"/>
                  <a:gd name="T70" fmla="*/ 244 w 414"/>
                  <a:gd name="T71" fmla="*/ 22 h 376"/>
                  <a:gd name="T72" fmla="*/ 170 w 414"/>
                  <a:gd name="T73" fmla="*/ 0 h 3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414" h="376">
                    <a:moveTo>
                      <a:pt x="117" y="15"/>
                    </a:moveTo>
                    <a:cubicBezTo>
                      <a:pt x="118" y="15"/>
                      <a:pt x="118" y="15"/>
                      <a:pt x="118" y="15"/>
                    </a:cubicBezTo>
                    <a:cubicBezTo>
                      <a:pt x="136" y="8"/>
                      <a:pt x="154" y="5"/>
                      <a:pt x="172" y="5"/>
                    </a:cubicBezTo>
                    <a:cubicBezTo>
                      <a:pt x="191" y="5"/>
                      <a:pt x="209" y="9"/>
                      <a:pt x="228" y="18"/>
                    </a:cubicBezTo>
                    <a:cubicBezTo>
                      <a:pt x="258" y="32"/>
                      <a:pt x="283" y="54"/>
                      <a:pt x="304" y="78"/>
                    </a:cubicBezTo>
                    <a:cubicBezTo>
                      <a:pt x="329" y="107"/>
                      <a:pt x="345" y="140"/>
                      <a:pt x="362" y="174"/>
                    </a:cubicBezTo>
                    <a:cubicBezTo>
                      <a:pt x="380" y="210"/>
                      <a:pt x="403" y="245"/>
                      <a:pt x="401" y="288"/>
                    </a:cubicBezTo>
                    <a:cubicBezTo>
                      <a:pt x="400" y="318"/>
                      <a:pt x="386" y="343"/>
                      <a:pt x="362" y="357"/>
                    </a:cubicBezTo>
                    <a:cubicBezTo>
                      <a:pt x="356" y="361"/>
                      <a:pt x="350" y="364"/>
                      <a:pt x="343" y="366"/>
                    </a:cubicBezTo>
                    <a:cubicBezTo>
                      <a:pt x="334" y="369"/>
                      <a:pt x="325" y="370"/>
                      <a:pt x="316" y="370"/>
                    </a:cubicBezTo>
                    <a:cubicBezTo>
                      <a:pt x="285" y="370"/>
                      <a:pt x="253" y="357"/>
                      <a:pt x="227" y="343"/>
                    </a:cubicBezTo>
                    <a:cubicBezTo>
                      <a:pt x="191" y="325"/>
                      <a:pt x="157" y="303"/>
                      <a:pt x="124" y="280"/>
                    </a:cubicBezTo>
                    <a:cubicBezTo>
                      <a:pt x="97" y="261"/>
                      <a:pt x="69" y="241"/>
                      <a:pt x="48" y="215"/>
                    </a:cubicBezTo>
                    <a:cubicBezTo>
                      <a:pt x="23" y="184"/>
                      <a:pt x="7" y="134"/>
                      <a:pt x="19" y="95"/>
                    </a:cubicBezTo>
                    <a:cubicBezTo>
                      <a:pt x="21" y="89"/>
                      <a:pt x="23" y="84"/>
                      <a:pt x="26" y="79"/>
                    </a:cubicBezTo>
                    <a:cubicBezTo>
                      <a:pt x="26" y="79"/>
                      <a:pt x="26" y="79"/>
                      <a:pt x="26" y="79"/>
                    </a:cubicBezTo>
                    <a:cubicBezTo>
                      <a:pt x="44" y="47"/>
                      <a:pt x="85" y="31"/>
                      <a:pt x="116" y="13"/>
                    </a:cubicBezTo>
                    <a:cubicBezTo>
                      <a:pt x="115" y="14"/>
                      <a:pt x="116" y="15"/>
                      <a:pt x="117" y="15"/>
                    </a:cubicBezTo>
                    <a:moveTo>
                      <a:pt x="170" y="0"/>
                    </a:moveTo>
                    <a:cubicBezTo>
                      <a:pt x="153" y="0"/>
                      <a:pt x="135" y="4"/>
                      <a:pt x="118" y="12"/>
                    </a:cubicBezTo>
                    <a:cubicBezTo>
                      <a:pt x="119" y="11"/>
                      <a:pt x="120" y="11"/>
                      <a:pt x="120" y="10"/>
                    </a:cubicBezTo>
                    <a:cubicBezTo>
                      <a:pt x="124" y="8"/>
                      <a:pt x="122" y="4"/>
                      <a:pt x="119" y="4"/>
                    </a:cubicBezTo>
                    <a:cubicBezTo>
                      <a:pt x="118" y="4"/>
                      <a:pt x="117" y="5"/>
                      <a:pt x="117" y="5"/>
                    </a:cubicBezTo>
                    <a:cubicBezTo>
                      <a:pt x="116" y="5"/>
                      <a:pt x="116" y="5"/>
                      <a:pt x="116" y="5"/>
                    </a:cubicBezTo>
                    <a:cubicBezTo>
                      <a:pt x="116" y="5"/>
                      <a:pt x="116" y="5"/>
                      <a:pt x="116" y="5"/>
                    </a:cubicBezTo>
                    <a:cubicBezTo>
                      <a:pt x="82" y="22"/>
                      <a:pt x="39" y="42"/>
                      <a:pt x="19" y="75"/>
                    </a:cubicBezTo>
                    <a:cubicBezTo>
                      <a:pt x="0" y="105"/>
                      <a:pt x="7" y="146"/>
                      <a:pt x="19" y="178"/>
                    </a:cubicBezTo>
                    <a:cubicBezTo>
                      <a:pt x="31" y="214"/>
                      <a:pt x="58" y="239"/>
                      <a:pt x="87" y="262"/>
                    </a:cubicBezTo>
                    <a:cubicBezTo>
                      <a:pt x="124" y="292"/>
                      <a:pt x="165" y="318"/>
                      <a:pt x="207" y="341"/>
                    </a:cubicBezTo>
                    <a:cubicBezTo>
                      <a:pt x="239" y="358"/>
                      <a:pt x="281" y="376"/>
                      <a:pt x="320" y="376"/>
                    </a:cubicBezTo>
                    <a:cubicBezTo>
                      <a:pt x="350" y="376"/>
                      <a:pt x="378" y="365"/>
                      <a:pt x="396" y="334"/>
                    </a:cubicBezTo>
                    <a:cubicBezTo>
                      <a:pt x="398" y="331"/>
                      <a:pt x="399" y="328"/>
                      <a:pt x="401" y="325"/>
                    </a:cubicBezTo>
                    <a:cubicBezTo>
                      <a:pt x="414" y="294"/>
                      <a:pt x="409" y="258"/>
                      <a:pt x="396" y="227"/>
                    </a:cubicBezTo>
                    <a:cubicBezTo>
                      <a:pt x="388" y="207"/>
                      <a:pt x="377" y="189"/>
                      <a:pt x="367" y="170"/>
                    </a:cubicBezTo>
                    <a:cubicBezTo>
                      <a:pt x="356" y="149"/>
                      <a:pt x="346" y="127"/>
                      <a:pt x="333" y="106"/>
                    </a:cubicBezTo>
                    <a:cubicBezTo>
                      <a:pt x="311" y="72"/>
                      <a:pt x="279" y="43"/>
                      <a:pt x="244" y="22"/>
                    </a:cubicBezTo>
                    <a:cubicBezTo>
                      <a:pt x="219" y="8"/>
                      <a:pt x="195" y="0"/>
                      <a:pt x="170" y="0"/>
                    </a:cubicBezTo>
                  </a:path>
                </a:pathLst>
              </a:custGeom>
              <a:solidFill>
                <a:srgbClr val="544D4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422" name="Freeform 94">
                <a:extLst>
                  <a:ext uri="{FF2B5EF4-FFF2-40B4-BE49-F238E27FC236}">
                    <a16:creationId xmlns:a16="http://schemas.microsoft.com/office/drawing/2014/main" id="{7327D555-FC77-4AD0-BE09-0C1EDD8D55E7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461" y="1902"/>
                <a:ext cx="479" cy="340"/>
              </a:xfrm>
              <a:custGeom>
                <a:avLst/>
                <a:gdLst>
                  <a:gd name="T0" fmla="*/ 287 w 452"/>
                  <a:gd name="T1" fmla="*/ 0 h 321"/>
                  <a:gd name="T2" fmla="*/ 287 w 452"/>
                  <a:gd name="T3" fmla="*/ 0 h 321"/>
                  <a:gd name="T4" fmla="*/ 287 w 452"/>
                  <a:gd name="T5" fmla="*/ 0 h 321"/>
                  <a:gd name="T6" fmla="*/ 287 w 452"/>
                  <a:gd name="T7" fmla="*/ 1 h 321"/>
                  <a:gd name="T8" fmla="*/ 438 w 452"/>
                  <a:gd name="T9" fmla="*/ 127 h 321"/>
                  <a:gd name="T10" fmla="*/ 352 w 452"/>
                  <a:gd name="T11" fmla="*/ 263 h 321"/>
                  <a:gd name="T12" fmla="*/ 314 w 452"/>
                  <a:gd name="T13" fmla="*/ 278 h 321"/>
                  <a:gd name="T14" fmla="*/ 208 w 452"/>
                  <a:gd name="T15" fmla="*/ 304 h 321"/>
                  <a:gd name="T16" fmla="*/ 143 w 452"/>
                  <a:gd name="T17" fmla="*/ 312 h 321"/>
                  <a:gd name="T18" fmla="*/ 97 w 452"/>
                  <a:gd name="T19" fmla="*/ 305 h 321"/>
                  <a:gd name="T20" fmla="*/ 36 w 452"/>
                  <a:gd name="T21" fmla="*/ 228 h 321"/>
                  <a:gd name="T22" fmla="*/ 50 w 452"/>
                  <a:gd name="T23" fmla="*/ 172 h 321"/>
                  <a:gd name="T24" fmla="*/ 50 w 452"/>
                  <a:gd name="T25" fmla="*/ 172 h 321"/>
                  <a:gd name="T26" fmla="*/ 77 w 452"/>
                  <a:gd name="T27" fmla="*/ 132 h 321"/>
                  <a:gd name="T28" fmla="*/ 290 w 452"/>
                  <a:gd name="T29" fmla="*/ 11 h 321"/>
                  <a:gd name="T30" fmla="*/ 290 w 452"/>
                  <a:gd name="T31" fmla="*/ 4 h 321"/>
                  <a:gd name="T32" fmla="*/ 289 w 452"/>
                  <a:gd name="T33" fmla="*/ 4 h 321"/>
                  <a:gd name="T34" fmla="*/ 189 w 452"/>
                  <a:gd name="T35" fmla="*/ 33 h 321"/>
                  <a:gd name="T36" fmla="*/ 189 w 452"/>
                  <a:gd name="T37" fmla="*/ 33 h 321"/>
                  <a:gd name="T38" fmla="*/ 77 w 452"/>
                  <a:gd name="T39" fmla="*/ 119 h 321"/>
                  <a:gd name="T40" fmla="*/ 61 w 452"/>
                  <a:gd name="T41" fmla="*/ 295 h 321"/>
                  <a:gd name="T42" fmla="*/ 144 w 452"/>
                  <a:gd name="T43" fmla="*/ 321 h 321"/>
                  <a:gd name="T44" fmla="*/ 157 w 452"/>
                  <a:gd name="T45" fmla="*/ 320 h 321"/>
                  <a:gd name="T46" fmla="*/ 221 w 452"/>
                  <a:gd name="T47" fmla="*/ 309 h 321"/>
                  <a:gd name="T48" fmla="*/ 291 w 452"/>
                  <a:gd name="T49" fmla="*/ 294 h 321"/>
                  <a:gd name="T50" fmla="*/ 437 w 452"/>
                  <a:gd name="T51" fmla="*/ 197 h 321"/>
                  <a:gd name="T52" fmla="*/ 447 w 452"/>
                  <a:gd name="T53" fmla="*/ 157 h 321"/>
                  <a:gd name="T54" fmla="*/ 290 w 452"/>
                  <a:gd name="T55" fmla="*/ 0 h 321"/>
                  <a:gd name="T56" fmla="*/ 290 w 452"/>
                  <a:gd name="T57" fmla="*/ 0 h 321"/>
                  <a:gd name="T58" fmla="*/ 287 w 452"/>
                  <a:gd name="T59" fmla="*/ 0 h 321"/>
                  <a:gd name="T60" fmla="*/ 287 w 452"/>
                  <a:gd name="T61" fmla="*/ 0 h 3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452" h="321">
                    <a:moveTo>
                      <a:pt x="287" y="0"/>
                    </a:moveTo>
                    <a:cubicBezTo>
                      <a:pt x="287" y="0"/>
                      <a:pt x="286" y="0"/>
                      <a:pt x="287" y="0"/>
                    </a:cubicBezTo>
                    <a:cubicBezTo>
                      <a:pt x="287" y="0"/>
                      <a:pt x="287" y="0"/>
                      <a:pt x="287" y="0"/>
                    </a:cubicBezTo>
                    <a:cubicBezTo>
                      <a:pt x="287" y="1"/>
                      <a:pt x="287" y="1"/>
                      <a:pt x="287" y="1"/>
                    </a:cubicBezTo>
                    <a:cubicBezTo>
                      <a:pt x="355" y="9"/>
                      <a:pt x="423" y="56"/>
                      <a:pt x="438" y="127"/>
                    </a:cubicBezTo>
                    <a:cubicBezTo>
                      <a:pt x="452" y="193"/>
                      <a:pt x="406" y="238"/>
                      <a:pt x="352" y="263"/>
                    </a:cubicBezTo>
                    <a:cubicBezTo>
                      <a:pt x="340" y="269"/>
                      <a:pt x="327" y="274"/>
                      <a:pt x="314" y="278"/>
                    </a:cubicBezTo>
                    <a:cubicBezTo>
                      <a:pt x="280" y="290"/>
                      <a:pt x="244" y="296"/>
                      <a:pt x="208" y="304"/>
                    </a:cubicBezTo>
                    <a:cubicBezTo>
                      <a:pt x="187" y="308"/>
                      <a:pt x="165" y="312"/>
                      <a:pt x="143" y="312"/>
                    </a:cubicBezTo>
                    <a:cubicBezTo>
                      <a:pt x="127" y="312"/>
                      <a:pt x="112" y="310"/>
                      <a:pt x="97" y="305"/>
                    </a:cubicBezTo>
                    <a:cubicBezTo>
                      <a:pt x="63" y="293"/>
                      <a:pt x="37" y="266"/>
                      <a:pt x="36" y="228"/>
                    </a:cubicBezTo>
                    <a:cubicBezTo>
                      <a:pt x="36" y="208"/>
                      <a:pt x="41" y="190"/>
                      <a:pt x="50" y="172"/>
                    </a:cubicBezTo>
                    <a:cubicBezTo>
                      <a:pt x="50" y="172"/>
                      <a:pt x="50" y="172"/>
                      <a:pt x="50" y="172"/>
                    </a:cubicBezTo>
                    <a:cubicBezTo>
                      <a:pt x="57" y="158"/>
                      <a:pt x="67" y="145"/>
                      <a:pt x="77" y="132"/>
                    </a:cubicBezTo>
                    <a:cubicBezTo>
                      <a:pt x="129" y="67"/>
                      <a:pt x="208" y="21"/>
                      <a:pt x="290" y="11"/>
                    </a:cubicBezTo>
                    <a:cubicBezTo>
                      <a:pt x="295" y="11"/>
                      <a:pt x="294" y="4"/>
                      <a:pt x="290" y="4"/>
                    </a:cubicBezTo>
                    <a:cubicBezTo>
                      <a:pt x="290" y="4"/>
                      <a:pt x="290" y="4"/>
                      <a:pt x="289" y="4"/>
                    </a:cubicBezTo>
                    <a:cubicBezTo>
                      <a:pt x="254" y="8"/>
                      <a:pt x="220" y="18"/>
                      <a:pt x="189" y="33"/>
                    </a:cubicBezTo>
                    <a:cubicBezTo>
                      <a:pt x="189" y="33"/>
                      <a:pt x="189" y="33"/>
                      <a:pt x="189" y="33"/>
                    </a:cubicBezTo>
                    <a:cubicBezTo>
                      <a:pt x="146" y="54"/>
                      <a:pt x="108" y="83"/>
                      <a:pt x="77" y="119"/>
                    </a:cubicBezTo>
                    <a:cubicBezTo>
                      <a:pt x="35" y="167"/>
                      <a:pt x="0" y="246"/>
                      <a:pt x="61" y="295"/>
                    </a:cubicBezTo>
                    <a:cubicBezTo>
                      <a:pt x="84" y="314"/>
                      <a:pt x="114" y="321"/>
                      <a:pt x="144" y="321"/>
                    </a:cubicBezTo>
                    <a:cubicBezTo>
                      <a:pt x="148" y="321"/>
                      <a:pt x="153" y="320"/>
                      <a:pt x="157" y="320"/>
                    </a:cubicBezTo>
                    <a:cubicBezTo>
                      <a:pt x="179" y="319"/>
                      <a:pt x="200" y="314"/>
                      <a:pt x="221" y="309"/>
                    </a:cubicBezTo>
                    <a:cubicBezTo>
                      <a:pt x="244" y="304"/>
                      <a:pt x="268" y="300"/>
                      <a:pt x="291" y="294"/>
                    </a:cubicBezTo>
                    <a:cubicBezTo>
                      <a:pt x="347" y="278"/>
                      <a:pt x="413" y="251"/>
                      <a:pt x="437" y="197"/>
                    </a:cubicBezTo>
                    <a:cubicBezTo>
                      <a:pt x="443" y="185"/>
                      <a:pt x="446" y="171"/>
                      <a:pt x="447" y="157"/>
                    </a:cubicBezTo>
                    <a:cubicBezTo>
                      <a:pt x="452" y="73"/>
                      <a:pt x="369" y="4"/>
                      <a:pt x="290" y="0"/>
                    </a:cubicBezTo>
                    <a:cubicBezTo>
                      <a:pt x="290" y="0"/>
                      <a:pt x="290" y="0"/>
                      <a:pt x="290" y="0"/>
                    </a:cubicBezTo>
                    <a:cubicBezTo>
                      <a:pt x="289" y="0"/>
                      <a:pt x="288" y="0"/>
                      <a:pt x="287" y="0"/>
                    </a:cubicBezTo>
                    <a:cubicBezTo>
                      <a:pt x="287" y="0"/>
                      <a:pt x="287" y="0"/>
                      <a:pt x="287" y="0"/>
                    </a:cubicBezTo>
                  </a:path>
                </a:pathLst>
              </a:custGeom>
              <a:solidFill>
                <a:srgbClr val="544D4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423" name="Freeform 95">
                <a:extLst>
                  <a:ext uri="{FF2B5EF4-FFF2-40B4-BE49-F238E27FC236}">
                    <a16:creationId xmlns:a16="http://schemas.microsoft.com/office/drawing/2014/main" id="{4EEEBA51-0C7C-410B-97EA-1CE548725036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555" y="2027"/>
                <a:ext cx="146" cy="148"/>
              </a:xfrm>
              <a:custGeom>
                <a:avLst/>
                <a:gdLst>
                  <a:gd name="T0" fmla="*/ 67 w 138"/>
                  <a:gd name="T1" fmla="*/ 0 h 140"/>
                  <a:gd name="T2" fmla="*/ 66 w 138"/>
                  <a:gd name="T3" fmla="*/ 0 h 140"/>
                  <a:gd name="T4" fmla="*/ 34 w 138"/>
                  <a:gd name="T5" fmla="*/ 10 h 140"/>
                  <a:gd name="T6" fmla="*/ 34 w 138"/>
                  <a:gd name="T7" fmla="*/ 10 h 140"/>
                  <a:gd name="T8" fmla="*/ 17 w 138"/>
                  <a:gd name="T9" fmla="*/ 24 h 140"/>
                  <a:gd name="T10" fmla="*/ 17 w 138"/>
                  <a:gd name="T11" fmla="*/ 24 h 140"/>
                  <a:gd name="T12" fmla="*/ 12 w 138"/>
                  <a:gd name="T13" fmla="*/ 30 h 140"/>
                  <a:gd name="T14" fmla="*/ 13 w 138"/>
                  <a:gd name="T15" fmla="*/ 30 h 140"/>
                  <a:gd name="T16" fmla="*/ 14 w 138"/>
                  <a:gd name="T17" fmla="*/ 30 h 140"/>
                  <a:gd name="T18" fmla="*/ 14 w 138"/>
                  <a:gd name="T19" fmla="*/ 34 h 140"/>
                  <a:gd name="T20" fmla="*/ 9 w 138"/>
                  <a:gd name="T21" fmla="*/ 35 h 140"/>
                  <a:gd name="T22" fmla="*/ 1 w 138"/>
                  <a:gd name="T23" fmla="*/ 75 h 140"/>
                  <a:gd name="T24" fmla="*/ 66 w 138"/>
                  <a:gd name="T25" fmla="*/ 140 h 140"/>
                  <a:gd name="T26" fmla="*/ 70 w 138"/>
                  <a:gd name="T27" fmla="*/ 140 h 140"/>
                  <a:gd name="T28" fmla="*/ 117 w 138"/>
                  <a:gd name="T29" fmla="*/ 121 h 140"/>
                  <a:gd name="T30" fmla="*/ 120 w 138"/>
                  <a:gd name="T31" fmla="*/ 112 h 140"/>
                  <a:gd name="T32" fmla="*/ 122 w 138"/>
                  <a:gd name="T33" fmla="*/ 111 h 140"/>
                  <a:gd name="T34" fmla="*/ 124 w 138"/>
                  <a:gd name="T35" fmla="*/ 113 h 140"/>
                  <a:gd name="T36" fmla="*/ 124 w 138"/>
                  <a:gd name="T37" fmla="*/ 114 h 140"/>
                  <a:gd name="T38" fmla="*/ 131 w 138"/>
                  <a:gd name="T39" fmla="*/ 105 h 140"/>
                  <a:gd name="T40" fmla="*/ 133 w 138"/>
                  <a:gd name="T41" fmla="*/ 100 h 140"/>
                  <a:gd name="T42" fmla="*/ 137 w 138"/>
                  <a:gd name="T43" fmla="*/ 79 h 140"/>
                  <a:gd name="T44" fmla="*/ 121 w 138"/>
                  <a:gd name="T45" fmla="*/ 30 h 140"/>
                  <a:gd name="T46" fmla="*/ 76 w 138"/>
                  <a:gd name="T47" fmla="*/ 2 h 140"/>
                  <a:gd name="T48" fmla="*/ 75 w 138"/>
                  <a:gd name="T49" fmla="*/ 2 h 140"/>
                  <a:gd name="T50" fmla="*/ 75 w 138"/>
                  <a:gd name="T51" fmla="*/ 5 h 140"/>
                  <a:gd name="T52" fmla="*/ 129 w 138"/>
                  <a:gd name="T53" fmla="*/ 65 h 140"/>
                  <a:gd name="T54" fmla="*/ 115 w 138"/>
                  <a:gd name="T55" fmla="*/ 114 h 140"/>
                  <a:gd name="T56" fmla="*/ 106 w 138"/>
                  <a:gd name="T57" fmla="*/ 122 h 140"/>
                  <a:gd name="T58" fmla="*/ 106 w 138"/>
                  <a:gd name="T59" fmla="*/ 122 h 140"/>
                  <a:gd name="T60" fmla="*/ 71 w 138"/>
                  <a:gd name="T61" fmla="*/ 134 h 140"/>
                  <a:gd name="T62" fmla="*/ 61 w 138"/>
                  <a:gd name="T63" fmla="*/ 133 h 140"/>
                  <a:gd name="T64" fmla="*/ 9 w 138"/>
                  <a:gd name="T65" fmla="*/ 69 h 140"/>
                  <a:gd name="T66" fmla="*/ 20 w 138"/>
                  <a:gd name="T67" fmla="*/ 32 h 140"/>
                  <a:gd name="T68" fmla="*/ 28 w 138"/>
                  <a:gd name="T69" fmla="*/ 22 h 140"/>
                  <a:gd name="T70" fmla="*/ 68 w 138"/>
                  <a:gd name="T71" fmla="*/ 7 h 140"/>
                  <a:gd name="T72" fmla="*/ 67 w 138"/>
                  <a:gd name="T73" fmla="*/ 0 h 1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138" h="140">
                    <a:moveTo>
                      <a:pt x="67" y="0"/>
                    </a:moveTo>
                    <a:cubicBezTo>
                      <a:pt x="67" y="0"/>
                      <a:pt x="67" y="0"/>
                      <a:pt x="66" y="0"/>
                    </a:cubicBezTo>
                    <a:cubicBezTo>
                      <a:pt x="54" y="2"/>
                      <a:pt x="43" y="5"/>
                      <a:pt x="34" y="10"/>
                    </a:cubicBezTo>
                    <a:cubicBezTo>
                      <a:pt x="34" y="10"/>
                      <a:pt x="34" y="10"/>
                      <a:pt x="34" y="10"/>
                    </a:cubicBezTo>
                    <a:cubicBezTo>
                      <a:pt x="27" y="14"/>
                      <a:pt x="21" y="18"/>
                      <a:pt x="17" y="24"/>
                    </a:cubicBezTo>
                    <a:cubicBezTo>
                      <a:pt x="17" y="24"/>
                      <a:pt x="17" y="24"/>
                      <a:pt x="17" y="24"/>
                    </a:cubicBezTo>
                    <a:cubicBezTo>
                      <a:pt x="15" y="26"/>
                      <a:pt x="13" y="28"/>
                      <a:pt x="12" y="30"/>
                    </a:cubicBezTo>
                    <a:cubicBezTo>
                      <a:pt x="12" y="30"/>
                      <a:pt x="13" y="30"/>
                      <a:pt x="13" y="30"/>
                    </a:cubicBezTo>
                    <a:cubicBezTo>
                      <a:pt x="13" y="30"/>
                      <a:pt x="14" y="30"/>
                      <a:pt x="14" y="30"/>
                    </a:cubicBezTo>
                    <a:cubicBezTo>
                      <a:pt x="17" y="30"/>
                      <a:pt x="17" y="34"/>
                      <a:pt x="14" y="34"/>
                    </a:cubicBezTo>
                    <a:cubicBezTo>
                      <a:pt x="12" y="34"/>
                      <a:pt x="10" y="34"/>
                      <a:pt x="9" y="35"/>
                    </a:cubicBezTo>
                    <a:cubicBezTo>
                      <a:pt x="3" y="46"/>
                      <a:pt x="0" y="59"/>
                      <a:pt x="1" y="75"/>
                    </a:cubicBezTo>
                    <a:cubicBezTo>
                      <a:pt x="2" y="105"/>
                      <a:pt x="35" y="137"/>
                      <a:pt x="66" y="140"/>
                    </a:cubicBezTo>
                    <a:cubicBezTo>
                      <a:pt x="67" y="140"/>
                      <a:pt x="68" y="140"/>
                      <a:pt x="70" y="140"/>
                    </a:cubicBezTo>
                    <a:cubicBezTo>
                      <a:pt x="86" y="140"/>
                      <a:pt x="104" y="133"/>
                      <a:pt x="117" y="121"/>
                    </a:cubicBezTo>
                    <a:cubicBezTo>
                      <a:pt x="118" y="118"/>
                      <a:pt x="119" y="115"/>
                      <a:pt x="120" y="112"/>
                    </a:cubicBezTo>
                    <a:cubicBezTo>
                      <a:pt x="121" y="112"/>
                      <a:pt x="122" y="111"/>
                      <a:pt x="122" y="111"/>
                    </a:cubicBezTo>
                    <a:cubicBezTo>
                      <a:pt x="123" y="111"/>
                      <a:pt x="124" y="112"/>
                      <a:pt x="124" y="113"/>
                    </a:cubicBezTo>
                    <a:cubicBezTo>
                      <a:pt x="124" y="114"/>
                      <a:pt x="124" y="114"/>
                      <a:pt x="124" y="114"/>
                    </a:cubicBezTo>
                    <a:cubicBezTo>
                      <a:pt x="127" y="111"/>
                      <a:pt x="129" y="108"/>
                      <a:pt x="131" y="105"/>
                    </a:cubicBezTo>
                    <a:cubicBezTo>
                      <a:pt x="132" y="103"/>
                      <a:pt x="133" y="101"/>
                      <a:pt x="133" y="100"/>
                    </a:cubicBezTo>
                    <a:cubicBezTo>
                      <a:pt x="136" y="93"/>
                      <a:pt x="138" y="86"/>
                      <a:pt x="137" y="79"/>
                    </a:cubicBezTo>
                    <a:cubicBezTo>
                      <a:pt x="137" y="62"/>
                      <a:pt x="131" y="43"/>
                      <a:pt x="121" y="30"/>
                    </a:cubicBezTo>
                    <a:cubicBezTo>
                      <a:pt x="110" y="13"/>
                      <a:pt x="94" y="8"/>
                      <a:pt x="76" y="2"/>
                    </a:cubicBezTo>
                    <a:cubicBezTo>
                      <a:pt x="76" y="2"/>
                      <a:pt x="76" y="2"/>
                      <a:pt x="75" y="2"/>
                    </a:cubicBezTo>
                    <a:cubicBezTo>
                      <a:pt x="74" y="2"/>
                      <a:pt x="73" y="4"/>
                      <a:pt x="75" y="5"/>
                    </a:cubicBezTo>
                    <a:cubicBezTo>
                      <a:pt x="103" y="19"/>
                      <a:pt x="122" y="32"/>
                      <a:pt x="129" y="65"/>
                    </a:cubicBezTo>
                    <a:cubicBezTo>
                      <a:pt x="133" y="85"/>
                      <a:pt x="130" y="100"/>
                      <a:pt x="115" y="114"/>
                    </a:cubicBezTo>
                    <a:cubicBezTo>
                      <a:pt x="112" y="117"/>
                      <a:pt x="109" y="119"/>
                      <a:pt x="106" y="122"/>
                    </a:cubicBezTo>
                    <a:cubicBezTo>
                      <a:pt x="106" y="122"/>
                      <a:pt x="106" y="122"/>
                      <a:pt x="106" y="122"/>
                    </a:cubicBezTo>
                    <a:cubicBezTo>
                      <a:pt x="95" y="129"/>
                      <a:pt x="83" y="134"/>
                      <a:pt x="71" y="134"/>
                    </a:cubicBezTo>
                    <a:cubicBezTo>
                      <a:pt x="68" y="134"/>
                      <a:pt x="64" y="133"/>
                      <a:pt x="61" y="133"/>
                    </a:cubicBezTo>
                    <a:cubicBezTo>
                      <a:pt x="35" y="127"/>
                      <a:pt x="8" y="96"/>
                      <a:pt x="9" y="69"/>
                    </a:cubicBezTo>
                    <a:cubicBezTo>
                      <a:pt x="9" y="57"/>
                      <a:pt x="13" y="42"/>
                      <a:pt x="20" y="32"/>
                    </a:cubicBezTo>
                    <a:cubicBezTo>
                      <a:pt x="22" y="28"/>
                      <a:pt x="25" y="25"/>
                      <a:pt x="28" y="22"/>
                    </a:cubicBezTo>
                    <a:cubicBezTo>
                      <a:pt x="39" y="13"/>
                      <a:pt x="54" y="11"/>
                      <a:pt x="68" y="7"/>
                    </a:cubicBezTo>
                    <a:cubicBezTo>
                      <a:pt x="71" y="6"/>
                      <a:pt x="70" y="0"/>
                      <a:pt x="67" y="0"/>
                    </a:cubicBezTo>
                  </a:path>
                </a:pathLst>
              </a:custGeom>
              <a:solidFill>
                <a:srgbClr val="544D4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424" name="Freeform 96">
                <a:extLst>
                  <a:ext uri="{FF2B5EF4-FFF2-40B4-BE49-F238E27FC236}">
                    <a16:creationId xmlns:a16="http://schemas.microsoft.com/office/drawing/2014/main" id="{59EDF1D6-AA19-47AC-A1BB-D088B7D134DB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527" y="2059"/>
                <a:ext cx="159" cy="143"/>
              </a:xfrm>
              <a:custGeom>
                <a:avLst/>
                <a:gdLst>
                  <a:gd name="T0" fmla="*/ 39 w 150"/>
                  <a:gd name="T1" fmla="*/ 0 h 135"/>
                  <a:gd name="T2" fmla="*/ 38 w 150"/>
                  <a:gd name="T3" fmla="*/ 0 h 135"/>
                  <a:gd name="T4" fmla="*/ 31 w 150"/>
                  <a:gd name="T5" fmla="*/ 2 h 135"/>
                  <a:gd name="T6" fmla="*/ 31 w 150"/>
                  <a:gd name="T7" fmla="*/ 2 h 135"/>
                  <a:gd name="T8" fmla="*/ 8 w 150"/>
                  <a:gd name="T9" fmla="*/ 35 h 135"/>
                  <a:gd name="T10" fmla="*/ 29 w 150"/>
                  <a:gd name="T11" fmla="*/ 109 h 135"/>
                  <a:gd name="T12" fmla="*/ 86 w 150"/>
                  <a:gd name="T13" fmla="*/ 135 h 135"/>
                  <a:gd name="T14" fmla="*/ 144 w 150"/>
                  <a:gd name="T15" fmla="*/ 102 h 135"/>
                  <a:gd name="T16" fmla="*/ 150 w 150"/>
                  <a:gd name="T17" fmla="*/ 84 h 135"/>
                  <a:gd name="T18" fmla="*/ 150 w 150"/>
                  <a:gd name="T19" fmla="*/ 83 h 135"/>
                  <a:gd name="T20" fmla="*/ 148 w 150"/>
                  <a:gd name="T21" fmla="*/ 81 h 135"/>
                  <a:gd name="T22" fmla="*/ 146 w 150"/>
                  <a:gd name="T23" fmla="*/ 82 h 135"/>
                  <a:gd name="T24" fmla="*/ 143 w 150"/>
                  <a:gd name="T25" fmla="*/ 91 h 135"/>
                  <a:gd name="T26" fmla="*/ 119 w 150"/>
                  <a:gd name="T27" fmla="*/ 121 h 135"/>
                  <a:gd name="T28" fmla="*/ 92 w 150"/>
                  <a:gd name="T29" fmla="*/ 130 h 135"/>
                  <a:gd name="T30" fmla="*/ 91 w 150"/>
                  <a:gd name="T31" fmla="*/ 130 h 135"/>
                  <a:gd name="T32" fmla="*/ 27 w 150"/>
                  <a:gd name="T33" fmla="*/ 96 h 135"/>
                  <a:gd name="T34" fmla="*/ 13 w 150"/>
                  <a:gd name="T35" fmla="*/ 38 h 135"/>
                  <a:gd name="T36" fmla="*/ 26 w 150"/>
                  <a:gd name="T37" fmla="*/ 9 h 135"/>
                  <a:gd name="T38" fmla="*/ 26 w 150"/>
                  <a:gd name="T39" fmla="*/ 9 h 135"/>
                  <a:gd name="T40" fmla="*/ 35 w 150"/>
                  <a:gd name="T41" fmla="*/ 5 h 135"/>
                  <a:gd name="T42" fmla="*/ 40 w 150"/>
                  <a:gd name="T43" fmla="*/ 4 h 135"/>
                  <a:gd name="T44" fmla="*/ 40 w 150"/>
                  <a:gd name="T45" fmla="*/ 0 h 135"/>
                  <a:gd name="T46" fmla="*/ 39 w 150"/>
                  <a:gd name="T47" fmla="*/ 0 h 1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150" h="135">
                    <a:moveTo>
                      <a:pt x="39" y="0"/>
                    </a:moveTo>
                    <a:cubicBezTo>
                      <a:pt x="39" y="0"/>
                      <a:pt x="38" y="0"/>
                      <a:pt x="38" y="0"/>
                    </a:cubicBezTo>
                    <a:cubicBezTo>
                      <a:pt x="35" y="0"/>
                      <a:pt x="33" y="1"/>
                      <a:pt x="31" y="2"/>
                    </a:cubicBezTo>
                    <a:cubicBezTo>
                      <a:pt x="31" y="2"/>
                      <a:pt x="31" y="2"/>
                      <a:pt x="31" y="2"/>
                    </a:cubicBezTo>
                    <a:cubicBezTo>
                      <a:pt x="19" y="7"/>
                      <a:pt x="12" y="23"/>
                      <a:pt x="8" y="35"/>
                    </a:cubicBezTo>
                    <a:cubicBezTo>
                      <a:pt x="0" y="62"/>
                      <a:pt x="10" y="88"/>
                      <a:pt x="29" y="109"/>
                    </a:cubicBezTo>
                    <a:cubicBezTo>
                      <a:pt x="44" y="127"/>
                      <a:pt x="65" y="135"/>
                      <a:pt x="86" y="135"/>
                    </a:cubicBezTo>
                    <a:cubicBezTo>
                      <a:pt x="109" y="135"/>
                      <a:pt x="132" y="124"/>
                      <a:pt x="144" y="102"/>
                    </a:cubicBezTo>
                    <a:cubicBezTo>
                      <a:pt x="146" y="97"/>
                      <a:pt x="149" y="91"/>
                      <a:pt x="150" y="84"/>
                    </a:cubicBezTo>
                    <a:cubicBezTo>
                      <a:pt x="150" y="84"/>
                      <a:pt x="150" y="84"/>
                      <a:pt x="150" y="83"/>
                    </a:cubicBezTo>
                    <a:cubicBezTo>
                      <a:pt x="150" y="82"/>
                      <a:pt x="149" y="81"/>
                      <a:pt x="148" y="81"/>
                    </a:cubicBezTo>
                    <a:cubicBezTo>
                      <a:pt x="148" y="81"/>
                      <a:pt x="147" y="82"/>
                      <a:pt x="146" y="82"/>
                    </a:cubicBezTo>
                    <a:cubicBezTo>
                      <a:pt x="145" y="85"/>
                      <a:pt x="144" y="88"/>
                      <a:pt x="143" y="91"/>
                    </a:cubicBezTo>
                    <a:cubicBezTo>
                      <a:pt x="138" y="103"/>
                      <a:pt x="130" y="114"/>
                      <a:pt x="119" y="121"/>
                    </a:cubicBezTo>
                    <a:cubicBezTo>
                      <a:pt x="112" y="126"/>
                      <a:pt x="102" y="130"/>
                      <a:pt x="92" y="130"/>
                    </a:cubicBezTo>
                    <a:cubicBezTo>
                      <a:pt x="92" y="130"/>
                      <a:pt x="91" y="130"/>
                      <a:pt x="91" y="130"/>
                    </a:cubicBezTo>
                    <a:cubicBezTo>
                      <a:pt x="66" y="130"/>
                      <a:pt x="41" y="116"/>
                      <a:pt x="27" y="96"/>
                    </a:cubicBezTo>
                    <a:cubicBezTo>
                      <a:pt x="15" y="78"/>
                      <a:pt x="8" y="60"/>
                      <a:pt x="13" y="38"/>
                    </a:cubicBezTo>
                    <a:cubicBezTo>
                      <a:pt x="15" y="28"/>
                      <a:pt x="18" y="16"/>
                      <a:pt x="26" y="9"/>
                    </a:cubicBezTo>
                    <a:cubicBezTo>
                      <a:pt x="26" y="9"/>
                      <a:pt x="26" y="9"/>
                      <a:pt x="26" y="9"/>
                    </a:cubicBezTo>
                    <a:cubicBezTo>
                      <a:pt x="28" y="7"/>
                      <a:pt x="31" y="6"/>
                      <a:pt x="35" y="5"/>
                    </a:cubicBezTo>
                    <a:cubicBezTo>
                      <a:pt x="36" y="4"/>
                      <a:pt x="38" y="4"/>
                      <a:pt x="40" y="4"/>
                    </a:cubicBezTo>
                    <a:cubicBezTo>
                      <a:pt x="43" y="4"/>
                      <a:pt x="43" y="0"/>
                      <a:pt x="40" y="0"/>
                    </a:cubicBezTo>
                    <a:cubicBezTo>
                      <a:pt x="40" y="0"/>
                      <a:pt x="39" y="0"/>
                      <a:pt x="39" y="0"/>
                    </a:cubicBezTo>
                  </a:path>
                </a:pathLst>
              </a:custGeom>
              <a:solidFill>
                <a:srgbClr val="544D4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425" name="Freeform 97">
                <a:extLst>
                  <a:ext uri="{FF2B5EF4-FFF2-40B4-BE49-F238E27FC236}">
                    <a16:creationId xmlns:a16="http://schemas.microsoft.com/office/drawing/2014/main" id="{F2C47B5B-6140-43A1-8088-E080B2972398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751" y="1942"/>
                <a:ext cx="40" cy="50"/>
              </a:xfrm>
              <a:custGeom>
                <a:avLst/>
                <a:gdLst>
                  <a:gd name="T0" fmla="*/ 21 w 38"/>
                  <a:gd name="T1" fmla="*/ 0 h 47"/>
                  <a:gd name="T2" fmla="*/ 8 w 38"/>
                  <a:gd name="T3" fmla="*/ 4 h 47"/>
                  <a:gd name="T4" fmla="*/ 0 w 38"/>
                  <a:gd name="T5" fmla="*/ 8 h 47"/>
                  <a:gd name="T6" fmla="*/ 0 w 38"/>
                  <a:gd name="T7" fmla="*/ 8 h 47"/>
                  <a:gd name="T8" fmla="*/ 5 w 38"/>
                  <a:gd name="T9" fmla="*/ 12 h 47"/>
                  <a:gd name="T10" fmla="*/ 13 w 38"/>
                  <a:gd name="T11" fmla="*/ 8 h 47"/>
                  <a:gd name="T12" fmla="*/ 25 w 38"/>
                  <a:gd name="T13" fmla="*/ 3 h 47"/>
                  <a:gd name="T14" fmla="*/ 29 w 38"/>
                  <a:gd name="T15" fmla="*/ 6 h 47"/>
                  <a:gd name="T16" fmla="*/ 29 w 38"/>
                  <a:gd name="T17" fmla="*/ 24 h 47"/>
                  <a:gd name="T18" fmla="*/ 29 w 38"/>
                  <a:gd name="T19" fmla="*/ 27 h 47"/>
                  <a:gd name="T20" fmla="*/ 29 w 38"/>
                  <a:gd name="T21" fmla="*/ 38 h 47"/>
                  <a:gd name="T22" fmla="*/ 35 w 38"/>
                  <a:gd name="T23" fmla="*/ 41 h 47"/>
                  <a:gd name="T24" fmla="*/ 34 w 38"/>
                  <a:gd name="T25" fmla="*/ 43 h 47"/>
                  <a:gd name="T26" fmla="*/ 34 w 38"/>
                  <a:gd name="T27" fmla="*/ 43 h 47"/>
                  <a:gd name="T28" fmla="*/ 30 w 38"/>
                  <a:gd name="T29" fmla="*/ 42 h 47"/>
                  <a:gd name="T30" fmla="*/ 31 w 38"/>
                  <a:gd name="T31" fmla="*/ 45 h 47"/>
                  <a:gd name="T32" fmla="*/ 33 w 38"/>
                  <a:gd name="T33" fmla="*/ 47 h 47"/>
                  <a:gd name="T34" fmla="*/ 37 w 38"/>
                  <a:gd name="T35" fmla="*/ 43 h 47"/>
                  <a:gd name="T36" fmla="*/ 35 w 38"/>
                  <a:gd name="T37" fmla="*/ 29 h 47"/>
                  <a:gd name="T38" fmla="*/ 31 w 38"/>
                  <a:gd name="T39" fmla="*/ 1 h 47"/>
                  <a:gd name="T40" fmla="*/ 24 w 38"/>
                  <a:gd name="T41" fmla="*/ 2 h 47"/>
                  <a:gd name="T42" fmla="*/ 23 w 38"/>
                  <a:gd name="T43" fmla="*/ 2 h 47"/>
                  <a:gd name="T44" fmla="*/ 21 w 38"/>
                  <a:gd name="T45" fmla="*/ 0 h 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38" h="47">
                    <a:moveTo>
                      <a:pt x="21" y="0"/>
                    </a:moveTo>
                    <a:cubicBezTo>
                      <a:pt x="17" y="1"/>
                      <a:pt x="13" y="2"/>
                      <a:pt x="8" y="4"/>
                    </a:cubicBezTo>
                    <a:cubicBezTo>
                      <a:pt x="6" y="5"/>
                      <a:pt x="3" y="7"/>
                      <a:pt x="0" y="8"/>
                    </a:cubicBezTo>
                    <a:cubicBezTo>
                      <a:pt x="0" y="8"/>
                      <a:pt x="0" y="8"/>
                      <a:pt x="0" y="8"/>
                    </a:cubicBezTo>
                    <a:cubicBezTo>
                      <a:pt x="2" y="9"/>
                      <a:pt x="3" y="10"/>
                      <a:pt x="5" y="12"/>
                    </a:cubicBezTo>
                    <a:cubicBezTo>
                      <a:pt x="7" y="11"/>
                      <a:pt x="10" y="9"/>
                      <a:pt x="13" y="8"/>
                    </a:cubicBezTo>
                    <a:cubicBezTo>
                      <a:pt x="17" y="5"/>
                      <a:pt x="22" y="3"/>
                      <a:pt x="25" y="3"/>
                    </a:cubicBezTo>
                    <a:cubicBezTo>
                      <a:pt x="27" y="3"/>
                      <a:pt x="28" y="4"/>
                      <a:pt x="29" y="6"/>
                    </a:cubicBezTo>
                    <a:cubicBezTo>
                      <a:pt x="31" y="10"/>
                      <a:pt x="30" y="18"/>
                      <a:pt x="29" y="24"/>
                    </a:cubicBezTo>
                    <a:cubicBezTo>
                      <a:pt x="29" y="25"/>
                      <a:pt x="29" y="26"/>
                      <a:pt x="29" y="27"/>
                    </a:cubicBezTo>
                    <a:cubicBezTo>
                      <a:pt x="29" y="31"/>
                      <a:pt x="29" y="34"/>
                      <a:pt x="29" y="38"/>
                    </a:cubicBezTo>
                    <a:cubicBezTo>
                      <a:pt x="31" y="39"/>
                      <a:pt x="33" y="40"/>
                      <a:pt x="35" y="41"/>
                    </a:cubicBezTo>
                    <a:cubicBezTo>
                      <a:pt x="36" y="41"/>
                      <a:pt x="35" y="43"/>
                      <a:pt x="34" y="43"/>
                    </a:cubicBezTo>
                    <a:cubicBezTo>
                      <a:pt x="34" y="43"/>
                      <a:pt x="34" y="43"/>
                      <a:pt x="34" y="43"/>
                    </a:cubicBezTo>
                    <a:cubicBezTo>
                      <a:pt x="33" y="43"/>
                      <a:pt x="31" y="42"/>
                      <a:pt x="30" y="42"/>
                    </a:cubicBezTo>
                    <a:cubicBezTo>
                      <a:pt x="30" y="43"/>
                      <a:pt x="30" y="44"/>
                      <a:pt x="31" y="45"/>
                    </a:cubicBezTo>
                    <a:cubicBezTo>
                      <a:pt x="31" y="47"/>
                      <a:pt x="32" y="47"/>
                      <a:pt x="33" y="47"/>
                    </a:cubicBezTo>
                    <a:cubicBezTo>
                      <a:pt x="35" y="47"/>
                      <a:pt x="38" y="45"/>
                      <a:pt x="37" y="43"/>
                    </a:cubicBezTo>
                    <a:cubicBezTo>
                      <a:pt x="36" y="38"/>
                      <a:pt x="36" y="34"/>
                      <a:pt x="35" y="29"/>
                    </a:cubicBezTo>
                    <a:cubicBezTo>
                      <a:pt x="34" y="20"/>
                      <a:pt x="34" y="10"/>
                      <a:pt x="31" y="1"/>
                    </a:cubicBezTo>
                    <a:cubicBezTo>
                      <a:pt x="29" y="1"/>
                      <a:pt x="26" y="1"/>
                      <a:pt x="24" y="2"/>
                    </a:cubicBezTo>
                    <a:cubicBezTo>
                      <a:pt x="24" y="2"/>
                      <a:pt x="23" y="2"/>
                      <a:pt x="23" y="2"/>
                    </a:cubicBezTo>
                    <a:cubicBezTo>
                      <a:pt x="22" y="2"/>
                      <a:pt x="21" y="1"/>
                      <a:pt x="21" y="0"/>
                    </a:cubicBezTo>
                  </a:path>
                </a:pathLst>
              </a:custGeom>
              <a:solidFill>
                <a:srgbClr val="544D4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426" name="Freeform 98">
                <a:extLst>
                  <a:ext uri="{FF2B5EF4-FFF2-40B4-BE49-F238E27FC236}">
                    <a16:creationId xmlns:a16="http://schemas.microsoft.com/office/drawing/2014/main" id="{0D8F2FB3-9890-412E-9C88-A72BA6FA0655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773" y="1936"/>
                <a:ext cx="87" cy="65"/>
              </a:xfrm>
              <a:custGeom>
                <a:avLst/>
                <a:gdLst>
                  <a:gd name="T0" fmla="*/ 16 w 82"/>
                  <a:gd name="T1" fmla="*/ 0 h 61"/>
                  <a:gd name="T2" fmla="*/ 1 w 82"/>
                  <a:gd name="T3" fmla="*/ 4 h 61"/>
                  <a:gd name="T4" fmla="*/ 0 w 82"/>
                  <a:gd name="T5" fmla="*/ 6 h 61"/>
                  <a:gd name="T6" fmla="*/ 2 w 82"/>
                  <a:gd name="T7" fmla="*/ 8 h 61"/>
                  <a:gd name="T8" fmla="*/ 3 w 82"/>
                  <a:gd name="T9" fmla="*/ 8 h 61"/>
                  <a:gd name="T10" fmla="*/ 10 w 82"/>
                  <a:gd name="T11" fmla="*/ 7 h 61"/>
                  <a:gd name="T12" fmla="*/ 14 w 82"/>
                  <a:gd name="T13" fmla="*/ 7 h 61"/>
                  <a:gd name="T14" fmla="*/ 19 w 82"/>
                  <a:gd name="T15" fmla="*/ 7 h 61"/>
                  <a:gd name="T16" fmla="*/ 19 w 82"/>
                  <a:gd name="T17" fmla="*/ 7 h 61"/>
                  <a:gd name="T18" fmla="*/ 35 w 82"/>
                  <a:gd name="T19" fmla="*/ 10 h 61"/>
                  <a:gd name="T20" fmla="*/ 48 w 82"/>
                  <a:gd name="T21" fmla="*/ 13 h 61"/>
                  <a:gd name="T22" fmla="*/ 72 w 82"/>
                  <a:gd name="T23" fmla="*/ 22 h 61"/>
                  <a:gd name="T24" fmla="*/ 64 w 82"/>
                  <a:gd name="T25" fmla="*/ 41 h 61"/>
                  <a:gd name="T26" fmla="*/ 53 w 82"/>
                  <a:gd name="T27" fmla="*/ 57 h 61"/>
                  <a:gd name="T28" fmla="*/ 55 w 82"/>
                  <a:gd name="T29" fmla="*/ 61 h 61"/>
                  <a:gd name="T30" fmla="*/ 56 w 82"/>
                  <a:gd name="T31" fmla="*/ 61 h 61"/>
                  <a:gd name="T32" fmla="*/ 58 w 82"/>
                  <a:gd name="T33" fmla="*/ 61 h 61"/>
                  <a:gd name="T34" fmla="*/ 56 w 82"/>
                  <a:gd name="T35" fmla="*/ 58 h 61"/>
                  <a:gd name="T36" fmla="*/ 58 w 82"/>
                  <a:gd name="T37" fmla="*/ 56 h 61"/>
                  <a:gd name="T38" fmla="*/ 59 w 82"/>
                  <a:gd name="T39" fmla="*/ 56 h 61"/>
                  <a:gd name="T40" fmla="*/ 61 w 82"/>
                  <a:gd name="T41" fmla="*/ 57 h 61"/>
                  <a:gd name="T42" fmla="*/ 62 w 82"/>
                  <a:gd name="T43" fmla="*/ 57 h 61"/>
                  <a:gd name="T44" fmla="*/ 66 w 82"/>
                  <a:gd name="T45" fmla="*/ 49 h 61"/>
                  <a:gd name="T46" fmla="*/ 66 w 82"/>
                  <a:gd name="T47" fmla="*/ 49 h 61"/>
                  <a:gd name="T48" fmla="*/ 67 w 82"/>
                  <a:gd name="T49" fmla="*/ 48 h 61"/>
                  <a:gd name="T50" fmla="*/ 67 w 82"/>
                  <a:gd name="T51" fmla="*/ 48 h 61"/>
                  <a:gd name="T52" fmla="*/ 67 w 82"/>
                  <a:gd name="T53" fmla="*/ 48 h 61"/>
                  <a:gd name="T54" fmla="*/ 73 w 82"/>
                  <a:gd name="T55" fmla="*/ 39 h 61"/>
                  <a:gd name="T56" fmla="*/ 73 w 82"/>
                  <a:gd name="T57" fmla="*/ 39 h 61"/>
                  <a:gd name="T58" fmla="*/ 77 w 82"/>
                  <a:gd name="T59" fmla="*/ 32 h 61"/>
                  <a:gd name="T60" fmla="*/ 75 w 82"/>
                  <a:gd name="T61" fmla="*/ 30 h 61"/>
                  <a:gd name="T62" fmla="*/ 77 w 82"/>
                  <a:gd name="T63" fmla="*/ 26 h 61"/>
                  <a:gd name="T64" fmla="*/ 79 w 82"/>
                  <a:gd name="T65" fmla="*/ 27 h 61"/>
                  <a:gd name="T66" fmla="*/ 80 w 82"/>
                  <a:gd name="T67" fmla="*/ 27 h 61"/>
                  <a:gd name="T68" fmla="*/ 81 w 82"/>
                  <a:gd name="T69" fmla="*/ 23 h 61"/>
                  <a:gd name="T70" fmla="*/ 82 w 82"/>
                  <a:gd name="T71" fmla="*/ 22 h 61"/>
                  <a:gd name="T72" fmla="*/ 82 w 82"/>
                  <a:gd name="T73" fmla="*/ 22 h 61"/>
                  <a:gd name="T74" fmla="*/ 80 w 82"/>
                  <a:gd name="T75" fmla="*/ 19 h 61"/>
                  <a:gd name="T76" fmla="*/ 34 w 82"/>
                  <a:gd name="T77" fmla="*/ 2 h 61"/>
                  <a:gd name="T78" fmla="*/ 18 w 82"/>
                  <a:gd name="T79" fmla="*/ 0 h 61"/>
                  <a:gd name="T80" fmla="*/ 18 w 82"/>
                  <a:gd name="T81" fmla="*/ 0 h 61"/>
                  <a:gd name="T82" fmla="*/ 16 w 82"/>
                  <a:gd name="T83" fmla="*/ 0 h 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82" h="61">
                    <a:moveTo>
                      <a:pt x="16" y="0"/>
                    </a:moveTo>
                    <a:cubicBezTo>
                      <a:pt x="11" y="0"/>
                      <a:pt x="6" y="1"/>
                      <a:pt x="1" y="4"/>
                    </a:cubicBezTo>
                    <a:cubicBezTo>
                      <a:pt x="1" y="4"/>
                      <a:pt x="0" y="5"/>
                      <a:pt x="0" y="6"/>
                    </a:cubicBezTo>
                    <a:cubicBezTo>
                      <a:pt x="0" y="7"/>
                      <a:pt x="1" y="8"/>
                      <a:pt x="2" y="8"/>
                    </a:cubicBezTo>
                    <a:cubicBezTo>
                      <a:pt x="2" y="8"/>
                      <a:pt x="3" y="8"/>
                      <a:pt x="3" y="8"/>
                    </a:cubicBezTo>
                    <a:cubicBezTo>
                      <a:pt x="5" y="7"/>
                      <a:pt x="8" y="7"/>
                      <a:pt x="10" y="7"/>
                    </a:cubicBezTo>
                    <a:cubicBezTo>
                      <a:pt x="12" y="7"/>
                      <a:pt x="13" y="7"/>
                      <a:pt x="14" y="7"/>
                    </a:cubicBezTo>
                    <a:cubicBezTo>
                      <a:pt x="16" y="7"/>
                      <a:pt x="17" y="7"/>
                      <a:pt x="19" y="7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24" y="7"/>
                      <a:pt x="29" y="8"/>
                      <a:pt x="35" y="10"/>
                    </a:cubicBezTo>
                    <a:cubicBezTo>
                      <a:pt x="39" y="11"/>
                      <a:pt x="44" y="12"/>
                      <a:pt x="48" y="13"/>
                    </a:cubicBezTo>
                    <a:cubicBezTo>
                      <a:pt x="52" y="14"/>
                      <a:pt x="71" y="18"/>
                      <a:pt x="72" y="22"/>
                    </a:cubicBezTo>
                    <a:cubicBezTo>
                      <a:pt x="73" y="26"/>
                      <a:pt x="66" y="37"/>
                      <a:pt x="64" y="41"/>
                    </a:cubicBezTo>
                    <a:cubicBezTo>
                      <a:pt x="61" y="47"/>
                      <a:pt x="58" y="53"/>
                      <a:pt x="53" y="57"/>
                    </a:cubicBezTo>
                    <a:cubicBezTo>
                      <a:pt x="51" y="59"/>
                      <a:pt x="53" y="61"/>
                      <a:pt x="55" y="61"/>
                    </a:cubicBezTo>
                    <a:cubicBezTo>
                      <a:pt x="55" y="61"/>
                      <a:pt x="56" y="61"/>
                      <a:pt x="56" y="61"/>
                    </a:cubicBezTo>
                    <a:cubicBezTo>
                      <a:pt x="57" y="61"/>
                      <a:pt x="57" y="61"/>
                      <a:pt x="58" y="61"/>
                    </a:cubicBezTo>
                    <a:cubicBezTo>
                      <a:pt x="57" y="60"/>
                      <a:pt x="57" y="59"/>
                      <a:pt x="56" y="58"/>
                    </a:cubicBezTo>
                    <a:cubicBezTo>
                      <a:pt x="56" y="57"/>
                      <a:pt x="57" y="56"/>
                      <a:pt x="58" y="56"/>
                    </a:cubicBezTo>
                    <a:cubicBezTo>
                      <a:pt x="58" y="56"/>
                      <a:pt x="58" y="56"/>
                      <a:pt x="59" y="56"/>
                    </a:cubicBezTo>
                    <a:cubicBezTo>
                      <a:pt x="59" y="57"/>
                      <a:pt x="60" y="57"/>
                      <a:pt x="61" y="57"/>
                    </a:cubicBezTo>
                    <a:cubicBezTo>
                      <a:pt x="61" y="57"/>
                      <a:pt x="62" y="57"/>
                      <a:pt x="62" y="57"/>
                    </a:cubicBezTo>
                    <a:cubicBezTo>
                      <a:pt x="64" y="55"/>
                      <a:pt x="65" y="52"/>
                      <a:pt x="66" y="49"/>
                    </a:cubicBezTo>
                    <a:cubicBezTo>
                      <a:pt x="66" y="49"/>
                      <a:pt x="66" y="49"/>
                      <a:pt x="66" y="49"/>
                    </a:cubicBezTo>
                    <a:cubicBezTo>
                      <a:pt x="66" y="49"/>
                      <a:pt x="67" y="49"/>
                      <a:pt x="67" y="48"/>
                    </a:cubicBezTo>
                    <a:cubicBezTo>
                      <a:pt x="67" y="48"/>
                      <a:pt x="67" y="48"/>
                      <a:pt x="67" y="48"/>
                    </a:cubicBezTo>
                    <a:cubicBezTo>
                      <a:pt x="67" y="48"/>
                      <a:pt x="67" y="48"/>
                      <a:pt x="67" y="48"/>
                    </a:cubicBezTo>
                    <a:cubicBezTo>
                      <a:pt x="69" y="45"/>
                      <a:pt x="71" y="42"/>
                      <a:pt x="73" y="39"/>
                    </a:cubicBezTo>
                    <a:cubicBezTo>
                      <a:pt x="73" y="39"/>
                      <a:pt x="73" y="39"/>
                      <a:pt x="73" y="39"/>
                    </a:cubicBezTo>
                    <a:cubicBezTo>
                      <a:pt x="74" y="36"/>
                      <a:pt x="75" y="34"/>
                      <a:pt x="77" y="32"/>
                    </a:cubicBezTo>
                    <a:cubicBezTo>
                      <a:pt x="76" y="32"/>
                      <a:pt x="76" y="31"/>
                      <a:pt x="75" y="30"/>
                    </a:cubicBezTo>
                    <a:cubicBezTo>
                      <a:pt x="73" y="28"/>
                      <a:pt x="75" y="26"/>
                      <a:pt x="77" y="26"/>
                    </a:cubicBezTo>
                    <a:cubicBezTo>
                      <a:pt x="78" y="26"/>
                      <a:pt x="79" y="26"/>
                      <a:pt x="79" y="27"/>
                    </a:cubicBezTo>
                    <a:cubicBezTo>
                      <a:pt x="79" y="27"/>
                      <a:pt x="79" y="27"/>
                      <a:pt x="80" y="27"/>
                    </a:cubicBezTo>
                    <a:cubicBezTo>
                      <a:pt x="80" y="26"/>
                      <a:pt x="81" y="24"/>
                      <a:pt x="81" y="23"/>
                    </a:cubicBezTo>
                    <a:cubicBezTo>
                      <a:pt x="82" y="23"/>
                      <a:pt x="82" y="23"/>
                      <a:pt x="82" y="22"/>
                    </a:cubicBezTo>
                    <a:cubicBezTo>
                      <a:pt x="82" y="22"/>
                      <a:pt x="82" y="22"/>
                      <a:pt x="82" y="22"/>
                    </a:cubicBezTo>
                    <a:cubicBezTo>
                      <a:pt x="82" y="21"/>
                      <a:pt x="81" y="20"/>
                      <a:pt x="80" y="19"/>
                    </a:cubicBezTo>
                    <a:cubicBezTo>
                      <a:pt x="65" y="11"/>
                      <a:pt x="50" y="6"/>
                      <a:pt x="34" y="2"/>
                    </a:cubicBezTo>
                    <a:cubicBezTo>
                      <a:pt x="28" y="1"/>
                      <a:pt x="23" y="0"/>
                      <a:pt x="18" y="0"/>
                    </a:cubicBezTo>
                    <a:cubicBezTo>
                      <a:pt x="18" y="0"/>
                      <a:pt x="18" y="0"/>
                      <a:pt x="18" y="0"/>
                    </a:cubicBezTo>
                    <a:cubicBezTo>
                      <a:pt x="17" y="0"/>
                      <a:pt x="17" y="0"/>
                      <a:pt x="16" y="0"/>
                    </a:cubicBezTo>
                  </a:path>
                </a:pathLst>
              </a:custGeom>
              <a:solidFill>
                <a:srgbClr val="544D4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427" name="Freeform 99">
                <a:extLst>
                  <a:ext uri="{FF2B5EF4-FFF2-40B4-BE49-F238E27FC236}">
                    <a16:creationId xmlns:a16="http://schemas.microsoft.com/office/drawing/2014/main" id="{DCC22F7B-FB7C-44FC-A7B1-8A1FD5640EB0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2832" y="1993"/>
                <a:ext cx="65" cy="63"/>
              </a:xfrm>
              <a:custGeom>
                <a:avLst/>
                <a:gdLst>
                  <a:gd name="T0" fmla="*/ 51 w 61"/>
                  <a:gd name="T1" fmla="*/ 58 h 59"/>
                  <a:gd name="T2" fmla="*/ 51 w 61"/>
                  <a:gd name="T3" fmla="*/ 59 h 59"/>
                  <a:gd name="T4" fmla="*/ 52 w 61"/>
                  <a:gd name="T5" fmla="*/ 59 h 59"/>
                  <a:gd name="T6" fmla="*/ 53 w 61"/>
                  <a:gd name="T7" fmla="*/ 58 h 59"/>
                  <a:gd name="T8" fmla="*/ 51 w 61"/>
                  <a:gd name="T9" fmla="*/ 58 h 59"/>
                  <a:gd name="T10" fmla="*/ 23 w 61"/>
                  <a:gd name="T11" fmla="*/ 0 h 59"/>
                  <a:gd name="T12" fmla="*/ 18 w 61"/>
                  <a:gd name="T13" fmla="*/ 0 h 59"/>
                  <a:gd name="T14" fmla="*/ 6 w 61"/>
                  <a:gd name="T15" fmla="*/ 3 h 59"/>
                  <a:gd name="T16" fmla="*/ 5 w 61"/>
                  <a:gd name="T17" fmla="*/ 3 h 59"/>
                  <a:gd name="T18" fmla="*/ 3 w 61"/>
                  <a:gd name="T19" fmla="*/ 2 h 59"/>
                  <a:gd name="T20" fmla="*/ 2 w 61"/>
                  <a:gd name="T21" fmla="*/ 2 h 59"/>
                  <a:gd name="T22" fmla="*/ 0 w 61"/>
                  <a:gd name="T23" fmla="*/ 4 h 59"/>
                  <a:gd name="T24" fmla="*/ 2 w 61"/>
                  <a:gd name="T25" fmla="*/ 7 h 59"/>
                  <a:gd name="T26" fmla="*/ 7 w 61"/>
                  <a:gd name="T27" fmla="*/ 9 h 59"/>
                  <a:gd name="T28" fmla="*/ 8 w 61"/>
                  <a:gd name="T29" fmla="*/ 9 h 59"/>
                  <a:gd name="T30" fmla="*/ 20 w 61"/>
                  <a:gd name="T31" fmla="*/ 7 h 59"/>
                  <a:gd name="T32" fmla="*/ 24 w 61"/>
                  <a:gd name="T33" fmla="*/ 6 h 59"/>
                  <a:gd name="T34" fmla="*/ 41 w 61"/>
                  <a:gd name="T35" fmla="*/ 8 h 59"/>
                  <a:gd name="T36" fmla="*/ 51 w 61"/>
                  <a:gd name="T37" fmla="*/ 10 h 59"/>
                  <a:gd name="T38" fmla="*/ 55 w 61"/>
                  <a:gd name="T39" fmla="*/ 19 h 59"/>
                  <a:gd name="T40" fmla="*/ 52 w 61"/>
                  <a:gd name="T41" fmla="*/ 37 h 59"/>
                  <a:gd name="T42" fmla="*/ 51 w 61"/>
                  <a:gd name="T43" fmla="*/ 51 h 59"/>
                  <a:gd name="T44" fmla="*/ 51 w 61"/>
                  <a:gd name="T45" fmla="*/ 52 h 59"/>
                  <a:gd name="T46" fmla="*/ 51 w 61"/>
                  <a:gd name="T47" fmla="*/ 54 h 59"/>
                  <a:gd name="T48" fmla="*/ 54 w 61"/>
                  <a:gd name="T49" fmla="*/ 55 h 59"/>
                  <a:gd name="T50" fmla="*/ 55 w 61"/>
                  <a:gd name="T51" fmla="*/ 55 h 59"/>
                  <a:gd name="T52" fmla="*/ 59 w 61"/>
                  <a:gd name="T53" fmla="*/ 23 h 59"/>
                  <a:gd name="T54" fmla="*/ 57 w 61"/>
                  <a:gd name="T55" fmla="*/ 7 h 59"/>
                  <a:gd name="T56" fmla="*/ 47 w 61"/>
                  <a:gd name="T57" fmla="*/ 4 h 59"/>
                  <a:gd name="T58" fmla="*/ 39 w 61"/>
                  <a:gd name="T59" fmla="*/ 2 h 59"/>
                  <a:gd name="T60" fmla="*/ 39 w 61"/>
                  <a:gd name="T61" fmla="*/ 3 h 59"/>
                  <a:gd name="T62" fmla="*/ 37 w 61"/>
                  <a:gd name="T63" fmla="*/ 4 h 59"/>
                  <a:gd name="T64" fmla="*/ 35 w 61"/>
                  <a:gd name="T65" fmla="*/ 3 h 59"/>
                  <a:gd name="T66" fmla="*/ 35 w 61"/>
                  <a:gd name="T67" fmla="*/ 1 h 59"/>
                  <a:gd name="T68" fmla="*/ 32 w 61"/>
                  <a:gd name="T69" fmla="*/ 0 h 59"/>
                  <a:gd name="T70" fmla="*/ 23 w 61"/>
                  <a:gd name="T71" fmla="*/ 0 h 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61" h="59">
                    <a:moveTo>
                      <a:pt x="51" y="58"/>
                    </a:moveTo>
                    <a:cubicBezTo>
                      <a:pt x="51" y="58"/>
                      <a:pt x="51" y="59"/>
                      <a:pt x="51" y="59"/>
                    </a:cubicBezTo>
                    <a:cubicBezTo>
                      <a:pt x="52" y="59"/>
                      <a:pt x="52" y="59"/>
                      <a:pt x="52" y="59"/>
                    </a:cubicBezTo>
                    <a:cubicBezTo>
                      <a:pt x="52" y="59"/>
                      <a:pt x="53" y="59"/>
                      <a:pt x="53" y="58"/>
                    </a:cubicBezTo>
                    <a:cubicBezTo>
                      <a:pt x="53" y="58"/>
                      <a:pt x="52" y="58"/>
                      <a:pt x="51" y="58"/>
                    </a:cubicBezTo>
                    <a:moveTo>
                      <a:pt x="23" y="0"/>
                    </a:moveTo>
                    <a:cubicBezTo>
                      <a:pt x="21" y="0"/>
                      <a:pt x="19" y="0"/>
                      <a:pt x="18" y="0"/>
                    </a:cubicBezTo>
                    <a:cubicBezTo>
                      <a:pt x="15" y="0"/>
                      <a:pt x="10" y="3"/>
                      <a:pt x="6" y="3"/>
                    </a:cubicBezTo>
                    <a:cubicBezTo>
                      <a:pt x="6" y="3"/>
                      <a:pt x="5" y="3"/>
                      <a:pt x="5" y="3"/>
                    </a:cubicBezTo>
                    <a:cubicBezTo>
                      <a:pt x="4" y="3"/>
                      <a:pt x="3" y="3"/>
                      <a:pt x="3" y="2"/>
                    </a:cubicBezTo>
                    <a:cubicBezTo>
                      <a:pt x="2" y="2"/>
                      <a:pt x="2" y="2"/>
                      <a:pt x="2" y="2"/>
                    </a:cubicBezTo>
                    <a:cubicBezTo>
                      <a:pt x="1" y="2"/>
                      <a:pt x="0" y="3"/>
                      <a:pt x="0" y="4"/>
                    </a:cubicBezTo>
                    <a:cubicBezTo>
                      <a:pt x="1" y="5"/>
                      <a:pt x="1" y="6"/>
                      <a:pt x="2" y="7"/>
                    </a:cubicBezTo>
                    <a:cubicBezTo>
                      <a:pt x="3" y="8"/>
                      <a:pt x="5" y="8"/>
                      <a:pt x="7" y="9"/>
                    </a:cubicBezTo>
                    <a:cubicBezTo>
                      <a:pt x="7" y="9"/>
                      <a:pt x="8" y="9"/>
                      <a:pt x="8" y="9"/>
                    </a:cubicBezTo>
                    <a:cubicBezTo>
                      <a:pt x="12" y="9"/>
                      <a:pt x="16" y="7"/>
                      <a:pt x="20" y="7"/>
                    </a:cubicBezTo>
                    <a:cubicBezTo>
                      <a:pt x="21" y="6"/>
                      <a:pt x="23" y="6"/>
                      <a:pt x="24" y="6"/>
                    </a:cubicBezTo>
                    <a:cubicBezTo>
                      <a:pt x="30" y="6"/>
                      <a:pt x="35" y="7"/>
                      <a:pt x="41" y="8"/>
                    </a:cubicBezTo>
                    <a:cubicBezTo>
                      <a:pt x="44" y="8"/>
                      <a:pt x="49" y="8"/>
                      <a:pt x="51" y="10"/>
                    </a:cubicBezTo>
                    <a:cubicBezTo>
                      <a:pt x="55" y="11"/>
                      <a:pt x="55" y="15"/>
                      <a:pt x="55" y="19"/>
                    </a:cubicBezTo>
                    <a:cubicBezTo>
                      <a:pt x="55" y="25"/>
                      <a:pt x="53" y="31"/>
                      <a:pt x="52" y="37"/>
                    </a:cubicBezTo>
                    <a:cubicBezTo>
                      <a:pt x="52" y="42"/>
                      <a:pt x="52" y="47"/>
                      <a:pt x="51" y="51"/>
                    </a:cubicBezTo>
                    <a:cubicBezTo>
                      <a:pt x="51" y="51"/>
                      <a:pt x="51" y="51"/>
                      <a:pt x="51" y="52"/>
                    </a:cubicBezTo>
                    <a:cubicBezTo>
                      <a:pt x="51" y="52"/>
                      <a:pt x="51" y="53"/>
                      <a:pt x="51" y="54"/>
                    </a:cubicBezTo>
                    <a:cubicBezTo>
                      <a:pt x="52" y="54"/>
                      <a:pt x="53" y="55"/>
                      <a:pt x="54" y="55"/>
                    </a:cubicBezTo>
                    <a:cubicBezTo>
                      <a:pt x="55" y="55"/>
                      <a:pt x="55" y="55"/>
                      <a:pt x="55" y="55"/>
                    </a:cubicBezTo>
                    <a:cubicBezTo>
                      <a:pt x="59" y="46"/>
                      <a:pt x="58" y="33"/>
                      <a:pt x="59" y="23"/>
                    </a:cubicBezTo>
                    <a:cubicBezTo>
                      <a:pt x="60" y="18"/>
                      <a:pt x="61" y="10"/>
                      <a:pt x="57" y="7"/>
                    </a:cubicBezTo>
                    <a:cubicBezTo>
                      <a:pt x="54" y="5"/>
                      <a:pt x="50" y="5"/>
                      <a:pt x="47" y="4"/>
                    </a:cubicBezTo>
                    <a:cubicBezTo>
                      <a:pt x="45" y="3"/>
                      <a:pt x="42" y="3"/>
                      <a:pt x="39" y="2"/>
                    </a:cubicBezTo>
                    <a:cubicBezTo>
                      <a:pt x="39" y="2"/>
                      <a:pt x="39" y="3"/>
                      <a:pt x="39" y="3"/>
                    </a:cubicBezTo>
                    <a:cubicBezTo>
                      <a:pt x="38" y="4"/>
                      <a:pt x="38" y="4"/>
                      <a:pt x="37" y="4"/>
                    </a:cubicBezTo>
                    <a:cubicBezTo>
                      <a:pt x="36" y="4"/>
                      <a:pt x="36" y="3"/>
                      <a:pt x="35" y="3"/>
                    </a:cubicBezTo>
                    <a:cubicBezTo>
                      <a:pt x="35" y="2"/>
                      <a:pt x="35" y="1"/>
                      <a:pt x="35" y="1"/>
                    </a:cubicBezTo>
                    <a:cubicBezTo>
                      <a:pt x="34" y="1"/>
                      <a:pt x="33" y="1"/>
                      <a:pt x="32" y="0"/>
                    </a:cubicBezTo>
                    <a:cubicBezTo>
                      <a:pt x="29" y="0"/>
                      <a:pt x="26" y="0"/>
                      <a:pt x="23" y="0"/>
                    </a:cubicBezTo>
                  </a:path>
                </a:pathLst>
              </a:custGeom>
              <a:solidFill>
                <a:srgbClr val="544D4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428" name="Freeform 100">
                <a:extLst>
                  <a:ext uri="{FF2B5EF4-FFF2-40B4-BE49-F238E27FC236}">
                    <a16:creationId xmlns:a16="http://schemas.microsoft.com/office/drawing/2014/main" id="{501A43CE-7343-4818-9EC9-AD612BBA4E10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2828" y="2030"/>
                <a:ext cx="64" cy="26"/>
              </a:xfrm>
              <a:custGeom>
                <a:avLst/>
                <a:gdLst>
                  <a:gd name="T0" fmla="*/ 55 w 60"/>
                  <a:gd name="T1" fmla="*/ 19 h 24"/>
                  <a:gd name="T2" fmla="*/ 55 w 60"/>
                  <a:gd name="T3" fmla="*/ 23 h 24"/>
                  <a:gd name="T4" fmla="*/ 57 w 60"/>
                  <a:gd name="T5" fmla="*/ 23 h 24"/>
                  <a:gd name="T6" fmla="*/ 58 w 60"/>
                  <a:gd name="T7" fmla="*/ 24 h 24"/>
                  <a:gd name="T8" fmla="*/ 58 w 60"/>
                  <a:gd name="T9" fmla="*/ 24 h 24"/>
                  <a:gd name="T10" fmla="*/ 59 w 60"/>
                  <a:gd name="T11" fmla="*/ 20 h 24"/>
                  <a:gd name="T12" fmla="*/ 58 w 60"/>
                  <a:gd name="T13" fmla="*/ 20 h 24"/>
                  <a:gd name="T14" fmla="*/ 55 w 60"/>
                  <a:gd name="T15" fmla="*/ 19 h 24"/>
                  <a:gd name="T16" fmla="*/ 53 w 60"/>
                  <a:gd name="T17" fmla="*/ 18 h 24"/>
                  <a:gd name="T18" fmla="*/ 54 w 60"/>
                  <a:gd name="T19" fmla="*/ 18 h 24"/>
                  <a:gd name="T20" fmla="*/ 54 w 60"/>
                  <a:gd name="T21" fmla="*/ 18 h 24"/>
                  <a:gd name="T22" fmla="*/ 53 w 60"/>
                  <a:gd name="T23" fmla="*/ 18 h 24"/>
                  <a:gd name="T24" fmla="*/ 6 w 60"/>
                  <a:gd name="T25" fmla="*/ 0 h 24"/>
                  <a:gd name="T26" fmla="*/ 4 w 60"/>
                  <a:gd name="T27" fmla="*/ 0 h 24"/>
                  <a:gd name="T28" fmla="*/ 3 w 60"/>
                  <a:gd name="T29" fmla="*/ 7 h 24"/>
                  <a:gd name="T30" fmla="*/ 5 w 60"/>
                  <a:gd name="T31" fmla="*/ 8 h 24"/>
                  <a:gd name="T32" fmla="*/ 4 w 60"/>
                  <a:gd name="T33" fmla="*/ 7 h 24"/>
                  <a:gd name="T34" fmla="*/ 6 w 60"/>
                  <a:gd name="T35" fmla="*/ 4 h 24"/>
                  <a:gd name="T36" fmla="*/ 8 w 60"/>
                  <a:gd name="T37" fmla="*/ 5 h 24"/>
                  <a:gd name="T38" fmla="*/ 19 w 60"/>
                  <a:gd name="T39" fmla="*/ 13 h 24"/>
                  <a:gd name="T40" fmla="*/ 30 w 60"/>
                  <a:gd name="T41" fmla="*/ 16 h 24"/>
                  <a:gd name="T42" fmla="*/ 50 w 60"/>
                  <a:gd name="T43" fmla="*/ 22 h 24"/>
                  <a:gd name="T44" fmla="*/ 51 w 60"/>
                  <a:gd name="T45" fmla="*/ 18 h 24"/>
                  <a:gd name="T46" fmla="*/ 51 w 60"/>
                  <a:gd name="T47" fmla="*/ 17 h 24"/>
                  <a:gd name="T48" fmla="*/ 31 w 60"/>
                  <a:gd name="T49" fmla="*/ 8 h 24"/>
                  <a:gd name="T50" fmla="*/ 6 w 60"/>
                  <a:gd name="T51" fmla="*/ 0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60" h="24">
                    <a:moveTo>
                      <a:pt x="55" y="19"/>
                    </a:moveTo>
                    <a:cubicBezTo>
                      <a:pt x="55" y="20"/>
                      <a:pt x="55" y="22"/>
                      <a:pt x="55" y="23"/>
                    </a:cubicBezTo>
                    <a:cubicBezTo>
                      <a:pt x="56" y="23"/>
                      <a:pt x="57" y="23"/>
                      <a:pt x="57" y="23"/>
                    </a:cubicBezTo>
                    <a:cubicBezTo>
                      <a:pt x="58" y="24"/>
                      <a:pt x="58" y="24"/>
                      <a:pt x="58" y="24"/>
                    </a:cubicBezTo>
                    <a:cubicBezTo>
                      <a:pt x="58" y="24"/>
                      <a:pt x="58" y="24"/>
                      <a:pt x="58" y="24"/>
                    </a:cubicBezTo>
                    <a:cubicBezTo>
                      <a:pt x="60" y="24"/>
                      <a:pt x="60" y="22"/>
                      <a:pt x="59" y="20"/>
                    </a:cubicBezTo>
                    <a:cubicBezTo>
                      <a:pt x="59" y="20"/>
                      <a:pt x="59" y="20"/>
                      <a:pt x="58" y="20"/>
                    </a:cubicBezTo>
                    <a:cubicBezTo>
                      <a:pt x="57" y="20"/>
                      <a:pt x="56" y="19"/>
                      <a:pt x="55" y="19"/>
                    </a:cubicBezTo>
                    <a:moveTo>
                      <a:pt x="53" y="18"/>
                    </a:moveTo>
                    <a:cubicBezTo>
                      <a:pt x="53" y="18"/>
                      <a:pt x="54" y="18"/>
                      <a:pt x="54" y="18"/>
                    </a:cubicBezTo>
                    <a:cubicBezTo>
                      <a:pt x="54" y="18"/>
                      <a:pt x="54" y="18"/>
                      <a:pt x="54" y="18"/>
                    </a:cubicBezTo>
                    <a:cubicBezTo>
                      <a:pt x="54" y="18"/>
                      <a:pt x="54" y="18"/>
                      <a:pt x="53" y="18"/>
                    </a:cubicBezTo>
                    <a:moveTo>
                      <a:pt x="6" y="0"/>
                    </a:moveTo>
                    <a:cubicBezTo>
                      <a:pt x="5" y="0"/>
                      <a:pt x="5" y="0"/>
                      <a:pt x="4" y="0"/>
                    </a:cubicBezTo>
                    <a:cubicBezTo>
                      <a:pt x="1" y="0"/>
                      <a:pt x="0" y="5"/>
                      <a:pt x="3" y="7"/>
                    </a:cubicBezTo>
                    <a:cubicBezTo>
                      <a:pt x="4" y="7"/>
                      <a:pt x="4" y="7"/>
                      <a:pt x="5" y="8"/>
                    </a:cubicBezTo>
                    <a:cubicBezTo>
                      <a:pt x="5" y="7"/>
                      <a:pt x="5" y="7"/>
                      <a:pt x="4" y="7"/>
                    </a:cubicBezTo>
                    <a:cubicBezTo>
                      <a:pt x="3" y="6"/>
                      <a:pt x="5" y="4"/>
                      <a:pt x="6" y="4"/>
                    </a:cubicBezTo>
                    <a:cubicBezTo>
                      <a:pt x="7" y="4"/>
                      <a:pt x="7" y="4"/>
                      <a:pt x="8" y="5"/>
                    </a:cubicBezTo>
                    <a:cubicBezTo>
                      <a:pt x="10" y="7"/>
                      <a:pt x="15" y="10"/>
                      <a:pt x="19" y="13"/>
                    </a:cubicBezTo>
                    <a:cubicBezTo>
                      <a:pt x="23" y="14"/>
                      <a:pt x="27" y="15"/>
                      <a:pt x="30" y="16"/>
                    </a:cubicBezTo>
                    <a:cubicBezTo>
                      <a:pt x="36" y="19"/>
                      <a:pt x="43" y="21"/>
                      <a:pt x="50" y="22"/>
                    </a:cubicBezTo>
                    <a:cubicBezTo>
                      <a:pt x="51" y="21"/>
                      <a:pt x="51" y="20"/>
                      <a:pt x="51" y="18"/>
                    </a:cubicBezTo>
                    <a:cubicBezTo>
                      <a:pt x="51" y="18"/>
                      <a:pt x="51" y="17"/>
                      <a:pt x="51" y="17"/>
                    </a:cubicBezTo>
                    <a:cubicBezTo>
                      <a:pt x="45" y="14"/>
                      <a:pt x="38" y="11"/>
                      <a:pt x="31" y="8"/>
                    </a:cubicBezTo>
                    <a:cubicBezTo>
                      <a:pt x="23" y="5"/>
                      <a:pt x="14" y="0"/>
                      <a:pt x="6" y="0"/>
                    </a:cubicBezTo>
                  </a:path>
                </a:pathLst>
              </a:custGeom>
              <a:solidFill>
                <a:srgbClr val="544D4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429" name="Freeform 101">
                <a:extLst>
                  <a:ext uri="{FF2B5EF4-FFF2-40B4-BE49-F238E27FC236}">
                    <a16:creationId xmlns:a16="http://schemas.microsoft.com/office/drawing/2014/main" id="{154B98B4-A6A6-4548-8046-1884068BE47A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868" y="2048"/>
                <a:ext cx="17" cy="17"/>
              </a:xfrm>
              <a:custGeom>
                <a:avLst/>
                <a:gdLst>
                  <a:gd name="T0" fmla="*/ 14 w 16"/>
                  <a:gd name="T1" fmla="*/ 0 h 16"/>
                  <a:gd name="T2" fmla="*/ 13 w 16"/>
                  <a:gd name="T3" fmla="*/ 0 h 16"/>
                  <a:gd name="T4" fmla="*/ 13 w 16"/>
                  <a:gd name="T5" fmla="*/ 1 h 16"/>
                  <a:gd name="T6" fmla="*/ 12 w 16"/>
                  <a:gd name="T7" fmla="*/ 5 h 16"/>
                  <a:gd name="T8" fmla="*/ 3 w 16"/>
                  <a:gd name="T9" fmla="*/ 9 h 16"/>
                  <a:gd name="T10" fmla="*/ 0 w 16"/>
                  <a:gd name="T11" fmla="*/ 11 h 16"/>
                  <a:gd name="T12" fmla="*/ 4 w 16"/>
                  <a:gd name="T13" fmla="*/ 16 h 16"/>
                  <a:gd name="T14" fmla="*/ 13 w 16"/>
                  <a:gd name="T15" fmla="*/ 10 h 16"/>
                  <a:gd name="T16" fmla="*/ 14 w 16"/>
                  <a:gd name="T17" fmla="*/ 10 h 16"/>
                  <a:gd name="T18" fmla="*/ 16 w 16"/>
                  <a:gd name="T19" fmla="*/ 1 h 16"/>
                  <a:gd name="T20" fmla="*/ 15 w 16"/>
                  <a:gd name="T21" fmla="*/ 1 h 16"/>
                  <a:gd name="T22" fmla="*/ 15 w 16"/>
                  <a:gd name="T23" fmla="*/ 1 h 16"/>
                  <a:gd name="T24" fmla="*/ 14 w 16"/>
                  <a:gd name="T25" fmla="*/ 0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6" h="16">
                    <a:moveTo>
                      <a:pt x="14" y="0"/>
                    </a:moveTo>
                    <a:cubicBezTo>
                      <a:pt x="14" y="0"/>
                      <a:pt x="14" y="0"/>
                      <a:pt x="13" y="0"/>
                    </a:cubicBezTo>
                    <a:cubicBezTo>
                      <a:pt x="13" y="0"/>
                      <a:pt x="13" y="1"/>
                      <a:pt x="13" y="1"/>
                    </a:cubicBezTo>
                    <a:cubicBezTo>
                      <a:pt x="13" y="3"/>
                      <a:pt x="13" y="4"/>
                      <a:pt x="12" y="5"/>
                    </a:cubicBezTo>
                    <a:cubicBezTo>
                      <a:pt x="10" y="7"/>
                      <a:pt x="6" y="8"/>
                      <a:pt x="3" y="9"/>
                    </a:cubicBezTo>
                    <a:cubicBezTo>
                      <a:pt x="2" y="9"/>
                      <a:pt x="1" y="10"/>
                      <a:pt x="0" y="11"/>
                    </a:cubicBezTo>
                    <a:cubicBezTo>
                      <a:pt x="1" y="12"/>
                      <a:pt x="3" y="14"/>
                      <a:pt x="4" y="16"/>
                    </a:cubicBezTo>
                    <a:cubicBezTo>
                      <a:pt x="7" y="15"/>
                      <a:pt x="11" y="12"/>
                      <a:pt x="13" y="10"/>
                    </a:cubicBezTo>
                    <a:cubicBezTo>
                      <a:pt x="13" y="10"/>
                      <a:pt x="13" y="10"/>
                      <a:pt x="14" y="10"/>
                    </a:cubicBezTo>
                    <a:cubicBezTo>
                      <a:pt x="14" y="7"/>
                      <a:pt x="15" y="4"/>
                      <a:pt x="16" y="1"/>
                    </a:cubicBezTo>
                    <a:cubicBezTo>
                      <a:pt x="16" y="1"/>
                      <a:pt x="15" y="1"/>
                      <a:pt x="15" y="1"/>
                    </a:cubicBezTo>
                    <a:cubicBezTo>
                      <a:pt x="15" y="1"/>
                      <a:pt x="15" y="1"/>
                      <a:pt x="15" y="1"/>
                    </a:cubicBezTo>
                    <a:cubicBezTo>
                      <a:pt x="15" y="0"/>
                      <a:pt x="15" y="0"/>
                      <a:pt x="14" y="0"/>
                    </a:cubicBezTo>
                  </a:path>
                </a:pathLst>
              </a:custGeom>
              <a:solidFill>
                <a:srgbClr val="544D4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430" name="Freeform 102">
                <a:extLst>
                  <a:ext uri="{FF2B5EF4-FFF2-40B4-BE49-F238E27FC236}">
                    <a16:creationId xmlns:a16="http://schemas.microsoft.com/office/drawing/2014/main" id="{1A8AF724-0616-4226-8B13-0BA3323C4207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785" y="2035"/>
                <a:ext cx="93" cy="64"/>
              </a:xfrm>
              <a:custGeom>
                <a:avLst/>
                <a:gdLst>
                  <a:gd name="T0" fmla="*/ 47 w 88"/>
                  <a:gd name="T1" fmla="*/ 0 h 61"/>
                  <a:gd name="T2" fmla="*/ 45 w 88"/>
                  <a:gd name="T3" fmla="*/ 3 h 61"/>
                  <a:gd name="T4" fmla="*/ 46 w 88"/>
                  <a:gd name="T5" fmla="*/ 4 h 61"/>
                  <a:gd name="T6" fmla="*/ 68 w 88"/>
                  <a:gd name="T7" fmla="*/ 25 h 61"/>
                  <a:gd name="T8" fmla="*/ 73 w 88"/>
                  <a:gd name="T9" fmla="*/ 40 h 61"/>
                  <a:gd name="T10" fmla="*/ 68 w 88"/>
                  <a:gd name="T11" fmla="*/ 42 h 61"/>
                  <a:gd name="T12" fmla="*/ 58 w 88"/>
                  <a:gd name="T13" fmla="*/ 51 h 61"/>
                  <a:gd name="T14" fmla="*/ 50 w 88"/>
                  <a:gd name="T15" fmla="*/ 52 h 61"/>
                  <a:gd name="T16" fmla="*/ 35 w 88"/>
                  <a:gd name="T17" fmla="*/ 50 h 61"/>
                  <a:gd name="T18" fmla="*/ 8 w 88"/>
                  <a:gd name="T19" fmla="*/ 42 h 61"/>
                  <a:gd name="T20" fmla="*/ 5 w 88"/>
                  <a:gd name="T21" fmla="*/ 44 h 61"/>
                  <a:gd name="T22" fmla="*/ 5 w 88"/>
                  <a:gd name="T23" fmla="*/ 44 h 61"/>
                  <a:gd name="T24" fmla="*/ 3 w 88"/>
                  <a:gd name="T25" fmla="*/ 44 h 61"/>
                  <a:gd name="T26" fmla="*/ 3 w 88"/>
                  <a:gd name="T27" fmla="*/ 44 h 61"/>
                  <a:gd name="T28" fmla="*/ 0 w 88"/>
                  <a:gd name="T29" fmla="*/ 44 h 61"/>
                  <a:gd name="T30" fmla="*/ 0 w 88"/>
                  <a:gd name="T31" fmla="*/ 45 h 61"/>
                  <a:gd name="T32" fmla="*/ 41 w 88"/>
                  <a:gd name="T33" fmla="*/ 60 h 61"/>
                  <a:gd name="T34" fmla="*/ 50 w 88"/>
                  <a:gd name="T35" fmla="*/ 61 h 61"/>
                  <a:gd name="T36" fmla="*/ 58 w 88"/>
                  <a:gd name="T37" fmla="*/ 60 h 61"/>
                  <a:gd name="T38" fmla="*/ 75 w 88"/>
                  <a:gd name="T39" fmla="*/ 48 h 61"/>
                  <a:gd name="T40" fmla="*/ 85 w 88"/>
                  <a:gd name="T41" fmla="*/ 33 h 61"/>
                  <a:gd name="T42" fmla="*/ 83 w 88"/>
                  <a:gd name="T43" fmla="*/ 29 h 61"/>
                  <a:gd name="T44" fmla="*/ 79 w 88"/>
                  <a:gd name="T45" fmla="*/ 24 h 61"/>
                  <a:gd name="T46" fmla="*/ 60 w 88"/>
                  <a:gd name="T47" fmla="*/ 9 h 61"/>
                  <a:gd name="T48" fmla="*/ 49 w 88"/>
                  <a:gd name="T49" fmla="*/ 1 h 61"/>
                  <a:gd name="T50" fmla="*/ 47 w 88"/>
                  <a:gd name="T51" fmla="*/ 0 h 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88" h="61">
                    <a:moveTo>
                      <a:pt x="47" y="0"/>
                    </a:moveTo>
                    <a:cubicBezTo>
                      <a:pt x="46" y="0"/>
                      <a:pt x="44" y="2"/>
                      <a:pt x="45" y="3"/>
                    </a:cubicBezTo>
                    <a:cubicBezTo>
                      <a:pt x="46" y="3"/>
                      <a:pt x="46" y="3"/>
                      <a:pt x="46" y="4"/>
                    </a:cubicBezTo>
                    <a:cubicBezTo>
                      <a:pt x="52" y="12"/>
                      <a:pt x="61" y="18"/>
                      <a:pt x="68" y="25"/>
                    </a:cubicBezTo>
                    <a:cubicBezTo>
                      <a:pt x="73" y="29"/>
                      <a:pt x="78" y="33"/>
                      <a:pt x="73" y="40"/>
                    </a:cubicBezTo>
                    <a:cubicBezTo>
                      <a:pt x="73" y="41"/>
                      <a:pt x="70" y="41"/>
                      <a:pt x="68" y="42"/>
                    </a:cubicBezTo>
                    <a:cubicBezTo>
                      <a:pt x="66" y="45"/>
                      <a:pt x="62" y="49"/>
                      <a:pt x="58" y="51"/>
                    </a:cubicBezTo>
                    <a:cubicBezTo>
                      <a:pt x="56" y="52"/>
                      <a:pt x="53" y="52"/>
                      <a:pt x="50" y="52"/>
                    </a:cubicBezTo>
                    <a:cubicBezTo>
                      <a:pt x="45" y="52"/>
                      <a:pt x="40" y="51"/>
                      <a:pt x="35" y="50"/>
                    </a:cubicBezTo>
                    <a:cubicBezTo>
                      <a:pt x="25" y="48"/>
                      <a:pt x="17" y="45"/>
                      <a:pt x="8" y="42"/>
                    </a:cubicBezTo>
                    <a:cubicBezTo>
                      <a:pt x="8" y="43"/>
                      <a:pt x="7" y="44"/>
                      <a:pt x="5" y="44"/>
                    </a:cubicBezTo>
                    <a:cubicBezTo>
                      <a:pt x="5" y="44"/>
                      <a:pt x="5" y="44"/>
                      <a:pt x="5" y="44"/>
                    </a:cubicBezTo>
                    <a:cubicBezTo>
                      <a:pt x="5" y="44"/>
                      <a:pt x="4" y="44"/>
                      <a:pt x="3" y="44"/>
                    </a:cubicBezTo>
                    <a:cubicBezTo>
                      <a:pt x="3" y="44"/>
                      <a:pt x="3" y="44"/>
                      <a:pt x="3" y="44"/>
                    </a:cubicBezTo>
                    <a:cubicBezTo>
                      <a:pt x="2" y="44"/>
                      <a:pt x="1" y="44"/>
                      <a:pt x="0" y="44"/>
                    </a:cubicBezTo>
                    <a:cubicBezTo>
                      <a:pt x="0" y="44"/>
                      <a:pt x="0" y="45"/>
                      <a:pt x="0" y="45"/>
                    </a:cubicBezTo>
                    <a:cubicBezTo>
                      <a:pt x="7" y="58"/>
                      <a:pt x="28" y="59"/>
                      <a:pt x="41" y="60"/>
                    </a:cubicBezTo>
                    <a:cubicBezTo>
                      <a:pt x="44" y="61"/>
                      <a:pt x="47" y="61"/>
                      <a:pt x="50" y="61"/>
                    </a:cubicBezTo>
                    <a:cubicBezTo>
                      <a:pt x="53" y="61"/>
                      <a:pt x="56" y="61"/>
                      <a:pt x="58" y="60"/>
                    </a:cubicBezTo>
                    <a:cubicBezTo>
                      <a:pt x="65" y="58"/>
                      <a:pt x="69" y="52"/>
                      <a:pt x="75" y="48"/>
                    </a:cubicBezTo>
                    <a:cubicBezTo>
                      <a:pt x="81" y="44"/>
                      <a:pt x="88" y="43"/>
                      <a:pt x="85" y="33"/>
                    </a:cubicBezTo>
                    <a:cubicBezTo>
                      <a:pt x="84" y="32"/>
                      <a:pt x="84" y="30"/>
                      <a:pt x="83" y="29"/>
                    </a:cubicBezTo>
                    <a:cubicBezTo>
                      <a:pt x="82" y="27"/>
                      <a:pt x="80" y="25"/>
                      <a:pt x="79" y="24"/>
                    </a:cubicBezTo>
                    <a:cubicBezTo>
                      <a:pt x="74" y="18"/>
                      <a:pt x="67" y="13"/>
                      <a:pt x="60" y="9"/>
                    </a:cubicBezTo>
                    <a:cubicBezTo>
                      <a:pt x="56" y="6"/>
                      <a:pt x="51" y="3"/>
                      <a:pt x="49" y="1"/>
                    </a:cubicBezTo>
                    <a:cubicBezTo>
                      <a:pt x="48" y="0"/>
                      <a:pt x="48" y="0"/>
                      <a:pt x="47" y="0"/>
                    </a:cubicBezTo>
                  </a:path>
                </a:pathLst>
              </a:custGeom>
              <a:solidFill>
                <a:srgbClr val="544D4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431" name="Freeform 103">
                <a:extLst>
                  <a:ext uri="{FF2B5EF4-FFF2-40B4-BE49-F238E27FC236}">
                    <a16:creationId xmlns:a16="http://schemas.microsoft.com/office/drawing/2014/main" id="{05A065AA-66B9-4E58-B222-66432264CE89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2785" y="2026"/>
                <a:ext cx="14" cy="55"/>
              </a:xfrm>
              <a:custGeom>
                <a:avLst/>
                <a:gdLst>
                  <a:gd name="T0" fmla="*/ 14 w 14"/>
                  <a:gd name="T1" fmla="*/ 4 h 52"/>
                  <a:gd name="T2" fmla="*/ 4 w 14"/>
                  <a:gd name="T3" fmla="*/ 16 h 52"/>
                  <a:gd name="T4" fmla="*/ 2 w 14"/>
                  <a:gd name="T5" fmla="*/ 30 h 52"/>
                  <a:gd name="T6" fmla="*/ 1 w 14"/>
                  <a:gd name="T7" fmla="*/ 45 h 52"/>
                  <a:gd name="T8" fmla="*/ 4 w 14"/>
                  <a:gd name="T9" fmla="*/ 46 h 52"/>
                  <a:gd name="T10" fmla="*/ 5 w 14"/>
                  <a:gd name="T11" fmla="*/ 52 h 52"/>
                  <a:gd name="T12" fmla="*/ 5 w 14"/>
                  <a:gd name="T13" fmla="*/ 52 h 52"/>
                  <a:gd name="T14" fmla="*/ 8 w 14"/>
                  <a:gd name="T15" fmla="*/ 50 h 52"/>
                  <a:gd name="T16" fmla="*/ 7 w 14"/>
                  <a:gd name="T17" fmla="*/ 48 h 52"/>
                  <a:gd name="T18" fmla="*/ 9 w 14"/>
                  <a:gd name="T19" fmla="*/ 28 h 52"/>
                  <a:gd name="T20" fmla="*/ 14 w 14"/>
                  <a:gd name="T21" fmla="*/ 4 h 52"/>
                  <a:gd name="T22" fmla="*/ 11 w 14"/>
                  <a:gd name="T23" fmla="*/ 0 h 52"/>
                  <a:gd name="T24" fmla="*/ 9 w 14"/>
                  <a:gd name="T25" fmla="*/ 1 h 52"/>
                  <a:gd name="T26" fmla="*/ 8 w 14"/>
                  <a:gd name="T27" fmla="*/ 4 h 52"/>
                  <a:gd name="T28" fmla="*/ 13 w 14"/>
                  <a:gd name="T29" fmla="*/ 1 h 52"/>
                  <a:gd name="T30" fmla="*/ 14 w 14"/>
                  <a:gd name="T31" fmla="*/ 1 h 52"/>
                  <a:gd name="T32" fmla="*/ 11 w 14"/>
                  <a:gd name="T33" fmla="*/ 0 h 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4" h="52">
                    <a:moveTo>
                      <a:pt x="14" y="4"/>
                    </a:moveTo>
                    <a:cubicBezTo>
                      <a:pt x="10" y="8"/>
                      <a:pt x="7" y="12"/>
                      <a:pt x="4" y="16"/>
                    </a:cubicBezTo>
                    <a:cubicBezTo>
                      <a:pt x="3" y="21"/>
                      <a:pt x="2" y="26"/>
                      <a:pt x="2" y="30"/>
                    </a:cubicBezTo>
                    <a:cubicBezTo>
                      <a:pt x="1" y="34"/>
                      <a:pt x="0" y="40"/>
                      <a:pt x="1" y="45"/>
                    </a:cubicBezTo>
                    <a:cubicBezTo>
                      <a:pt x="2" y="45"/>
                      <a:pt x="3" y="46"/>
                      <a:pt x="4" y="46"/>
                    </a:cubicBezTo>
                    <a:cubicBezTo>
                      <a:pt x="7" y="47"/>
                      <a:pt x="7" y="50"/>
                      <a:pt x="5" y="52"/>
                    </a:cubicBezTo>
                    <a:cubicBezTo>
                      <a:pt x="5" y="52"/>
                      <a:pt x="5" y="52"/>
                      <a:pt x="5" y="52"/>
                    </a:cubicBezTo>
                    <a:cubicBezTo>
                      <a:pt x="7" y="52"/>
                      <a:pt x="8" y="51"/>
                      <a:pt x="8" y="50"/>
                    </a:cubicBezTo>
                    <a:cubicBezTo>
                      <a:pt x="8" y="49"/>
                      <a:pt x="8" y="49"/>
                      <a:pt x="7" y="48"/>
                    </a:cubicBezTo>
                    <a:cubicBezTo>
                      <a:pt x="5" y="44"/>
                      <a:pt x="8" y="33"/>
                      <a:pt x="9" y="28"/>
                    </a:cubicBezTo>
                    <a:cubicBezTo>
                      <a:pt x="11" y="20"/>
                      <a:pt x="14" y="12"/>
                      <a:pt x="14" y="4"/>
                    </a:cubicBezTo>
                    <a:moveTo>
                      <a:pt x="11" y="0"/>
                    </a:moveTo>
                    <a:cubicBezTo>
                      <a:pt x="10" y="0"/>
                      <a:pt x="10" y="0"/>
                      <a:pt x="9" y="1"/>
                    </a:cubicBezTo>
                    <a:cubicBezTo>
                      <a:pt x="9" y="2"/>
                      <a:pt x="8" y="3"/>
                      <a:pt x="8" y="4"/>
                    </a:cubicBezTo>
                    <a:cubicBezTo>
                      <a:pt x="9" y="3"/>
                      <a:pt x="11" y="2"/>
                      <a:pt x="13" y="1"/>
                    </a:cubicBezTo>
                    <a:cubicBezTo>
                      <a:pt x="13" y="1"/>
                      <a:pt x="13" y="1"/>
                      <a:pt x="14" y="1"/>
                    </a:cubicBezTo>
                    <a:cubicBezTo>
                      <a:pt x="13" y="0"/>
                      <a:pt x="12" y="0"/>
                      <a:pt x="11" y="0"/>
                    </a:cubicBezTo>
                  </a:path>
                </a:pathLst>
              </a:custGeom>
              <a:solidFill>
                <a:srgbClr val="544D4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432" name="Freeform 104">
                <a:extLst>
                  <a:ext uri="{FF2B5EF4-FFF2-40B4-BE49-F238E27FC236}">
                    <a16:creationId xmlns:a16="http://schemas.microsoft.com/office/drawing/2014/main" id="{7C0F53D1-1A3A-4B89-9BA8-D3FC3349A7B9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763" y="2027"/>
                <a:ext cx="39" cy="42"/>
              </a:xfrm>
              <a:custGeom>
                <a:avLst/>
                <a:gdLst>
                  <a:gd name="T0" fmla="*/ 34 w 36"/>
                  <a:gd name="T1" fmla="*/ 0 h 40"/>
                  <a:gd name="T2" fmla="*/ 34 w 36"/>
                  <a:gd name="T3" fmla="*/ 0 h 40"/>
                  <a:gd name="T4" fmla="*/ 33 w 36"/>
                  <a:gd name="T5" fmla="*/ 0 h 40"/>
                  <a:gd name="T6" fmla="*/ 28 w 36"/>
                  <a:gd name="T7" fmla="*/ 3 h 40"/>
                  <a:gd name="T8" fmla="*/ 15 w 36"/>
                  <a:gd name="T9" fmla="*/ 18 h 40"/>
                  <a:gd name="T10" fmla="*/ 4 w 36"/>
                  <a:gd name="T11" fmla="*/ 29 h 40"/>
                  <a:gd name="T12" fmla="*/ 0 w 36"/>
                  <a:gd name="T13" fmla="*/ 34 h 40"/>
                  <a:gd name="T14" fmla="*/ 4 w 36"/>
                  <a:gd name="T15" fmla="*/ 40 h 40"/>
                  <a:gd name="T16" fmla="*/ 11 w 36"/>
                  <a:gd name="T17" fmla="*/ 33 h 40"/>
                  <a:gd name="T18" fmla="*/ 18 w 36"/>
                  <a:gd name="T19" fmla="*/ 26 h 40"/>
                  <a:gd name="T20" fmla="*/ 24 w 36"/>
                  <a:gd name="T21" fmla="*/ 15 h 40"/>
                  <a:gd name="T22" fmla="*/ 34 w 36"/>
                  <a:gd name="T23" fmla="*/ 3 h 40"/>
                  <a:gd name="T24" fmla="*/ 34 w 36"/>
                  <a:gd name="T25" fmla="*/ 3 h 40"/>
                  <a:gd name="T26" fmla="*/ 34 w 36"/>
                  <a:gd name="T27" fmla="*/ 0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36" h="40">
                    <a:moveTo>
                      <a:pt x="34" y="0"/>
                    </a:moveTo>
                    <a:cubicBezTo>
                      <a:pt x="34" y="0"/>
                      <a:pt x="34" y="0"/>
                      <a:pt x="34" y="0"/>
                    </a:cubicBezTo>
                    <a:cubicBezTo>
                      <a:pt x="33" y="0"/>
                      <a:pt x="33" y="0"/>
                      <a:pt x="33" y="0"/>
                    </a:cubicBezTo>
                    <a:cubicBezTo>
                      <a:pt x="31" y="1"/>
                      <a:pt x="29" y="2"/>
                      <a:pt x="28" y="3"/>
                    </a:cubicBezTo>
                    <a:cubicBezTo>
                      <a:pt x="22" y="7"/>
                      <a:pt x="19" y="13"/>
                      <a:pt x="15" y="18"/>
                    </a:cubicBezTo>
                    <a:cubicBezTo>
                      <a:pt x="12" y="23"/>
                      <a:pt x="9" y="25"/>
                      <a:pt x="4" y="29"/>
                    </a:cubicBezTo>
                    <a:cubicBezTo>
                      <a:pt x="2" y="31"/>
                      <a:pt x="1" y="32"/>
                      <a:pt x="0" y="34"/>
                    </a:cubicBezTo>
                    <a:cubicBezTo>
                      <a:pt x="1" y="36"/>
                      <a:pt x="3" y="38"/>
                      <a:pt x="4" y="40"/>
                    </a:cubicBezTo>
                    <a:cubicBezTo>
                      <a:pt x="7" y="38"/>
                      <a:pt x="8" y="35"/>
                      <a:pt x="11" y="33"/>
                    </a:cubicBezTo>
                    <a:cubicBezTo>
                      <a:pt x="14" y="31"/>
                      <a:pt x="16" y="29"/>
                      <a:pt x="18" y="26"/>
                    </a:cubicBezTo>
                    <a:cubicBezTo>
                      <a:pt x="20" y="22"/>
                      <a:pt x="22" y="19"/>
                      <a:pt x="24" y="15"/>
                    </a:cubicBezTo>
                    <a:cubicBezTo>
                      <a:pt x="27" y="11"/>
                      <a:pt x="30" y="7"/>
                      <a:pt x="34" y="3"/>
                    </a:cubicBezTo>
                    <a:cubicBezTo>
                      <a:pt x="34" y="3"/>
                      <a:pt x="34" y="3"/>
                      <a:pt x="34" y="3"/>
                    </a:cubicBezTo>
                    <a:cubicBezTo>
                      <a:pt x="36" y="2"/>
                      <a:pt x="35" y="0"/>
                      <a:pt x="34" y="0"/>
                    </a:cubicBezTo>
                  </a:path>
                </a:pathLst>
              </a:custGeom>
              <a:solidFill>
                <a:srgbClr val="544D4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433" name="Freeform 105">
                <a:extLst>
                  <a:ext uri="{FF2B5EF4-FFF2-40B4-BE49-F238E27FC236}">
                    <a16:creationId xmlns:a16="http://schemas.microsoft.com/office/drawing/2014/main" id="{2FD4949C-488B-460F-A7BB-295E4D132DF2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770" y="2071"/>
                <a:ext cx="15" cy="3"/>
              </a:xfrm>
              <a:custGeom>
                <a:avLst/>
                <a:gdLst>
                  <a:gd name="T0" fmla="*/ 0 w 14"/>
                  <a:gd name="T1" fmla="*/ 0 h 3"/>
                  <a:gd name="T2" fmla="*/ 0 w 14"/>
                  <a:gd name="T3" fmla="*/ 0 h 3"/>
                  <a:gd name="T4" fmla="*/ 14 w 14"/>
                  <a:gd name="T5" fmla="*/ 3 h 3"/>
                  <a:gd name="T6" fmla="*/ 11 w 14"/>
                  <a:gd name="T7" fmla="*/ 1 h 3"/>
                  <a:gd name="T8" fmla="*/ 10 w 14"/>
                  <a:gd name="T9" fmla="*/ 1 h 3"/>
                  <a:gd name="T10" fmla="*/ 9 w 14"/>
                  <a:gd name="T11" fmla="*/ 1 h 3"/>
                  <a:gd name="T12" fmla="*/ 5 w 14"/>
                  <a:gd name="T13" fmla="*/ 1 h 3"/>
                  <a:gd name="T14" fmla="*/ 1 w 14"/>
                  <a:gd name="T15" fmla="*/ 0 h 3"/>
                  <a:gd name="T16" fmla="*/ 0 w 14"/>
                  <a:gd name="T17" fmla="*/ 0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4" h="3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3" y="2"/>
                      <a:pt x="9" y="2"/>
                      <a:pt x="14" y="3"/>
                    </a:cubicBezTo>
                    <a:cubicBezTo>
                      <a:pt x="14" y="2"/>
                      <a:pt x="13" y="1"/>
                      <a:pt x="11" y="1"/>
                    </a:cubicBezTo>
                    <a:cubicBezTo>
                      <a:pt x="11" y="1"/>
                      <a:pt x="11" y="1"/>
                      <a:pt x="10" y="1"/>
                    </a:cubicBezTo>
                    <a:cubicBezTo>
                      <a:pt x="10" y="1"/>
                      <a:pt x="9" y="1"/>
                      <a:pt x="9" y="1"/>
                    </a:cubicBezTo>
                    <a:cubicBezTo>
                      <a:pt x="8" y="1"/>
                      <a:pt x="6" y="1"/>
                      <a:pt x="5" y="1"/>
                    </a:cubicBezTo>
                    <a:cubicBezTo>
                      <a:pt x="4" y="0"/>
                      <a:pt x="2" y="0"/>
                      <a:pt x="1" y="0"/>
                    </a:cubicBezTo>
                    <a:cubicBezTo>
                      <a:pt x="1" y="0"/>
                      <a:pt x="1" y="0"/>
                      <a:pt x="0" y="0"/>
                    </a:cubicBezTo>
                  </a:path>
                </a:pathLst>
              </a:custGeom>
              <a:solidFill>
                <a:srgbClr val="544D4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434" name="Freeform 106">
                <a:extLst>
                  <a:ext uri="{FF2B5EF4-FFF2-40B4-BE49-F238E27FC236}">
                    <a16:creationId xmlns:a16="http://schemas.microsoft.com/office/drawing/2014/main" id="{CA7863BF-11B5-4AD6-BF37-D5907FBD3420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2732" y="2018"/>
                <a:ext cx="68" cy="17"/>
              </a:xfrm>
              <a:custGeom>
                <a:avLst/>
                <a:gdLst>
                  <a:gd name="T0" fmla="*/ 49 w 65"/>
                  <a:gd name="T1" fmla="*/ 5 h 16"/>
                  <a:gd name="T2" fmla="*/ 39 w 65"/>
                  <a:gd name="T3" fmla="*/ 6 h 16"/>
                  <a:gd name="T4" fmla="*/ 29 w 65"/>
                  <a:gd name="T5" fmla="*/ 6 h 16"/>
                  <a:gd name="T6" fmla="*/ 20 w 65"/>
                  <a:gd name="T7" fmla="*/ 6 h 16"/>
                  <a:gd name="T8" fmla="*/ 2 w 65"/>
                  <a:gd name="T9" fmla="*/ 8 h 16"/>
                  <a:gd name="T10" fmla="*/ 2 w 65"/>
                  <a:gd name="T11" fmla="*/ 13 h 16"/>
                  <a:gd name="T12" fmla="*/ 17 w 65"/>
                  <a:gd name="T13" fmla="*/ 16 h 16"/>
                  <a:gd name="T14" fmla="*/ 36 w 65"/>
                  <a:gd name="T15" fmla="*/ 14 h 16"/>
                  <a:gd name="T16" fmla="*/ 43 w 65"/>
                  <a:gd name="T17" fmla="*/ 13 h 16"/>
                  <a:gd name="T18" fmla="*/ 45 w 65"/>
                  <a:gd name="T19" fmla="*/ 10 h 16"/>
                  <a:gd name="T20" fmla="*/ 49 w 65"/>
                  <a:gd name="T21" fmla="*/ 5 h 16"/>
                  <a:gd name="T22" fmla="*/ 63 w 65"/>
                  <a:gd name="T23" fmla="*/ 0 h 16"/>
                  <a:gd name="T24" fmla="*/ 62 w 65"/>
                  <a:gd name="T25" fmla="*/ 0 h 16"/>
                  <a:gd name="T26" fmla="*/ 61 w 65"/>
                  <a:gd name="T27" fmla="*/ 1 h 16"/>
                  <a:gd name="T28" fmla="*/ 60 w 65"/>
                  <a:gd name="T29" fmla="*/ 3 h 16"/>
                  <a:gd name="T30" fmla="*/ 51 w 65"/>
                  <a:gd name="T31" fmla="*/ 11 h 16"/>
                  <a:gd name="T32" fmla="*/ 65 w 65"/>
                  <a:gd name="T33" fmla="*/ 3 h 16"/>
                  <a:gd name="T34" fmla="*/ 63 w 65"/>
                  <a:gd name="T35" fmla="*/ 0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65" h="16">
                    <a:moveTo>
                      <a:pt x="49" y="5"/>
                    </a:moveTo>
                    <a:cubicBezTo>
                      <a:pt x="46" y="6"/>
                      <a:pt x="42" y="6"/>
                      <a:pt x="39" y="6"/>
                    </a:cubicBezTo>
                    <a:cubicBezTo>
                      <a:pt x="36" y="6"/>
                      <a:pt x="32" y="6"/>
                      <a:pt x="29" y="6"/>
                    </a:cubicBezTo>
                    <a:cubicBezTo>
                      <a:pt x="26" y="6"/>
                      <a:pt x="23" y="6"/>
                      <a:pt x="20" y="6"/>
                    </a:cubicBezTo>
                    <a:cubicBezTo>
                      <a:pt x="13" y="6"/>
                      <a:pt x="8" y="6"/>
                      <a:pt x="2" y="8"/>
                    </a:cubicBezTo>
                    <a:cubicBezTo>
                      <a:pt x="0" y="9"/>
                      <a:pt x="0" y="13"/>
                      <a:pt x="2" y="13"/>
                    </a:cubicBezTo>
                    <a:cubicBezTo>
                      <a:pt x="7" y="16"/>
                      <a:pt x="12" y="16"/>
                      <a:pt x="17" y="16"/>
                    </a:cubicBezTo>
                    <a:cubicBezTo>
                      <a:pt x="24" y="16"/>
                      <a:pt x="30" y="15"/>
                      <a:pt x="36" y="14"/>
                    </a:cubicBezTo>
                    <a:cubicBezTo>
                      <a:pt x="38" y="14"/>
                      <a:pt x="41" y="13"/>
                      <a:pt x="43" y="13"/>
                    </a:cubicBezTo>
                    <a:cubicBezTo>
                      <a:pt x="44" y="12"/>
                      <a:pt x="44" y="11"/>
                      <a:pt x="45" y="10"/>
                    </a:cubicBezTo>
                    <a:cubicBezTo>
                      <a:pt x="46" y="9"/>
                      <a:pt x="48" y="7"/>
                      <a:pt x="49" y="5"/>
                    </a:cubicBezTo>
                    <a:moveTo>
                      <a:pt x="63" y="0"/>
                    </a:moveTo>
                    <a:cubicBezTo>
                      <a:pt x="63" y="0"/>
                      <a:pt x="63" y="0"/>
                      <a:pt x="62" y="0"/>
                    </a:cubicBezTo>
                    <a:cubicBezTo>
                      <a:pt x="62" y="1"/>
                      <a:pt x="61" y="1"/>
                      <a:pt x="61" y="1"/>
                    </a:cubicBezTo>
                    <a:cubicBezTo>
                      <a:pt x="61" y="2"/>
                      <a:pt x="61" y="2"/>
                      <a:pt x="60" y="3"/>
                    </a:cubicBezTo>
                    <a:cubicBezTo>
                      <a:pt x="56" y="4"/>
                      <a:pt x="54" y="8"/>
                      <a:pt x="51" y="11"/>
                    </a:cubicBezTo>
                    <a:cubicBezTo>
                      <a:pt x="57" y="10"/>
                      <a:pt x="61" y="7"/>
                      <a:pt x="65" y="3"/>
                    </a:cubicBezTo>
                    <a:cubicBezTo>
                      <a:pt x="65" y="2"/>
                      <a:pt x="64" y="0"/>
                      <a:pt x="63" y="0"/>
                    </a:cubicBezTo>
                  </a:path>
                </a:pathLst>
              </a:custGeom>
              <a:solidFill>
                <a:srgbClr val="544D4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435" name="Freeform 107">
                <a:extLst>
                  <a:ext uri="{FF2B5EF4-FFF2-40B4-BE49-F238E27FC236}">
                    <a16:creationId xmlns:a16="http://schemas.microsoft.com/office/drawing/2014/main" id="{60AD8AB7-2686-4A21-95A2-28A74CAF9E88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727" y="1955"/>
                <a:ext cx="22" cy="68"/>
              </a:xfrm>
              <a:custGeom>
                <a:avLst/>
                <a:gdLst>
                  <a:gd name="T0" fmla="*/ 15 w 20"/>
                  <a:gd name="T1" fmla="*/ 0 h 64"/>
                  <a:gd name="T2" fmla="*/ 5 w 20"/>
                  <a:gd name="T3" fmla="*/ 27 h 64"/>
                  <a:gd name="T4" fmla="*/ 6 w 20"/>
                  <a:gd name="T5" fmla="*/ 64 h 64"/>
                  <a:gd name="T6" fmla="*/ 7 w 20"/>
                  <a:gd name="T7" fmla="*/ 64 h 64"/>
                  <a:gd name="T8" fmla="*/ 8 w 20"/>
                  <a:gd name="T9" fmla="*/ 63 h 64"/>
                  <a:gd name="T10" fmla="*/ 12 w 20"/>
                  <a:gd name="T11" fmla="*/ 27 h 64"/>
                  <a:gd name="T12" fmla="*/ 20 w 20"/>
                  <a:gd name="T13" fmla="*/ 4 h 64"/>
                  <a:gd name="T14" fmla="*/ 15 w 20"/>
                  <a:gd name="T15" fmla="*/ 0 h 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0" h="64">
                    <a:moveTo>
                      <a:pt x="15" y="0"/>
                    </a:moveTo>
                    <a:cubicBezTo>
                      <a:pt x="9" y="8"/>
                      <a:pt x="7" y="17"/>
                      <a:pt x="5" y="27"/>
                    </a:cubicBezTo>
                    <a:cubicBezTo>
                      <a:pt x="2" y="40"/>
                      <a:pt x="0" y="51"/>
                      <a:pt x="6" y="64"/>
                    </a:cubicBezTo>
                    <a:cubicBezTo>
                      <a:pt x="6" y="64"/>
                      <a:pt x="7" y="64"/>
                      <a:pt x="7" y="64"/>
                    </a:cubicBezTo>
                    <a:cubicBezTo>
                      <a:pt x="8" y="64"/>
                      <a:pt x="8" y="64"/>
                      <a:pt x="8" y="63"/>
                    </a:cubicBezTo>
                    <a:cubicBezTo>
                      <a:pt x="4" y="51"/>
                      <a:pt x="8" y="38"/>
                      <a:pt x="12" y="27"/>
                    </a:cubicBezTo>
                    <a:cubicBezTo>
                      <a:pt x="14" y="19"/>
                      <a:pt x="15" y="11"/>
                      <a:pt x="20" y="4"/>
                    </a:cubicBezTo>
                    <a:cubicBezTo>
                      <a:pt x="18" y="3"/>
                      <a:pt x="17" y="2"/>
                      <a:pt x="15" y="0"/>
                    </a:cubicBezTo>
                  </a:path>
                </a:pathLst>
              </a:custGeom>
              <a:solidFill>
                <a:srgbClr val="544D4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436" name="Freeform 108">
                <a:extLst>
                  <a:ext uri="{FF2B5EF4-FFF2-40B4-BE49-F238E27FC236}">
                    <a16:creationId xmlns:a16="http://schemas.microsoft.com/office/drawing/2014/main" id="{C2E349A9-B5DB-4C35-A6A9-40A79B9C834F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741" y="1949"/>
                <a:ext cx="48" cy="39"/>
              </a:xfrm>
              <a:custGeom>
                <a:avLst/>
                <a:gdLst>
                  <a:gd name="T0" fmla="*/ 2 w 45"/>
                  <a:gd name="T1" fmla="*/ 0 h 37"/>
                  <a:gd name="T2" fmla="*/ 0 w 45"/>
                  <a:gd name="T3" fmla="*/ 3 h 37"/>
                  <a:gd name="T4" fmla="*/ 0 w 45"/>
                  <a:gd name="T5" fmla="*/ 3 h 37"/>
                  <a:gd name="T6" fmla="*/ 0 w 45"/>
                  <a:gd name="T7" fmla="*/ 3 h 37"/>
                  <a:gd name="T8" fmla="*/ 0 w 45"/>
                  <a:gd name="T9" fmla="*/ 4 h 37"/>
                  <a:gd name="T10" fmla="*/ 2 w 45"/>
                  <a:gd name="T11" fmla="*/ 6 h 37"/>
                  <a:gd name="T12" fmla="*/ 7 w 45"/>
                  <a:gd name="T13" fmla="*/ 10 h 37"/>
                  <a:gd name="T14" fmla="*/ 11 w 45"/>
                  <a:gd name="T15" fmla="*/ 13 h 37"/>
                  <a:gd name="T16" fmla="*/ 22 w 45"/>
                  <a:gd name="T17" fmla="*/ 23 h 37"/>
                  <a:gd name="T18" fmla="*/ 39 w 45"/>
                  <a:gd name="T19" fmla="*/ 36 h 37"/>
                  <a:gd name="T20" fmla="*/ 43 w 45"/>
                  <a:gd name="T21" fmla="*/ 37 h 37"/>
                  <a:gd name="T22" fmla="*/ 43 w 45"/>
                  <a:gd name="T23" fmla="*/ 37 h 37"/>
                  <a:gd name="T24" fmla="*/ 44 w 45"/>
                  <a:gd name="T25" fmla="*/ 35 h 37"/>
                  <a:gd name="T26" fmla="*/ 38 w 45"/>
                  <a:gd name="T27" fmla="*/ 32 h 37"/>
                  <a:gd name="T28" fmla="*/ 21 w 45"/>
                  <a:gd name="T29" fmla="*/ 13 h 37"/>
                  <a:gd name="T30" fmla="*/ 14 w 45"/>
                  <a:gd name="T31" fmla="*/ 6 h 37"/>
                  <a:gd name="T32" fmla="*/ 9 w 45"/>
                  <a:gd name="T33" fmla="*/ 2 h 37"/>
                  <a:gd name="T34" fmla="*/ 2 w 45"/>
                  <a:gd name="T35" fmla="*/ 0 h 37"/>
                  <a:gd name="T36" fmla="*/ 2 w 45"/>
                  <a:gd name="T37" fmla="*/ 0 h 37"/>
                  <a:gd name="T38" fmla="*/ 2 w 45"/>
                  <a:gd name="T39" fmla="*/ 0 h 37"/>
                  <a:gd name="T40" fmla="*/ 2 w 45"/>
                  <a:gd name="T41" fmla="*/ 0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45" h="37">
                    <a:moveTo>
                      <a:pt x="2" y="0"/>
                    </a:moveTo>
                    <a:cubicBezTo>
                      <a:pt x="0" y="0"/>
                      <a:pt x="0" y="1"/>
                      <a:pt x="0" y="3"/>
                    </a:cubicBezTo>
                    <a:cubicBezTo>
                      <a:pt x="0" y="3"/>
                      <a:pt x="0" y="3"/>
                      <a:pt x="0" y="3"/>
                    </a:cubicBezTo>
                    <a:cubicBezTo>
                      <a:pt x="0" y="3"/>
                      <a:pt x="0" y="3"/>
                      <a:pt x="0" y="3"/>
                    </a:cubicBezTo>
                    <a:cubicBezTo>
                      <a:pt x="0" y="3"/>
                      <a:pt x="0" y="4"/>
                      <a:pt x="0" y="4"/>
                    </a:cubicBezTo>
                    <a:cubicBezTo>
                      <a:pt x="1" y="5"/>
                      <a:pt x="1" y="6"/>
                      <a:pt x="2" y="6"/>
                    </a:cubicBezTo>
                    <a:cubicBezTo>
                      <a:pt x="4" y="8"/>
                      <a:pt x="5" y="9"/>
                      <a:pt x="7" y="10"/>
                    </a:cubicBezTo>
                    <a:cubicBezTo>
                      <a:pt x="9" y="11"/>
                      <a:pt x="10" y="12"/>
                      <a:pt x="11" y="13"/>
                    </a:cubicBezTo>
                    <a:cubicBezTo>
                      <a:pt x="15" y="16"/>
                      <a:pt x="18" y="20"/>
                      <a:pt x="22" y="23"/>
                    </a:cubicBezTo>
                    <a:cubicBezTo>
                      <a:pt x="27" y="28"/>
                      <a:pt x="32" y="33"/>
                      <a:pt x="39" y="36"/>
                    </a:cubicBezTo>
                    <a:cubicBezTo>
                      <a:pt x="40" y="36"/>
                      <a:pt x="42" y="37"/>
                      <a:pt x="43" y="37"/>
                    </a:cubicBezTo>
                    <a:cubicBezTo>
                      <a:pt x="43" y="37"/>
                      <a:pt x="43" y="37"/>
                      <a:pt x="43" y="37"/>
                    </a:cubicBezTo>
                    <a:cubicBezTo>
                      <a:pt x="44" y="37"/>
                      <a:pt x="45" y="35"/>
                      <a:pt x="44" y="35"/>
                    </a:cubicBezTo>
                    <a:cubicBezTo>
                      <a:pt x="42" y="34"/>
                      <a:pt x="40" y="33"/>
                      <a:pt x="38" y="32"/>
                    </a:cubicBezTo>
                    <a:cubicBezTo>
                      <a:pt x="32" y="27"/>
                      <a:pt x="26" y="19"/>
                      <a:pt x="21" y="13"/>
                    </a:cubicBezTo>
                    <a:cubicBezTo>
                      <a:pt x="19" y="11"/>
                      <a:pt x="17" y="8"/>
                      <a:pt x="14" y="6"/>
                    </a:cubicBezTo>
                    <a:cubicBezTo>
                      <a:pt x="12" y="4"/>
                      <a:pt x="11" y="3"/>
                      <a:pt x="9" y="2"/>
                    </a:cubicBezTo>
                    <a:cubicBezTo>
                      <a:pt x="7" y="1"/>
                      <a:pt x="5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544D4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437" name="Freeform 109">
                <a:extLst>
                  <a:ext uri="{FF2B5EF4-FFF2-40B4-BE49-F238E27FC236}">
                    <a16:creationId xmlns:a16="http://schemas.microsoft.com/office/drawing/2014/main" id="{49CB8FF3-2479-43E8-B878-C39457255BA5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708" y="1952"/>
                <a:ext cx="33" cy="82"/>
              </a:xfrm>
              <a:custGeom>
                <a:avLst/>
                <a:gdLst>
                  <a:gd name="T0" fmla="*/ 30 w 31"/>
                  <a:gd name="T1" fmla="*/ 0 h 77"/>
                  <a:gd name="T2" fmla="*/ 30 w 31"/>
                  <a:gd name="T3" fmla="*/ 0 h 77"/>
                  <a:gd name="T4" fmla="*/ 1 w 31"/>
                  <a:gd name="T5" fmla="*/ 41 h 77"/>
                  <a:gd name="T6" fmla="*/ 3 w 31"/>
                  <a:gd name="T7" fmla="*/ 45 h 77"/>
                  <a:gd name="T8" fmla="*/ 6 w 31"/>
                  <a:gd name="T9" fmla="*/ 48 h 77"/>
                  <a:gd name="T10" fmla="*/ 7 w 31"/>
                  <a:gd name="T11" fmla="*/ 47 h 77"/>
                  <a:gd name="T12" fmla="*/ 8 w 31"/>
                  <a:gd name="T13" fmla="*/ 49 h 77"/>
                  <a:gd name="T14" fmla="*/ 8 w 31"/>
                  <a:gd name="T15" fmla="*/ 58 h 77"/>
                  <a:gd name="T16" fmla="*/ 9 w 31"/>
                  <a:gd name="T17" fmla="*/ 59 h 77"/>
                  <a:gd name="T18" fmla="*/ 16 w 31"/>
                  <a:gd name="T19" fmla="*/ 75 h 77"/>
                  <a:gd name="T20" fmla="*/ 18 w 31"/>
                  <a:gd name="T21" fmla="*/ 77 h 77"/>
                  <a:gd name="T22" fmla="*/ 19 w 31"/>
                  <a:gd name="T23" fmla="*/ 77 h 77"/>
                  <a:gd name="T24" fmla="*/ 22 w 31"/>
                  <a:gd name="T25" fmla="*/ 73 h 77"/>
                  <a:gd name="T26" fmla="*/ 16 w 31"/>
                  <a:gd name="T27" fmla="*/ 60 h 77"/>
                  <a:gd name="T28" fmla="*/ 9 w 31"/>
                  <a:gd name="T29" fmla="*/ 43 h 77"/>
                  <a:gd name="T30" fmla="*/ 22 w 31"/>
                  <a:gd name="T31" fmla="*/ 12 h 77"/>
                  <a:gd name="T32" fmla="*/ 22 w 31"/>
                  <a:gd name="T33" fmla="*/ 12 h 77"/>
                  <a:gd name="T34" fmla="*/ 31 w 31"/>
                  <a:gd name="T35" fmla="*/ 2 h 77"/>
                  <a:gd name="T36" fmla="*/ 31 w 31"/>
                  <a:gd name="T37" fmla="*/ 1 h 77"/>
                  <a:gd name="T38" fmla="*/ 31 w 31"/>
                  <a:gd name="T39" fmla="*/ 0 h 77"/>
                  <a:gd name="T40" fmla="*/ 30 w 31"/>
                  <a:gd name="T41" fmla="*/ 0 h 77"/>
                  <a:gd name="T42" fmla="*/ 30 w 31"/>
                  <a:gd name="T43" fmla="*/ 0 h 77"/>
                  <a:gd name="T44" fmla="*/ 30 w 31"/>
                  <a:gd name="T45" fmla="*/ 0 h 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31" h="77">
                    <a:moveTo>
                      <a:pt x="30" y="0"/>
                    </a:moveTo>
                    <a:cubicBezTo>
                      <a:pt x="30" y="0"/>
                      <a:pt x="30" y="0"/>
                      <a:pt x="30" y="0"/>
                    </a:cubicBezTo>
                    <a:cubicBezTo>
                      <a:pt x="15" y="9"/>
                      <a:pt x="5" y="25"/>
                      <a:pt x="1" y="41"/>
                    </a:cubicBezTo>
                    <a:cubicBezTo>
                      <a:pt x="0" y="43"/>
                      <a:pt x="1" y="44"/>
                      <a:pt x="3" y="45"/>
                    </a:cubicBezTo>
                    <a:cubicBezTo>
                      <a:pt x="4" y="45"/>
                      <a:pt x="5" y="46"/>
                      <a:pt x="6" y="48"/>
                    </a:cubicBezTo>
                    <a:cubicBezTo>
                      <a:pt x="6" y="47"/>
                      <a:pt x="6" y="47"/>
                      <a:pt x="7" y="47"/>
                    </a:cubicBezTo>
                    <a:cubicBezTo>
                      <a:pt x="7" y="47"/>
                      <a:pt x="8" y="48"/>
                      <a:pt x="8" y="49"/>
                    </a:cubicBezTo>
                    <a:cubicBezTo>
                      <a:pt x="8" y="52"/>
                      <a:pt x="8" y="55"/>
                      <a:pt x="8" y="58"/>
                    </a:cubicBezTo>
                    <a:cubicBezTo>
                      <a:pt x="8" y="59"/>
                      <a:pt x="9" y="59"/>
                      <a:pt x="9" y="59"/>
                    </a:cubicBezTo>
                    <a:cubicBezTo>
                      <a:pt x="11" y="65"/>
                      <a:pt x="14" y="69"/>
                      <a:pt x="16" y="75"/>
                    </a:cubicBezTo>
                    <a:cubicBezTo>
                      <a:pt x="16" y="76"/>
                      <a:pt x="17" y="77"/>
                      <a:pt x="18" y="77"/>
                    </a:cubicBezTo>
                    <a:cubicBezTo>
                      <a:pt x="19" y="77"/>
                      <a:pt x="19" y="77"/>
                      <a:pt x="19" y="77"/>
                    </a:cubicBezTo>
                    <a:cubicBezTo>
                      <a:pt x="21" y="77"/>
                      <a:pt x="23" y="75"/>
                      <a:pt x="22" y="73"/>
                    </a:cubicBezTo>
                    <a:cubicBezTo>
                      <a:pt x="21" y="68"/>
                      <a:pt x="18" y="64"/>
                      <a:pt x="16" y="60"/>
                    </a:cubicBezTo>
                    <a:cubicBezTo>
                      <a:pt x="12" y="54"/>
                      <a:pt x="9" y="49"/>
                      <a:pt x="9" y="43"/>
                    </a:cubicBezTo>
                    <a:cubicBezTo>
                      <a:pt x="8" y="34"/>
                      <a:pt x="15" y="21"/>
                      <a:pt x="22" y="12"/>
                    </a:cubicBezTo>
                    <a:cubicBezTo>
                      <a:pt x="22" y="12"/>
                      <a:pt x="22" y="12"/>
                      <a:pt x="22" y="12"/>
                    </a:cubicBezTo>
                    <a:cubicBezTo>
                      <a:pt x="25" y="7"/>
                      <a:pt x="29" y="4"/>
                      <a:pt x="31" y="2"/>
                    </a:cubicBezTo>
                    <a:cubicBezTo>
                      <a:pt x="31" y="2"/>
                      <a:pt x="31" y="2"/>
                      <a:pt x="31" y="1"/>
                    </a:cubicBezTo>
                    <a:cubicBezTo>
                      <a:pt x="31" y="1"/>
                      <a:pt x="31" y="0"/>
                      <a:pt x="31" y="0"/>
                    </a:cubicBezTo>
                    <a:cubicBezTo>
                      <a:pt x="31" y="0"/>
                      <a:pt x="31" y="0"/>
                      <a:pt x="30" y="0"/>
                    </a:cubicBezTo>
                    <a:cubicBezTo>
                      <a:pt x="30" y="0"/>
                      <a:pt x="30" y="0"/>
                      <a:pt x="30" y="0"/>
                    </a:cubicBezTo>
                    <a:cubicBezTo>
                      <a:pt x="30" y="0"/>
                      <a:pt x="30" y="0"/>
                      <a:pt x="30" y="0"/>
                    </a:cubicBezTo>
                  </a:path>
                </a:pathLst>
              </a:custGeom>
              <a:solidFill>
                <a:srgbClr val="544D4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438" name="Freeform 110">
                <a:extLst>
                  <a:ext uri="{FF2B5EF4-FFF2-40B4-BE49-F238E27FC236}">
                    <a16:creationId xmlns:a16="http://schemas.microsoft.com/office/drawing/2014/main" id="{A3C725AE-2132-4250-B349-F0EDEE664A7D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850" y="1964"/>
                <a:ext cx="26" cy="34"/>
              </a:xfrm>
              <a:custGeom>
                <a:avLst/>
                <a:gdLst>
                  <a:gd name="T0" fmla="*/ 4 w 24"/>
                  <a:gd name="T1" fmla="*/ 0 h 32"/>
                  <a:gd name="T2" fmla="*/ 2 w 24"/>
                  <a:gd name="T3" fmla="*/ 4 h 32"/>
                  <a:gd name="T4" fmla="*/ 4 w 24"/>
                  <a:gd name="T5" fmla="*/ 6 h 32"/>
                  <a:gd name="T6" fmla="*/ 13 w 24"/>
                  <a:gd name="T7" fmla="*/ 18 h 32"/>
                  <a:gd name="T8" fmla="*/ 16 w 24"/>
                  <a:gd name="T9" fmla="*/ 22 h 32"/>
                  <a:gd name="T10" fmla="*/ 16 w 24"/>
                  <a:gd name="T11" fmla="*/ 22 h 32"/>
                  <a:gd name="T12" fmla="*/ 17 w 24"/>
                  <a:gd name="T13" fmla="*/ 24 h 32"/>
                  <a:gd name="T14" fmla="*/ 18 w 24"/>
                  <a:gd name="T15" fmla="*/ 29 h 32"/>
                  <a:gd name="T16" fmla="*/ 18 w 24"/>
                  <a:gd name="T17" fmla="*/ 31 h 32"/>
                  <a:gd name="T18" fmla="*/ 20 w 24"/>
                  <a:gd name="T19" fmla="*/ 32 h 32"/>
                  <a:gd name="T20" fmla="*/ 22 w 24"/>
                  <a:gd name="T21" fmla="*/ 31 h 32"/>
                  <a:gd name="T22" fmla="*/ 22 w 24"/>
                  <a:gd name="T23" fmla="*/ 30 h 32"/>
                  <a:gd name="T24" fmla="*/ 24 w 24"/>
                  <a:gd name="T25" fmla="*/ 25 h 32"/>
                  <a:gd name="T26" fmla="*/ 23 w 24"/>
                  <a:gd name="T27" fmla="*/ 23 h 32"/>
                  <a:gd name="T28" fmla="*/ 23 w 24"/>
                  <a:gd name="T29" fmla="*/ 23 h 32"/>
                  <a:gd name="T30" fmla="*/ 20 w 24"/>
                  <a:gd name="T31" fmla="*/ 17 h 32"/>
                  <a:gd name="T32" fmla="*/ 7 w 24"/>
                  <a:gd name="T33" fmla="*/ 1 h 32"/>
                  <a:gd name="T34" fmla="*/ 6 w 24"/>
                  <a:gd name="T35" fmla="*/ 1 h 32"/>
                  <a:gd name="T36" fmla="*/ 4 w 24"/>
                  <a:gd name="T37" fmla="*/ 0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24" h="32">
                    <a:moveTo>
                      <a:pt x="4" y="0"/>
                    </a:moveTo>
                    <a:cubicBezTo>
                      <a:pt x="2" y="0"/>
                      <a:pt x="0" y="2"/>
                      <a:pt x="2" y="4"/>
                    </a:cubicBezTo>
                    <a:cubicBezTo>
                      <a:pt x="3" y="5"/>
                      <a:pt x="3" y="6"/>
                      <a:pt x="4" y="6"/>
                    </a:cubicBezTo>
                    <a:cubicBezTo>
                      <a:pt x="7" y="10"/>
                      <a:pt x="10" y="14"/>
                      <a:pt x="13" y="18"/>
                    </a:cubicBezTo>
                    <a:cubicBezTo>
                      <a:pt x="14" y="19"/>
                      <a:pt x="15" y="21"/>
                      <a:pt x="16" y="22"/>
                    </a:cubicBezTo>
                    <a:cubicBezTo>
                      <a:pt x="16" y="22"/>
                      <a:pt x="16" y="22"/>
                      <a:pt x="16" y="22"/>
                    </a:cubicBezTo>
                    <a:cubicBezTo>
                      <a:pt x="16" y="23"/>
                      <a:pt x="17" y="24"/>
                      <a:pt x="17" y="24"/>
                    </a:cubicBezTo>
                    <a:cubicBezTo>
                      <a:pt x="18" y="26"/>
                      <a:pt x="18" y="27"/>
                      <a:pt x="18" y="29"/>
                    </a:cubicBezTo>
                    <a:cubicBezTo>
                      <a:pt x="18" y="29"/>
                      <a:pt x="18" y="30"/>
                      <a:pt x="18" y="31"/>
                    </a:cubicBezTo>
                    <a:cubicBezTo>
                      <a:pt x="19" y="31"/>
                      <a:pt x="19" y="32"/>
                      <a:pt x="20" y="32"/>
                    </a:cubicBezTo>
                    <a:cubicBezTo>
                      <a:pt x="21" y="32"/>
                      <a:pt x="21" y="32"/>
                      <a:pt x="22" y="31"/>
                    </a:cubicBezTo>
                    <a:cubicBezTo>
                      <a:pt x="22" y="31"/>
                      <a:pt x="22" y="30"/>
                      <a:pt x="22" y="30"/>
                    </a:cubicBezTo>
                    <a:cubicBezTo>
                      <a:pt x="23" y="29"/>
                      <a:pt x="24" y="27"/>
                      <a:pt x="24" y="25"/>
                    </a:cubicBezTo>
                    <a:cubicBezTo>
                      <a:pt x="24" y="25"/>
                      <a:pt x="24" y="24"/>
                      <a:pt x="23" y="23"/>
                    </a:cubicBezTo>
                    <a:cubicBezTo>
                      <a:pt x="23" y="23"/>
                      <a:pt x="23" y="23"/>
                      <a:pt x="23" y="23"/>
                    </a:cubicBezTo>
                    <a:cubicBezTo>
                      <a:pt x="22" y="21"/>
                      <a:pt x="21" y="18"/>
                      <a:pt x="20" y="17"/>
                    </a:cubicBezTo>
                    <a:cubicBezTo>
                      <a:pt x="16" y="11"/>
                      <a:pt x="12" y="6"/>
                      <a:pt x="7" y="1"/>
                    </a:cubicBezTo>
                    <a:cubicBezTo>
                      <a:pt x="6" y="1"/>
                      <a:pt x="6" y="1"/>
                      <a:pt x="6" y="1"/>
                    </a:cubicBezTo>
                    <a:cubicBezTo>
                      <a:pt x="6" y="0"/>
                      <a:pt x="5" y="0"/>
                      <a:pt x="4" y="0"/>
                    </a:cubicBezTo>
                  </a:path>
                </a:pathLst>
              </a:custGeom>
              <a:solidFill>
                <a:srgbClr val="544D4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439" name="Freeform 111">
                <a:extLst>
                  <a:ext uri="{FF2B5EF4-FFF2-40B4-BE49-F238E27FC236}">
                    <a16:creationId xmlns:a16="http://schemas.microsoft.com/office/drawing/2014/main" id="{8BF04A3D-65DD-4170-BDDB-9998E94A00A0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713" y="2002"/>
                <a:ext cx="174" cy="120"/>
              </a:xfrm>
              <a:custGeom>
                <a:avLst/>
                <a:gdLst>
                  <a:gd name="T0" fmla="*/ 3 w 165"/>
                  <a:gd name="T1" fmla="*/ 0 h 114"/>
                  <a:gd name="T2" fmla="*/ 2 w 165"/>
                  <a:gd name="T3" fmla="*/ 1 h 114"/>
                  <a:gd name="T4" fmla="*/ 1 w 165"/>
                  <a:gd name="T5" fmla="*/ 2 h 114"/>
                  <a:gd name="T6" fmla="*/ 76 w 165"/>
                  <a:gd name="T7" fmla="*/ 113 h 114"/>
                  <a:gd name="T8" fmla="*/ 89 w 165"/>
                  <a:gd name="T9" fmla="*/ 114 h 114"/>
                  <a:gd name="T10" fmla="*/ 131 w 165"/>
                  <a:gd name="T11" fmla="*/ 104 h 114"/>
                  <a:gd name="T12" fmla="*/ 162 w 165"/>
                  <a:gd name="T13" fmla="*/ 74 h 114"/>
                  <a:gd name="T14" fmla="*/ 162 w 165"/>
                  <a:gd name="T15" fmla="*/ 74 h 114"/>
                  <a:gd name="T16" fmla="*/ 164 w 165"/>
                  <a:gd name="T17" fmla="*/ 51 h 114"/>
                  <a:gd name="T18" fmla="*/ 164 w 165"/>
                  <a:gd name="T19" fmla="*/ 50 h 114"/>
                  <a:gd name="T20" fmla="*/ 164 w 165"/>
                  <a:gd name="T21" fmla="*/ 46 h 114"/>
                  <a:gd name="T22" fmla="*/ 164 w 165"/>
                  <a:gd name="T23" fmla="*/ 44 h 114"/>
                  <a:gd name="T24" fmla="*/ 164 w 165"/>
                  <a:gd name="T25" fmla="*/ 43 h 114"/>
                  <a:gd name="T26" fmla="*/ 164 w 165"/>
                  <a:gd name="T27" fmla="*/ 43 h 114"/>
                  <a:gd name="T28" fmla="*/ 163 w 165"/>
                  <a:gd name="T29" fmla="*/ 43 h 114"/>
                  <a:gd name="T30" fmla="*/ 163 w 165"/>
                  <a:gd name="T31" fmla="*/ 45 h 114"/>
                  <a:gd name="T32" fmla="*/ 163 w 165"/>
                  <a:gd name="T33" fmla="*/ 45 h 114"/>
                  <a:gd name="T34" fmla="*/ 161 w 165"/>
                  <a:gd name="T35" fmla="*/ 54 h 114"/>
                  <a:gd name="T36" fmla="*/ 137 w 165"/>
                  <a:gd name="T37" fmla="*/ 93 h 114"/>
                  <a:gd name="T38" fmla="*/ 123 w 165"/>
                  <a:gd name="T39" fmla="*/ 101 h 114"/>
                  <a:gd name="T40" fmla="*/ 94 w 165"/>
                  <a:gd name="T41" fmla="*/ 106 h 114"/>
                  <a:gd name="T42" fmla="*/ 59 w 165"/>
                  <a:gd name="T43" fmla="*/ 98 h 114"/>
                  <a:gd name="T44" fmla="*/ 4 w 165"/>
                  <a:gd name="T45" fmla="*/ 11 h 114"/>
                  <a:gd name="T46" fmla="*/ 4 w 165"/>
                  <a:gd name="T47" fmla="*/ 2 h 114"/>
                  <a:gd name="T48" fmla="*/ 3 w 165"/>
                  <a:gd name="T49" fmla="*/ 0 h 1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165" h="114">
                    <a:moveTo>
                      <a:pt x="3" y="0"/>
                    </a:moveTo>
                    <a:cubicBezTo>
                      <a:pt x="2" y="0"/>
                      <a:pt x="2" y="0"/>
                      <a:pt x="2" y="1"/>
                    </a:cubicBezTo>
                    <a:cubicBezTo>
                      <a:pt x="1" y="1"/>
                      <a:pt x="1" y="1"/>
                      <a:pt x="1" y="2"/>
                    </a:cubicBezTo>
                    <a:cubicBezTo>
                      <a:pt x="0" y="50"/>
                      <a:pt x="23" y="104"/>
                      <a:pt x="76" y="113"/>
                    </a:cubicBezTo>
                    <a:cubicBezTo>
                      <a:pt x="80" y="114"/>
                      <a:pt x="85" y="114"/>
                      <a:pt x="89" y="114"/>
                    </a:cubicBezTo>
                    <a:cubicBezTo>
                      <a:pt x="104" y="114"/>
                      <a:pt x="119" y="110"/>
                      <a:pt x="131" y="104"/>
                    </a:cubicBezTo>
                    <a:cubicBezTo>
                      <a:pt x="144" y="98"/>
                      <a:pt x="157" y="88"/>
                      <a:pt x="162" y="74"/>
                    </a:cubicBezTo>
                    <a:cubicBezTo>
                      <a:pt x="162" y="74"/>
                      <a:pt x="162" y="74"/>
                      <a:pt x="162" y="74"/>
                    </a:cubicBezTo>
                    <a:cubicBezTo>
                      <a:pt x="165" y="66"/>
                      <a:pt x="165" y="59"/>
                      <a:pt x="164" y="51"/>
                    </a:cubicBezTo>
                    <a:cubicBezTo>
                      <a:pt x="164" y="51"/>
                      <a:pt x="164" y="50"/>
                      <a:pt x="164" y="50"/>
                    </a:cubicBezTo>
                    <a:cubicBezTo>
                      <a:pt x="164" y="49"/>
                      <a:pt x="164" y="47"/>
                      <a:pt x="164" y="46"/>
                    </a:cubicBezTo>
                    <a:cubicBezTo>
                      <a:pt x="164" y="45"/>
                      <a:pt x="164" y="44"/>
                      <a:pt x="164" y="44"/>
                    </a:cubicBezTo>
                    <a:cubicBezTo>
                      <a:pt x="164" y="43"/>
                      <a:pt x="164" y="43"/>
                      <a:pt x="164" y="43"/>
                    </a:cubicBezTo>
                    <a:cubicBezTo>
                      <a:pt x="164" y="43"/>
                      <a:pt x="164" y="43"/>
                      <a:pt x="164" y="43"/>
                    </a:cubicBezTo>
                    <a:cubicBezTo>
                      <a:pt x="163" y="43"/>
                      <a:pt x="163" y="43"/>
                      <a:pt x="163" y="43"/>
                    </a:cubicBezTo>
                    <a:cubicBezTo>
                      <a:pt x="163" y="44"/>
                      <a:pt x="163" y="45"/>
                      <a:pt x="163" y="45"/>
                    </a:cubicBezTo>
                    <a:cubicBezTo>
                      <a:pt x="163" y="45"/>
                      <a:pt x="163" y="45"/>
                      <a:pt x="163" y="45"/>
                    </a:cubicBezTo>
                    <a:cubicBezTo>
                      <a:pt x="162" y="48"/>
                      <a:pt x="161" y="51"/>
                      <a:pt x="161" y="54"/>
                    </a:cubicBezTo>
                    <a:cubicBezTo>
                      <a:pt x="156" y="70"/>
                      <a:pt x="150" y="84"/>
                      <a:pt x="137" y="93"/>
                    </a:cubicBezTo>
                    <a:cubicBezTo>
                      <a:pt x="133" y="96"/>
                      <a:pt x="128" y="99"/>
                      <a:pt x="123" y="101"/>
                    </a:cubicBezTo>
                    <a:cubicBezTo>
                      <a:pt x="114" y="104"/>
                      <a:pt x="104" y="106"/>
                      <a:pt x="94" y="106"/>
                    </a:cubicBezTo>
                    <a:cubicBezTo>
                      <a:pt x="82" y="106"/>
                      <a:pt x="70" y="103"/>
                      <a:pt x="59" y="98"/>
                    </a:cubicBezTo>
                    <a:cubicBezTo>
                      <a:pt x="25" y="82"/>
                      <a:pt x="6" y="48"/>
                      <a:pt x="4" y="11"/>
                    </a:cubicBezTo>
                    <a:cubicBezTo>
                      <a:pt x="4" y="8"/>
                      <a:pt x="4" y="5"/>
                      <a:pt x="4" y="2"/>
                    </a:cubicBezTo>
                    <a:cubicBezTo>
                      <a:pt x="4" y="1"/>
                      <a:pt x="3" y="0"/>
                      <a:pt x="3" y="0"/>
                    </a:cubicBezTo>
                  </a:path>
                </a:pathLst>
              </a:custGeom>
              <a:solidFill>
                <a:srgbClr val="544D4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440" name="Freeform 112">
                <a:extLst>
                  <a:ext uri="{FF2B5EF4-FFF2-40B4-BE49-F238E27FC236}">
                    <a16:creationId xmlns:a16="http://schemas.microsoft.com/office/drawing/2014/main" id="{AFB52BE7-0BAB-4F65-8376-8D6E424F4B8F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746" y="2017"/>
                <a:ext cx="50" cy="64"/>
              </a:xfrm>
              <a:custGeom>
                <a:avLst/>
                <a:gdLst>
                  <a:gd name="T0" fmla="*/ 45 w 47"/>
                  <a:gd name="T1" fmla="*/ 0 h 61"/>
                  <a:gd name="T2" fmla="*/ 44 w 47"/>
                  <a:gd name="T3" fmla="*/ 0 h 61"/>
                  <a:gd name="T4" fmla="*/ 35 w 47"/>
                  <a:gd name="T5" fmla="*/ 6 h 61"/>
                  <a:gd name="T6" fmla="*/ 31 w 47"/>
                  <a:gd name="T7" fmla="*/ 11 h 61"/>
                  <a:gd name="T8" fmla="*/ 29 w 47"/>
                  <a:gd name="T9" fmla="*/ 14 h 61"/>
                  <a:gd name="T10" fmla="*/ 10 w 47"/>
                  <a:gd name="T11" fmla="*/ 40 h 61"/>
                  <a:gd name="T12" fmla="*/ 36 w 47"/>
                  <a:gd name="T13" fmla="*/ 61 h 61"/>
                  <a:gd name="T14" fmla="*/ 39 w 47"/>
                  <a:gd name="T15" fmla="*/ 61 h 61"/>
                  <a:gd name="T16" fmla="*/ 39 w 47"/>
                  <a:gd name="T17" fmla="*/ 61 h 61"/>
                  <a:gd name="T18" fmla="*/ 41 w 47"/>
                  <a:gd name="T19" fmla="*/ 61 h 61"/>
                  <a:gd name="T20" fmla="*/ 40 w 47"/>
                  <a:gd name="T21" fmla="*/ 55 h 61"/>
                  <a:gd name="T22" fmla="*/ 37 w 47"/>
                  <a:gd name="T23" fmla="*/ 54 h 61"/>
                  <a:gd name="T24" fmla="*/ 36 w 47"/>
                  <a:gd name="T25" fmla="*/ 54 h 61"/>
                  <a:gd name="T26" fmla="*/ 22 w 47"/>
                  <a:gd name="T27" fmla="*/ 51 h 61"/>
                  <a:gd name="T28" fmla="*/ 21 w 47"/>
                  <a:gd name="T29" fmla="*/ 51 h 61"/>
                  <a:gd name="T30" fmla="*/ 20 w 47"/>
                  <a:gd name="T31" fmla="*/ 50 h 61"/>
                  <a:gd name="T32" fmla="*/ 16 w 47"/>
                  <a:gd name="T33" fmla="*/ 44 h 61"/>
                  <a:gd name="T34" fmla="*/ 15 w 47"/>
                  <a:gd name="T35" fmla="*/ 44 h 61"/>
                  <a:gd name="T36" fmla="*/ 17 w 47"/>
                  <a:gd name="T37" fmla="*/ 41 h 61"/>
                  <a:gd name="T38" fmla="*/ 22 w 47"/>
                  <a:gd name="T39" fmla="*/ 33 h 61"/>
                  <a:gd name="T40" fmla="*/ 34 w 47"/>
                  <a:gd name="T41" fmla="*/ 16 h 61"/>
                  <a:gd name="T42" fmla="*/ 37 w 47"/>
                  <a:gd name="T43" fmla="*/ 12 h 61"/>
                  <a:gd name="T44" fmla="*/ 46 w 47"/>
                  <a:gd name="T45" fmla="*/ 4 h 61"/>
                  <a:gd name="T46" fmla="*/ 47 w 47"/>
                  <a:gd name="T47" fmla="*/ 2 h 61"/>
                  <a:gd name="T48" fmla="*/ 45 w 47"/>
                  <a:gd name="T49" fmla="*/ 0 h 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47" h="61">
                    <a:moveTo>
                      <a:pt x="45" y="0"/>
                    </a:moveTo>
                    <a:cubicBezTo>
                      <a:pt x="45" y="0"/>
                      <a:pt x="45" y="0"/>
                      <a:pt x="44" y="0"/>
                    </a:cubicBezTo>
                    <a:cubicBezTo>
                      <a:pt x="41" y="1"/>
                      <a:pt x="38" y="4"/>
                      <a:pt x="35" y="6"/>
                    </a:cubicBezTo>
                    <a:cubicBezTo>
                      <a:pt x="34" y="8"/>
                      <a:pt x="32" y="10"/>
                      <a:pt x="31" y="11"/>
                    </a:cubicBezTo>
                    <a:cubicBezTo>
                      <a:pt x="30" y="12"/>
                      <a:pt x="30" y="13"/>
                      <a:pt x="29" y="14"/>
                    </a:cubicBezTo>
                    <a:cubicBezTo>
                      <a:pt x="22" y="23"/>
                      <a:pt x="16" y="31"/>
                      <a:pt x="10" y="40"/>
                    </a:cubicBezTo>
                    <a:cubicBezTo>
                      <a:pt x="0" y="55"/>
                      <a:pt x="23" y="59"/>
                      <a:pt x="36" y="61"/>
                    </a:cubicBezTo>
                    <a:cubicBezTo>
                      <a:pt x="37" y="61"/>
                      <a:pt x="38" y="61"/>
                      <a:pt x="39" y="61"/>
                    </a:cubicBezTo>
                    <a:cubicBezTo>
                      <a:pt x="39" y="61"/>
                      <a:pt x="39" y="61"/>
                      <a:pt x="39" y="61"/>
                    </a:cubicBezTo>
                    <a:cubicBezTo>
                      <a:pt x="40" y="61"/>
                      <a:pt x="41" y="61"/>
                      <a:pt x="41" y="61"/>
                    </a:cubicBezTo>
                    <a:cubicBezTo>
                      <a:pt x="43" y="59"/>
                      <a:pt x="43" y="56"/>
                      <a:pt x="40" y="55"/>
                    </a:cubicBezTo>
                    <a:cubicBezTo>
                      <a:pt x="39" y="55"/>
                      <a:pt x="38" y="54"/>
                      <a:pt x="37" y="54"/>
                    </a:cubicBezTo>
                    <a:cubicBezTo>
                      <a:pt x="37" y="54"/>
                      <a:pt x="36" y="54"/>
                      <a:pt x="36" y="54"/>
                    </a:cubicBezTo>
                    <a:cubicBezTo>
                      <a:pt x="31" y="53"/>
                      <a:pt x="25" y="53"/>
                      <a:pt x="22" y="51"/>
                    </a:cubicBezTo>
                    <a:cubicBezTo>
                      <a:pt x="21" y="51"/>
                      <a:pt x="21" y="51"/>
                      <a:pt x="21" y="51"/>
                    </a:cubicBezTo>
                    <a:cubicBezTo>
                      <a:pt x="21" y="50"/>
                      <a:pt x="20" y="50"/>
                      <a:pt x="20" y="50"/>
                    </a:cubicBezTo>
                    <a:cubicBezTo>
                      <a:pt x="19" y="48"/>
                      <a:pt x="17" y="46"/>
                      <a:pt x="16" y="44"/>
                    </a:cubicBezTo>
                    <a:cubicBezTo>
                      <a:pt x="15" y="44"/>
                      <a:pt x="15" y="44"/>
                      <a:pt x="15" y="44"/>
                    </a:cubicBezTo>
                    <a:cubicBezTo>
                      <a:pt x="16" y="43"/>
                      <a:pt x="17" y="42"/>
                      <a:pt x="17" y="41"/>
                    </a:cubicBezTo>
                    <a:cubicBezTo>
                      <a:pt x="18" y="39"/>
                      <a:pt x="20" y="35"/>
                      <a:pt x="22" y="33"/>
                    </a:cubicBezTo>
                    <a:cubicBezTo>
                      <a:pt x="26" y="27"/>
                      <a:pt x="30" y="22"/>
                      <a:pt x="34" y="16"/>
                    </a:cubicBezTo>
                    <a:cubicBezTo>
                      <a:pt x="35" y="15"/>
                      <a:pt x="36" y="14"/>
                      <a:pt x="37" y="12"/>
                    </a:cubicBezTo>
                    <a:cubicBezTo>
                      <a:pt x="40" y="9"/>
                      <a:pt x="42" y="5"/>
                      <a:pt x="46" y="4"/>
                    </a:cubicBezTo>
                    <a:cubicBezTo>
                      <a:pt x="47" y="3"/>
                      <a:pt x="47" y="3"/>
                      <a:pt x="47" y="2"/>
                    </a:cubicBezTo>
                    <a:cubicBezTo>
                      <a:pt x="47" y="1"/>
                      <a:pt x="46" y="0"/>
                      <a:pt x="45" y="0"/>
                    </a:cubicBezTo>
                  </a:path>
                </a:pathLst>
              </a:custGeom>
              <a:solidFill>
                <a:srgbClr val="544D4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441" name="Freeform 113">
                <a:extLst>
                  <a:ext uri="{FF2B5EF4-FFF2-40B4-BE49-F238E27FC236}">
                    <a16:creationId xmlns:a16="http://schemas.microsoft.com/office/drawing/2014/main" id="{88F2C37D-B656-4FBE-B19E-5E6B52411042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2125" y="1787"/>
                <a:ext cx="91" cy="79"/>
              </a:xfrm>
              <a:custGeom>
                <a:avLst/>
                <a:gdLst>
                  <a:gd name="T0" fmla="*/ 17 w 85"/>
                  <a:gd name="T1" fmla="*/ 21 h 75"/>
                  <a:gd name="T2" fmla="*/ 48 w 85"/>
                  <a:gd name="T3" fmla="*/ 7 h 75"/>
                  <a:gd name="T4" fmla="*/ 51 w 85"/>
                  <a:gd name="T5" fmla="*/ 3 h 75"/>
                  <a:gd name="T6" fmla="*/ 75 w 85"/>
                  <a:gd name="T7" fmla="*/ 20 h 75"/>
                  <a:gd name="T8" fmla="*/ 76 w 85"/>
                  <a:gd name="T9" fmla="*/ 44 h 75"/>
                  <a:gd name="T10" fmla="*/ 64 w 85"/>
                  <a:gd name="T11" fmla="*/ 62 h 75"/>
                  <a:gd name="T12" fmla="*/ 46 w 85"/>
                  <a:gd name="T13" fmla="*/ 67 h 75"/>
                  <a:gd name="T14" fmla="*/ 37 w 85"/>
                  <a:gd name="T15" fmla="*/ 66 h 75"/>
                  <a:gd name="T16" fmla="*/ 12 w 85"/>
                  <a:gd name="T17" fmla="*/ 35 h 75"/>
                  <a:gd name="T18" fmla="*/ 17 w 85"/>
                  <a:gd name="T19" fmla="*/ 21 h 75"/>
                  <a:gd name="T20" fmla="*/ 41 w 85"/>
                  <a:gd name="T21" fmla="*/ 0 h 75"/>
                  <a:gd name="T22" fmla="*/ 33 w 85"/>
                  <a:gd name="T23" fmla="*/ 1 h 75"/>
                  <a:gd name="T24" fmla="*/ 33 w 85"/>
                  <a:gd name="T25" fmla="*/ 1 h 75"/>
                  <a:gd name="T26" fmla="*/ 15 w 85"/>
                  <a:gd name="T27" fmla="*/ 12 h 75"/>
                  <a:gd name="T28" fmla="*/ 15 w 85"/>
                  <a:gd name="T29" fmla="*/ 12 h 75"/>
                  <a:gd name="T30" fmla="*/ 10 w 85"/>
                  <a:gd name="T31" fmla="*/ 19 h 75"/>
                  <a:gd name="T32" fmla="*/ 11 w 85"/>
                  <a:gd name="T33" fmla="*/ 19 h 75"/>
                  <a:gd name="T34" fmla="*/ 11 w 85"/>
                  <a:gd name="T35" fmla="*/ 19 h 75"/>
                  <a:gd name="T36" fmla="*/ 12 w 85"/>
                  <a:gd name="T37" fmla="*/ 21 h 75"/>
                  <a:gd name="T38" fmla="*/ 8 w 85"/>
                  <a:gd name="T39" fmla="*/ 22 h 75"/>
                  <a:gd name="T40" fmla="*/ 4 w 85"/>
                  <a:gd name="T41" fmla="*/ 34 h 75"/>
                  <a:gd name="T42" fmla="*/ 38 w 85"/>
                  <a:gd name="T43" fmla="*/ 74 h 75"/>
                  <a:gd name="T44" fmla="*/ 46 w 85"/>
                  <a:gd name="T45" fmla="*/ 75 h 75"/>
                  <a:gd name="T46" fmla="*/ 81 w 85"/>
                  <a:gd name="T47" fmla="*/ 50 h 75"/>
                  <a:gd name="T48" fmla="*/ 81 w 85"/>
                  <a:gd name="T49" fmla="*/ 50 h 75"/>
                  <a:gd name="T50" fmla="*/ 83 w 85"/>
                  <a:gd name="T51" fmla="*/ 42 h 75"/>
                  <a:gd name="T52" fmla="*/ 77 w 85"/>
                  <a:gd name="T53" fmla="*/ 13 h 75"/>
                  <a:gd name="T54" fmla="*/ 48 w 85"/>
                  <a:gd name="T55" fmla="*/ 0 h 75"/>
                  <a:gd name="T56" fmla="*/ 46 w 85"/>
                  <a:gd name="T57" fmla="*/ 0 h 75"/>
                  <a:gd name="T58" fmla="*/ 46 w 85"/>
                  <a:gd name="T59" fmla="*/ 0 h 75"/>
                  <a:gd name="T60" fmla="*/ 41 w 85"/>
                  <a:gd name="T61" fmla="*/ 0 h 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85" h="75">
                    <a:moveTo>
                      <a:pt x="17" y="21"/>
                    </a:moveTo>
                    <a:cubicBezTo>
                      <a:pt x="24" y="12"/>
                      <a:pt x="36" y="7"/>
                      <a:pt x="48" y="7"/>
                    </a:cubicBezTo>
                    <a:cubicBezTo>
                      <a:pt x="50" y="7"/>
                      <a:pt x="51" y="5"/>
                      <a:pt x="51" y="3"/>
                    </a:cubicBezTo>
                    <a:cubicBezTo>
                      <a:pt x="62" y="5"/>
                      <a:pt x="70" y="9"/>
                      <a:pt x="75" y="20"/>
                    </a:cubicBezTo>
                    <a:cubicBezTo>
                      <a:pt x="79" y="28"/>
                      <a:pt x="78" y="37"/>
                      <a:pt x="76" y="44"/>
                    </a:cubicBezTo>
                    <a:cubicBezTo>
                      <a:pt x="74" y="52"/>
                      <a:pt x="70" y="58"/>
                      <a:pt x="64" y="62"/>
                    </a:cubicBezTo>
                    <a:cubicBezTo>
                      <a:pt x="59" y="65"/>
                      <a:pt x="53" y="67"/>
                      <a:pt x="46" y="67"/>
                    </a:cubicBezTo>
                    <a:cubicBezTo>
                      <a:pt x="43" y="67"/>
                      <a:pt x="40" y="67"/>
                      <a:pt x="37" y="66"/>
                    </a:cubicBezTo>
                    <a:cubicBezTo>
                      <a:pt x="23" y="62"/>
                      <a:pt x="9" y="51"/>
                      <a:pt x="12" y="35"/>
                    </a:cubicBezTo>
                    <a:cubicBezTo>
                      <a:pt x="12" y="30"/>
                      <a:pt x="15" y="25"/>
                      <a:pt x="17" y="21"/>
                    </a:cubicBezTo>
                    <a:moveTo>
                      <a:pt x="41" y="0"/>
                    </a:moveTo>
                    <a:cubicBezTo>
                      <a:pt x="38" y="0"/>
                      <a:pt x="35" y="0"/>
                      <a:pt x="33" y="1"/>
                    </a:cubicBezTo>
                    <a:cubicBezTo>
                      <a:pt x="33" y="1"/>
                      <a:pt x="33" y="1"/>
                      <a:pt x="33" y="1"/>
                    </a:cubicBezTo>
                    <a:cubicBezTo>
                      <a:pt x="26" y="3"/>
                      <a:pt x="20" y="7"/>
                      <a:pt x="15" y="12"/>
                    </a:cubicBezTo>
                    <a:cubicBezTo>
                      <a:pt x="15" y="12"/>
                      <a:pt x="15" y="12"/>
                      <a:pt x="15" y="12"/>
                    </a:cubicBezTo>
                    <a:cubicBezTo>
                      <a:pt x="13" y="14"/>
                      <a:pt x="12" y="17"/>
                      <a:pt x="10" y="19"/>
                    </a:cubicBezTo>
                    <a:cubicBezTo>
                      <a:pt x="10" y="19"/>
                      <a:pt x="11" y="19"/>
                      <a:pt x="11" y="19"/>
                    </a:cubicBezTo>
                    <a:cubicBezTo>
                      <a:pt x="11" y="19"/>
                      <a:pt x="11" y="19"/>
                      <a:pt x="11" y="19"/>
                    </a:cubicBezTo>
                    <a:cubicBezTo>
                      <a:pt x="13" y="19"/>
                      <a:pt x="13" y="21"/>
                      <a:pt x="12" y="21"/>
                    </a:cubicBezTo>
                    <a:cubicBezTo>
                      <a:pt x="10" y="22"/>
                      <a:pt x="9" y="22"/>
                      <a:pt x="8" y="22"/>
                    </a:cubicBezTo>
                    <a:cubicBezTo>
                      <a:pt x="6" y="26"/>
                      <a:pt x="5" y="30"/>
                      <a:pt x="4" y="34"/>
                    </a:cubicBezTo>
                    <a:cubicBezTo>
                      <a:pt x="0" y="54"/>
                      <a:pt x="20" y="71"/>
                      <a:pt x="38" y="74"/>
                    </a:cubicBezTo>
                    <a:cubicBezTo>
                      <a:pt x="41" y="75"/>
                      <a:pt x="43" y="75"/>
                      <a:pt x="46" y="75"/>
                    </a:cubicBezTo>
                    <a:cubicBezTo>
                      <a:pt x="62" y="75"/>
                      <a:pt x="75" y="65"/>
                      <a:pt x="81" y="50"/>
                    </a:cubicBezTo>
                    <a:cubicBezTo>
                      <a:pt x="81" y="50"/>
                      <a:pt x="81" y="50"/>
                      <a:pt x="81" y="50"/>
                    </a:cubicBezTo>
                    <a:cubicBezTo>
                      <a:pt x="82" y="48"/>
                      <a:pt x="83" y="45"/>
                      <a:pt x="83" y="42"/>
                    </a:cubicBezTo>
                    <a:cubicBezTo>
                      <a:pt x="85" y="31"/>
                      <a:pt x="83" y="21"/>
                      <a:pt x="77" y="13"/>
                    </a:cubicBezTo>
                    <a:cubicBezTo>
                      <a:pt x="68" y="1"/>
                      <a:pt x="62" y="0"/>
                      <a:pt x="48" y="0"/>
                    </a:cubicBezTo>
                    <a:cubicBezTo>
                      <a:pt x="48" y="0"/>
                      <a:pt x="47" y="0"/>
                      <a:pt x="46" y="0"/>
                    </a:cubicBezTo>
                    <a:cubicBezTo>
                      <a:pt x="46" y="0"/>
                      <a:pt x="46" y="0"/>
                      <a:pt x="46" y="0"/>
                    </a:cubicBezTo>
                    <a:cubicBezTo>
                      <a:pt x="44" y="0"/>
                      <a:pt x="42" y="0"/>
                      <a:pt x="41" y="0"/>
                    </a:cubicBezTo>
                  </a:path>
                </a:pathLst>
              </a:custGeom>
              <a:solidFill>
                <a:srgbClr val="544D4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442" name="Freeform 114">
                <a:extLst>
                  <a:ext uri="{FF2B5EF4-FFF2-40B4-BE49-F238E27FC236}">
                    <a16:creationId xmlns:a16="http://schemas.microsoft.com/office/drawing/2014/main" id="{35E7D717-ACB8-4C43-94E9-FB69BF537ED1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195" y="1868"/>
                <a:ext cx="89" cy="71"/>
              </a:xfrm>
              <a:custGeom>
                <a:avLst/>
                <a:gdLst>
                  <a:gd name="T0" fmla="*/ 38 w 84"/>
                  <a:gd name="T1" fmla="*/ 0 h 67"/>
                  <a:gd name="T2" fmla="*/ 21 w 84"/>
                  <a:gd name="T3" fmla="*/ 3 h 67"/>
                  <a:gd name="T4" fmla="*/ 1 w 84"/>
                  <a:gd name="T5" fmla="*/ 26 h 67"/>
                  <a:gd name="T6" fmla="*/ 27 w 84"/>
                  <a:gd name="T7" fmla="*/ 64 h 67"/>
                  <a:gd name="T8" fmla="*/ 30 w 84"/>
                  <a:gd name="T9" fmla="*/ 58 h 67"/>
                  <a:gd name="T10" fmla="*/ 31 w 84"/>
                  <a:gd name="T11" fmla="*/ 58 h 67"/>
                  <a:gd name="T12" fmla="*/ 32 w 84"/>
                  <a:gd name="T13" fmla="*/ 59 h 67"/>
                  <a:gd name="T14" fmla="*/ 30 w 84"/>
                  <a:gd name="T15" fmla="*/ 65 h 67"/>
                  <a:gd name="T16" fmla="*/ 31 w 84"/>
                  <a:gd name="T17" fmla="*/ 65 h 67"/>
                  <a:gd name="T18" fmla="*/ 34 w 84"/>
                  <a:gd name="T19" fmla="*/ 66 h 67"/>
                  <a:gd name="T20" fmla="*/ 41 w 84"/>
                  <a:gd name="T21" fmla="*/ 67 h 67"/>
                  <a:gd name="T22" fmla="*/ 76 w 84"/>
                  <a:gd name="T23" fmla="*/ 41 h 67"/>
                  <a:gd name="T24" fmla="*/ 76 w 84"/>
                  <a:gd name="T25" fmla="*/ 41 h 67"/>
                  <a:gd name="T26" fmla="*/ 54 w 84"/>
                  <a:gd name="T27" fmla="*/ 3 h 67"/>
                  <a:gd name="T28" fmla="*/ 54 w 84"/>
                  <a:gd name="T29" fmla="*/ 3 h 67"/>
                  <a:gd name="T30" fmla="*/ 53 w 84"/>
                  <a:gd name="T31" fmla="*/ 5 h 67"/>
                  <a:gd name="T32" fmla="*/ 69 w 84"/>
                  <a:gd name="T33" fmla="*/ 41 h 67"/>
                  <a:gd name="T34" fmla="*/ 60 w 84"/>
                  <a:gd name="T35" fmla="*/ 53 h 67"/>
                  <a:gd name="T36" fmla="*/ 41 w 84"/>
                  <a:gd name="T37" fmla="*/ 60 h 67"/>
                  <a:gd name="T38" fmla="*/ 38 w 84"/>
                  <a:gd name="T39" fmla="*/ 60 h 67"/>
                  <a:gd name="T40" fmla="*/ 36 w 84"/>
                  <a:gd name="T41" fmla="*/ 59 h 67"/>
                  <a:gd name="T42" fmla="*/ 9 w 84"/>
                  <a:gd name="T43" fmla="*/ 32 h 67"/>
                  <a:gd name="T44" fmla="*/ 14 w 84"/>
                  <a:gd name="T45" fmla="*/ 15 h 67"/>
                  <a:gd name="T46" fmla="*/ 43 w 84"/>
                  <a:gd name="T47" fmla="*/ 8 h 67"/>
                  <a:gd name="T48" fmla="*/ 46 w 84"/>
                  <a:gd name="T49" fmla="*/ 2 h 67"/>
                  <a:gd name="T50" fmla="*/ 46 w 84"/>
                  <a:gd name="T51" fmla="*/ 2 h 67"/>
                  <a:gd name="T52" fmla="*/ 44 w 84"/>
                  <a:gd name="T53" fmla="*/ 1 h 67"/>
                  <a:gd name="T54" fmla="*/ 43 w 84"/>
                  <a:gd name="T55" fmla="*/ 1 h 67"/>
                  <a:gd name="T56" fmla="*/ 43 w 84"/>
                  <a:gd name="T57" fmla="*/ 0 h 67"/>
                  <a:gd name="T58" fmla="*/ 38 w 84"/>
                  <a:gd name="T59" fmla="*/ 0 h 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84" h="67">
                    <a:moveTo>
                      <a:pt x="38" y="0"/>
                    </a:moveTo>
                    <a:cubicBezTo>
                      <a:pt x="33" y="0"/>
                      <a:pt x="27" y="1"/>
                      <a:pt x="21" y="3"/>
                    </a:cubicBezTo>
                    <a:cubicBezTo>
                      <a:pt x="11" y="6"/>
                      <a:pt x="2" y="13"/>
                      <a:pt x="1" y="26"/>
                    </a:cubicBezTo>
                    <a:cubicBezTo>
                      <a:pt x="0" y="42"/>
                      <a:pt x="13" y="58"/>
                      <a:pt x="27" y="64"/>
                    </a:cubicBezTo>
                    <a:cubicBezTo>
                      <a:pt x="28" y="62"/>
                      <a:pt x="29" y="60"/>
                      <a:pt x="30" y="58"/>
                    </a:cubicBezTo>
                    <a:cubicBezTo>
                      <a:pt x="30" y="58"/>
                      <a:pt x="30" y="58"/>
                      <a:pt x="31" y="58"/>
                    </a:cubicBezTo>
                    <a:cubicBezTo>
                      <a:pt x="31" y="58"/>
                      <a:pt x="32" y="58"/>
                      <a:pt x="32" y="59"/>
                    </a:cubicBezTo>
                    <a:cubicBezTo>
                      <a:pt x="31" y="61"/>
                      <a:pt x="31" y="63"/>
                      <a:pt x="30" y="65"/>
                    </a:cubicBezTo>
                    <a:cubicBezTo>
                      <a:pt x="30" y="65"/>
                      <a:pt x="31" y="65"/>
                      <a:pt x="31" y="65"/>
                    </a:cubicBezTo>
                    <a:cubicBezTo>
                      <a:pt x="32" y="65"/>
                      <a:pt x="33" y="66"/>
                      <a:pt x="34" y="66"/>
                    </a:cubicBezTo>
                    <a:cubicBezTo>
                      <a:pt x="36" y="66"/>
                      <a:pt x="38" y="67"/>
                      <a:pt x="41" y="67"/>
                    </a:cubicBezTo>
                    <a:cubicBezTo>
                      <a:pt x="56" y="67"/>
                      <a:pt x="70" y="56"/>
                      <a:pt x="76" y="41"/>
                    </a:cubicBezTo>
                    <a:cubicBezTo>
                      <a:pt x="76" y="41"/>
                      <a:pt x="76" y="41"/>
                      <a:pt x="76" y="41"/>
                    </a:cubicBezTo>
                    <a:cubicBezTo>
                      <a:pt x="84" y="21"/>
                      <a:pt x="69" y="13"/>
                      <a:pt x="54" y="3"/>
                    </a:cubicBezTo>
                    <a:cubicBezTo>
                      <a:pt x="54" y="3"/>
                      <a:pt x="54" y="3"/>
                      <a:pt x="54" y="3"/>
                    </a:cubicBezTo>
                    <a:cubicBezTo>
                      <a:pt x="53" y="3"/>
                      <a:pt x="52" y="4"/>
                      <a:pt x="53" y="5"/>
                    </a:cubicBezTo>
                    <a:cubicBezTo>
                      <a:pt x="64" y="15"/>
                      <a:pt x="78" y="24"/>
                      <a:pt x="69" y="41"/>
                    </a:cubicBezTo>
                    <a:cubicBezTo>
                      <a:pt x="67" y="46"/>
                      <a:pt x="64" y="50"/>
                      <a:pt x="60" y="53"/>
                    </a:cubicBezTo>
                    <a:cubicBezTo>
                      <a:pt x="55" y="57"/>
                      <a:pt x="48" y="60"/>
                      <a:pt x="41" y="60"/>
                    </a:cubicBezTo>
                    <a:cubicBezTo>
                      <a:pt x="40" y="60"/>
                      <a:pt x="39" y="60"/>
                      <a:pt x="38" y="60"/>
                    </a:cubicBezTo>
                    <a:cubicBezTo>
                      <a:pt x="37" y="59"/>
                      <a:pt x="37" y="59"/>
                      <a:pt x="36" y="59"/>
                    </a:cubicBezTo>
                    <a:cubicBezTo>
                      <a:pt x="23" y="56"/>
                      <a:pt x="12" y="45"/>
                      <a:pt x="9" y="32"/>
                    </a:cubicBezTo>
                    <a:cubicBezTo>
                      <a:pt x="8" y="24"/>
                      <a:pt x="10" y="19"/>
                      <a:pt x="14" y="15"/>
                    </a:cubicBezTo>
                    <a:cubicBezTo>
                      <a:pt x="21" y="9"/>
                      <a:pt x="34" y="8"/>
                      <a:pt x="43" y="8"/>
                    </a:cubicBezTo>
                    <a:cubicBezTo>
                      <a:pt x="46" y="8"/>
                      <a:pt x="47" y="4"/>
                      <a:pt x="46" y="2"/>
                    </a:cubicBezTo>
                    <a:cubicBezTo>
                      <a:pt x="46" y="2"/>
                      <a:pt x="46" y="2"/>
                      <a:pt x="46" y="2"/>
                    </a:cubicBezTo>
                    <a:cubicBezTo>
                      <a:pt x="45" y="2"/>
                      <a:pt x="45" y="2"/>
                      <a:pt x="44" y="1"/>
                    </a:cubicBezTo>
                    <a:cubicBezTo>
                      <a:pt x="44" y="1"/>
                      <a:pt x="44" y="1"/>
                      <a:pt x="43" y="1"/>
                    </a:cubicBezTo>
                    <a:cubicBezTo>
                      <a:pt x="43" y="1"/>
                      <a:pt x="43" y="1"/>
                      <a:pt x="43" y="0"/>
                    </a:cubicBezTo>
                    <a:cubicBezTo>
                      <a:pt x="41" y="0"/>
                      <a:pt x="40" y="0"/>
                      <a:pt x="38" y="0"/>
                    </a:cubicBezTo>
                  </a:path>
                </a:pathLst>
              </a:custGeom>
              <a:solidFill>
                <a:srgbClr val="544D4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443" name="Freeform 115">
                <a:extLst>
                  <a:ext uri="{FF2B5EF4-FFF2-40B4-BE49-F238E27FC236}">
                    <a16:creationId xmlns:a16="http://schemas.microsoft.com/office/drawing/2014/main" id="{CCAC8BC8-1F25-4C2D-ACCA-AA0440578432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2022" y="1834"/>
                <a:ext cx="91" cy="77"/>
              </a:xfrm>
              <a:custGeom>
                <a:avLst/>
                <a:gdLst>
                  <a:gd name="T0" fmla="*/ 18 w 86"/>
                  <a:gd name="T1" fmla="*/ 19 h 72"/>
                  <a:gd name="T2" fmla="*/ 27 w 86"/>
                  <a:gd name="T3" fmla="*/ 11 h 72"/>
                  <a:gd name="T4" fmla="*/ 38 w 86"/>
                  <a:gd name="T5" fmla="*/ 8 h 72"/>
                  <a:gd name="T6" fmla="*/ 56 w 86"/>
                  <a:gd name="T7" fmla="*/ 13 h 72"/>
                  <a:gd name="T8" fmla="*/ 58 w 86"/>
                  <a:gd name="T9" fmla="*/ 14 h 72"/>
                  <a:gd name="T10" fmla="*/ 61 w 86"/>
                  <a:gd name="T11" fmla="*/ 11 h 72"/>
                  <a:gd name="T12" fmla="*/ 69 w 86"/>
                  <a:gd name="T13" fmla="*/ 53 h 72"/>
                  <a:gd name="T14" fmla="*/ 64 w 86"/>
                  <a:gd name="T15" fmla="*/ 58 h 72"/>
                  <a:gd name="T16" fmla="*/ 64 w 86"/>
                  <a:gd name="T17" fmla="*/ 58 h 72"/>
                  <a:gd name="T18" fmla="*/ 44 w 86"/>
                  <a:gd name="T19" fmla="*/ 64 h 72"/>
                  <a:gd name="T20" fmla="*/ 38 w 86"/>
                  <a:gd name="T21" fmla="*/ 64 h 72"/>
                  <a:gd name="T22" fmla="*/ 38 w 86"/>
                  <a:gd name="T23" fmla="*/ 64 h 72"/>
                  <a:gd name="T24" fmla="*/ 34 w 86"/>
                  <a:gd name="T25" fmla="*/ 63 h 72"/>
                  <a:gd name="T26" fmla="*/ 13 w 86"/>
                  <a:gd name="T27" fmla="*/ 32 h 72"/>
                  <a:gd name="T28" fmla="*/ 18 w 86"/>
                  <a:gd name="T29" fmla="*/ 19 h 72"/>
                  <a:gd name="T30" fmla="*/ 18 w 86"/>
                  <a:gd name="T31" fmla="*/ 19 h 72"/>
                  <a:gd name="T32" fmla="*/ 37 w 86"/>
                  <a:gd name="T33" fmla="*/ 0 h 72"/>
                  <a:gd name="T34" fmla="*/ 29 w 86"/>
                  <a:gd name="T35" fmla="*/ 1 h 72"/>
                  <a:gd name="T36" fmla="*/ 29 w 86"/>
                  <a:gd name="T37" fmla="*/ 1 h 72"/>
                  <a:gd name="T38" fmla="*/ 7 w 86"/>
                  <a:gd name="T39" fmla="*/ 22 h 72"/>
                  <a:gd name="T40" fmla="*/ 23 w 86"/>
                  <a:gd name="T41" fmla="*/ 69 h 72"/>
                  <a:gd name="T42" fmla="*/ 27 w 86"/>
                  <a:gd name="T43" fmla="*/ 70 h 72"/>
                  <a:gd name="T44" fmla="*/ 28 w 86"/>
                  <a:gd name="T45" fmla="*/ 68 h 72"/>
                  <a:gd name="T46" fmla="*/ 29 w 86"/>
                  <a:gd name="T47" fmla="*/ 66 h 72"/>
                  <a:gd name="T48" fmla="*/ 32 w 86"/>
                  <a:gd name="T49" fmla="*/ 69 h 72"/>
                  <a:gd name="T50" fmla="*/ 32 w 86"/>
                  <a:gd name="T51" fmla="*/ 71 h 72"/>
                  <a:gd name="T52" fmla="*/ 39 w 86"/>
                  <a:gd name="T53" fmla="*/ 72 h 72"/>
                  <a:gd name="T54" fmla="*/ 43 w 86"/>
                  <a:gd name="T55" fmla="*/ 72 h 72"/>
                  <a:gd name="T56" fmla="*/ 77 w 86"/>
                  <a:gd name="T57" fmla="*/ 54 h 72"/>
                  <a:gd name="T58" fmla="*/ 79 w 86"/>
                  <a:gd name="T59" fmla="*/ 49 h 72"/>
                  <a:gd name="T60" fmla="*/ 79 w 86"/>
                  <a:gd name="T61" fmla="*/ 49 h 72"/>
                  <a:gd name="T62" fmla="*/ 55 w 86"/>
                  <a:gd name="T63" fmla="*/ 4 h 72"/>
                  <a:gd name="T64" fmla="*/ 54 w 86"/>
                  <a:gd name="T65" fmla="*/ 4 h 72"/>
                  <a:gd name="T66" fmla="*/ 54 w 86"/>
                  <a:gd name="T67" fmla="*/ 4 h 72"/>
                  <a:gd name="T68" fmla="*/ 37 w 86"/>
                  <a:gd name="T69" fmla="*/ 0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86" h="72">
                    <a:moveTo>
                      <a:pt x="18" y="19"/>
                    </a:moveTo>
                    <a:cubicBezTo>
                      <a:pt x="20" y="16"/>
                      <a:pt x="23" y="13"/>
                      <a:pt x="27" y="11"/>
                    </a:cubicBezTo>
                    <a:cubicBezTo>
                      <a:pt x="31" y="9"/>
                      <a:pt x="34" y="8"/>
                      <a:pt x="38" y="8"/>
                    </a:cubicBezTo>
                    <a:cubicBezTo>
                      <a:pt x="44" y="8"/>
                      <a:pt x="50" y="11"/>
                      <a:pt x="56" y="13"/>
                    </a:cubicBezTo>
                    <a:cubicBezTo>
                      <a:pt x="57" y="14"/>
                      <a:pt x="57" y="14"/>
                      <a:pt x="58" y="14"/>
                    </a:cubicBezTo>
                    <a:cubicBezTo>
                      <a:pt x="59" y="14"/>
                      <a:pt x="60" y="13"/>
                      <a:pt x="61" y="11"/>
                    </a:cubicBezTo>
                    <a:cubicBezTo>
                      <a:pt x="73" y="21"/>
                      <a:pt x="80" y="38"/>
                      <a:pt x="69" y="53"/>
                    </a:cubicBezTo>
                    <a:cubicBezTo>
                      <a:pt x="68" y="55"/>
                      <a:pt x="66" y="57"/>
                      <a:pt x="64" y="58"/>
                    </a:cubicBezTo>
                    <a:cubicBezTo>
                      <a:pt x="64" y="58"/>
                      <a:pt x="64" y="58"/>
                      <a:pt x="64" y="58"/>
                    </a:cubicBezTo>
                    <a:cubicBezTo>
                      <a:pt x="59" y="63"/>
                      <a:pt x="51" y="64"/>
                      <a:pt x="44" y="64"/>
                    </a:cubicBezTo>
                    <a:cubicBezTo>
                      <a:pt x="42" y="64"/>
                      <a:pt x="40" y="64"/>
                      <a:pt x="38" y="64"/>
                    </a:cubicBezTo>
                    <a:cubicBezTo>
                      <a:pt x="38" y="64"/>
                      <a:pt x="38" y="64"/>
                      <a:pt x="38" y="64"/>
                    </a:cubicBezTo>
                    <a:cubicBezTo>
                      <a:pt x="36" y="64"/>
                      <a:pt x="35" y="64"/>
                      <a:pt x="34" y="63"/>
                    </a:cubicBezTo>
                    <a:cubicBezTo>
                      <a:pt x="17" y="60"/>
                      <a:pt x="10" y="48"/>
                      <a:pt x="13" y="32"/>
                    </a:cubicBezTo>
                    <a:cubicBezTo>
                      <a:pt x="14" y="27"/>
                      <a:pt x="15" y="23"/>
                      <a:pt x="18" y="19"/>
                    </a:cubicBezTo>
                    <a:cubicBezTo>
                      <a:pt x="18" y="19"/>
                      <a:pt x="18" y="19"/>
                      <a:pt x="18" y="19"/>
                    </a:cubicBezTo>
                    <a:moveTo>
                      <a:pt x="37" y="0"/>
                    </a:moveTo>
                    <a:cubicBezTo>
                      <a:pt x="35" y="0"/>
                      <a:pt x="32" y="0"/>
                      <a:pt x="29" y="1"/>
                    </a:cubicBezTo>
                    <a:cubicBezTo>
                      <a:pt x="29" y="1"/>
                      <a:pt x="29" y="1"/>
                      <a:pt x="29" y="1"/>
                    </a:cubicBezTo>
                    <a:cubicBezTo>
                      <a:pt x="19" y="3"/>
                      <a:pt x="11" y="10"/>
                      <a:pt x="7" y="22"/>
                    </a:cubicBezTo>
                    <a:cubicBezTo>
                      <a:pt x="0" y="40"/>
                      <a:pt x="4" y="61"/>
                      <a:pt x="23" y="69"/>
                    </a:cubicBezTo>
                    <a:cubicBezTo>
                      <a:pt x="25" y="69"/>
                      <a:pt x="26" y="70"/>
                      <a:pt x="27" y="70"/>
                    </a:cubicBezTo>
                    <a:cubicBezTo>
                      <a:pt x="27" y="69"/>
                      <a:pt x="27" y="69"/>
                      <a:pt x="28" y="68"/>
                    </a:cubicBezTo>
                    <a:cubicBezTo>
                      <a:pt x="28" y="67"/>
                      <a:pt x="29" y="66"/>
                      <a:pt x="29" y="66"/>
                    </a:cubicBezTo>
                    <a:cubicBezTo>
                      <a:pt x="31" y="66"/>
                      <a:pt x="32" y="67"/>
                      <a:pt x="32" y="69"/>
                    </a:cubicBezTo>
                    <a:cubicBezTo>
                      <a:pt x="32" y="70"/>
                      <a:pt x="32" y="70"/>
                      <a:pt x="32" y="71"/>
                    </a:cubicBezTo>
                    <a:cubicBezTo>
                      <a:pt x="34" y="72"/>
                      <a:pt x="36" y="72"/>
                      <a:pt x="39" y="72"/>
                    </a:cubicBezTo>
                    <a:cubicBezTo>
                      <a:pt x="40" y="72"/>
                      <a:pt x="42" y="72"/>
                      <a:pt x="43" y="72"/>
                    </a:cubicBezTo>
                    <a:cubicBezTo>
                      <a:pt x="57" y="72"/>
                      <a:pt x="70" y="67"/>
                      <a:pt x="77" y="54"/>
                    </a:cubicBezTo>
                    <a:cubicBezTo>
                      <a:pt x="78" y="52"/>
                      <a:pt x="79" y="50"/>
                      <a:pt x="79" y="49"/>
                    </a:cubicBezTo>
                    <a:cubicBezTo>
                      <a:pt x="79" y="49"/>
                      <a:pt x="79" y="49"/>
                      <a:pt x="79" y="49"/>
                    </a:cubicBezTo>
                    <a:cubicBezTo>
                      <a:pt x="86" y="29"/>
                      <a:pt x="74" y="11"/>
                      <a:pt x="55" y="4"/>
                    </a:cubicBezTo>
                    <a:cubicBezTo>
                      <a:pt x="55" y="4"/>
                      <a:pt x="54" y="4"/>
                      <a:pt x="54" y="4"/>
                    </a:cubicBezTo>
                    <a:cubicBezTo>
                      <a:pt x="54" y="4"/>
                      <a:pt x="54" y="4"/>
                      <a:pt x="54" y="4"/>
                    </a:cubicBezTo>
                    <a:cubicBezTo>
                      <a:pt x="49" y="1"/>
                      <a:pt x="43" y="0"/>
                      <a:pt x="37" y="0"/>
                    </a:cubicBezTo>
                  </a:path>
                </a:pathLst>
              </a:custGeom>
              <a:solidFill>
                <a:srgbClr val="544D4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444" name="Freeform 116">
                <a:extLst>
                  <a:ext uri="{FF2B5EF4-FFF2-40B4-BE49-F238E27FC236}">
                    <a16:creationId xmlns:a16="http://schemas.microsoft.com/office/drawing/2014/main" id="{16C83E5B-8A67-4D32-A5C2-957D4A89981B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2087" y="1926"/>
                <a:ext cx="82" cy="73"/>
              </a:xfrm>
              <a:custGeom>
                <a:avLst/>
                <a:gdLst>
                  <a:gd name="T0" fmla="*/ 14 w 77"/>
                  <a:gd name="T1" fmla="*/ 17 h 69"/>
                  <a:gd name="T2" fmla="*/ 42 w 77"/>
                  <a:gd name="T3" fmla="*/ 5 h 69"/>
                  <a:gd name="T4" fmla="*/ 43 w 77"/>
                  <a:gd name="T5" fmla="*/ 4 h 69"/>
                  <a:gd name="T6" fmla="*/ 44 w 77"/>
                  <a:gd name="T7" fmla="*/ 5 h 69"/>
                  <a:gd name="T8" fmla="*/ 66 w 77"/>
                  <a:gd name="T9" fmla="*/ 15 h 69"/>
                  <a:gd name="T10" fmla="*/ 71 w 77"/>
                  <a:gd name="T11" fmla="*/ 32 h 69"/>
                  <a:gd name="T12" fmla="*/ 61 w 77"/>
                  <a:gd name="T13" fmla="*/ 55 h 69"/>
                  <a:gd name="T14" fmla="*/ 44 w 77"/>
                  <a:gd name="T15" fmla="*/ 62 h 69"/>
                  <a:gd name="T16" fmla="*/ 42 w 77"/>
                  <a:gd name="T17" fmla="*/ 62 h 69"/>
                  <a:gd name="T18" fmla="*/ 9 w 77"/>
                  <a:gd name="T19" fmla="*/ 27 h 69"/>
                  <a:gd name="T20" fmla="*/ 14 w 77"/>
                  <a:gd name="T21" fmla="*/ 17 h 69"/>
                  <a:gd name="T22" fmla="*/ 14 w 77"/>
                  <a:gd name="T23" fmla="*/ 17 h 69"/>
                  <a:gd name="T24" fmla="*/ 39 w 77"/>
                  <a:gd name="T25" fmla="*/ 0 h 69"/>
                  <a:gd name="T26" fmla="*/ 24 w 77"/>
                  <a:gd name="T27" fmla="*/ 2 h 69"/>
                  <a:gd name="T28" fmla="*/ 7 w 77"/>
                  <a:gd name="T29" fmla="*/ 13 h 69"/>
                  <a:gd name="T30" fmla="*/ 1 w 77"/>
                  <a:gd name="T31" fmla="*/ 27 h 69"/>
                  <a:gd name="T32" fmla="*/ 39 w 77"/>
                  <a:gd name="T33" fmla="*/ 69 h 69"/>
                  <a:gd name="T34" fmla="*/ 41 w 77"/>
                  <a:gd name="T35" fmla="*/ 69 h 69"/>
                  <a:gd name="T36" fmla="*/ 75 w 77"/>
                  <a:gd name="T37" fmla="*/ 47 h 69"/>
                  <a:gd name="T38" fmla="*/ 77 w 77"/>
                  <a:gd name="T39" fmla="*/ 37 h 69"/>
                  <a:gd name="T40" fmla="*/ 71 w 77"/>
                  <a:gd name="T41" fmla="*/ 12 h 69"/>
                  <a:gd name="T42" fmla="*/ 45 w 77"/>
                  <a:gd name="T43" fmla="*/ 2 h 69"/>
                  <a:gd name="T44" fmla="*/ 45 w 77"/>
                  <a:gd name="T45" fmla="*/ 2 h 69"/>
                  <a:gd name="T46" fmla="*/ 43 w 77"/>
                  <a:gd name="T47" fmla="*/ 3 h 69"/>
                  <a:gd name="T48" fmla="*/ 41 w 77"/>
                  <a:gd name="T49" fmla="*/ 0 h 69"/>
                  <a:gd name="T50" fmla="*/ 39 w 77"/>
                  <a:gd name="T51" fmla="*/ 0 h 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77" h="69">
                    <a:moveTo>
                      <a:pt x="14" y="17"/>
                    </a:moveTo>
                    <a:cubicBezTo>
                      <a:pt x="20" y="10"/>
                      <a:pt x="33" y="9"/>
                      <a:pt x="42" y="5"/>
                    </a:cubicBezTo>
                    <a:cubicBezTo>
                      <a:pt x="42" y="5"/>
                      <a:pt x="43" y="4"/>
                      <a:pt x="43" y="4"/>
                    </a:cubicBezTo>
                    <a:cubicBezTo>
                      <a:pt x="43" y="4"/>
                      <a:pt x="44" y="5"/>
                      <a:pt x="44" y="5"/>
                    </a:cubicBezTo>
                    <a:cubicBezTo>
                      <a:pt x="52" y="8"/>
                      <a:pt x="61" y="8"/>
                      <a:pt x="66" y="15"/>
                    </a:cubicBezTo>
                    <a:cubicBezTo>
                      <a:pt x="69" y="19"/>
                      <a:pt x="70" y="27"/>
                      <a:pt x="71" y="32"/>
                    </a:cubicBezTo>
                    <a:cubicBezTo>
                      <a:pt x="71" y="42"/>
                      <a:pt x="68" y="50"/>
                      <a:pt x="61" y="55"/>
                    </a:cubicBezTo>
                    <a:cubicBezTo>
                      <a:pt x="57" y="59"/>
                      <a:pt x="51" y="62"/>
                      <a:pt x="44" y="62"/>
                    </a:cubicBezTo>
                    <a:cubicBezTo>
                      <a:pt x="44" y="62"/>
                      <a:pt x="43" y="62"/>
                      <a:pt x="42" y="62"/>
                    </a:cubicBezTo>
                    <a:cubicBezTo>
                      <a:pt x="26" y="62"/>
                      <a:pt x="6" y="44"/>
                      <a:pt x="9" y="27"/>
                    </a:cubicBezTo>
                    <a:cubicBezTo>
                      <a:pt x="9" y="23"/>
                      <a:pt x="11" y="20"/>
                      <a:pt x="14" y="17"/>
                    </a:cubicBezTo>
                    <a:cubicBezTo>
                      <a:pt x="14" y="17"/>
                      <a:pt x="14" y="17"/>
                      <a:pt x="14" y="17"/>
                    </a:cubicBezTo>
                    <a:moveTo>
                      <a:pt x="39" y="0"/>
                    </a:moveTo>
                    <a:cubicBezTo>
                      <a:pt x="35" y="0"/>
                      <a:pt x="29" y="1"/>
                      <a:pt x="24" y="2"/>
                    </a:cubicBezTo>
                    <a:cubicBezTo>
                      <a:pt x="18" y="5"/>
                      <a:pt x="12" y="8"/>
                      <a:pt x="7" y="13"/>
                    </a:cubicBezTo>
                    <a:cubicBezTo>
                      <a:pt x="4" y="17"/>
                      <a:pt x="1" y="22"/>
                      <a:pt x="1" y="27"/>
                    </a:cubicBezTo>
                    <a:cubicBezTo>
                      <a:pt x="0" y="46"/>
                      <a:pt x="21" y="68"/>
                      <a:pt x="39" y="69"/>
                    </a:cubicBezTo>
                    <a:cubicBezTo>
                      <a:pt x="40" y="69"/>
                      <a:pt x="41" y="69"/>
                      <a:pt x="41" y="69"/>
                    </a:cubicBezTo>
                    <a:cubicBezTo>
                      <a:pt x="56" y="69"/>
                      <a:pt x="70" y="60"/>
                      <a:pt x="75" y="47"/>
                    </a:cubicBezTo>
                    <a:cubicBezTo>
                      <a:pt x="76" y="44"/>
                      <a:pt x="77" y="41"/>
                      <a:pt x="77" y="37"/>
                    </a:cubicBezTo>
                    <a:cubicBezTo>
                      <a:pt x="77" y="29"/>
                      <a:pt x="76" y="19"/>
                      <a:pt x="71" y="12"/>
                    </a:cubicBezTo>
                    <a:cubicBezTo>
                      <a:pt x="65" y="2"/>
                      <a:pt x="56" y="5"/>
                      <a:pt x="45" y="2"/>
                    </a:cubicBezTo>
                    <a:cubicBezTo>
                      <a:pt x="45" y="2"/>
                      <a:pt x="45" y="2"/>
                      <a:pt x="45" y="2"/>
                    </a:cubicBezTo>
                    <a:cubicBezTo>
                      <a:pt x="44" y="2"/>
                      <a:pt x="44" y="2"/>
                      <a:pt x="43" y="3"/>
                    </a:cubicBezTo>
                    <a:cubicBezTo>
                      <a:pt x="43" y="1"/>
                      <a:pt x="42" y="0"/>
                      <a:pt x="41" y="0"/>
                    </a:cubicBezTo>
                    <a:cubicBezTo>
                      <a:pt x="40" y="0"/>
                      <a:pt x="40" y="0"/>
                      <a:pt x="39" y="0"/>
                    </a:cubicBezTo>
                  </a:path>
                </a:pathLst>
              </a:custGeom>
              <a:solidFill>
                <a:srgbClr val="544D4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445" name="Freeform 117">
                <a:extLst>
                  <a:ext uri="{FF2B5EF4-FFF2-40B4-BE49-F238E27FC236}">
                    <a16:creationId xmlns:a16="http://schemas.microsoft.com/office/drawing/2014/main" id="{54D9B8B2-C8AC-45CE-A530-9500B2821243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215" y="1832"/>
                <a:ext cx="31" cy="38"/>
              </a:xfrm>
              <a:custGeom>
                <a:avLst/>
                <a:gdLst>
                  <a:gd name="T0" fmla="*/ 4 w 30"/>
                  <a:gd name="T1" fmla="*/ 0 h 36"/>
                  <a:gd name="T2" fmla="*/ 2 w 30"/>
                  <a:gd name="T3" fmla="*/ 5 h 36"/>
                  <a:gd name="T4" fmla="*/ 25 w 30"/>
                  <a:gd name="T5" fmla="*/ 29 h 36"/>
                  <a:gd name="T6" fmla="*/ 26 w 30"/>
                  <a:gd name="T7" fmla="*/ 33 h 36"/>
                  <a:gd name="T8" fmla="*/ 26 w 30"/>
                  <a:gd name="T9" fmla="*/ 33 h 36"/>
                  <a:gd name="T10" fmla="*/ 25 w 30"/>
                  <a:gd name="T11" fmla="*/ 34 h 36"/>
                  <a:gd name="T12" fmla="*/ 25 w 30"/>
                  <a:gd name="T13" fmla="*/ 35 h 36"/>
                  <a:gd name="T14" fmla="*/ 26 w 30"/>
                  <a:gd name="T15" fmla="*/ 35 h 36"/>
                  <a:gd name="T16" fmla="*/ 28 w 30"/>
                  <a:gd name="T17" fmla="*/ 36 h 36"/>
                  <a:gd name="T18" fmla="*/ 28 w 30"/>
                  <a:gd name="T19" fmla="*/ 36 h 36"/>
                  <a:gd name="T20" fmla="*/ 29 w 30"/>
                  <a:gd name="T21" fmla="*/ 34 h 36"/>
                  <a:gd name="T22" fmla="*/ 29 w 30"/>
                  <a:gd name="T23" fmla="*/ 29 h 36"/>
                  <a:gd name="T24" fmla="*/ 29 w 30"/>
                  <a:gd name="T25" fmla="*/ 29 h 36"/>
                  <a:gd name="T26" fmla="*/ 23 w 30"/>
                  <a:gd name="T27" fmla="*/ 16 h 36"/>
                  <a:gd name="T28" fmla="*/ 5 w 30"/>
                  <a:gd name="T29" fmla="*/ 0 h 36"/>
                  <a:gd name="T30" fmla="*/ 4 w 30"/>
                  <a:gd name="T31" fmla="*/ 0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30" h="36">
                    <a:moveTo>
                      <a:pt x="4" y="0"/>
                    </a:moveTo>
                    <a:cubicBezTo>
                      <a:pt x="1" y="0"/>
                      <a:pt x="0" y="3"/>
                      <a:pt x="2" y="5"/>
                    </a:cubicBezTo>
                    <a:cubicBezTo>
                      <a:pt x="11" y="10"/>
                      <a:pt x="21" y="19"/>
                      <a:pt x="25" y="29"/>
                    </a:cubicBezTo>
                    <a:cubicBezTo>
                      <a:pt x="25" y="31"/>
                      <a:pt x="25" y="32"/>
                      <a:pt x="26" y="33"/>
                    </a:cubicBezTo>
                    <a:cubicBezTo>
                      <a:pt x="26" y="33"/>
                      <a:pt x="26" y="33"/>
                      <a:pt x="26" y="33"/>
                    </a:cubicBezTo>
                    <a:cubicBezTo>
                      <a:pt x="25" y="33"/>
                      <a:pt x="24" y="34"/>
                      <a:pt x="25" y="34"/>
                    </a:cubicBezTo>
                    <a:cubicBezTo>
                      <a:pt x="25" y="35"/>
                      <a:pt x="25" y="35"/>
                      <a:pt x="25" y="35"/>
                    </a:cubicBezTo>
                    <a:cubicBezTo>
                      <a:pt x="26" y="35"/>
                      <a:pt x="26" y="35"/>
                      <a:pt x="26" y="35"/>
                    </a:cubicBezTo>
                    <a:cubicBezTo>
                      <a:pt x="27" y="36"/>
                      <a:pt x="27" y="36"/>
                      <a:pt x="28" y="36"/>
                    </a:cubicBezTo>
                    <a:cubicBezTo>
                      <a:pt x="28" y="36"/>
                      <a:pt x="28" y="36"/>
                      <a:pt x="28" y="36"/>
                    </a:cubicBezTo>
                    <a:cubicBezTo>
                      <a:pt x="29" y="36"/>
                      <a:pt x="29" y="35"/>
                      <a:pt x="29" y="34"/>
                    </a:cubicBezTo>
                    <a:cubicBezTo>
                      <a:pt x="30" y="33"/>
                      <a:pt x="30" y="31"/>
                      <a:pt x="29" y="29"/>
                    </a:cubicBezTo>
                    <a:cubicBezTo>
                      <a:pt x="29" y="29"/>
                      <a:pt x="29" y="29"/>
                      <a:pt x="29" y="29"/>
                    </a:cubicBezTo>
                    <a:cubicBezTo>
                      <a:pt x="29" y="24"/>
                      <a:pt x="26" y="20"/>
                      <a:pt x="23" y="16"/>
                    </a:cubicBezTo>
                    <a:cubicBezTo>
                      <a:pt x="18" y="9"/>
                      <a:pt x="12" y="4"/>
                      <a:pt x="5" y="0"/>
                    </a:cubicBezTo>
                    <a:cubicBezTo>
                      <a:pt x="5" y="0"/>
                      <a:pt x="4" y="0"/>
                      <a:pt x="4" y="0"/>
                    </a:cubicBezTo>
                  </a:path>
                </a:pathLst>
              </a:custGeom>
              <a:solidFill>
                <a:srgbClr val="544D4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446" name="Freeform 118">
                <a:extLst>
                  <a:ext uri="{FF2B5EF4-FFF2-40B4-BE49-F238E27FC236}">
                    <a16:creationId xmlns:a16="http://schemas.microsoft.com/office/drawing/2014/main" id="{54693319-95E2-444B-B08A-B140D94905C8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083" y="1807"/>
                <a:ext cx="56" cy="23"/>
              </a:xfrm>
              <a:custGeom>
                <a:avLst/>
                <a:gdLst>
                  <a:gd name="T0" fmla="*/ 51 w 53"/>
                  <a:gd name="T1" fmla="*/ 0 h 22"/>
                  <a:gd name="T2" fmla="*/ 51 w 53"/>
                  <a:gd name="T3" fmla="*/ 0 h 22"/>
                  <a:gd name="T4" fmla="*/ 50 w 53"/>
                  <a:gd name="T5" fmla="*/ 0 h 22"/>
                  <a:gd name="T6" fmla="*/ 46 w 53"/>
                  <a:gd name="T7" fmla="*/ 0 h 22"/>
                  <a:gd name="T8" fmla="*/ 41 w 53"/>
                  <a:gd name="T9" fmla="*/ 0 h 22"/>
                  <a:gd name="T10" fmla="*/ 36 w 53"/>
                  <a:gd name="T11" fmla="*/ 0 h 22"/>
                  <a:gd name="T12" fmla="*/ 23 w 53"/>
                  <a:gd name="T13" fmla="*/ 2 h 22"/>
                  <a:gd name="T14" fmla="*/ 20 w 53"/>
                  <a:gd name="T15" fmla="*/ 4 h 22"/>
                  <a:gd name="T16" fmla="*/ 20 w 53"/>
                  <a:gd name="T17" fmla="*/ 4 h 22"/>
                  <a:gd name="T18" fmla="*/ 2 w 53"/>
                  <a:gd name="T19" fmla="*/ 18 h 22"/>
                  <a:gd name="T20" fmla="*/ 3 w 53"/>
                  <a:gd name="T21" fmla="*/ 22 h 22"/>
                  <a:gd name="T22" fmla="*/ 5 w 53"/>
                  <a:gd name="T23" fmla="*/ 21 h 22"/>
                  <a:gd name="T24" fmla="*/ 10 w 53"/>
                  <a:gd name="T25" fmla="*/ 17 h 22"/>
                  <a:gd name="T26" fmla="*/ 10 w 53"/>
                  <a:gd name="T27" fmla="*/ 17 h 22"/>
                  <a:gd name="T28" fmla="*/ 29 w 53"/>
                  <a:gd name="T29" fmla="*/ 5 h 22"/>
                  <a:gd name="T30" fmla="*/ 48 w 53"/>
                  <a:gd name="T31" fmla="*/ 3 h 22"/>
                  <a:gd name="T32" fmla="*/ 52 w 53"/>
                  <a:gd name="T33" fmla="*/ 2 h 22"/>
                  <a:gd name="T34" fmla="*/ 51 w 53"/>
                  <a:gd name="T35" fmla="*/ 0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53" h="22">
                    <a:moveTo>
                      <a:pt x="51" y="0"/>
                    </a:moveTo>
                    <a:cubicBezTo>
                      <a:pt x="51" y="0"/>
                      <a:pt x="51" y="0"/>
                      <a:pt x="51" y="0"/>
                    </a:cubicBezTo>
                    <a:cubicBezTo>
                      <a:pt x="51" y="0"/>
                      <a:pt x="50" y="0"/>
                      <a:pt x="50" y="0"/>
                    </a:cubicBezTo>
                    <a:cubicBezTo>
                      <a:pt x="49" y="0"/>
                      <a:pt x="47" y="0"/>
                      <a:pt x="46" y="0"/>
                    </a:cubicBezTo>
                    <a:cubicBezTo>
                      <a:pt x="44" y="0"/>
                      <a:pt x="43" y="0"/>
                      <a:pt x="41" y="0"/>
                    </a:cubicBezTo>
                    <a:cubicBezTo>
                      <a:pt x="39" y="0"/>
                      <a:pt x="38" y="0"/>
                      <a:pt x="36" y="0"/>
                    </a:cubicBezTo>
                    <a:cubicBezTo>
                      <a:pt x="32" y="0"/>
                      <a:pt x="28" y="0"/>
                      <a:pt x="23" y="2"/>
                    </a:cubicBezTo>
                    <a:cubicBezTo>
                      <a:pt x="22" y="3"/>
                      <a:pt x="21" y="3"/>
                      <a:pt x="20" y="4"/>
                    </a:cubicBezTo>
                    <a:cubicBezTo>
                      <a:pt x="20" y="4"/>
                      <a:pt x="20" y="4"/>
                      <a:pt x="20" y="4"/>
                    </a:cubicBezTo>
                    <a:cubicBezTo>
                      <a:pt x="13" y="7"/>
                      <a:pt x="7" y="12"/>
                      <a:pt x="2" y="18"/>
                    </a:cubicBezTo>
                    <a:cubicBezTo>
                      <a:pt x="0" y="20"/>
                      <a:pt x="2" y="22"/>
                      <a:pt x="3" y="22"/>
                    </a:cubicBezTo>
                    <a:cubicBezTo>
                      <a:pt x="4" y="22"/>
                      <a:pt x="5" y="21"/>
                      <a:pt x="5" y="21"/>
                    </a:cubicBezTo>
                    <a:cubicBezTo>
                      <a:pt x="7" y="19"/>
                      <a:pt x="8" y="18"/>
                      <a:pt x="10" y="17"/>
                    </a:cubicBezTo>
                    <a:cubicBezTo>
                      <a:pt x="10" y="17"/>
                      <a:pt x="10" y="17"/>
                      <a:pt x="10" y="17"/>
                    </a:cubicBezTo>
                    <a:cubicBezTo>
                      <a:pt x="16" y="12"/>
                      <a:pt x="22" y="8"/>
                      <a:pt x="29" y="5"/>
                    </a:cubicBezTo>
                    <a:cubicBezTo>
                      <a:pt x="35" y="3"/>
                      <a:pt x="42" y="4"/>
                      <a:pt x="48" y="3"/>
                    </a:cubicBezTo>
                    <a:cubicBezTo>
                      <a:pt x="49" y="3"/>
                      <a:pt x="50" y="3"/>
                      <a:pt x="52" y="2"/>
                    </a:cubicBezTo>
                    <a:cubicBezTo>
                      <a:pt x="53" y="2"/>
                      <a:pt x="53" y="0"/>
                      <a:pt x="51" y="0"/>
                    </a:cubicBezTo>
                  </a:path>
                </a:pathLst>
              </a:custGeom>
              <a:solidFill>
                <a:srgbClr val="544D4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447" name="Freeform 119">
                <a:extLst>
                  <a:ext uri="{FF2B5EF4-FFF2-40B4-BE49-F238E27FC236}">
                    <a16:creationId xmlns:a16="http://schemas.microsoft.com/office/drawing/2014/main" id="{861E531C-F5EE-457B-B12C-80C534BFDD84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048" y="1904"/>
                <a:ext cx="28" cy="47"/>
              </a:xfrm>
              <a:custGeom>
                <a:avLst/>
                <a:gdLst>
                  <a:gd name="T0" fmla="*/ 4 w 26"/>
                  <a:gd name="T1" fmla="*/ 0 h 44"/>
                  <a:gd name="T2" fmla="*/ 3 w 26"/>
                  <a:gd name="T3" fmla="*/ 2 h 44"/>
                  <a:gd name="T4" fmla="*/ 2 w 26"/>
                  <a:gd name="T5" fmla="*/ 4 h 44"/>
                  <a:gd name="T6" fmla="*/ 21 w 26"/>
                  <a:gd name="T7" fmla="*/ 43 h 44"/>
                  <a:gd name="T8" fmla="*/ 22 w 26"/>
                  <a:gd name="T9" fmla="*/ 44 h 44"/>
                  <a:gd name="T10" fmla="*/ 25 w 26"/>
                  <a:gd name="T11" fmla="*/ 40 h 44"/>
                  <a:gd name="T12" fmla="*/ 7 w 26"/>
                  <a:gd name="T13" fmla="*/ 5 h 44"/>
                  <a:gd name="T14" fmla="*/ 7 w 26"/>
                  <a:gd name="T15" fmla="*/ 3 h 44"/>
                  <a:gd name="T16" fmla="*/ 4 w 26"/>
                  <a:gd name="T17" fmla="*/ 0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6" h="44">
                    <a:moveTo>
                      <a:pt x="4" y="0"/>
                    </a:moveTo>
                    <a:cubicBezTo>
                      <a:pt x="4" y="0"/>
                      <a:pt x="3" y="1"/>
                      <a:pt x="3" y="2"/>
                    </a:cubicBezTo>
                    <a:cubicBezTo>
                      <a:pt x="2" y="3"/>
                      <a:pt x="2" y="3"/>
                      <a:pt x="2" y="4"/>
                    </a:cubicBezTo>
                    <a:cubicBezTo>
                      <a:pt x="0" y="19"/>
                      <a:pt x="10" y="33"/>
                      <a:pt x="21" y="43"/>
                    </a:cubicBezTo>
                    <a:cubicBezTo>
                      <a:pt x="21" y="44"/>
                      <a:pt x="22" y="44"/>
                      <a:pt x="22" y="44"/>
                    </a:cubicBezTo>
                    <a:cubicBezTo>
                      <a:pt x="24" y="44"/>
                      <a:pt x="26" y="42"/>
                      <a:pt x="25" y="40"/>
                    </a:cubicBezTo>
                    <a:cubicBezTo>
                      <a:pt x="18" y="30"/>
                      <a:pt x="7" y="19"/>
                      <a:pt x="7" y="5"/>
                    </a:cubicBezTo>
                    <a:cubicBezTo>
                      <a:pt x="7" y="4"/>
                      <a:pt x="7" y="4"/>
                      <a:pt x="7" y="3"/>
                    </a:cubicBezTo>
                    <a:cubicBezTo>
                      <a:pt x="7" y="1"/>
                      <a:pt x="6" y="0"/>
                      <a:pt x="4" y="0"/>
                    </a:cubicBezTo>
                  </a:path>
                </a:pathLst>
              </a:custGeom>
              <a:solidFill>
                <a:srgbClr val="544D4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448" name="Freeform 120">
                <a:extLst>
                  <a:ext uri="{FF2B5EF4-FFF2-40B4-BE49-F238E27FC236}">
                    <a16:creationId xmlns:a16="http://schemas.microsoft.com/office/drawing/2014/main" id="{96802A5E-6C27-4DA7-8CF4-8C35B90578DD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181" y="1930"/>
                <a:ext cx="48" cy="36"/>
              </a:xfrm>
              <a:custGeom>
                <a:avLst/>
                <a:gdLst>
                  <a:gd name="T0" fmla="*/ 45 w 46"/>
                  <a:gd name="T1" fmla="*/ 0 h 34"/>
                  <a:gd name="T2" fmla="*/ 44 w 46"/>
                  <a:gd name="T3" fmla="*/ 0 h 34"/>
                  <a:gd name="T4" fmla="*/ 41 w 46"/>
                  <a:gd name="T5" fmla="*/ 6 h 34"/>
                  <a:gd name="T6" fmla="*/ 32 w 46"/>
                  <a:gd name="T7" fmla="*/ 16 h 34"/>
                  <a:gd name="T8" fmla="*/ 2 w 46"/>
                  <a:gd name="T9" fmla="*/ 30 h 34"/>
                  <a:gd name="T10" fmla="*/ 3 w 46"/>
                  <a:gd name="T11" fmla="*/ 34 h 34"/>
                  <a:gd name="T12" fmla="*/ 3 w 46"/>
                  <a:gd name="T13" fmla="*/ 34 h 34"/>
                  <a:gd name="T14" fmla="*/ 44 w 46"/>
                  <a:gd name="T15" fmla="*/ 8 h 34"/>
                  <a:gd name="T16" fmla="*/ 44 w 46"/>
                  <a:gd name="T17" fmla="*/ 7 h 34"/>
                  <a:gd name="T18" fmla="*/ 46 w 46"/>
                  <a:gd name="T19" fmla="*/ 1 h 34"/>
                  <a:gd name="T20" fmla="*/ 45 w 46"/>
                  <a:gd name="T21" fmla="*/ 0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46" h="34">
                    <a:moveTo>
                      <a:pt x="45" y="0"/>
                    </a:moveTo>
                    <a:cubicBezTo>
                      <a:pt x="44" y="0"/>
                      <a:pt x="44" y="0"/>
                      <a:pt x="44" y="0"/>
                    </a:cubicBezTo>
                    <a:cubicBezTo>
                      <a:pt x="43" y="2"/>
                      <a:pt x="42" y="4"/>
                      <a:pt x="41" y="6"/>
                    </a:cubicBezTo>
                    <a:cubicBezTo>
                      <a:pt x="39" y="10"/>
                      <a:pt x="36" y="13"/>
                      <a:pt x="32" y="16"/>
                    </a:cubicBezTo>
                    <a:cubicBezTo>
                      <a:pt x="23" y="23"/>
                      <a:pt x="12" y="28"/>
                      <a:pt x="2" y="30"/>
                    </a:cubicBezTo>
                    <a:cubicBezTo>
                      <a:pt x="0" y="30"/>
                      <a:pt x="1" y="34"/>
                      <a:pt x="3" y="34"/>
                    </a:cubicBezTo>
                    <a:cubicBezTo>
                      <a:pt x="3" y="34"/>
                      <a:pt x="3" y="34"/>
                      <a:pt x="3" y="34"/>
                    </a:cubicBezTo>
                    <a:cubicBezTo>
                      <a:pt x="19" y="34"/>
                      <a:pt x="37" y="23"/>
                      <a:pt x="44" y="8"/>
                    </a:cubicBezTo>
                    <a:cubicBezTo>
                      <a:pt x="44" y="8"/>
                      <a:pt x="44" y="7"/>
                      <a:pt x="44" y="7"/>
                    </a:cubicBezTo>
                    <a:cubicBezTo>
                      <a:pt x="45" y="5"/>
                      <a:pt x="45" y="3"/>
                      <a:pt x="46" y="1"/>
                    </a:cubicBezTo>
                    <a:cubicBezTo>
                      <a:pt x="46" y="0"/>
                      <a:pt x="45" y="0"/>
                      <a:pt x="45" y="0"/>
                    </a:cubicBezTo>
                  </a:path>
                </a:pathLst>
              </a:custGeom>
              <a:solidFill>
                <a:srgbClr val="544D4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449" name="Freeform 121">
                <a:extLst>
                  <a:ext uri="{FF2B5EF4-FFF2-40B4-BE49-F238E27FC236}">
                    <a16:creationId xmlns:a16="http://schemas.microsoft.com/office/drawing/2014/main" id="{6C164A0A-3305-4C06-8296-5935FF38EAF9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2218" y="1954"/>
                <a:ext cx="158" cy="146"/>
              </a:xfrm>
              <a:custGeom>
                <a:avLst/>
                <a:gdLst>
                  <a:gd name="T0" fmla="*/ 17 w 149"/>
                  <a:gd name="T1" fmla="*/ 40 h 138"/>
                  <a:gd name="T2" fmla="*/ 84 w 149"/>
                  <a:gd name="T3" fmla="*/ 10 h 138"/>
                  <a:gd name="T4" fmla="*/ 89 w 149"/>
                  <a:gd name="T5" fmla="*/ 10 h 138"/>
                  <a:gd name="T6" fmla="*/ 112 w 149"/>
                  <a:gd name="T7" fmla="*/ 19 h 138"/>
                  <a:gd name="T8" fmla="*/ 143 w 149"/>
                  <a:gd name="T9" fmla="*/ 67 h 138"/>
                  <a:gd name="T10" fmla="*/ 115 w 149"/>
                  <a:gd name="T11" fmla="*/ 118 h 138"/>
                  <a:gd name="T12" fmla="*/ 74 w 149"/>
                  <a:gd name="T13" fmla="*/ 128 h 138"/>
                  <a:gd name="T14" fmla="*/ 53 w 149"/>
                  <a:gd name="T15" fmla="*/ 125 h 138"/>
                  <a:gd name="T16" fmla="*/ 15 w 149"/>
                  <a:gd name="T17" fmla="*/ 90 h 138"/>
                  <a:gd name="T18" fmla="*/ 12 w 149"/>
                  <a:gd name="T19" fmla="*/ 58 h 138"/>
                  <a:gd name="T20" fmla="*/ 17 w 149"/>
                  <a:gd name="T21" fmla="*/ 40 h 138"/>
                  <a:gd name="T22" fmla="*/ 17 w 149"/>
                  <a:gd name="T23" fmla="*/ 40 h 138"/>
                  <a:gd name="T24" fmla="*/ 75 w 149"/>
                  <a:gd name="T25" fmla="*/ 0 h 138"/>
                  <a:gd name="T26" fmla="*/ 54 w 149"/>
                  <a:gd name="T27" fmla="*/ 4 h 138"/>
                  <a:gd name="T28" fmla="*/ 54 w 149"/>
                  <a:gd name="T29" fmla="*/ 4 h 138"/>
                  <a:gd name="T30" fmla="*/ 3 w 149"/>
                  <a:gd name="T31" fmla="*/ 51 h 138"/>
                  <a:gd name="T32" fmla="*/ 4 w 149"/>
                  <a:gd name="T33" fmla="*/ 89 h 138"/>
                  <a:gd name="T34" fmla="*/ 7 w 149"/>
                  <a:gd name="T35" fmla="*/ 80 h 138"/>
                  <a:gd name="T36" fmla="*/ 9 w 149"/>
                  <a:gd name="T37" fmla="*/ 78 h 138"/>
                  <a:gd name="T38" fmla="*/ 12 w 149"/>
                  <a:gd name="T39" fmla="*/ 82 h 138"/>
                  <a:gd name="T40" fmla="*/ 11 w 149"/>
                  <a:gd name="T41" fmla="*/ 104 h 138"/>
                  <a:gd name="T42" fmla="*/ 27 w 149"/>
                  <a:gd name="T43" fmla="*/ 123 h 138"/>
                  <a:gd name="T44" fmla="*/ 50 w 149"/>
                  <a:gd name="T45" fmla="*/ 135 h 138"/>
                  <a:gd name="T46" fmla="*/ 70 w 149"/>
                  <a:gd name="T47" fmla="*/ 138 h 138"/>
                  <a:gd name="T48" fmla="*/ 146 w 149"/>
                  <a:gd name="T49" fmla="*/ 94 h 138"/>
                  <a:gd name="T50" fmla="*/ 146 w 149"/>
                  <a:gd name="T51" fmla="*/ 94 h 138"/>
                  <a:gd name="T52" fmla="*/ 147 w 149"/>
                  <a:gd name="T53" fmla="*/ 90 h 138"/>
                  <a:gd name="T54" fmla="*/ 149 w 149"/>
                  <a:gd name="T55" fmla="*/ 80 h 138"/>
                  <a:gd name="T56" fmla="*/ 144 w 149"/>
                  <a:gd name="T57" fmla="*/ 65 h 138"/>
                  <a:gd name="T58" fmla="*/ 145 w 149"/>
                  <a:gd name="T59" fmla="*/ 64 h 138"/>
                  <a:gd name="T60" fmla="*/ 147 w 149"/>
                  <a:gd name="T61" fmla="*/ 64 h 138"/>
                  <a:gd name="T62" fmla="*/ 149 w 149"/>
                  <a:gd name="T63" fmla="*/ 68 h 138"/>
                  <a:gd name="T64" fmla="*/ 137 w 149"/>
                  <a:gd name="T65" fmla="*/ 35 h 138"/>
                  <a:gd name="T66" fmla="*/ 97 w 149"/>
                  <a:gd name="T67" fmla="*/ 11 h 138"/>
                  <a:gd name="T68" fmla="*/ 98 w 149"/>
                  <a:gd name="T69" fmla="*/ 11 h 138"/>
                  <a:gd name="T70" fmla="*/ 98 w 149"/>
                  <a:gd name="T71" fmla="*/ 11 h 138"/>
                  <a:gd name="T72" fmla="*/ 100 w 149"/>
                  <a:gd name="T73" fmla="*/ 6 h 138"/>
                  <a:gd name="T74" fmla="*/ 75 w 149"/>
                  <a:gd name="T75" fmla="*/ 0 h 1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149" h="138">
                    <a:moveTo>
                      <a:pt x="17" y="40"/>
                    </a:moveTo>
                    <a:cubicBezTo>
                      <a:pt x="30" y="18"/>
                      <a:pt x="58" y="10"/>
                      <a:pt x="84" y="10"/>
                    </a:cubicBezTo>
                    <a:cubicBezTo>
                      <a:pt x="86" y="10"/>
                      <a:pt x="87" y="10"/>
                      <a:pt x="89" y="10"/>
                    </a:cubicBezTo>
                    <a:cubicBezTo>
                      <a:pt x="97" y="13"/>
                      <a:pt x="105" y="15"/>
                      <a:pt x="112" y="19"/>
                    </a:cubicBezTo>
                    <a:cubicBezTo>
                      <a:pt x="131" y="29"/>
                      <a:pt x="141" y="46"/>
                      <a:pt x="143" y="67"/>
                    </a:cubicBezTo>
                    <a:cubicBezTo>
                      <a:pt x="145" y="90"/>
                      <a:pt x="133" y="107"/>
                      <a:pt x="115" y="118"/>
                    </a:cubicBezTo>
                    <a:cubicBezTo>
                      <a:pt x="102" y="125"/>
                      <a:pt x="88" y="128"/>
                      <a:pt x="74" y="128"/>
                    </a:cubicBezTo>
                    <a:cubicBezTo>
                      <a:pt x="67" y="128"/>
                      <a:pt x="60" y="127"/>
                      <a:pt x="53" y="125"/>
                    </a:cubicBezTo>
                    <a:cubicBezTo>
                      <a:pt x="35" y="120"/>
                      <a:pt x="21" y="107"/>
                      <a:pt x="15" y="90"/>
                    </a:cubicBezTo>
                    <a:cubicBezTo>
                      <a:pt x="11" y="80"/>
                      <a:pt x="10" y="69"/>
                      <a:pt x="12" y="58"/>
                    </a:cubicBezTo>
                    <a:cubicBezTo>
                      <a:pt x="13" y="51"/>
                      <a:pt x="15" y="46"/>
                      <a:pt x="17" y="40"/>
                    </a:cubicBezTo>
                    <a:cubicBezTo>
                      <a:pt x="17" y="40"/>
                      <a:pt x="17" y="40"/>
                      <a:pt x="17" y="40"/>
                    </a:cubicBezTo>
                    <a:moveTo>
                      <a:pt x="75" y="0"/>
                    </a:moveTo>
                    <a:cubicBezTo>
                      <a:pt x="68" y="0"/>
                      <a:pt x="61" y="2"/>
                      <a:pt x="54" y="4"/>
                    </a:cubicBezTo>
                    <a:cubicBezTo>
                      <a:pt x="54" y="4"/>
                      <a:pt x="54" y="4"/>
                      <a:pt x="54" y="4"/>
                    </a:cubicBezTo>
                    <a:cubicBezTo>
                      <a:pt x="30" y="11"/>
                      <a:pt x="9" y="29"/>
                      <a:pt x="3" y="51"/>
                    </a:cubicBezTo>
                    <a:cubicBezTo>
                      <a:pt x="0" y="64"/>
                      <a:pt x="0" y="77"/>
                      <a:pt x="4" y="89"/>
                    </a:cubicBezTo>
                    <a:cubicBezTo>
                      <a:pt x="5" y="86"/>
                      <a:pt x="5" y="83"/>
                      <a:pt x="7" y="80"/>
                    </a:cubicBezTo>
                    <a:cubicBezTo>
                      <a:pt x="7" y="79"/>
                      <a:pt x="8" y="78"/>
                      <a:pt x="9" y="78"/>
                    </a:cubicBezTo>
                    <a:cubicBezTo>
                      <a:pt x="11" y="78"/>
                      <a:pt x="13" y="80"/>
                      <a:pt x="12" y="82"/>
                    </a:cubicBezTo>
                    <a:cubicBezTo>
                      <a:pt x="10" y="90"/>
                      <a:pt x="10" y="98"/>
                      <a:pt x="11" y="104"/>
                    </a:cubicBezTo>
                    <a:cubicBezTo>
                      <a:pt x="15" y="112"/>
                      <a:pt x="20" y="118"/>
                      <a:pt x="27" y="123"/>
                    </a:cubicBezTo>
                    <a:cubicBezTo>
                      <a:pt x="34" y="129"/>
                      <a:pt x="41" y="133"/>
                      <a:pt x="50" y="135"/>
                    </a:cubicBezTo>
                    <a:cubicBezTo>
                      <a:pt x="56" y="137"/>
                      <a:pt x="63" y="138"/>
                      <a:pt x="70" y="138"/>
                    </a:cubicBezTo>
                    <a:cubicBezTo>
                      <a:pt x="100" y="138"/>
                      <a:pt x="136" y="122"/>
                      <a:pt x="146" y="94"/>
                    </a:cubicBezTo>
                    <a:cubicBezTo>
                      <a:pt x="146" y="94"/>
                      <a:pt x="146" y="94"/>
                      <a:pt x="146" y="94"/>
                    </a:cubicBezTo>
                    <a:cubicBezTo>
                      <a:pt x="146" y="93"/>
                      <a:pt x="147" y="91"/>
                      <a:pt x="147" y="90"/>
                    </a:cubicBezTo>
                    <a:cubicBezTo>
                      <a:pt x="148" y="87"/>
                      <a:pt x="149" y="84"/>
                      <a:pt x="149" y="80"/>
                    </a:cubicBezTo>
                    <a:cubicBezTo>
                      <a:pt x="148" y="75"/>
                      <a:pt x="146" y="70"/>
                      <a:pt x="144" y="65"/>
                    </a:cubicBezTo>
                    <a:cubicBezTo>
                      <a:pt x="144" y="64"/>
                      <a:pt x="145" y="64"/>
                      <a:pt x="145" y="64"/>
                    </a:cubicBezTo>
                    <a:cubicBezTo>
                      <a:pt x="146" y="64"/>
                      <a:pt x="146" y="64"/>
                      <a:pt x="147" y="64"/>
                    </a:cubicBezTo>
                    <a:cubicBezTo>
                      <a:pt x="147" y="66"/>
                      <a:pt x="148" y="67"/>
                      <a:pt x="149" y="68"/>
                    </a:cubicBezTo>
                    <a:cubicBezTo>
                      <a:pt x="147" y="56"/>
                      <a:pt x="143" y="44"/>
                      <a:pt x="137" y="35"/>
                    </a:cubicBezTo>
                    <a:cubicBezTo>
                      <a:pt x="126" y="20"/>
                      <a:pt x="112" y="15"/>
                      <a:pt x="97" y="11"/>
                    </a:cubicBezTo>
                    <a:cubicBezTo>
                      <a:pt x="97" y="11"/>
                      <a:pt x="98" y="11"/>
                      <a:pt x="98" y="11"/>
                    </a:cubicBezTo>
                    <a:cubicBezTo>
                      <a:pt x="98" y="11"/>
                      <a:pt x="98" y="11"/>
                      <a:pt x="98" y="11"/>
                    </a:cubicBezTo>
                    <a:cubicBezTo>
                      <a:pt x="101" y="11"/>
                      <a:pt x="102" y="7"/>
                      <a:pt x="100" y="6"/>
                    </a:cubicBezTo>
                    <a:cubicBezTo>
                      <a:pt x="92" y="2"/>
                      <a:pt x="84" y="0"/>
                      <a:pt x="75" y="0"/>
                    </a:cubicBezTo>
                  </a:path>
                </a:pathLst>
              </a:custGeom>
              <a:solidFill>
                <a:srgbClr val="544D4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450" name="Freeform 122">
                <a:extLst>
                  <a:ext uri="{FF2B5EF4-FFF2-40B4-BE49-F238E27FC236}">
                    <a16:creationId xmlns:a16="http://schemas.microsoft.com/office/drawing/2014/main" id="{A2997C76-F22C-4FA2-80F4-6E16D0760121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218" y="2022"/>
                <a:ext cx="167" cy="106"/>
              </a:xfrm>
              <a:custGeom>
                <a:avLst/>
                <a:gdLst>
                  <a:gd name="T0" fmla="*/ 145 w 158"/>
                  <a:gd name="T1" fmla="*/ 0 h 100"/>
                  <a:gd name="T2" fmla="*/ 144 w 158"/>
                  <a:gd name="T3" fmla="*/ 1 h 100"/>
                  <a:gd name="T4" fmla="*/ 149 w 158"/>
                  <a:gd name="T5" fmla="*/ 16 h 100"/>
                  <a:gd name="T6" fmla="*/ 150 w 158"/>
                  <a:gd name="T7" fmla="*/ 24 h 100"/>
                  <a:gd name="T8" fmla="*/ 150 w 158"/>
                  <a:gd name="T9" fmla="*/ 24 h 100"/>
                  <a:gd name="T10" fmla="*/ 144 w 158"/>
                  <a:gd name="T11" fmla="*/ 65 h 100"/>
                  <a:gd name="T12" fmla="*/ 129 w 158"/>
                  <a:gd name="T13" fmla="*/ 81 h 100"/>
                  <a:gd name="T14" fmla="*/ 96 w 158"/>
                  <a:gd name="T15" fmla="*/ 94 h 100"/>
                  <a:gd name="T16" fmla="*/ 87 w 158"/>
                  <a:gd name="T17" fmla="*/ 95 h 100"/>
                  <a:gd name="T18" fmla="*/ 11 w 158"/>
                  <a:gd name="T19" fmla="*/ 40 h 100"/>
                  <a:gd name="T20" fmla="*/ 12 w 158"/>
                  <a:gd name="T21" fmla="*/ 18 h 100"/>
                  <a:gd name="T22" fmla="*/ 9 w 158"/>
                  <a:gd name="T23" fmla="*/ 14 h 100"/>
                  <a:gd name="T24" fmla="*/ 7 w 158"/>
                  <a:gd name="T25" fmla="*/ 16 h 100"/>
                  <a:gd name="T26" fmla="*/ 4 w 158"/>
                  <a:gd name="T27" fmla="*/ 25 h 100"/>
                  <a:gd name="T28" fmla="*/ 20 w 158"/>
                  <a:gd name="T29" fmla="*/ 77 h 100"/>
                  <a:gd name="T30" fmla="*/ 84 w 158"/>
                  <a:gd name="T31" fmla="*/ 100 h 100"/>
                  <a:gd name="T32" fmla="*/ 92 w 158"/>
                  <a:gd name="T33" fmla="*/ 100 h 100"/>
                  <a:gd name="T34" fmla="*/ 147 w 158"/>
                  <a:gd name="T35" fmla="*/ 68 h 100"/>
                  <a:gd name="T36" fmla="*/ 153 w 158"/>
                  <a:gd name="T37" fmla="*/ 17 h 100"/>
                  <a:gd name="T38" fmla="*/ 153 w 158"/>
                  <a:gd name="T39" fmla="*/ 17 h 100"/>
                  <a:gd name="T40" fmla="*/ 149 w 158"/>
                  <a:gd name="T41" fmla="*/ 4 h 100"/>
                  <a:gd name="T42" fmla="*/ 147 w 158"/>
                  <a:gd name="T43" fmla="*/ 0 h 100"/>
                  <a:gd name="T44" fmla="*/ 145 w 158"/>
                  <a:gd name="T45" fmla="*/ 0 h 1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158" h="100">
                    <a:moveTo>
                      <a:pt x="145" y="0"/>
                    </a:moveTo>
                    <a:cubicBezTo>
                      <a:pt x="145" y="0"/>
                      <a:pt x="144" y="0"/>
                      <a:pt x="144" y="1"/>
                    </a:cubicBezTo>
                    <a:cubicBezTo>
                      <a:pt x="146" y="6"/>
                      <a:pt x="148" y="11"/>
                      <a:pt x="149" y="16"/>
                    </a:cubicBezTo>
                    <a:cubicBezTo>
                      <a:pt x="149" y="19"/>
                      <a:pt x="150" y="21"/>
                      <a:pt x="150" y="24"/>
                    </a:cubicBezTo>
                    <a:cubicBezTo>
                      <a:pt x="150" y="24"/>
                      <a:pt x="150" y="24"/>
                      <a:pt x="150" y="24"/>
                    </a:cubicBezTo>
                    <a:cubicBezTo>
                      <a:pt x="153" y="38"/>
                      <a:pt x="152" y="51"/>
                      <a:pt x="144" y="65"/>
                    </a:cubicBezTo>
                    <a:cubicBezTo>
                      <a:pt x="140" y="71"/>
                      <a:pt x="135" y="77"/>
                      <a:pt x="129" y="81"/>
                    </a:cubicBezTo>
                    <a:cubicBezTo>
                      <a:pt x="120" y="88"/>
                      <a:pt x="108" y="93"/>
                      <a:pt x="96" y="94"/>
                    </a:cubicBezTo>
                    <a:cubicBezTo>
                      <a:pt x="93" y="95"/>
                      <a:pt x="90" y="95"/>
                      <a:pt x="87" y="95"/>
                    </a:cubicBezTo>
                    <a:cubicBezTo>
                      <a:pt x="52" y="95"/>
                      <a:pt x="15" y="75"/>
                      <a:pt x="11" y="40"/>
                    </a:cubicBezTo>
                    <a:cubicBezTo>
                      <a:pt x="10" y="34"/>
                      <a:pt x="10" y="26"/>
                      <a:pt x="12" y="18"/>
                    </a:cubicBezTo>
                    <a:cubicBezTo>
                      <a:pt x="13" y="16"/>
                      <a:pt x="11" y="14"/>
                      <a:pt x="9" y="14"/>
                    </a:cubicBezTo>
                    <a:cubicBezTo>
                      <a:pt x="8" y="14"/>
                      <a:pt x="7" y="15"/>
                      <a:pt x="7" y="16"/>
                    </a:cubicBezTo>
                    <a:cubicBezTo>
                      <a:pt x="5" y="19"/>
                      <a:pt x="5" y="22"/>
                      <a:pt x="4" y="25"/>
                    </a:cubicBezTo>
                    <a:cubicBezTo>
                      <a:pt x="0" y="43"/>
                      <a:pt x="8" y="62"/>
                      <a:pt x="20" y="77"/>
                    </a:cubicBezTo>
                    <a:cubicBezTo>
                      <a:pt x="35" y="95"/>
                      <a:pt x="61" y="100"/>
                      <a:pt x="84" y="100"/>
                    </a:cubicBezTo>
                    <a:cubicBezTo>
                      <a:pt x="87" y="100"/>
                      <a:pt x="89" y="100"/>
                      <a:pt x="92" y="100"/>
                    </a:cubicBezTo>
                    <a:cubicBezTo>
                      <a:pt x="117" y="99"/>
                      <a:pt x="136" y="86"/>
                      <a:pt x="147" y="68"/>
                    </a:cubicBezTo>
                    <a:cubicBezTo>
                      <a:pt x="156" y="53"/>
                      <a:pt x="158" y="35"/>
                      <a:pt x="153" y="17"/>
                    </a:cubicBezTo>
                    <a:cubicBezTo>
                      <a:pt x="153" y="17"/>
                      <a:pt x="153" y="17"/>
                      <a:pt x="153" y="17"/>
                    </a:cubicBezTo>
                    <a:cubicBezTo>
                      <a:pt x="152" y="13"/>
                      <a:pt x="151" y="8"/>
                      <a:pt x="149" y="4"/>
                    </a:cubicBezTo>
                    <a:cubicBezTo>
                      <a:pt x="148" y="3"/>
                      <a:pt x="147" y="2"/>
                      <a:pt x="147" y="0"/>
                    </a:cubicBezTo>
                    <a:cubicBezTo>
                      <a:pt x="146" y="0"/>
                      <a:pt x="146" y="0"/>
                      <a:pt x="145" y="0"/>
                    </a:cubicBezTo>
                  </a:path>
                </a:pathLst>
              </a:custGeom>
              <a:solidFill>
                <a:srgbClr val="544D4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451" name="Freeform 123">
                <a:extLst>
                  <a:ext uri="{FF2B5EF4-FFF2-40B4-BE49-F238E27FC236}">
                    <a16:creationId xmlns:a16="http://schemas.microsoft.com/office/drawing/2014/main" id="{82C0D58C-22DC-4D66-BC82-C834DC16B1F4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530" y="1866"/>
                <a:ext cx="190" cy="18"/>
              </a:xfrm>
              <a:custGeom>
                <a:avLst/>
                <a:gdLst>
                  <a:gd name="T0" fmla="*/ 100 w 179"/>
                  <a:gd name="T1" fmla="*/ 0 h 17"/>
                  <a:gd name="T2" fmla="*/ 95 w 179"/>
                  <a:gd name="T3" fmla="*/ 0 h 17"/>
                  <a:gd name="T4" fmla="*/ 73 w 179"/>
                  <a:gd name="T5" fmla="*/ 0 h 17"/>
                  <a:gd name="T6" fmla="*/ 64 w 179"/>
                  <a:gd name="T7" fmla="*/ 0 h 17"/>
                  <a:gd name="T8" fmla="*/ 56 w 179"/>
                  <a:gd name="T9" fmla="*/ 0 h 17"/>
                  <a:gd name="T10" fmla="*/ 3 w 179"/>
                  <a:gd name="T11" fmla="*/ 2 h 17"/>
                  <a:gd name="T12" fmla="*/ 3 w 179"/>
                  <a:gd name="T13" fmla="*/ 6 h 17"/>
                  <a:gd name="T14" fmla="*/ 3 w 179"/>
                  <a:gd name="T15" fmla="*/ 6 h 17"/>
                  <a:gd name="T16" fmla="*/ 95 w 179"/>
                  <a:gd name="T17" fmla="*/ 5 h 17"/>
                  <a:gd name="T18" fmla="*/ 100 w 179"/>
                  <a:gd name="T19" fmla="*/ 5 h 17"/>
                  <a:gd name="T20" fmla="*/ 177 w 179"/>
                  <a:gd name="T21" fmla="*/ 17 h 17"/>
                  <a:gd name="T22" fmla="*/ 177 w 179"/>
                  <a:gd name="T23" fmla="*/ 17 h 17"/>
                  <a:gd name="T24" fmla="*/ 178 w 179"/>
                  <a:gd name="T25" fmla="*/ 15 h 17"/>
                  <a:gd name="T26" fmla="*/ 100 w 179"/>
                  <a:gd name="T27" fmla="*/ 0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79" h="17">
                    <a:moveTo>
                      <a:pt x="100" y="0"/>
                    </a:moveTo>
                    <a:cubicBezTo>
                      <a:pt x="99" y="0"/>
                      <a:pt x="97" y="0"/>
                      <a:pt x="95" y="0"/>
                    </a:cubicBezTo>
                    <a:cubicBezTo>
                      <a:pt x="88" y="0"/>
                      <a:pt x="80" y="0"/>
                      <a:pt x="73" y="0"/>
                    </a:cubicBezTo>
                    <a:cubicBezTo>
                      <a:pt x="70" y="0"/>
                      <a:pt x="67" y="0"/>
                      <a:pt x="64" y="0"/>
                    </a:cubicBezTo>
                    <a:cubicBezTo>
                      <a:pt x="62" y="0"/>
                      <a:pt x="59" y="0"/>
                      <a:pt x="56" y="0"/>
                    </a:cubicBezTo>
                    <a:cubicBezTo>
                      <a:pt x="38" y="0"/>
                      <a:pt x="21" y="0"/>
                      <a:pt x="3" y="2"/>
                    </a:cubicBezTo>
                    <a:cubicBezTo>
                      <a:pt x="0" y="3"/>
                      <a:pt x="1" y="6"/>
                      <a:pt x="3" y="6"/>
                    </a:cubicBezTo>
                    <a:cubicBezTo>
                      <a:pt x="3" y="6"/>
                      <a:pt x="3" y="6"/>
                      <a:pt x="3" y="6"/>
                    </a:cubicBezTo>
                    <a:cubicBezTo>
                      <a:pt x="34" y="6"/>
                      <a:pt x="64" y="6"/>
                      <a:pt x="95" y="5"/>
                    </a:cubicBezTo>
                    <a:cubicBezTo>
                      <a:pt x="97" y="5"/>
                      <a:pt x="99" y="5"/>
                      <a:pt x="100" y="5"/>
                    </a:cubicBezTo>
                    <a:cubicBezTo>
                      <a:pt x="127" y="5"/>
                      <a:pt x="151" y="11"/>
                      <a:pt x="177" y="17"/>
                    </a:cubicBezTo>
                    <a:cubicBezTo>
                      <a:pt x="177" y="17"/>
                      <a:pt x="177" y="17"/>
                      <a:pt x="177" y="17"/>
                    </a:cubicBezTo>
                    <a:cubicBezTo>
                      <a:pt x="179" y="17"/>
                      <a:pt x="179" y="15"/>
                      <a:pt x="178" y="15"/>
                    </a:cubicBezTo>
                    <a:cubicBezTo>
                      <a:pt x="152" y="6"/>
                      <a:pt x="128" y="0"/>
                      <a:pt x="100" y="0"/>
                    </a:cubicBezTo>
                  </a:path>
                </a:pathLst>
              </a:custGeom>
              <a:solidFill>
                <a:srgbClr val="544D4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452" name="Freeform 124">
                <a:extLst>
                  <a:ext uri="{FF2B5EF4-FFF2-40B4-BE49-F238E27FC236}">
                    <a16:creationId xmlns:a16="http://schemas.microsoft.com/office/drawing/2014/main" id="{7A492353-659B-4C6E-AB22-BB4BF97D12C2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248" y="1782"/>
                <a:ext cx="204" cy="66"/>
              </a:xfrm>
              <a:custGeom>
                <a:avLst/>
                <a:gdLst>
                  <a:gd name="T0" fmla="*/ 10 w 192"/>
                  <a:gd name="T1" fmla="*/ 0 h 63"/>
                  <a:gd name="T2" fmla="*/ 2 w 192"/>
                  <a:gd name="T3" fmla="*/ 0 h 63"/>
                  <a:gd name="T4" fmla="*/ 2 w 192"/>
                  <a:gd name="T5" fmla="*/ 4 h 63"/>
                  <a:gd name="T6" fmla="*/ 24 w 192"/>
                  <a:gd name="T7" fmla="*/ 6 h 63"/>
                  <a:gd name="T8" fmla="*/ 24 w 192"/>
                  <a:gd name="T9" fmla="*/ 6 h 63"/>
                  <a:gd name="T10" fmla="*/ 100 w 192"/>
                  <a:gd name="T11" fmla="*/ 39 h 63"/>
                  <a:gd name="T12" fmla="*/ 192 w 192"/>
                  <a:gd name="T13" fmla="*/ 63 h 63"/>
                  <a:gd name="T14" fmla="*/ 192 w 192"/>
                  <a:gd name="T15" fmla="*/ 63 h 63"/>
                  <a:gd name="T16" fmla="*/ 86 w 192"/>
                  <a:gd name="T17" fmla="*/ 24 h 63"/>
                  <a:gd name="T18" fmla="*/ 15 w 192"/>
                  <a:gd name="T19" fmla="*/ 0 h 63"/>
                  <a:gd name="T20" fmla="*/ 15 w 192"/>
                  <a:gd name="T21" fmla="*/ 0 h 63"/>
                  <a:gd name="T22" fmla="*/ 10 w 192"/>
                  <a:gd name="T23" fmla="*/ 0 h 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92" h="63">
                    <a:moveTo>
                      <a:pt x="10" y="0"/>
                    </a:moveTo>
                    <a:cubicBezTo>
                      <a:pt x="8" y="0"/>
                      <a:pt x="5" y="0"/>
                      <a:pt x="2" y="0"/>
                    </a:cubicBezTo>
                    <a:cubicBezTo>
                      <a:pt x="0" y="0"/>
                      <a:pt x="0" y="4"/>
                      <a:pt x="2" y="4"/>
                    </a:cubicBezTo>
                    <a:cubicBezTo>
                      <a:pt x="10" y="4"/>
                      <a:pt x="17" y="5"/>
                      <a:pt x="24" y="6"/>
                    </a:cubicBezTo>
                    <a:cubicBezTo>
                      <a:pt x="24" y="6"/>
                      <a:pt x="24" y="6"/>
                      <a:pt x="24" y="6"/>
                    </a:cubicBezTo>
                    <a:cubicBezTo>
                      <a:pt x="51" y="12"/>
                      <a:pt x="75" y="27"/>
                      <a:pt x="100" y="39"/>
                    </a:cubicBezTo>
                    <a:cubicBezTo>
                      <a:pt x="129" y="53"/>
                      <a:pt x="160" y="62"/>
                      <a:pt x="192" y="63"/>
                    </a:cubicBezTo>
                    <a:cubicBezTo>
                      <a:pt x="192" y="63"/>
                      <a:pt x="192" y="63"/>
                      <a:pt x="192" y="63"/>
                    </a:cubicBezTo>
                    <a:cubicBezTo>
                      <a:pt x="154" y="58"/>
                      <a:pt x="119" y="42"/>
                      <a:pt x="86" y="24"/>
                    </a:cubicBezTo>
                    <a:cubicBezTo>
                      <a:pt x="63" y="12"/>
                      <a:pt x="40" y="1"/>
                      <a:pt x="15" y="0"/>
                    </a:cubicBezTo>
                    <a:cubicBezTo>
                      <a:pt x="15" y="0"/>
                      <a:pt x="15" y="0"/>
                      <a:pt x="15" y="0"/>
                    </a:cubicBezTo>
                    <a:cubicBezTo>
                      <a:pt x="13" y="0"/>
                      <a:pt x="12" y="0"/>
                      <a:pt x="10" y="0"/>
                    </a:cubicBezTo>
                  </a:path>
                </a:pathLst>
              </a:custGeom>
              <a:solidFill>
                <a:srgbClr val="544D4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453" name="Freeform 125">
                <a:extLst>
                  <a:ext uri="{FF2B5EF4-FFF2-40B4-BE49-F238E27FC236}">
                    <a16:creationId xmlns:a16="http://schemas.microsoft.com/office/drawing/2014/main" id="{748341D7-E654-4BCE-9CA5-F7F17045A830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7227" y="645"/>
                <a:ext cx="104" cy="2387"/>
              </a:xfrm>
              <a:custGeom>
                <a:avLst/>
                <a:gdLst>
                  <a:gd name="T0" fmla="*/ 28 w 98"/>
                  <a:gd name="T1" fmla="*/ 5 h 2255"/>
                  <a:gd name="T2" fmla="*/ 13 w 98"/>
                  <a:gd name="T3" fmla="*/ 436 h 2255"/>
                  <a:gd name="T4" fmla="*/ 4 w 98"/>
                  <a:gd name="T5" fmla="*/ 879 h 2255"/>
                  <a:gd name="T6" fmla="*/ 31 w 98"/>
                  <a:gd name="T7" fmla="*/ 1320 h 2255"/>
                  <a:gd name="T8" fmla="*/ 51 w 98"/>
                  <a:gd name="T9" fmla="*/ 1761 h 2255"/>
                  <a:gd name="T10" fmla="*/ 62 w 98"/>
                  <a:gd name="T11" fmla="*/ 2000 h 2255"/>
                  <a:gd name="T12" fmla="*/ 83 w 98"/>
                  <a:gd name="T13" fmla="*/ 2245 h 2255"/>
                  <a:gd name="T14" fmla="*/ 98 w 98"/>
                  <a:gd name="T15" fmla="*/ 2243 h 2255"/>
                  <a:gd name="T16" fmla="*/ 80 w 98"/>
                  <a:gd name="T17" fmla="*/ 2031 h 2255"/>
                  <a:gd name="T18" fmla="*/ 70 w 98"/>
                  <a:gd name="T19" fmla="*/ 1815 h 2255"/>
                  <a:gd name="T20" fmla="*/ 51 w 98"/>
                  <a:gd name="T21" fmla="*/ 1375 h 2255"/>
                  <a:gd name="T22" fmla="*/ 22 w 98"/>
                  <a:gd name="T23" fmla="*/ 934 h 2255"/>
                  <a:gd name="T24" fmla="*/ 25 w 98"/>
                  <a:gd name="T25" fmla="*/ 493 h 2255"/>
                  <a:gd name="T26" fmla="*/ 37 w 98"/>
                  <a:gd name="T27" fmla="*/ 245 h 2255"/>
                  <a:gd name="T28" fmla="*/ 35 w 98"/>
                  <a:gd name="T29" fmla="*/ 4 h 2255"/>
                  <a:gd name="T30" fmla="*/ 28 w 98"/>
                  <a:gd name="T31" fmla="*/ 5 h 22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98" h="2255">
                    <a:moveTo>
                      <a:pt x="28" y="5"/>
                    </a:moveTo>
                    <a:cubicBezTo>
                      <a:pt x="31" y="149"/>
                      <a:pt x="21" y="292"/>
                      <a:pt x="13" y="436"/>
                    </a:cubicBezTo>
                    <a:cubicBezTo>
                      <a:pt x="4" y="583"/>
                      <a:pt x="0" y="731"/>
                      <a:pt x="4" y="879"/>
                    </a:cubicBezTo>
                    <a:cubicBezTo>
                      <a:pt x="8" y="1026"/>
                      <a:pt x="22" y="1173"/>
                      <a:pt x="31" y="1320"/>
                    </a:cubicBezTo>
                    <a:cubicBezTo>
                      <a:pt x="41" y="1467"/>
                      <a:pt x="45" y="1614"/>
                      <a:pt x="51" y="1761"/>
                    </a:cubicBezTo>
                    <a:cubicBezTo>
                      <a:pt x="55" y="1841"/>
                      <a:pt x="59" y="1920"/>
                      <a:pt x="62" y="2000"/>
                    </a:cubicBezTo>
                    <a:cubicBezTo>
                      <a:pt x="66" y="2082"/>
                      <a:pt x="75" y="2164"/>
                      <a:pt x="83" y="2245"/>
                    </a:cubicBezTo>
                    <a:cubicBezTo>
                      <a:pt x="84" y="2255"/>
                      <a:pt x="98" y="2253"/>
                      <a:pt x="98" y="2243"/>
                    </a:cubicBezTo>
                    <a:cubicBezTo>
                      <a:pt x="95" y="2172"/>
                      <a:pt x="83" y="2102"/>
                      <a:pt x="80" y="2031"/>
                    </a:cubicBezTo>
                    <a:cubicBezTo>
                      <a:pt x="76" y="1959"/>
                      <a:pt x="73" y="1887"/>
                      <a:pt x="70" y="1815"/>
                    </a:cubicBezTo>
                    <a:cubicBezTo>
                      <a:pt x="64" y="1668"/>
                      <a:pt x="60" y="1521"/>
                      <a:pt x="51" y="1375"/>
                    </a:cubicBezTo>
                    <a:cubicBezTo>
                      <a:pt x="42" y="1228"/>
                      <a:pt x="28" y="1081"/>
                      <a:pt x="22" y="934"/>
                    </a:cubicBezTo>
                    <a:cubicBezTo>
                      <a:pt x="16" y="787"/>
                      <a:pt x="18" y="640"/>
                      <a:pt x="25" y="493"/>
                    </a:cubicBezTo>
                    <a:cubicBezTo>
                      <a:pt x="29" y="411"/>
                      <a:pt x="34" y="328"/>
                      <a:pt x="37" y="245"/>
                    </a:cubicBezTo>
                    <a:cubicBezTo>
                      <a:pt x="40" y="165"/>
                      <a:pt x="43" y="85"/>
                      <a:pt x="35" y="4"/>
                    </a:cubicBezTo>
                    <a:cubicBezTo>
                      <a:pt x="35" y="0"/>
                      <a:pt x="27" y="0"/>
                      <a:pt x="28" y="5"/>
                    </a:cubicBezTo>
                    <a:close/>
                  </a:path>
                </a:pathLst>
              </a:custGeom>
              <a:solidFill>
                <a:srgbClr val="04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454" name="Freeform 126">
                <a:extLst>
                  <a:ext uri="{FF2B5EF4-FFF2-40B4-BE49-F238E27FC236}">
                    <a16:creationId xmlns:a16="http://schemas.microsoft.com/office/drawing/2014/main" id="{98017A7C-6177-4E3B-BB50-710C4BFF0CBD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992" y="1102"/>
                <a:ext cx="204" cy="163"/>
              </a:xfrm>
              <a:custGeom>
                <a:avLst/>
                <a:gdLst>
                  <a:gd name="T0" fmla="*/ 2 w 193"/>
                  <a:gd name="T1" fmla="*/ 53 h 154"/>
                  <a:gd name="T2" fmla="*/ 26 w 193"/>
                  <a:gd name="T3" fmla="*/ 27 h 154"/>
                  <a:gd name="T4" fmla="*/ 34 w 193"/>
                  <a:gd name="T5" fmla="*/ 25 h 154"/>
                  <a:gd name="T6" fmla="*/ 54 w 193"/>
                  <a:gd name="T7" fmla="*/ 51 h 154"/>
                  <a:gd name="T8" fmla="*/ 110 w 193"/>
                  <a:gd name="T9" fmla="*/ 23 h 154"/>
                  <a:gd name="T10" fmla="*/ 104 w 193"/>
                  <a:gd name="T11" fmla="*/ 2 h 154"/>
                  <a:gd name="T12" fmla="*/ 106 w 193"/>
                  <a:gd name="T13" fmla="*/ 1 h 154"/>
                  <a:gd name="T14" fmla="*/ 124 w 193"/>
                  <a:gd name="T15" fmla="*/ 1 h 154"/>
                  <a:gd name="T16" fmla="*/ 156 w 193"/>
                  <a:gd name="T17" fmla="*/ 20 h 154"/>
                  <a:gd name="T18" fmla="*/ 161 w 193"/>
                  <a:gd name="T19" fmla="*/ 33 h 154"/>
                  <a:gd name="T20" fmla="*/ 139 w 193"/>
                  <a:gd name="T21" fmla="*/ 60 h 154"/>
                  <a:gd name="T22" fmla="*/ 168 w 193"/>
                  <a:gd name="T23" fmla="*/ 98 h 154"/>
                  <a:gd name="T24" fmla="*/ 189 w 193"/>
                  <a:gd name="T25" fmla="*/ 96 h 154"/>
                  <a:gd name="T26" fmla="*/ 189 w 193"/>
                  <a:gd name="T27" fmla="*/ 98 h 154"/>
                  <a:gd name="T28" fmla="*/ 170 w 193"/>
                  <a:gd name="T29" fmla="*/ 139 h 154"/>
                  <a:gd name="T30" fmla="*/ 149 w 193"/>
                  <a:gd name="T31" fmla="*/ 139 h 154"/>
                  <a:gd name="T32" fmla="*/ 113 w 193"/>
                  <a:gd name="T33" fmla="*/ 119 h 154"/>
                  <a:gd name="T34" fmla="*/ 109 w 193"/>
                  <a:gd name="T35" fmla="*/ 120 h 154"/>
                  <a:gd name="T36" fmla="*/ 91 w 193"/>
                  <a:gd name="T37" fmla="*/ 124 h 154"/>
                  <a:gd name="T38" fmla="*/ 78 w 193"/>
                  <a:gd name="T39" fmla="*/ 150 h 154"/>
                  <a:gd name="T40" fmla="*/ 78 w 193"/>
                  <a:gd name="T41" fmla="*/ 153 h 154"/>
                  <a:gd name="T42" fmla="*/ 60 w 193"/>
                  <a:gd name="T43" fmla="*/ 154 h 154"/>
                  <a:gd name="T44" fmla="*/ 17 w 193"/>
                  <a:gd name="T45" fmla="*/ 124 h 154"/>
                  <a:gd name="T46" fmla="*/ 40 w 193"/>
                  <a:gd name="T47" fmla="*/ 103 h 154"/>
                  <a:gd name="T48" fmla="*/ 39 w 193"/>
                  <a:gd name="T49" fmla="*/ 75 h 154"/>
                  <a:gd name="T50" fmla="*/ 4 w 193"/>
                  <a:gd name="T51" fmla="*/ 64 h 154"/>
                  <a:gd name="T52" fmla="*/ 1 w 193"/>
                  <a:gd name="T53" fmla="*/ 60 h 154"/>
                  <a:gd name="T54" fmla="*/ 2 w 193"/>
                  <a:gd name="T55" fmla="*/ 53 h 1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193" h="154">
                    <a:moveTo>
                      <a:pt x="2" y="53"/>
                    </a:moveTo>
                    <a:cubicBezTo>
                      <a:pt x="8" y="43"/>
                      <a:pt x="14" y="34"/>
                      <a:pt x="26" y="27"/>
                    </a:cubicBezTo>
                    <a:cubicBezTo>
                      <a:pt x="34" y="25"/>
                      <a:pt x="34" y="25"/>
                      <a:pt x="34" y="25"/>
                    </a:cubicBezTo>
                    <a:cubicBezTo>
                      <a:pt x="37" y="36"/>
                      <a:pt x="44" y="47"/>
                      <a:pt x="54" y="51"/>
                    </a:cubicBezTo>
                    <a:cubicBezTo>
                      <a:pt x="75" y="61"/>
                      <a:pt x="106" y="47"/>
                      <a:pt x="110" y="23"/>
                    </a:cubicBezTo>
                    <a:cubicBezTo>
                      <a:pt x="111" y="16"/>
                      <a:pt x="108" y="8"/>
                      <a:pt x="104" y="2"/>
                    </a:cubicBezTo>
                    <a:cubicBezTo>
                      <a:pt x="106" y="1"/>
                      <a:pt x="106" y="1"/>
                      <a:pt x="106" y="1"/>
                    </a:cubicBezTo>
                    <a:cubicBezTo>
                      <a:pt x="111" y="2"/>
                      <a:pt x="117" y="0"/>
                      <a:pt x="124" y="1"/>
                    </a:cubicBezTo>
                    <a:cubicBezTo>
                      <a:pt x="136" y="3"/>
                      <a:pt x="147" y="10"/>
                      <a:pt x="156" y="20"/>
                    </a:cubicBezTo>
                    <a:cubicBezTo>
                      <a:pt x="161" y="33"/>
                      <a:pt x="161" y="33"/>
                      <a:pt x="161" y="33"/>
                    </a:cubicBezTo>
                    <a:cubicBezTo>
                      <a:pt x="149" y="39"/>
                      <a:pt x="139" y="50"/>
                      <a:pt x="139" y="60"/>
                    </a:cubicBezTo>
                    <a:cubicBezTo>
                      <a:pt x="137" y="82"/>
                      <a:pt x="149" y="95"/>
                      <a:pt x="168" y="98"/>
                    </a:cubicBezTo>
                    <a:cubicBezTo>
                      <a:pt x="176" y="98"/>
                      <a:pt x="183" y="98"/>
                      <a:pt x="189" y="96"/>
                    </a:cubicBezTo>
                    <a:cubicBezTo>
                      <a:pt x="189" y="98"/>
                      <a:pt x="189" y="98"/>
                      <a:pt x="189" y="98"/>
                    </a:cubicBezTo>
                    <a:cubicBezTo>
                      <a:pt x="193" y="114"/>
                      <a:pt x="180" y="128"/>
                      <a:pt x="170" y="139"/>
                    </a:cubicBezTo>
                    <a:cubicBezTo>
                      <a:pt x="149" y="139"/>
                      <a:pt x="149" y="139"/>
                      <a:pt x="149" y="139"/>
                    </a:cubicBezTo>
                    <a:cubicBezTo>
                      <a:pt x="144" y="127"/>
                      <a:pt x="127" y="121"/>
                      <a:pt x="113" y="119"/>
                    </a:cubicBezTo>
                    <a:cubicBezTo>
                      <a:pt x="109" y="120"/>
                      <a:pt x="109" y="120"/>
                      <a:pt x="109" y="120"/>
                    </a:cubicBezTo>
                    <a:cubicBezTo>
                      <a:pt x="102" y="124"/>
                      <a:pt x="97" y="120"/>
                      <a:pt x="91" y="124"/>
                    </a:cubicBezTo>
                    <a:cubicBezTo>
                      <a:pt x="82" y="126"/>
                      <a:pt x="79" y="143"/>
                      <a:pt x="78" y="150"/>
                    </a:cubicBezTo>
                    <a:cubicBezTo>
                      <a:pt x="78" y="151"/>
                      <a:pt x="78" y="152"/>
                      <a:pt x="78" y="153"/>
                    </a:cubicBezTo>
                    <a:cubicBezTo>
                      <a:pt x="60" y="154"/>
                      <a:pt x="60" y="154"/>
                      <a:pt x="60" y="154"/>
                    </a:cubicBezTo>
                    <a:cubicBezTo>
                      <a:pt x="45" y="153"/>
                      <a:pt x="22" y="141"/>
                      <a:pt x="17" y="124"/>
                    </a:cubicBezTo>
                    <a:cubicBezTo>
                      <a:pt x="27" y="120"/>
                      <a:pt x="36" y="113"/>
                      <a:pt x="40" y="103"/>
                    </a:cubicBezTo>
                    <a:cubicBezTo>
                      <a:pt x="45" y="92"/>
                      <a:pt x="45" y="83"/>
                      <a:pt x="39" y="75"/>
                    </a:cubicBezTo>
                    <a:cubicBezTo>
                      <a:pt x="29" y="64"/>
                      <a:pt x="15" y="64"/>
                      <a:pt x="4" y="64"/>
                    </a:cubicBezTo>
                    <a:cubicBezTo>
                      <a:pt x="1" y="60"/>
                      <a:pt x="1" y="60"/>
                      <a:pt x="1" y="60"/>
                    </a:cubicBezTo>
                    <a:cubicBezTo>
                      <a:pt x="0" y="58"/>
                      <a:pt x="2" y="56"/>
                      <a:pt x="2" y="53"/>
                    </a:cubicBezTo>
                    <a:close/>
                  </a:path>
                </a:pathLst>
              </a:custGeom>
              <a:solidFill>
                <a:srgbClr val="F6B84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455" name="Freeform 127">
                <a:extLst>
                  <a:ext uri="{FF2B5EF4-FFF2-40B4-BE49-F238E27FC236}">
                    <a16:creationId xmlns:a16="http://schemas.microsoft.com/office/drawing/2014/main" id="{231DE5A7-E430-4165-B1AA-FFD63CD79D30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335" y="1267"/>
                <a:ext cx="40" cy="38"/>
              </a:xfrm>
              <a:custGeom>
                <a:avLst/>
                <a:gdLst>
                  <a:gd name="T0" fmla="*/ 31 w 38"/>
                  <a:gd name="T1" fmla="*/ 19 h 36"/>
                  <a:gd name="T2" fmla="*/ 38 w 38"/>
                  <a:gd name="T3" fmla="*/ 31 h 36"/>
                  <a:gd name="T4" fmla="*/ 38 w 38"/>
                  <a:gd name="T5" fmla="*/ 31 h 36"/>
                  <a:gd name="T6" fmla="*/ 24 w 38"/>
                  <a:gd name="T7" fmla="*/ 32 h 36"/>
                  <a:gd name="T8" fmla="*/ 1 w 38"/>
                  <a:gd name="T9" fmla="*/ 32 h 36"/>
                  <a:gd name="T10" fmla="*/ 1 w 38"/>
                  <a:gd name="T11" fmla="*/ 30 h 36"/>
                  <a:gd name="T12" fmla="*/ 0 w 38"/>
                  <a:gd name="T13" fmla="*/ 26 h 36"/>
                  <a:gd name="T14" fmla="*/ 17 w 38"/>
                  <a:gd name="T15" fmla="*/ 1 h 36"/>
                  <a:gd name="T16" fmla="*/ 19 w 38"/>
                  <a:gd name="T17" fmla="*/ 0 h 36"/>
                  <a:gd name="T18" fmla="*/ 23 w 38"/>
                  <a:gd name="T19" fmla="*/ 4 h 36"/>
                  <a:gd name="T20" fmla="*/ 31 w 38"/>
                  <a:gd name="T21" fmla="*/ 19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38" h="36">
                    <a:moveTo>
                      <a:pt x="31" y="19"/>
                    </a:moveTo>
                    <a:cubicBezTo>
                      <a:pt x="31" y="21"/>
                      <a:pt x="34" y="28"/>
                      <a:pt x="38" y="31"/>
                    </a:cubicBezTo>
                    <a:cubicBezTo>
                      <a:pt x="38" y="31"/>
                      <a:pt x="38" y="31"/>
                      <a:pt x="38" y="31"/>
                    </a:cubicBezTo>
                    <a:cubicBezTo>
                      <a:pt x="36" y="36"/>
                      <a:pt x="29" y="33"/>
                      <a:pt x="24" y="32"/>
                    </a:cubicBezTo>
                    <a:cubicBezTo>
                      <a:pt x="17" y="30"/>
                      <a:pt x="9" y="31"/>
                      <a:pt x="1" y="32"/>
                    </a:cubicBezTo>
                    <a:cubicBezTo>
                      <a:pt x="1" y="30"/>
                      <a:pt x="1" y="30"/>
                      <a:pt x="1" y="30"/>
                    </a:cubicBezTo>
                    <a:cubicBezTo>
                      <a:pt x="0" y="28"/>
                      <a:pt x="0" y="26"/>
                      <a:pt x="0" y="26"/>
                    </a:cubicBezTo>
                    <a:cubicBezTo>
                      <a:pt x="3" y="18"/>
                      <a:pt x="12" y="7"/>
                      <a:pt x="17" y="1"/>
                    </a:cubicBezTo>
                    <a:cubicBezTo>
                      <a:pt x="19" y="0"/>
                      <a:pt x="19" y="0"/>
                      <a:pt x="19" y="0"/>
                    </a:cubicBezTo>
                    <a:cubicBezTo>
                      <a:pt x="20" y="2"/>
                      <a:pt x="21" y="3"/>
                      <a:pt x="23" y="4"/>
                    </a:cubicBezTo>
                    <a:cubicBezTo>
                      <a:pt x="26" y="8"/>
                      <a:pt x="27" y="15"/>
                      <a:pt x="31" y="19"/>
                    </a:cubicBezTo>
                    <a:close/>
                  </a:path>
                </a:pathLst>
              </a:custGeom>
              <a:solidFill>
                <a:srgbClr val="3C3C3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456" name="Freeform 128">
                <a:extLst>
                  <a:ext uri="{FF2B5EF4-FFF2-40B4-BE49-F238E27FC236}">
                    <a16:creationId xmlns:a16="http://schemas.microsoft.com/office/drawing/2014/main" id="{D4561D97-9DDC-42AF-9681-D33D70EDDDCD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425" y="1244"/>
                <a:ext cx="39" cy="45"/>
              </a:xfrm>
              <a:custGeom>
                <a:avLst/>
                <a:gdLst>
                  <a:gd name="T0" fmla="*/ 0 w 37"/>
                  <a:gd name="T1" fmla="*/ 43 h 43"/>
                  <a:gd name="T2" fmla="*/ 4 w 37"/>
                  <a:gd name="T3" fmla="*/ 0 h 43"/>
                  <a:gd name="T4" fmla="*/ 10 w 37"/>
                  <a:gd name="T5" fmla="*/ 1 h 43"/>
                  <a:gd name="T6" fmla="*/ 21 w 37"/>
                  <a:gd name="T7" fmla="*/ 4 h 43"/>
                  <a:gd name="T8" fmla="*/ 34 w 37"/>
                  <a:gd name="T9" fmla="*/ 10 h 43"/>
                  <a:gd name="T10" fmla="*/ 37 w 37"/>
                  <a:gd name="T11" fmla="*/ 12 h 43"/>
                  <a:gd name="T12" fmla="*/ 23 w 37"/>
                  <a:gd name="T13" fmla="*/ 24 h 43"/>
                  <a:gd name="T14" fmla="*/ 0 w 37"/>
                  <a:gd name="T15" fmla="*/ 43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7" h="43">
                    <a:moveTo>
                      <a:pt x="0" y="43"/>
                    </a:moveTo>
                    <a:cubicBezTo>
                      <a:pt x="3" y="29"/>
                      <a:pt x="0" y="14"/>
                      <a:pt x="4" y="0"/>
                    </a:cubicBezTo>
                    <a:cubicBezTo>
                      <a:pt x="6" y="0"/>
                      <a:pt x="8" y="0"/>
                      <a:pt x="10" y="1"/>
                    </a:cubicBezTo>
                    <a:cubicBezTo>
                      <a:pt x="14" y="2"/>
                      <a:pt x="18" y="3"/>
                      <a:pt x="21" y="4"/>
                    </a:cubicBezTo>
                    <a:cubicBezTo>
                      <a:pt x="23" y="5"/>
                      <a:pt x="29" y="9"/>
                      <a:pt x="34" y="10"/>
                    </a:cubicBezTo>
                    <a:cubicBezTo>
                      <a:pt x="37" y="12"/>
                      <a:pt x="37" y="12"/>
                      <a:pt x="37" y="12"/>
                    </a:cubicBezTo>
                    <a:cubicBezTo>
                      <a:pt x="31" y="15"/>
                      <a:pt x="27" y="20"/>
                      <a:pt x="23" y="24"/>
                    </a:cubicBezTo>
                    <a:cubicBezTo>
                      <a:pt x="17" y="30"/>
                      <a:pt x="9" y="40"/>
                      <a:pt x="0" y="43"/>
                    </a:cubicBezTo>
                    <a:close/>
                  </a:path>
                </a:pathLst>
              </a:custGeom>
              <a:solidFill>
                <a:srgbClr val="3C3C3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457" name="Freeform 129">
                <a:extLst>
                  <a:ext uri="{FF2B5EF4-FFF2-40B4-BE49-F238E27FC236}">
                    <a16:creationId xmlns:a16="http://schemas.microsoft.com/office/drawing/2014/main" id="{D9C613CD-0F87-476B-8122-A65B072550F5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311" y="1238"/>
                <a:ext cx="191" cy="191"/>
              </a:xfrm>
              <a:custGeom>
                <a:avLst/>
                <a:gdLst>
                  <a:gd name="T0" fmla="*/ 24 w 181"/>
                  <a:gd name="T1" fmla="*/ 154 h 180"/>
                  <a:gd name="T2" fmla="*/ 11 w 181"/>
                  <a:gd name="T3" fmla="*/ 127 h 180"/>
                  <a:gd name="T4" fmla="*/ 10 w 181"/>
                  <a:gd name="T5" fmla="*/ 113 h 180"/>
                  <a:gd name="T6" fmla="*/ 8 w 181"/>
                  <a:gd name="T7" fmla="*/ 114 h 180"/>
                  <a:gd name="T8" fmla="*/ 8 w 181"/>
                  <a:gd name="T9" fmla="*/ 114 h 180"/>
                  <a:gd name="T10" fmla="*/ 8 w 181"/>
                  <a:gd name="T11" fmla="*/ 113 h 180"/>
                  <a:gd name="T12" fmla="*/ 5 w 181"/>
                  <a:gd name="T13" fmla="*/ 98 h 180"/>
                  <a:gd name="T14" fmla="*/ 3 w 181"/>
                  <a:gd name="T15" fmla="*/ 78 h 180"/>
                  <a:gd name="T16" fmla="*/ 4 w 181"/>
                  <a:gd name="T17" fmla="*/ 64 h 180"/>
                  <a:gd name="T18" fmla="*/ 15 w 181"/>
                  <a:gd name="T19" fmla="*/ 61 h 180"/>
                  <a:gd name="T20" fmla="*/ 24 w 181"/>
                  <a:gd name="T21" fmla="*/ 59 h 180"/>
                  <a:gd name="T22" fmla="*/ 47 w 181"/>
                  <a:gd name="T23" fmla="*/ 59 h 180"/>
                  <a:gd name="T24" fmla="*/ 61 w 181"/>
                  <a:gd name="T25" fmla="*/ 58 h 180"/>
                  <a:gd name="T26" fmla="*/ 61 w 181"/>
                  <a:gd name="T27" fmla="*/ 58 h 180"/>
                  <a:gd name="T28" fmla="*/ 54 w 181"/>
                  <a:gd name="T29" fmla="*/ 46 h 180"/>
                  <a:gd name="T30" fmla="*/ 46 w 181"/>
                  <a:gd name="T31" fmla="*/ 31 h 180"/>
                  <a:gd name="T32" fmla="*/ 42 w 181"/>
                  <a:gd name="T33" fmla="*/ 27 h 180"/>
                  <a:gd name="T34" fmla="*/ 39 w 181"/>
                  <a:gd name="T35" fmla="*/ 21 h 180"/>
                  <a:gd name="T36" fmla="*/ 97 w 181"/>
                  <a:gd name="T37" fmla="*/ 2 h 180"/>
                  <a:gd name="T38" fmla="*/ 118 w 181"/>
                  <a:gd name="T39" fmla="*/ 4 h 180"/>
                  <a:gd name="T40" fmla="*/ 118 w 181"/>
                  <a:gd name="T41" fmla="*/ 6 h 180"/>
                  <a:gd name="T42" fmla="*/ 112 w 181"/>
                  <a:gd name="T43" fmla="*/ 5 h 180"/>
                  <a:gd name="T44" fmla="*/ 108 w 181"/>
                  <a:gd name="T45" fmla="*/ 48 h 180"/>
                  <a:gd name="T46" fmla="*/ 131 w 181"/>
                  <a:gd name="T47" fmla="*/ 29 h 180"/>
                  <a:gd name="T48" fmla="*/ 145 w 181"/>
                  <a:gd name="T49" fmla="*/ 17 h 180"/>
                  <a:gd name="T50" fmla="*/ 147 w 181"/>
                  <a:gd name="T51" fmla="*/ 15 h 180"/>
                  <a:gd name="T52" fmla="*/ 153 w 181"/>
                  <a:gd name="T53" fmla="*/ 15 h 180"/>
                  <a:gd name="T54" fmla="*/ 181 w 181"/>
                  <a:gd name="T55" fmla="*/ 57 h 180"/>
                  <a:gd name="T56" fmla="*/ 176 w 181"/>
                  <a:gd name="T57" fmla="*/ 65 h 180"/>
                  <a:gd name="T58" fmla="*/ 178 w 181"/>
                  <a:gd name="T59" fmla="*/ 65 h 180"/>
                  <a:gd name="T60" fmla="*/ 162 w 181"/>
                  <a:gd name="T61" fmla="*/ 131 h 180"/>
                  <a:gd name="T62" fmla="*/ 100 w 181"/>
                  <a:gd name="T63" fmla="*/ 177 h 180"/>
                  <a:gd name="T64" fmla="*/ 24 w 181"/>
                  <a:gd name="T65" fmla="*/ 154 h 1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181" h="180">
                    <a:moveTo>
                      <a:pt x="24" y="154"/>
                    </a:moveTo>
                    <a:cubicBezTo>
                      <a:pt x="18" y="146"/>
                      <a:pt x="11" y="138"/>
                      <a:pt x="11" y="127"/>
                    </a:cubicBezTo>
                    <a:cubicBezTo>
                      <a:pt x="10" y="122"/>
                      <a:pt x="10" y="118"/>
                      <a:pt x="10" y="113"/>
                    </a:cubicBezTo>
                    <a:cubicBezTo>
                      <a:pt x="9" y="113"/>
                      <a:pt x="9" y="113"/>
                      <a:pt x="8" y="114"/>
                    </a:cubicBezTo>
                    <a:cubicBezTo>
                      <a:pt x="8" y="114"/>
                      <a:pt x="8" y="114"/>
                      <a:pt x="8" y="114"/>
                    </a:cubicBezTo>
                    <a:cubicBezTo>
                      <a:pt x="8" y="113"/>
                      <a:pt x="8" y="113"/>
                      <a:pt x="8" y="113"/>
                    </a:cubicBezTo>
                    <a:cubicBezTo>
                      <a:pt x="5" y="107"/>
                      <a:pt x="6" y="102"/>
                      <a:pt x="5" y="98"/>
                    </a:cubicBezTo>
                    <a:cubicBezTo>
                      <a:pt x="6" y="91"/>
                      <a:pt x="4" y="84"/>
                      <a:pt x="3" y="78"/>
                    </a:cubicBezTo>
                    <a:cubicBezTo>
                      <a:pt x="4" y="73"/>
                      <a:pt x="0" y="67"/>
                      <a:pt x="4" y="64"/>
                    </a:cubicBezTo>
                    <a:cubicBezTo>
                      <a:pt x="6" y="63"/>
                      <a:pt x="13" y="62"/>
                      <a:pt x="15" y="61"/>
                    </a:cubicBezTo>
                    <a:cubicBezTo>
                      <a:pt x="18" y="61"/>
                      <a:pt x="21" y="60"/>
                      <a:pt x="24" y="59"/>
                    </a:cubicBezTo>
                    <a:cubicBezTo>
                      <a:pt x="32" y="58"/>
                      <a:pt x="40" y="57"/>
                      <a:pt x="47" y="59"/>
                    </a:cubicBezTo>
                    <a:cubicBezTo>
                      <a:pt x="52" y="60"/>
                      <a:pt x="59" y="63"/>
                      <a:pt x="61" y="58"/>
                    </a:cubicBezTo>
                    <a:cubicBezTo>
                      <a:pt x="61" y="58"/>
                      <a:pt x="61" y="58"/>
                      <a:pt x="61" y="58"/>
                    </a:cubicBezTo>
                    <a:cubicBezTo>
                      <a:pt x="57" y="55"/>
                      <a:pt x="54" y="48"/>
                      <a:pt x="54" y="46"/>
                    </a:cubicBezTo>
                    <a:cubicBezTo>
                      <a:pt x="50" y="42"/>
                      <a:pt x="49" y="35"/>
                      <a:pt x="46" y="31"/>
                    </a:cubicBezTo>
                    <a:cubicBezTo>
                      <a:pt x="44" y="30"/>
                      <a:pt x="43" y="29"/>
                      <a:pt x="42" y="27"/>
                    </a:cubicBezTo>
                    <a:cubicBezTo>
                      <a:pt x="40" y="26"/>
                      <a:pt x="39" y="23"/>
                      <a:pt x="39" y="21"/>
                    </a:cubicBezTo>
                    <a:cubicBezTo>
                      <a:pt x="57" y="10"/>
                      <a:pt x="77" y="6"/>
                      <a:pt x="97" y="2"/>
                    </a:cubicBezTo>
                    <a:cubicBezTo>
                      <a:pt x="106" y="0"/>
                      <a:pt x="111" y="1"/>
                      <a:pt x="118" y="4"/>
                    </a:cubicBezTo>
                    <a:cubicBezTo>
                      <a:pt x="118" y="6"/>
                      <a:pt x="118" y="6"/>
                      <a:pt x="118" y="6"/>
                    </a:cubicBezTo>
                    <a:cubicBezTo>
                      <a:pt x="116" y="5"/>
                      <a:pt x="114" y="5"/>
                      <a:pt x="112" y="5"/>
                    </a:cubicBezTo>
                    <a:cubicBezTo>
                      <a:pt x="108" y="19"/>
                      <a:pt x="111" y="34"/>
                      <a:pt x="108" y="48"/>
                    </a:cubicBezTo>
                    <a:cubicBezTo>
                      <a:pt x="117" y="45"/>
                      <a:pt x="125" y="35"/>
                      <a:pt x="131" y="29"/>
                    </a:cubicBezTo>
                    <a:cubicBezTo>
                      <a:pt x="135" y="25"/>
                      <a:pt x="139" y="20"/>
                      <a:pt x="145" y="17"/>
                    </a:cubicBezTo>
                    <a:cubicBezTo>
                      <a:pt x="146" y="16"/>
                      <a:pt x="147" y="15"/>
                      <a:pt x="147" y="15"/>
                    </a:cubicBezTo>
                    <a:cubicBezTo>
                      <a:pt x="153" y="15"/>
                      <a:pt x="153" y="15"/>
                      <a:pt x="153" y="15"/>
                    </a:cubicBezTo>
                    <a:cubicBezTo>
                      <a:pt x="167" y="24"/>
                      <a:pt x="175" y="43"/>
                      <a:pt x="181" y="57"/>
                    </a:cubicBezTo>
                    <a:cubicBezTo>
                      <a:pt x="179" y="58"/>
                      <a:pt x="177" y="61"/>
                      <a:pt x="176" y="65"/>
                    </a:cubicBezTo>
                    <a:cubicBezTo>
                      <a:pt x="178" y="65"/>
                      <a:pt x="178" y="65"/>
                      <a:pt x="178" y="65"/>
                    </a:cubicBezTo>
                    <a:cubicBezTo>
                      <a:pt x="179" y="90"/>
                      <a:pt x="176" y="109"/>
                      <a:pt x="162" y="131"/>
                    </a:cubicBezTo>
                    <a:cubicBezTo>
                      <a:pt x="149" y="155"/>
                      <a:pt x="127" y="171"/>
                      <a:pt x="100" y="177"/>
                    </a:cubicBezTo>
                    <a:cubicBezTo>
                      <a:pt x="74" y="180"/>
                      <a:pt x="45" y="175"/>
                      <a:pt x="24" y="154"/>
                    </a:cubicBezTo>
                    <a:close/>
                  </a:path>
                </a:pathLst>
              </a:custGeom>
              <a:solidFill>
                <a:srgbClr val="3C3C3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458" name="Freeform 130">
                <a:extLst>
                  <a:ext uri="{FF2B5EF4-FFF2-40B4-BE49-F238E27FC236}">
                    <a16:creationId xmlns:a16="http://schemas.microsoft.com/office/drawing/2014/main" id="{A6CDFCB5-51D2-4161-B1D1-E36C8463160D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137" y="1133"/>
                <a:ext cx="82" cy="73"/>
              </a:xfrm>
              <a:custGeom>
                <a:avLst/>
                <a:gdLst>
                  <a:gd name="T0" fmla="*/ 28 w 77"/>
                  <a:gd name="T1" fmla="*/ 5 h 69"/>
                  <a:gd name="T2" fmla="*/ 57 w 77"/>
                  <a:gd name="T3" fmla="*/ 3 h 69"/>
                  <a:gd name="T4" fmla="*/ 75 w 77"/>
                  <a:gd name="T5" fmla="*/ 34 h 69"/>
                  <a:gd name="T6" fmla="*/ 52 w 77"/>
                  <a:gd name="T7" fmla="*/ 67 h 69"/>
                  <a:gd name="T8" fmla="*/ 31 w 77"/>
                  <a:gd name="T9" fmla="*/ 69 h 69"/>
                  <a:gd name="T10" fmla="*/ 2 w 77"/>
                  <a:gd name="T11" fmla="*/ 31 h 69"/>
                  <a:gd name="T12" fmla="*/ 24 w 77"/>
                  <a:gd name="T13" fmla="*/ 4 h 69"/>
                  <a:gd name="T14" fmla="*/ 26 w 77"/>
                  <a:gd name="T15" fmla="*/ 3 h 69"/>
                  <a:gd name="T16" fmla="*/ 28 w 77"/>
                  <a:gd name="T17" fmla="*/ 5 h 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77" h="69">
                    <a:moveTo>
                      <a:pt x="28" y="5"/>
                    </a:moveTo>
                    <a:cubicBezTo>
                      <a:pt x="37" y="1"/>
                      <a:pt x="46" y="0"/>
                      <a:pt x="57" y="3"/>
                    </a:cubicBezTo>
                    <a:cubicBezTo>
                      <a:pt x="67" y="10"/>
                      <a:pt x="74" y="20"/>
                      <a:pt x="75" y="34"/>
                    </a:cubicBezTo>
                    <a:cubicBezTo>
                      <a:pt x="77" y="53"/>
                      <a:pt x="67" y="63"/>
                      <a:pt x="52" y="67"/>
                    </a:cubicBezTo>
                    <a:cubicBezTo>
                      <a:pt x="46" y="69"/>
                      <a:pt x="39" y="69"/>
                      <a:pt x="31" y="69"/>
                    </a:cubicBezTo>
                    <a:cubicBezTo>
                      <a:pt x="12" y="66"/>
                      <a:pt x="0" y="53"/>
                      <a:pt x="2" y="31"/>
                    </a:cubicBezTo>
                    <a:cubicBezTo>
                      <a:pt x="2" y="21"/>
                      <a:pt x="12" y="10"/>
                      <a:pt x="24" y="4"/>
                    </a:cubicBezTo>
                    <a:cubicBezTo>
                      <a:pt x="25" y="4"/>
                      <a:pt x="26" y="3"/>
                      <a:pt x="26" y="3"/>
                    </a:cubicBezTo>
                    <a:lnTo>
                      <a:pt x="28" y="5"/>
                    </a:lnTo>
                    <a:close/>
                  </a:path>
                </a:pathLst>
              </a:custGeom>
              <a:solidFill>
                <a:srgbClr val="3C3C3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459" name="Freeform 131">
                <a:extLst>
                  <a:ext uri="{FF2B5EF4-FFF2-40B4-BE49-F238E27FC236}">
                    <a16:creationId xmlns:a16="http://schemas.microsoft.com/office/drawing/2014/main" id="{C81628EF-43ED-4405-B719-6F01208A2E22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075" y="1228"/>
                <a:ext cx="77" cy="73"/>
              </a:xfrm>
              <a:custGeom>
                <a:avLst/>
                <a:gdLst>
                  <a:gd name="T0" fmla="*/ 13 w 73"/>
                  <a:gd name="T1" fmla="*/ 5 h 69"/>
                  <a:gd name="T2" fmla="*/ 31 w 73"/>
                  <a:gd name="T3" fmla="*/ 1 h 69"/>
                  <a:gd name="T4" fmla="*/ 35 w 73"/>
                  <a:gd name="T5" fmla="*/ 0 h 69"/>
                  <a:gd name="T6" fmla="*/ 71 w 73"/>
                  <a:gd name="T7" fmla="*/ 20 h 69"/>
                  <a:gd name="T8" fmla="*/ 71 w 73"/>
                  <a:gd name="T9" fmla="*/ 36 h 69"/>
                  <a:gd name="T10" fmla="*/ 40 w 73"/>
                  <a:gd name="T11" fmla="*/ 66 h 69"/>
                  <a:gd name="T12" fmla="*/ 0 w 73"/>
                  <a:gd name="T13" fmla="*/ 34 h 69"/>
                  <a:gd name="T14" fmla="*/ 0 w 73"/>
                  <a:gd name="T15" fmla="*/ 31 h 69"/>
                  <a:gd name="T16" fmla="*/ 13 w 73"/>
                  <a:gd name="T17" fmla="*/ 5 h 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73" h="69">
                    <a:moveTo>
                      <a:pt x="13" y="5"/>
                    </a:moveTo>
                    <a:cubicBezTo>
                      <a:pt x="19" y="1"/>
                      <a:pt x="24" y="5"/>
                      <a:pt x="31" y="1"/>
                    </a:cubicBezTo>
                    <a:cubicBezTo>
                      <a:pt x="35" y="0"/>
                      <a:pt x="35" y="0"/>
                      <a:pt x="35" y="0"/>
                    </a:cubicBezTo>
                    <a:cubicBezTo>
                      <a:pt x="49" y="2"/>
                      <a:pt x="66" y="8"/>
                      <a:pt x="71" y="20"/>
                    </a:cubicBezTo>
                    <a:cubicBezTo>
                      <a:pt x="73" y="25"/>
                      <a:pt x="73" y="30"/>
                      <a:pt x="71" y="36"/>
                    </a:cubicBezTo>
                    <a:cubicBezTo>
                      <a:pt x="66" y="49"/>
                      <a:pt x="53" y="63"/>
                      <a:pt x="40" y="66"/>
                    </a:cubicBezTo>
                    <a:cubicBezTo>
                      <a:pt x="19" y="69"/>
                      <a:pt x="0" y="56"/>
                      <a:pt x="0" y="34"/>
                    </a:cubicBezTo>
                    <a:cubicBezTo>
                      <a:pt x="0" y="33"/>
                      <a:pt x="0" y="32"/>
                      <a:pt x="0" y="31"/>
                    </a:cubicBezTo>
                    <a:cubicBezTo>
                      <a:pt x="1" y="24"/>
                      <a:pt x="4" y="7"/>
                      <a:pt x="13" y="5"/>
                    </a:cubicBezTo>
                    <a:close/>
                  </a:path>
                </a:pathLst>
              </a:custGeom>
              <a:solidFill>
                <a:srgbClr val="3C3C3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460" name="Freeform 132">
                <a:extLst>
                  <a:ext uri="{FF2B5EF4-FFF2-40B4-BE49-F238E27FC236}">
                    <a16:creationId xmlns:a16="http://schemas.microsoft.com/office/drawing/2014/main" id="{D3FBB720-8A61-42B4-9BD5-46C79E6CD06A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955" y="1165"/>
                <a:ext cx="85" cy="71"/>
              </a:xfrm>
              <a:custGeom>
                <a:avLst/>
                <a:gdLst>
                  <a:gd name="T0" fmla="*/ 27 w 80"/>
                  <a:gd name="T1" fmla="*/ 5 h 67"/>
                  <a:gd name="T2" fmla="*/ 36 w 80"/>
                  <a:gd name="T3" fmla="*/ 0 h 67"/>
                  <a:gd name="T4" fmla="*/ 39 w 80"/>
                  <a:gd name="T5" fmla="*/ 4 h 67"/>
                  <a:gd name="T6" fmla="*/ 74 w 80"/>
                  <a:gd name="T7" fmla="*/ 15 h 67"/>
                  <a:gd name="T8" fmla="*/ 75 w 80"/>
                  <a:gd name="T9" fmla="*/ 43 h 67"/>
                  <a:gd name="T10" fmla="*/ 52 w 80"/>
                  <a:gd name="T11" fmla="*/ 64 h 67"/>
                  <a:gd name="T12" fmla="*/ 26 w 80"/>
                  <a:gd name="T13" fmla="*/ 63 h 67"/>
                  <a:gd name="T14" fmla="*/ 6 w 80"/>
                  <a:gd name="T15" fmla="*/ 23 h 67"/>
                  <a:gd name="T16" fmla="*/ 27 w 80"/>
                  <a:gd name="T17" fmla="*/ 5 h 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80" h="67">
                    <a:moveTo>
                      <a:pt x="27" y="5"/>
                    </a:moveTo>
                    <a:cubicBezTo>
                      <a:pt x="36" y="0"/>
                      <a:pt x="36" y="0"/>
                      <a:pt x="36" y="0"/>
                    </a:cubicBezTo>
                    <a:cubicBezTo>
                      <a:pt x="39" y="4"/>
                      <a:pt x="39" y="4"/>
                      <a:pt x="39" y="4"/>
                    </a:cubicBezTo>
                    <a:cubicBezTo>
                      <a:pt x="50" y="4"/>
                      <a:pt x="64" y="4"/>
                      <a:pt x="74" y="15"/>
                    </a:cubicBezTo>
                    <a:cubicBezTo>
                      <a:pt x="80" y="23"/>
                      <a:pt x="80" y="32"/>
                      <a:pt x="75" y="43"/>
                    </a:cubicBezTo>
                    <a:cubicBezTo>
                      <a:pt x="71" y="53"/>
                      <a:pt x="62" y="60"/>
                      <a:pt x="52" y="64"/>
                    </a:cubicBezTo>
                    <a:cubicBezTo>
                      <a:pt x="44" y="67"/>
                      <a:pt x="34" y="67"/>
                      <a:pt x="26" y="63"/>
                    </a:cubicBezTo>
                    <a:cubicBezTo>
                      <a:pt x="14" y="58"/>
                      <a:pt x="0" y="36"/>
                      <a:pt x="6" y="23"/>
                    </a:cubicBezTo>
                    <a:cubicBezTo>
                      <a:pt x="11" y="15"/>
                      <a:pt x="20" y="11"/>
                      <a:pt x="27" y="5"/>
                    </a:cubicBezTo>
                    <a:close/>
                  </a:path>
                </a:pathLst>
              </a:custGeom>
              <a:solidFill>
                <a:srgbClr val="3C3C3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461" name="Freeform 133">
                <a:extLst>
                  <a:ext uri="{FF2B5EF4-FFF2-40B4-BE49-F238E27FC236}">
                    <a16:creationId xmlns:a16="http://schemas.microsoft.com/office/drawing/2014/main" id="{2A354830-B197-461F-8E81-CA5D72A67C02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026" y="1082"/>
                <a:ext cx="84" cy="84"/>
              </a:xfrm>
              <a:custGeom>
                <a:avLst/>
                <a:gdLst>
                  <a:gd name="T0" fmla="*/ 4 w 79"/>
                  <a:gd name="T1" fmla="*/ 19 h 80"/>
                  <a:gd name="T2" fmla="*/ 23 w 79"/>
                  <a:gd name="T3" fmla="*/ 1 h 80"/>
                  <a:gd name="T4" fmla="*/ 37 w 79"/>
                  <a:gd name="T5" fmla="*/ 0 h 80"/>
                  <a:gd name="T6" fmla="*/ 37 w 79"/>
                  <a:gd name="T7" fmla="*/ 2 h 80"/>
                  <a:gd name="T8" fmla="*/ 72 w 79"/>
                  <a:gd name="T9" fmla="*/ 21 h 80"/>
                  <a:gd name="T10" fmla="*/ 78 w 79"/>
                  <a:gd name="T11" fmla="*/ 42 h 80"/>
                  <a:gd name="T12" fmla="*/ 22 w 79"/>
                  <a:gd name="T13" fmla="*/ 70 h 80"/>
                  <a:gd name="T14" fmla="*/ 2 w 79"/>
                  <a:gd name="T15" fmla="*/ 44 h 80"/>
                  <a:gd name="T16" fmla="*/ 4 w 79"/>
                  <a:gd name="T17" fmla="*/ 19 h 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79" h="80">
                    <a:moveTo>
                      <a:pt x="4" y="19"/>
                    </a:moveTo>
                    <a:cubicBezTo>
                      <a:pt x="9" y="11"/>
                      <a:pt x="14" y="2"/>
                      <a:pt x="23" y="1"/>
                    </a:cubicBezTo>
                    <a:cubicBezTo>
                      <a:pt x="28" y="0"/>
                      <a:pt x="33" y="1"/>
                      <a:pt x="37" y="0"/>
                    </a:cubicBezTo>
                    <a:cubicBezTo>
                      <a:pt x="37" y="2"/>
                      <a:pt x="37" y="2"/>
                      <a:pt x="37" y="2"/>
                    </a:cubicBezTo>
                    <a:cubicBezTo>
                      <a:pt x="51" y="0"/>
                      <a:pt x="64" y="9"/>
                      <a:pt x="72" y="21"/>
                    </a:cubicBezTo>
                    <a:cubicBezTo>
                      <a:pt x="76" y="27"/>
                      <a:pt x="79" y="35"/>
                      <a:pt x="78" y="42"/>
                    </a:cubicBezTo>
                    <a:cubicBezTo>
                      <a:pt x="74" y="66"/>
                      <a:pt x="43" y="80"/>
                      <a:pt x="22" y="70"/>
                    </a:cubicBezTo>
                    <a:cubicBezTo>
                      <a:pt x="12" y="66"/>
                      <a:pt x="5" y="55"/>
                      <a:pt x="2" y="44"/>
                    </a:cubicBezTo>
                    <a:cubicBezTo>
                      <a:pt x="0" y="35"/>
                      <a:pt x="0" y="26"/>
                      <a:pt x="4" y="19"/>
                    </a:cubicBezTo>
                    <a:close/>
                  </a:path>
                </a:pathLst>
              </a:custGeom>
              <a:solidFill>
                <a:srgbClr val="3C3C3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462" name="Freeform 134">
                <a:extLst>
                  <a:ext uri="{FF2B5EF4-FFF2-40B4-BE49-F238E27FC236}">
                    <a16:creationId xmlns:a16="http://schemas.microsoft.com/office/drawing/2014/main" id="{80B6FBA8-5477-4DC1-B4CD-57F84460C8F3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742" y="1462"/>
                <a:ext cx="77" cy="70"/>
              </a:xfrm>
              <a:custGeom>
                <a:avLst/>
                <a:gdLst>
                  <a:gd name="T0" fmla="*/ 68 w 73"/>
                  <a:gd name="T1" fmla="*/ 21 h 66"/>
                  <a:gd name="T2" fmla="*/ 65 w 73"/>
                  <a:gd name="T3" fmla="*/ 49 h 66"/>
                  <a:gd name="T4" fmla="*/ 16 w 73"/>
                  <a:gd name="T5" fmla="*/ 57 h 66"/>
                  <a:gd name="T6" fmla="*/ 19 w 73"/>
                  <a:gd name="T7" fmla="*/ 6 h 66"/>
                  <a:gd name="T8" fmla="*/ 44 w 73"/>
                  <a:gd name="T9" fmla="*/ 0 h 66"/>
                  <a:gd name="T10" fmla="*/ 44 w 73"/>
                  <a:gd name="T11" fmla="*/ 3 h 66"/>
                  <a:gd name="T12" fmla="*/ 68 w 73"/>
                  <a:gd name="T13" fmla="*/ 21 h 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73" h="66">
                    <a:moveTo>
                      <a:pt x="68" y="21"/>
                    </a:moveTo>
                    <a:cubicBezTo>
                      <a:pt x="70" y="29"/>
                      <a:pt x="73" y="40"/>
                      <a:pt x="65" y="49"/>
                    </a:cubicBezTo>
                    <a:cubicBezTo>
                      <a:pt x="55" y="63"/>
                      <a:pt x="30" y="66"/>
                      <a:pt x="16" y="57"/>
                    </a:cubicBezTo>
                    <a:cubicBezTo>
                      <a:pt x="0" y="47"/>
                      <a:pt x="5" y="16"/>
                      <a:pt x="19" y="6"/>
                    </a:cubicBezTo>
                    <a:cubicBezTo>
                      <a:pt x="25" y="3"/>
                      <a:pt x="35" y="0"/>
                      <a:pt x="44" y="0"/>
                    </a:cubicBezTo>
                    <a:cubicBezTo>
                      <a:pt x="44" y="3"/>
                      <a:pt x="44" y="3"/>
                      <a:pt x="44" y="3"/>
                    </a:cubicBezTo>
                    <a:cubicBezTo>
                      <a:pt x="56" y="5"/>
                      <a:pt x="64" y="10"/>
                      <a:pt x="68" y="21"/>
                    </a:cubicBezTo>
                    <a:close/>
                  </a:path>
                </a:pathLst>
              </a:custGeom>
              <a:solidFill>
                <a:srgbClr val="E840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463" name="Freeform 135">
                <a:extLst>
                  <a:ext uri="{FF2B5EF4-FFF2-40B4-BE49-F238E27FC236}">
                    <a16:creationId xmlns:a16="http://schemas.microsoft.com/office/drawing/2014/main" id="{8142D4DD-84EF-4D5C-A25E-1DA0B8959424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532" y="1364"/>
                <a:ext cx="158" cy="154"/>
              </a:xfrm>
              <a:custGeom>
                <a:avLst/>
                <a:gdLst>
                  <a:gd name="T0" fmla="*/ 1 w 149"/>
                  <a:gd name="T1" fmla="*/ 86 h 145"/>
                  <a:gd name="T2" fmla="*/ 47 w 149"/>
                  <a:gd name="T3" fmla="*/ 112 h 145"/>
                  <a:gd name="T4" fmla="*/ 94 w 149"/>
                  <a:gd name="T5" fmla="*/ 95 h 145"/>
                  <a:gd name="T6" fmla="*/ 122 w 149"/>
                  <a:gd name="T7" fmla="*/ 54 h 145"/>
                  <a:gd name="T8" fmla="*/ 113 w 149"/>
                  <a:gd name="T9" fmla="*/ 3 h 145"/>
                  <a:gd name="T10" fmla="*/ 145 w 149"/>
                  <a:gd name="T11" fmla="*/ 44 h 145"/>
                  <a:gd name="T12" fmla="*/ 138 w 149"/>
                  <a:gd name="T13" fmla="*/ 87 h 145"/>
                  <a:gd name="T14" fmla="*/ 103 w 149"/>
                  <a:gd name="T15" fmla="*/ 127 h 145"/>
                  <a:gd name="T16" fmla="*/ 30 w 149"/>
                  <a:gd name="T17" fmla="*/ 132 h 145"/>
                  <a:gd name="T18" fmla="*/ 0 w 149"/>
                  <a:gd name="T19" fmla="*/ 87 h 145"/>
                  <a:gd name="T20" fmla="*/ 1 w 149"/>
                  <a:gd name="T21" fmla="*/ 86 h 1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49" h="145">
                    <a:moveTo>
                      <a:pt x="1" y="86"/>
                    </a:moveTo>
                    <a:cubicBezTo>
                      <a:pt x="13" y="100"/>
                      <a:pt x="30" y="109"/>
                      <a:pt x="47" y="112"/>
                    </a:cubicBezTo>
                    <a:cubicBezTo>
                      <a:pt x="66" y="115"/>
                      <a:pt x="80" y="107"/>
                      <a:pt x="94" y="95"/>
                    </a:cubicBezTo>
                    <a:cubicBezTo>
                      <a:pt x="107" y="82"/>
                      <a:pt x="121" y="70"/>
                      <a:pt x="122" y="54"/>
                    </a:cubicBezTo>
                    <a:cubicBezTo>
                      <a:pt x="125" y="37"/>
                      <a:pt x="119" y="18"/>
                      <a:pt x="113" y="3"/>
                    </a:cubicBezTo>
                    <a:cubicBezTo>
                      <a:pt x="133" y="0"/>
                      <a:pt x="142" y="29"/>
                      <a:pt x="145" y="44"/>
                    </a:cubicBezTo>
                    <a:cubicBezTo>
                      <a:pt x="149" y="60"/>
                      <a:pt x="147" y="74"/>
                      <a:pt x="138" y="87"/>
                    </a:cubicBezTo>
                    <a:cubicBezTo>
                      <a:pt x="130" y="103"/>
                      <a:pt x="120" y="119"/>
                      <a:pt x="103" y="127"/>
                    </a:cubicBezTo>
                    <a:cubicBezTo>
                      <a:pt x="83" y="141"/>
                      <a:pt x="52" y="145"/>
                      <a:pt x="30" y="132"/>
                    </a:cubicBezTo>
                    <a:cubicBezTo>
                      <a:pt x="17" y="123"/>
                      <a:pt x="4" y="105"/>
                      <a:pt x="0" y="87"/>
                    </a:cubicBezTo>
                    <a:lnTo>
                      <a:pt x="1" y="86"/>
                    </a:lnTo>
                    <a:close/>
                  </a:path>
                </a:pathLst>
              </a:custGeom>
              <a:solidFill>
                <a:srgbClr val="E840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464" name="Freeform 136">
                <a:extLst>
                  <a:ext uri="{FF2B5EF4-FFF2-40B4-BE49-F238E27FC236}">
                    <a16:creationId xmlns:a16="http://schemas.microsoft.com/office/drawing/2014/main" id="{7B16AEC8-F48B-42DE-B8C7-C5613C240D76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516" y="1336"/>
                <a:ext cx="149" cy="150"/>
              </a:xfrm>
              <a:custGeom>
                <a:avLst/>
                <a:gdLst>
                  <a:gd name="T0" fmla="*/ 128 w 140"/>
                  <a:gd name="T1" fmla="*/ 30 h 142"/>
                  <a:gd name="T2" fmla="*/ 137 w 140"/>
                  <a:gd name="T3" fmla="*/ 81 h 142"/>
                  <a:gd name="T4" fmla="*/ 109 w 140"/>
                  <a:gd name="T5" fmla="*/ 122 h 142"/>
                  <a:gd name="T6" fmla="*/ 62 w 140"/>
                  <a:gd name="T7" fmla="*/ 139 h 142"/>
                  <a:gd name="T8" fmla="*/ 16 w 140"/>
                  <a:gd name="T9" fmla="*/ 113 h 142"/>
                  <a:gd name="T10" fmla="*/ 11 w 140"/>
                  <a:gd name="T11" fmla="*/ 108 h 142"/>
                  <a:gd name="T12" fmla="*/ 4 w 140"/>
                  <a:gd name="T13" fmla="*/ 66 h 142"/>
                  <a:gd name="T14" fmla="*/ 34 w 140"/>
                  <a:gd name="T15" fmla="*/ 13 h 142"/>
                  <a:gd name="T16" fmla="*/ 64 w 140"/>
                  <a:gd name="T17" fmla="*/ 0 h 142"/>
                  <a:gd name="T18" fmla="*/ 73 w 140"/>
                  <a:gd name="T19" fmla="*/ 0 h 142"/>
                  <a:gd name="T20" fmla="*/ 128 w 140"/>
                  <a:gd name="T21" fmla="*/ 30 h 1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40" h="142">
                    <a:moveTo>
                      <a:pt x="128" y="30"/>
                    </a:moveTo>
                    <a:cubicBezTo>
                      <a:pt x="134" y="45"/>
                      <a:pt x="140" y="64"/>
                      <a:pt x="137" y="81"/>
                    </a:cubicBezTo>
                    <a:cubicBezTo>
                      <a:pt x="136" y="97"/>
                      <a:pt x="122" y="109"/>
                      <a:pt x="109" y="122"/>
                    </a:cubicBezTo>
                    <a:cubicBezTo>
                      <a:pt x="95" y="134"/>
                      <a:pt x="81" y="142"/>
                      <a:pt x="62" y="139"/>
                    </a:cubicBezTo>
                    <a:cubicBezTo>
                      <a:pt x="45" y="136"/>
                      <a:pt x="28" y="127"/>
                      <a:pt x="16" y="113"/>
                    </a:cubicBezTo>
                    <a:cubicBezTo>
                      <a:pt x="14" y="112"/>
                      <a:pt x="13" y="110"/>
                      <a:pt x="11" y="108"/>
                    </a:cubicBezTo>
                    <a:cubicBezTo>
                      <a:pt x="2" y="96"/>
                      <a:pt x="0" y="80"/>
                      <a:pt x="4" y="66"/>
                    </a:cubicBezTo>
                    <a:cubicBezTo>
                      <a:pt x="7" y="47"/>
                      <a:pt x="18" y="23"/>
                      <a:pt x="34" y="13"/>
                    </a:cubicBezTo>
                    <a:cubicBezTo>
                      <a:pt x="44" y="6"/>
                      <a:pt x="53" y="4"/>
                      <a:pt x="64" y="0"/>
                    </a:cubicBezTo>
                    <a:cubicBezTo>
                      <a:pt x="73" y="0"/>
                      <a:pt x="73" y="0"/>
                      <a:pt x="73" y="0"/>
                    </a:cubicBezTo>
                    <a:cubicBezTo>
                      <a:pt x="95" y="4"/>
                      <a:pt x="117" y="9"/>
                      <a:pt x="128" y="30"/>
                    </a:cubicBezTo>
                    <a:close/>
                  </a:path>
                </a:pathLst>
              </a:custGeom>
              <a:solidFill>
                <a:srgbClr val="E840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465" name="Freeform 137">
                <a:extLst>
                  <a:ext uri="{FF2B5EF4-FFF2-40B4-BE49-F238E27FC236}">
                    <a16:creationId xmlns:a16="http://schemas.microsoft.com/office/drawing/2014/main" id="{6390D042-C228-4959-BC16-3AA45854E107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848" y="1327"/>
                <a:ext cx="170" cy="107"/>
              </a:xfrm>
              <a:custGeom>
                <a:avLst/>
                <a:gdLst>
                  <a:gd name="T0" fmla="*/ 4 w 161"/>
                  <a:gd name="T1" fmla="*/ 13 h 101"/>
                  <a:gd name="T2" fmla="*/ 10 w 161"/>
                  <a:gd name="T3" fmla="*/ 0 h 101"/>
                  <a:gd name="T4" fmla="*/ 11 w 161"/>
                  <a:gd name="T5" fmla="*/ 0 h 101"/>
                  <a:gd name="T6" fmla="*/ 11 w 161"/>
                  <a:gd name="T7" fmla="*/ 25 h 101"/>
                  <a:gd name="T8" fmla="*/ 36 w 161"/>
                  <a:gd name="T9" fmla="*/ 54 h 101"/>
                  <a:gd name="T10" fmla="*/ 121 w 161"/>
                  <a:gd name="T11" fmla="*/ 64 h 101"/>
                  <a:gd name="T12" fmla="*/ 154 w 161"/>
                  <a:gd name="T13" fmla="*/ 21 h 101"/>
                  <a:gd name="T14" fmla="*/ 131 w 161"/>
                  <a:gd name="T15" fmla="*/ 85 h 101"/>
                  <a:gd name="T16" fmla="*/ 67 w 161"/>
                  <a:gd name="T17" fmla="*/ 101 h 101"/>
                  <a:gd name="T18" fmla="*/ 3 w 161"/>
                  <a:gd name="T19" fmla="*/ 52 h 101"/>
                  <a:gd name="T20" fmla="*/ 4 w 161"/>
                  <a:gd name="T21" fmla="*/ 13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61" h="101">
                    <a:moveTo>
                      <a:pt x="4" y="13"/>
                    </a:moveTo>
                    <a:cubicBezTo>
                      <a:pt x="5" y="8"/>
                      <a:pt x="9" y="5"/>
                      <a:pt x="10" y="0"/>
                    </a:cubicBezTo>
                    <a:cubicBezTo>
                      <a:pt x="11" y="0"/>
                      <a:pt x="11" y="0"/>
                      <a:pt x="11" y="0"/>
                    </a:cubicBezTo>
                    <a:cubicBezTo>
                      <a:pt x="10" y="8"/>
                      <a:pt x="9" y="17"/>
                      <a:pt x="11" y="25"/>
                    </a:cubicBezTo>
                    <a:cubicBezTo>
                      <a:pt x="14" y="36"/>
                      <a:pt x="25" y="47"/>
                      <a:pt x="36" y="54"/>
                    </a:cubicBezTo>
                    <a:cubicBezTo>
                      <a:pt x="61" y="74"/>
                      <a:pt x="92" y="77"/>
                      <a:pt x="121" y="64"/>
                    </a:cubicBezTo>
                    <a:cubicBezTo>
                      <a:pt x="138" y="56"/>
                      <a:pt x="149" y="39"/>
                      <a:pt x="154" y="21"/>
                    </a:cubicBezTo>
                    <a:cubicBezTo>
                      <a:pt x="161" y="43"/>
                      <a:pt x="147" y="70"/>
                      <a:pt x="131" y="85"/>
                    </a:cubicBezTo>
                    <a:cubicBezTo>
                      <a:pt x="113" y="98"/>
                      <a:pt x="90" y="100"/>
                      <a:pt x="67" y="101"/>
                    </a:cubicBezTo>
                    <a:cubicBezTo>
                      <a:pt x="39" y="100"/>
                      <a:pt x="9" y="81"/>
                      <a:pt x="3" y="52"/>
                    </a:cubicBezTo>
                    <a:cubicBezTo>
                      <a:pt x="0" y="39"/>
                      <a:pt x="0" y="25"/>
                      <a:pt x="4" y="13"/>
                    </a:cubicBezTo>
                    <a:close/>
                  </a:path>
                </a:pathLst>
              </a:custGeom>
              <a:solidFill>
                <a:srgbClr val="E840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466" name="Freeform 138">
                <a:extLst>
                  <a:ext uri="{FF2B5EF4-FFF2-40B4-BE49-F238E27FC236}">
                    <a16:creationId xmlns:a16="http://schemas.microsoft.com/office/drawing/2014/main" id="{3E17315F-0B5C-4948-B689-2C7D3714940C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857" y="1260"/>
                <a:ext cx="158" cy="149"/>
              </a:xfrm>
              <a:custGeom>
                <a:avLst/>
                <a:gdLst>
                  <a:gd name="T0" fmla="*/ 69 w 149"/>
                  <a:gd name="T1" fmla="*/ 1 h 141"/>
                  <a:gd name="T2" fmla="*/ 102 w 149"/>
                  <a:gd name="T3" fmla="*/ 7 h 141"/>
                  <a:gd name="T4" fmla="*/ 142 w 149"/>
                  <a:gd name="T5" fmla="*/ 40 h 141"/>
                  <a:gd name="T6" fmla="*/ 145 w 149"/>
                  <a:gd name="T7" fmla="*/ 85 h 141"/>
                  <a:gd name="T8" fmla="*/ 112 w 149"/>
                  <a:gd name="T9" fmla="*/ 128 h 141"/>
                  <a:gd name="T10" fmla="*/ 27 w 149"/>
                  <a:gd name="T11" fmla="*/ 118 h 141"/>
                  <a:gd name="T12" fmla="*/ 2 w 149"/>
                  <a:gd name="T13" fmla="*/ 89 h 141"/>
                  <a:gd name="T14" fmla="*/ 2 w 149"/>
                  <a:gd name="T15" fmla="*/ 64 h 141"/>
                  <a:gd name="T16" fmla="*/ 6 w 149"/>
                  <a:gd name="T17" fmla="*/ 44 h 141"/>
                  <a:gd name="T18" fmla="*/ 41 w 149"/>
                  <a:gd name="T19" fmla="*/ 11 h 141"/>
                  <a:gd name="T20" fmla="*/ 69 w 149"/>
                  <a:gd name="T21" fmla="*/ 3 h 141"/>
                  <a:gd name="T22" fmla="*/ 69 w 149"/>
                  <a:gd name="T23" fmla="*/ 1 h 1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49" h="141">
                    <a:moveTo>
                      <a:pt x="69" y="1"/>
                    </a:moveTo>
                    <a:cubicBezTo>
                      <a:pt x="80" y="0"/>
                      <a:pt x="91" y="2"/>
                      <a:pt x="102" y="7"/>
                    </a:cubicBezTo>
                    <a:cubicBezTo>
                      <a:pt x="117" y="13"/>
                      <a:pt x="136" y="25"/>
                      <a:pt x="142" y="40"/>
                    </a:cubicBezTo>
                    <a:cubicBezTo>
                      <a:pt x="148" y="54"/>
                      <a:pt x="149" y="70"/>
                      <a:pt x="145" y="85"/>
                    </a:cubicBezTo>
                    <a:cubicBezTo>
                      <a:pt x="140" y="103"/>
                      <a:pt x="129" y="120"/>
                      <a:pt x="112" y="128"/>
                    </a:cubicBezTo>
                    <a:cubicBezTo>
                      <a:pt x="83" y="141"/>
                      <a:pt x="52" y="138"/>
                      <a:pt x="27" y="118"/>
                    </a:cubicBezTo>
                    <a:cubicBezTo>
                      <a:pt x="16" y="111"/>
                      <a:pt x="5" y="100"/>
                      <a:pt x="2" y="89"/>
                    </a:cubicBezTo>
                    <a:cubicBezTo>
                      <a:pt x="0" y="81"/>
                      <a:pt x="1" y="72"/>
                      <a:pt x="2" y="64"/>
                    </a:cubicBezTo>
                    <a:cubicBezTo>
                      <a:pt x="3" y="57"/>
                      <a:pt x="4" y="50"/>
                      <a:pt x="6" y="44"/>
                    </a:cubicBezTo>
                    <a:cubicBezTo>
                      <a:pt x="12" y="29"/>
                      <a:pt x="26" y="17"/>
                      <a:pt x="41" y="11"/>
                    </a:cubicBezTo>
                    <a:cubicBezTo>
                      <a:pt x="49" y="7"/>
                      <a:pt x="61" y="7"/>
                      <a:pt x="69" y="3"/>
                    </a:cubicBezTo>
                    <a:lnTo>
                      <a:pt x="69" y="1"/>
                    </a:lnTo>
                    <a:close/>
                  </a:path>
                </a:pathLst>
              </a:custGeom>
              <a:solidFill>
                <a:srgbClr val="E840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467" name="Freeform 139">
                <a:extLst>
                  <a:ext uri="{FF2B5EF4-FFF2-40B4-BE49-F238E27FC236}">
                    <a16:creationId xmlns:a16="http://schemas.microsoft.com/office/drawing/2014/main" id="{EE28FD04-AC5C-4C79-A135-8E9A83BB2C7D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5268" y="1201"/>
                <a:ext cx="469" cy="355"/>
              </a:xfrm>
              <a:custGeom>
                <a:avLst/>
                <a:gdLst>
                  <a:gd name="T0" fmla="*/ 17 w 442"/>
                  <a:gd name="T1" fmla="*/ 102 h 335"/>
                  <a:gd name="T2" fmla="*/ 92 w 442"/>
                  <a:gd name="T3" fmla="*/ 21 h 335"/>
                  <a:gd name="T4" fmla="*/ 165 w 442"/>
                  <a:gd name="T5" fmla="*/ 0 h 335"/>
                  <a:gd name="T6" fmla="*/ 165 w 442"/>
                  <a:gd name="T7" fmla="*/ 7 h 335"/>
                  <a:gd name="T8" fmla="*/ 285 w 442"/>
                  <a:gd name="T9" fmla="*/ 46 h 335"/>
                  <a:gd name="T10" fmla="*/ 399 w 442"/>
                  <a:gd name="T11" fmla="*/ 144 h 335"/>
                  <a:gd name="T12" fmla="*/ 433 w 442"/>
                  <a:gd name="T13" fmla="*/ 259 h 335"/>
                  <a:gd name="T14" fmla="*/ 346 w 442"/>
                  <a:gd name="T15" fmla="*/ 329 h 335"/>
                  <a:gd name="T16" fmla="*/ 230 w 442"/>
                  <a:gd name="T17" fmla="*/ 317 h 335"/>
                  <a:gd name="T18" fmla="*/ 108 w 442"/>
                  <a:gd name="T19" fmla="*/ 284 h 335"/>
                  <a:gd name="T20" fmla="*/ 14 w 442"/>
                  <a:gd name="T21" fmla="*/ 204 h 335"/>
                  <a:gd name="T22" fmla="*/ 17 w 442"/>
                  <a:gd name="T23" fmla="*/ 102 h 335"/>
                  <a:gd name="T24" fmla="*/ 64 w 442"/>
                  <a:gd name="T25" fmla="*/ 94 h 335"/>
                  <a:gd name="T26" fmla="*/ 55 w 442"/>
                  <a:gd name="T27" fmla="*/ 96 h 335"/>
                  <a:gd name="T28" fmla="*/ 44 w 442"/>
                  <a:gd name="T29" fmla="*/ 99 h 335"/>
                  <a:gd name="T30" fmla="*/ 43 w 442"/>
                  <a:gd name="T31" fmla="*/ 113 h 335"/>
                  <a:gd name="T32" fmla="*/ 45 w 442"/>
                  <a:gd name="T33" fmla="*/ 133 h 335"/>
                  <a:gd name="T34" fmla="*/ 48 w 442"/>
                  <a:gd name="T35" fmla="*/ 148 h 335"/>
                  <a:gd name="T36" fmla="*/ 48 w 442"/>
                  <a:gd name="T37" fmla="*/ 149 h 335"/>
                  <a:gd name="T38" fmla="*/ 48 w 442"/>
                  <a:gd name="T39" fmla="*/ 149 h 335"/>
                  <a:gd name="T40" fmla="*/ 50 w 442"/>
                  <a:gd name="T41" fmla="*/ 148 h 335"/>
                  <a:gd name="T42" fmla="*/ 51 w 442"/>
                  <a:gd name="T43" fmla="*/ 162 h 335"/>
                  <a:gd name="T44" fmla="*/ 64 w 442"/>
                  <a:gd name="T45" fmla="*/ 189 h 335"/>
                  <a:gd name="T46" fmla="*/ 140 w 442"/>
                  <a:gd name="T47" fmla="*/ 212 h 335"/>
                  <a:gd name="T48" fmla="*/ 202 w 442"/>
                  <a:gd name="T49" fmla="*/ 166 h 335"/>
                  <a:gd name="T50" fmla="*/ 218 w 442"/>
                  <a:gd name="T51" fmla="*/ 100 h 335"/>
                  <a:gd name="T52" fmla="*/ 216 w 442"/>
                  <a:gd name="T53" fmla="*/ 100 h 335"/>
                  <a:gd name="T54" fmla="*/ 221 w 442"/>
                  <a:gd name="T55" fmla="*/ 92 h 335"/>
                  <a:gd name="T56" fmla="*/ 193 w 442"/>
                  <a:gd name="T57" fmla="*/ 50 h 335"/>
                  <a:gd name="T58" fmla="*/ 187 w 442"/>
                  <a:gd name="T59" fmla="*/ 50 h 335"/>
                  <a:gd name="T60" fmla="*/ 185 w 442"/>
                  <a:gd name="T61" fmla="*/ 52 h 335"/>
                  <a:gd name="T62" fmla="*/ 182 w 442"/>
                  <a:gd name="T63" fmla="*/ 50 h 335"/>
                  <a:gd name="T64" fmla="*/ 169 w 442"/>
                  <a:gd name="T65" fmla="*/ 44 h 335"/>
                  <a:gd name="T66" fmla="*/ 158 w 442"/>
                  <a:gd name="T67" fmla="*/ 41 h 335"/>
                  <a:gd name="T68" fmla="*/ 158 w 442"/>
                  <a:gd name="T69" fmla="*/ 39 h 335"/>
                  <a:gd name="T70" fmla="*/ 137 w 442"/>
                  <a:gd name="T71" fmla="*/ 37 h 335"/>
                  <a:gd name="T72" fmla="*/ 79 w 442"/>
                  <a:gd name="T73" fmla="*/ 56 h 335"/>
                  <a:gd name="T74" fmla="*/ 82 w 442"/>
                  <a:gd name="T75" fmla="*/ 62 h 335"/>
                  <a:gd name="T76" fmla="*/ 80 w 442"/>
                  <a:gd name="T77" fmla="*/ 63 h 335"/>
                  <a:gd name="T78" fmla="*/ 63 w 442"/>
                  <a:gd name="T79" fmla="*/ 88 h 335"/>
                  <a:gd name="T80" fmla="*/ 64 w 442"/>
                  <a:gd name="T81" fmla="*/ 92 h 335"/>
                  <a:gd name="T82" fmla="*/ 64 w 442"/>
                  <a:gd name="T83" fmla="*/ 94 h 335"/>
                  <a:gd name="T84" fmla="*/ 387 w 442"/>
                  <a:gd name="T85" fmla="*/ 241 h 335"/>
                  <a:gd name="T86" fmla="*/ 394 w 442"/>
                  <a:gd name="T87" fmla="*/ 198 h 335"/>
                  <a:gd name="T88" fmla="*/ 362 w 442"/>
                  <a:gd name="T89" fmla="*/ 157 h 335"/>
                  <a:gd name="T90" fmla="*/ 307 w 442"/>
                  <a:gd name="T91" fmla="*/ 127 h 335"/>
                  <a:gd name="T92" fmla="*/ 298 w 442"/>
                  <a:gd name="T93" fmla="*/ 127 h 335"/>
                  <a:gd name="T94" fmla="*/ 268 w 442"/>
                  <a:gd name="T95" fmla="*/ 140 h 335"/>
                  <a:gd name="T96" fmla="*/ 238 w 442"/>
                  <a:gd name="T97" fmla="*/ 193 h 335"/>
                  <a:gd name="T98" fmla="*/ 245 w 442"/>
                  <a:gd name="T99" fmla="*/ 235 h 335"/>
                  <a:gd name="T100" fmla="*/ 250 w 442"/>
                  <a:gd name="T101" fmla="*/ 240 h 335"/>
                  <a:gd name="T102" fmla="*/ 249 w 442"/>
                  <a:gd name="T103" fmla="*/ 241 h 335"/>
                  <a:gd name="T104" fmla="*/ 279 w 442"/>
                  <a:gd name="T105" fmla="*/ 286 h 335"/>
                  <a:gd name="T106" fmla="*/ 352 w 442"/>
                  <a:gd name="T107" fmla="*/ 281 h 335"/>
                  <a:gd name="T108" fmla="*/ 387 w 442"/>
                  <a:gd name="T109" fmla="*/ 241 h 3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442" h="335">
                    <a:moveTo>
                      <a:pt x="17" y="102"/>
                    </a:moveTo>
                    <a:cubicBezTo>
                      <a:pt x="33" y="69"/>
                      <a:pt x="60" y="42"/>
                      <a:pt x="92" y="21"/>
                    </a:cubicBezTo>
                    <a:cubicBezTo>
                      <a:pt x="114" y="10"/>
                      <a:pt x="139" y="2"/>
                      <a:pt x="165" y="0"/>
                    </a:cubicBezTo>
                    <a:cubicBezTo>
                      <a:pt x="165" y="7"/>
                      <a:pt x="165" y="7"/>
                      <a:pt x="165" y="7"/>
                    </a:cubicBezTo>
                    <a:cubicBezTo>
                      <a:pt x="208" y="12"/>
                      <a:pt x="248" y="24"/>
                      <a:pt x="285" y="46"/>
                    </a:cubicBezTo>
                    <a:cubicBezTo>
                      <a:pt x="327" y="72"/>
                      <a:pt x="369" y="104"/>
                      <a:pt x="399" y="144"/>
                    </a:cubicBezTo>
                    <a:cubicBezTo>
                      <a:pt x="424" y="176"/>
                      <a:pt x="442" y="218"/>
                      <a:pt x="433" y="259"/>
                    </a:cubicBezTo>
                    <a:cubicBezTo>
                      <a:pt x="423" y="298"/>
                      <a:pt x="387" y="322"/>
                      <a:pt x="346" y="329"/>
                    </a:cubicBezTo>
                    <a:cubicBezTo>
                      <a:pt x="308" y="335"/>
                      <a:pt x="270" y="327"/>
                      <a:pt x="230" y="317"/>
                    </a:cubicBezTo>
                    <a:cubicBezTo>
                      <a:pt x="190" y="310"/>
                      <a:pt x="148" y="300"/>
                      <a:pt x="108" y="284"/>
                    </a:cubicBezTo>
                    <a:cubicBezTo>
                      <a:pt x="70" y="269"/>
                      <a:pt x="34" y="242"/>
                      <a:pt x="14" y="204"/>
                    </a:cubicBezTo>
                    <a:cubicBezTo>
                      <a:pt x="0" y="171"/>
                      <a:pt x="1" y="133"/>
                      <a:pt x="17" y="102"/>
                    </a:cubicBezTo>
                    <a:close/>
                    <a:moveTo>
                      <a:pt x="64" y="94"/>
                    </a:moveTo>
                    <a:cubicBezTo>
                      <a:pt x="61" y="95"/>
                      <a:pt x="58" y="96"/>
                      <a:pt x="55" y="96"/>
                    </a:cubicBezTo>
                    <a:cubicBezTo>
                      <a:pt x="53" y="97"/>
                      <a:pt x="46" y="98"/>
                      <a:pt x="44" y="99"/>
                    </a:cubicBezTo>
                    <a:cubicBezTo>
                      <a:pt x="40" y="102"/>
                      <a:pt x="44" y="108"/>
                      <a:pt x="43" y="113"/>
                    </a:cubicBezTo>
                    <a:cubicBezTo>
                      <a:pt x="44" y="119"/>
                      <a:pt x="46" y="126"/>
                      <a:pt x="45" y="133"/>
                    </a:cubicBezTo>
                    <a:cubicBezTo>
                      <a:pt x="46" y="137"/>
                      <a:pt x="45" y="142"/>
                      <a:pt x="48" y="148"/>
                    </a:cubicBezTo>
                    <a:cubicBezTo>
                      <a:pt x="48" y="149"/>
                      <a:pt x="48" y="149"/>
                      <a:pt x="48" y="149"/>
                    </a:cubicBezTo>
                    <a:cubicBezTo>
                      <a:pt x="48" y="149"/>
                      <a:pt x="48" y="149"/>
                      <a:pt x="48" y="149"/>
                    </a:cubicBezTo>
                    <a:cubicBezTo>
                      <a:pt x="49" y="148"/>
                      <a:pt x="49" y="148"/>
                      <a:pt x="50" y="148"/>
                    </a:cubicBezTo>
                    <a:cubicBezTo>
                      <a:pt x="50" y="153"/>
                      <a:pt x="50" y="157"/>
                      <a:pt x="51" y="162"/>
                    </a:cubicBezTo>
                    <a:cubicBezTo>
                      <a:pt x="51" y="173"/>
                      <a:pt x="58" y="181"/>
                      <a:pt x="64" y="189"/>
                    </a:cubicBezTo>
                    <a:cubicBezTo>
                      <a:pt x="85" y="210"/>
                      <a:pt x="114" y="215"/>
                      <a:pt x="140" y="212"/>
                    </a:cubicBezTo>
                    <a:cubicBezTo>
                      <a:pt x="167" y="206"/>
                      <a:pt x="189" y="190"/>
                      <a:pt x="202" y="166"/>
                    </a:cubicBezTo>
                    <a:cubicBezTo>
                      <a:pt x="216" y="144"/>
                      <a:pt x="219" y="125"/>
                      <a:pt x="218" y="100"/>
                    </a:cubicBezTo>
                    <a:cubicBezTo>
                      <a:pt x="216" y="100"/>
                      <a:pt x="216" y="100"/>
                      <a:pt x="216" y="100"/>
                    </a:cubicBezTo>
                    <a:cubicBezTo>
                      <a:pt x="217" y="96"/>
                      <a:pt x="219" y="93"/>
                      <a:pt x="221" y="92"/>
                    </a:cubicBezTo>
                    <a:cubicBezTo>
                      <a:pt x="215" y="78"/>
                      <a:pt x="207" y="59"/>
                      <a:pt x="193" y="50"/>
                    </a:cubicBezTo>
                    <a:cubicBezTo>
                      <a:pt x="187" y="50"/>
                      <a:pt x="187" y="50"/>
                      <a:pt x="187" y="50"/>
                    </a:cubicBezTo>
                    <a:cubicBezTo>
                      <a:pt x="187" y="50"/>
                      <a:pt x="186" y="51"/>
                      <a:pt x="185" y="52"/>
                    </a:cubicBezTo>
                    <a:cubicBezTo>
                      <a:pt x="182" y="50"/>
                      <a:pt x="182" y="50"/>
                      <a:pt x="182" y="50"/>
                    </a:cubicBezTo>
                    <a:cubicBezTo>
                      <a:pt x="177" y="49"/>
                      <a:pt x="171" y="45"/>
                      <a:pt x="169" y="44"/>
                    </a:cubicBezTo>
                    <a:cubicBezTo>
                      <a:pt x="166" y="43"/>
                      <a:pt x="162" y="42"/>
                      <a:pt x="158" y="41"/>
                    </a:cubicBezTo>
                    <a:cubicBezTo>
                      <a:pt x="158" y="39"/>
                      <a:pt x="158" y="39"/>
                      <a:pt x="158" y="39"/>
                    </a:cubicBezTo>
                    <a:cubicBezTo>
                      <a:pt x="151" y="36"/>
                      <a:pt x="146" y="35"/>
                      <a:pt x="137" y="37"/>
                    </a:cubicBezTo>
                    <a:cubicBezTo>
                      <a:pt x="117" y="41"/>
                      <a:pt x="97" y="45"/>
                      <a:pt x="79" y="56"/>
                    </a:cubicBezTo>
                    <a:cubicBezTo>
                      <a:pt x="79" y="58"/>
                      <a:pt x="80" y="61"/>
                      <a:pt x="82" y="62"/>
                    </a:cubicBezTo>
                    <a:cubicBezTo>
                      <a:pt x="80" y="63"/>
                      <a:pt x="80" y="63"/>
                      <a:pt x="80" y="63"/>
                    </a:cubicBezTo>
                    <a:cubicBezTo>
                      <a:pt x="75" y="69"/>
                      <a:pt x="66" y="80"/>
                      <a:pt x="63" y="88"/>
                    </a:cubicBezTo>
                    <a:cubicBezTo>
                      <a:pt x="63" y="88"/>
                      <a:pt x="63" y="90"/>
                      <a:pt x="64" y="92"/>
                    </a:cubicBezTo>
                    <a:lnTo>
                      <a:pt x="64" y="94"/>
                    </a:lnTo>
                    <a:close/>
                    <a:moveTo>
                      <a:pt x="387" y="241"/>
                    </a:moveTo>
                    <a:cubicBezTo>
                      <a:pt x="396" y="228"/>
                      <a:pt x="398" y="214"/>
                      <a:pt x="394" y="198"/>
                    </a:cubicBezTo>
                    <a:cubicBezTo>
                      <a:pt x="391" y="183"/>
                      <a:pt x="382" y="154"/>
                      <a:pt x="362" y="157"/>
                    </a:cubicBezTo>
                    <a:cubicBezTo>
                      <a:pt x="351" y="136"/>
                      <a:pt x="329" y="131"/>
                      <a:pt x="307" y="127"/>
                    </a:cubicBezTo>
                    <a:cubicBezTo>
                      <a:pt x="298" y="127"/>
                      <a:pt x="298" y="127"/>
                      <a:pt x="298" y="127"/>
                    </a:cubicBezTo>
                    <a:cubicBezTo>
                      <a:pt x="287" y="131"/>
                      <a:pt x="278" y="133"/>
                      <a:pt x="268" y="140"/>
                    </a:cubicBezTo>
                    <a:cubicBezTo>
                      <a:pt x="252" y="150"/>
                      <a:pt x="241" y="174"/>
                      <a:pt x="238" y="193"/>
                    </a:cubicBezTo>
                    <a:cubicBezTo>
                      <a:pt x="234" y="207"/>
                      <a:pt x="236" y="223"/>
                      <a:pt x="245" y="235"/>
                    </a:cubicBezTo>
                    <a:cubicBezTo>
                      <a:pt x="247" y="237"/>
                      <a:pt x="248" y="239"/>
                      <a:pt x="250" y="240"/>
                    </a:cubicBezTo>
                    <a:cubicBezTo>
                      <a:pt x="249" y="241"/>
                      <a:pt x="249" y="241"/>
                      <a:pt x="249" y="241"/>
                    </a:cubicBezTo>
                    <a:cubicBezTo>
                      <a:pt x="253" y="259"/>
                      <a:pt x="266" y="277"/>
                      <a:pt x="279" y="286"/>
                    </a:cubicBezTo>
                    <a:cubicBezTo>
                      <a:pt x="301" y="299"/>
                      <a:pt x="332" y="295"/>
                      <a:pt x="352" y="281"/>
                    </a:cubicBezTo>
                    <a:cubicBezTo>
                      <a:pt x="369" y="273"/>
                      <a:pt x="379" y="257"/>
                      <a:pt x="387" y="241"/>
                    </a:cubicBezTo>
                    <a:close/>
                  </a:path>
                </a:pathLst>
              </a:custGeom>
              <a:solidFill>
                <a:srgbClr val="F6B84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468" name="Freeform 140">
                <a:extLst>
                  <a:ext uri="{FF2B5EF4-FFF2-40B4-BE49-F238E27FC236}">
                    <a16:creationId xmlns:a16="http://schemas.microsoft.com/office/drawing/2014/main" id="{0A3A7937-EB3A-49D4-9C38-083CFEBD89D3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5799" y="1053"/>
                <a:ext cx="447" cy="420"/>
              </a:xfrm>
              <a:custGeom>
                <a:avLst/>
                <a:gdLst>
                  <a:gd name="T0" fmla="*/ 217 w 422"/>
                  <a:gd name="T1" fmla="*/ 9 h 397"/>
                  <a:gd name="T2" fmla="*/ 307 w 422"/>
                  <a:gd name="T3" fmla="*/ 17 h 397"/>
                  <a:gd name="T4" fmla="*/ 309 w 422"/>
                  <a:gd name="T5" fmla="*/ 13 h 397"/>
                  <a:gd name="T6" fmla="*/ 374 w 422"/>
                  <a:gd name="T7" fmla="*/ 51 h 397"/>
                  <a:gd name="T8" fmla="*/ 411 w 422"/>
                  <a:gd name="T9" fmla="*/ 94 h 397"/>
                  <a:gd name="T10" fmla="*/ 406 w 422"/>
                  <a:gd name="T11" fmla="*/ 187 h 397"/>
                  <a:gd name="T12" fmla="*/ 327 w 422"/>
                  <a:gd name="T13" fmla="*/ 281 h 397"/>
                  <a:gd name="T14" fmla="*/ 176 w 422"/>
                  <a:gd name="T15" fmla="*/ 374 h 397"/>
                  <a:gd name="T16" fmla="*/ 81 w 422"/>
                  <a:gd name="T17" fmla="*/ 392 h 397"/>
                  <a:gd name="T18" fmla="*/ 7 w 422"/>
                  <a:gd name="T19" fmla="*/ 318 h 397"/>
                  <a:gd name="T20" fmla="*/ 37 w 422"/>
                  <a:gd name="T21" fmla="*/ 203 h 397"/>
                  <a:gd name="T22" fmla="*/ 92 w 422"/>
                  <a:gd name="T23" fmla="*/ 103 h 397"/>
                  <a:gd name="T24" fmla="*/ 217 w 422"/>
                  <a:gd name="T25" fmla="*/ 9 h 397"/>
                  <a:gd name="T26" fmla="*/ 174 w 422"/>
                  <a:gd name="T27" fmla="*/ 111 h 397"/>
                  <a:gd name="T28" fmla="*/ 153 w 422"/>
                  <a:gd name="T29" fmla="*/ 129 h 397"/>
                  <a:gd name="T30" fmla="*/ 173 w 422"/>
                  <a:gd name="T31" fmla="*/ 169 h 397"/>
                  <a:gd name="T32" fmla="*/ 199 w 422"/>
                  <a:gd name="T33" fmla="*/ 170 h 397"/>
                  <a:gd name="T34" fmla="*/ 242 w 422"/>
                  <a:gd name="T35" fmla="*/ 200 h 397"/>
                  <a:gd name="T36" fmla="*/ 260 w 422"/>
                  <a:gd name="T37" fmla="*/ 199 h 397"/>
                  <a:gd name="T38" fmla="*/ 300 w 422"/>
                  <a:gd name="T39" fmla="*/ 231 h 397"/>
                  <a:gd name="T40" fmla="*/ 331 w 422"/>
                  <a:gd name="T41" fmla="*/ 201 h 397"/>
                  <a:gd name="T42" fmla="*/ 331 w 422"/>
                  <a:gd name="T43" fmla="*/ 185 h 397"/>
                  <a:gd name="T44" fmla="*/ 352 w 422"/>
                  <a:gd name="T45" fmla="*/ 185 h 397"/>
                  <a:gd name="T46" fmla="*/ 371 w 422"/>
                  <a:gd name="T47" fmla="*/ 144 h 397"/>
                  <a:gd name="T48" fmla="*/ 371 w 422"/>
                  <a:gd name="T49" fmla="*/ 142 h 397"/>
                  <a:gd name="T50" fmla="*/ 394 w 422"/>
                  <a:gd name="T51" fmla="*/ 109 h 397"/>
                  <a:gd name="T52" fmla="*/ 376 w 422"/>
                  <a:gd name="T53" fmla="*/ 78 h 397"/>
                  <a:gd name="T54" fmla="*/ 347 w 422"/>
                  <a:gd name="T55" fmla="*/ 80 h 397"/>
                  <a:gd name="T56" fmla="*/ 345 w 422"/>
                  <a:gd name="T57" fmla="*/ 78 h 397"/>
                  <a:gd name="T58" fmla="*/ 343 w 422"/>
                  <a:gd name="T59" fmla="*/ 79 h 397"/>
                  <a:gd name="T60" fmla="*/ 338 w 422"/>
                  <a:gd name="T61" fmla="*/ 66 h 397"/>
                  <a:gd name="T62" fmla="*/ 306 w 422"/>
                  <a:gd name="T63" fmla="*/ 47 h 397"/>
                  <a:gd name="T64" fmla="*/ 288 w 422"/>
                  <a:gd name="T65" fmla="*/ 47 h 397"/>
                  <a:gd name="T66" fmla="*/ 286 w 422"/>
                  <a:gd name="T67" fmla="*/ 48 h 397"/>
                  <a:gd name="T68" fmla="*/ 251 w 422"/>
                  <a:gd name="T69" fmla="*/ 29 h 397"/>
                  <a:gd name="T70" fmla="*/ 251 w 422"/>
                  <a:gd name="T71" fmla="*/ 27 h 397"/>
                  <a:gd name="T72" fmla="*/ 237 w 422"/>
                  <a:gd name="T73" fmla="*/ 28 h 397"/>
                  <a:gd name="T74" fmla="*/ 218 w 422"/>
                  <a:gd name="T75" fmla="*/ 46 h 397"/>
                  <a:gd name="T76" fmla="*/ 216 w 422"/>
                  <a:gd name="T77" fmla="*/ 71 h 397"/>
                  <a:gd name="T78" fmla="*/ 208 w 422"/>
                  <a:gd name="T79" fmla="*/ 73 h 397"/>
                  <a:gd name="T80" fmla="*/ 184 w 422"/>
                  <a:gd name="T81" fmla="*/ 99 h 397"/>
                  <a:gd name="T82" fmla="*/ 183 w 422"/>
                  <a:gd name="T83" fmla="*/ 106 h 397"/>
                  <a:gd name="T84" fmla="*/ 174 w 422"/>
                  <a:gd name="T85" fmla="*/ 111 h 397"/>
                  <a:gd name="T86" fmla="*/ 124 w 422"/>
                  <a:gd name="T87" fmla="*/ 198 h 397"/>
                  <a:gd name="T88" fmla="*/ 96 w 422"/>
                  <a:gd name="T89" fmla="*/ 206 h 397"/>
                  <a:gd name="T90" fmla="*/ 61 w 422"/>
                  <a:gd name="T91" fmla="*/ 239 h 397"/>
                  <a:gd name="T92" fmla="*/ 57 w 422"/>
                  <a:gd name="T93" fmla="*/ 259 h 397"/>
                  <a:gd name="T94" fmla="*/ 56 w 422"/>
                  <a:gd name="T95" fmla="*/ 259 h 397"/>
                  <a:gd name="T96" fmla="*/ 50 w 422"/>
                  <a:gd name="T97" fmla="*/ 272 h 397"/>
                  <a:gd name="T98" fmla="*/ 49 w 422"/>
                  <a:gd name="T99" fmla="*/ 311 h 397"/>
                  <a:gd name="T100" fmla="*/ 113 w 422"/>
                  <a:gd name="T101" fmla="*/ 360 h 397"/>
                  <a:gd name="T102" fmla="*/ 177 w 422"/>
                  <a:gd name="T103" fmla="*/ 344 h 397"/>
                  <a:gd name="T104" fmla="*/ 200 w 422"/>
                  <a:gd name="T105" fmla="*/ 280 h 397"/>
                  <a:gd name="T106" fmla="*/ 197 w 422"/>
                  <a:gd name="T107" fmla="*/ 235 h 397"/>
                  <a:gd name="T108" fmla="*/ 157 w 422"/>
                  <a:gd name="T109" fmla="*/ 202 h 397"/>
                  <a:gd name="T110" fmla="*/ 124 w 422"/>
                  <a:gd name="T111" fmla="*/ 196 h 397"/>
                  <a:gd name="T112" fmla="*/ 124 w 422"/>
                  <a:gd name="T113" fmla="*/ 198 h 3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422" h="397">
                    <a:moveTo>
                      <a:pt x="217" y="9"/>
                    </a:moveTo>
                    <a:cubicBezTo>
                      <a:pt x="247" y="0"/>
                      <a:pt x="276" y="3"/>
                      <a:pt x="307" y="17"/>
                    </a:cubicBezTo>
                    <a:cubicBezTo>
                      <a:pt x="309" y="13"/>
                      <a:pt x="309" y="13"/>
                      <a:pt x="309" y="13"/>
                    </a:cubicBezTo>
                    <a:cubicBezTo>
                      <a:pt x="331" y="25"/>
                      <a:pt x="353" y="36"/>
                      <a:pt x="374" y="51"/>
                    </a:cubicBezTo>
                    <a:cubicBezTo>
                      <a:pt x="391" y="64"/>
                      <a:pt x="405" y="77"/>
                      <a:pt x="411" y="94"/>
                    </a:cubicBezTo>
                    <a:cubicBezTo>
                      <a:pt x="422" y="124"/>
                      <a:pt x="416" y="160"/>
                      <a:pt x="406" y="187"/>
                    </a:cubicBezTo>
                    <a:cubicBezTo>
                      <a:pt x="394" y="227"/>
                      <a:pt x="359" y="256"/>
                      <a:pt x="327" y="281"/>
                    </a:cubicBezTo>
                    <a:cubicBezTo>
                      <a:pt x="279" y="317"/>
                      <a:pt x="228" y="349"/>
                      <a:pt x="176" y="374"/>
                    </a:cubicBezTo>
                    <a:cubicBezTo>
                      <a:pt x="147" y="387"/>
                      <a:pt x="114" y="397"/>
                      <a:pt x="81" y="392"/>
                    </a:cubicBezTo>
                    <a:cubicBezTo>
                      <a:pt x="42" y="384"/>
                      <a:pt x="13" y="358"/>
                      <a:pt x="7" y="318"/>
                    </a:cubicBezTo>
                    <a:cubicBezTo>
                      <a:pt x="0" y="278"/>
                      <a:pt x="17" y="237"/>
                      <a:pt x="37" y="203"/>
                    </a:cubicBezTo>
                    <a:cubicBezTo>
                      <a:pt x="55" y="169"/>
                      <a:pt x="71" y="133"/>
                      <a:pt x="92" y="103"/>
                    </a:cubicBezTo>
                    <a:cubicBezTo>
                      <a:pt x="124" y="61"/>
                      <a:pt x="167" y="24"/>
                      <a:pt x="217" y="9"/>
                    </a:cubicBezTo>
                    <a:close/>
                    <a:moveTo>
                      <a:pt x="174" y="111"/>
                    </a:moveTo>
                    <a:cubicBezTo>
                      <a:pt x="167" y="117"/>
                      <a:pt x="158" y="121"/>
                      <a:pt x="153" y="129"/>
                    </a:cubicBezTo>
                    <a:cubicBezTo>
                      <a:pt x="147" y="142"/>
                      <a:pt x="161" y="164"/>
                      <a:pt x="173" y="169"/>
                    </a:cubicBezTo>
                    <a:cubicBezTo>
                      <a:pt x="181" y="173"/>
                      <a:pt x="191" y="173"/>
                      <a:pt x="199" y="170"/>
                    </a:cubicBezTo>
                    <a:cubicBezTo>
                      <a:pt x="204" y="187"/>
                      <a:pt x="227" y="199"/>
                      <a:pt x="242" y="200"/>
                    </a:cubicBezTo>
                    <a:cubicBezTo>
                      <a:pt x="260" y="199"/>
                      <a:pt x="260" y="199"/>
                      <a:pt x="260" y="199"/>
                    </a:cubicBezTo>
                    <a:cubicBezTo>
                      <a:pt x="260" y="221"/>
                      <a:pt x="279" y="234"/>
                      <a:pt x="300" y="231"/>
                    </a:cubicBezTo>
                    <a:cubicBezTo>
                      <a:pt x="313" y="228"/>
                      <a:pt x="326" y="214"/>
                      <a:pt x="331" y="201"/>
                    </a:cubicBezTo>
                    <a:cubicBezTo>
                      <a:pt x="333" y="195"/>
                      <a:pt x="333" y="190"/>
                      <a:pt x="331" y="185"/>
                    </a:cubicBezTo>
                    <a:cubicBezTo>
                      <a:pt x="352" y="185"/>
                      <a:pt x="352" y="185"/>
                      <a:pt x="352" y="185"/>
                    </a:cubicBezTo>
                    <a:cubicBezTo>
                      <a:pt x="362" y="174"/>
                      <a:pt x="375" y="160"/>
                      <a:pt x="371" y="144"/>
                    </a:cubicBezTo>
                    <a:cubicBezTo>
                      <a:pt x="371" y="142"/>
                      <a:pt x="371" y="142"/>
                      <a:pt x="371" y="142"/>
                    </a:cubicBezTo>
                    <a:cubicBezTo>
                      <a:pt x="386" y="138"/>
                      <a:pt x="396" y="128"/>
                      <a:pt x="394" y="109"/>
                    </a:cubicBezTo>
                    <a:cubicBezTo>
                      <a:pt x="393" y="95"/>
                      <a:pt x="386" y="85"/>
                      <a:pt x="376" y="78"/>
                    </a:cubicBezTo>
                    <a:cubicBezTo>
                      <a:pt x="365" y="75"/>
                      <a:pt x="356" y="76"/>
                      <a:pt x="347" y="80"/>
                    </a:cubicBezTo>
                    <a:cubicBezTo>
                      <a:pt x="345" y="78"/>
                      <a:pt x="345" y="78"/>
                      <a:pt x="345" y="78"/>
                    </a:cubicBezTo>
                    <a:cubicBezTo>
                      <a:pt x="345" y="78"/>
                      <a:pt x="344" y="79"/>
                      <a:pt x="343" y="79"/>
                    </a:cubicBezTo>
                    <a:cubicBezTo>
                      <a:pt x="338" y="66"/>
                      <a:pt x="338" y="66"/>
                      <a:pt x="338" y="66"/>
                    </a:cubicBezTo>
                    <a:cubicBezTo>
                      <a:pt x="329" y="56"/>
                      <a:pt x="318" y="49"/>
                      <a:pt x="306" y="47"/>
                    </a:cubicBezTo>
                    <a:cubicBezTo>
                      <a:pt x="299" y="46"/>
                      <a:pt x="293" y="48"/>
                      <a:pt x="288" y="47"/>
                    </a:cubicBezTo>
                    <a:cubicBezTo>
                      <a:pt x="286" y="48"/>
                      <a:pt x="286" y="48"/>
                      <a:pt x="286" y="48"/>
                    </a:cubicBezTo>
                    <a:cubicBezTo>
                      <a:pt x="278" y="36"/>
                      <a:pt x="265" y="27"/>
                      <a:pt x="251" y="29"/>
                    </a:cubicBezTo>
                    <a:cubicBezTo>
                      <a:pt x="251" y="27"/>
                      <a:pt x="251" y="27"/>
                      <a:pt x="251" y="27"/>
                    </a:cubicBezTo>
                    <a:cubicBezTo>
                      <a:pt x="247" y="28"/>
                      <a:pt x="242" y="27"/>
                      <a:pt x="237" y="28"/>
                    </a:cubicBezTo>
                    <a:cubicBezTo>
                      <a:pt x="228" y="29"/>
                      <a:pt x="223" y="38"/>
                      <a:pt x="218" y="46"/>
                    </a:cubicBezTo>
                    <a:cubicBezTo>
                      <a:pt x="214" y="53"/>
                      <a:pt x="214" y="62"/>
                      <a:pt x="216" y="71"/>
                    </a:cubicBezTo>
                    <a:cubicBezTo>
                      <a:pt x="208" y="73"/>
                      <a:pt x="208" y="73"/>
                      <a:pt x="208" y="73"/>
                    </a:cubicBezTo>
                    <a:cubicBezTo>
                      <a:pt x="196" y="80"/>
                      <a:pt x="190" y="89"/>
                      <a:pt x="184" y="99"/>
                    </a:cubicBezTo>
                    <a:cubicBezTo>
                      <a:pt x="184" y="102"/>
                      <a:pt x="182" y="104"/>
                      <a:pt x="183" y="106"/>
                    </a:cubicBezTo>
                    <a:lnTo>
                      <a:pt x="174" y="111"/>
                    </a:lnTo>
                    <a:close/>
                    <a:moveTo>
                      <a:pt x="124" y="198"/>
                    </a:moveTo>
                    <a:cubicBezTo>
                      <a:pt x="116" y="202"/>
                      <a:pt x="104" y="202"/>
                      <a:pt x="96" y="206"/>
                    </a:cubicBezTo>
                    <a:cubicBezTo>
                      <a:pt x="81" y="212"/>
                      <a:pt x="67" y="224"/>
                      <a:pt x="61" y="239"/>
                    </a:cubicBezTo>
                    <a:cubicBezTo>
                      <a:pt x="59" y="245"/>
                      <a:pt x="58" y="252"/>
                      <a:pt x="57" y="259"/>
                    </a:cubicBezTo>
                    <a:cubicBezTo>
                      <a:pt x="56" y="259"/>
                      <a:pt x="56" y="259"/>
                      <a:pt x="56" y="259"/>
                    </a:cubicBezTo>
                    <a:cubicBezTo>
                      <a:pt x="55" y="264"/>
                      <a:pt x="51" y="267"/>
                      <a:pt x="50" y="272"/>
                    </a:cubicBezTo>
                    <a:cubicBezTo>
                      <a:pt x="46" y="284"/>
                      <a:pt x="46" y="298"/>
                      <a:pt x="49" y="311"/>
                    </a:cubicBezTo>
                    <a:cubicBezTo>
                      <a:pt x="55" y="340"/>
                      <a:pt x="85" y="359"/>
                      <a:pt x="113" y="360"/>
                    </a:cubicBezTo>
                    <a:cubicBezTo>
                      <a:pt x="136" y="359"/>
                      <a:pt x="159" y="357"/>
                      <a:pt x="177" y="344"/>
                    </a:cubicBezTo>
                    <a:cubicBezTo>
                      <a:pt x="193" y="329"/>
                      <a:pt x="207" y="302"/>
                      <a:pt x="200" y="280"/>
                    </a:cubicBezTo>
                    <a:cubicBezTo>
                      <a:pt x="204" y="265"/>
                      <a:pt x="203" y="249"/>
                      <a:pt x="197" y="235"/>
                    </a:cubicBezTo>
                    <a:cubicBezTo>
                      <a:pt x="191" y="220"/>
                      <a:pt x="172" y="208"/>
                      <a:pt x="157" y="202"/>
                    </a:cubicBezTo>
                    <a:cubicBezTo>
                      <a:pt x="146" y="197"/>
                      <a:pt x="135" y="195"/>
                      <a:pt x="124" y="196"/>
                    </a:cubicBezTo>
                    <a:lnTo>
                      <a:pt x="124" y="198"/>
                    </a:lnTo>
                    <a:close/>
                  </a:path>
                </a:pathLst>
              </a:custGeom>
              <a:solidFill>
                <a:srgbClr val="F6B84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469" name="Freeform 141">
                <a:extLst>
                  <a:ext uri="{FF2B5EF4-FFF2-40B4-BE49-F238E27FC236}">
                    <a16:creationId xmlns:a16="http://schemas.microsoft.com/office/drawing/2014/main" id="{BCF2EBE8-5855-4C42-B352-32116AAF1A7E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092" y="1463"/>
                <a:ext cx="186" cy="320"/>
              </a:xfrm>
              <a:custGeom>
                <a:avLst/>
                <a:gdLst>
                  <a:gd name="T0" fmla="*/ 30 w 176"/>
                  <a:gd name="T1" fmla="*/ 53 h 302"/>
                  <a:gd name="T2" fmla="*/ 1 w 176"/>
                  <a:gd name="T3" fmla="*/ 16 h 302"/>
                  <a:gd name="T4" fmla="*/ 0 w 176"/>
                  <a:gd name="T5" fmla="*/ 13 h 302"/>
                  <a:gd name="T6" fmla="*/ 22 w 176"/>
                  <a:gd name="T7" fmla="*/ 0 h 302"/>
                  <a:gd name="T8" fmla="*/ 146 w 176"/>
                  <a:gd name="T9" fmla="*/ 234 h 302"/>
                  <a:gd name="T10" fmla="*/ 176 w 176"/>
                  <a:gd name="T11" fmla="*/ 301 h 302"/>
                  <a:gd name="T12" fmla="*/ 172 w 176"/>
                  <a:gd name="T13" fmla="*/ 302 h 302"/>
                  <a:gd name="T14" fmla="*/ 145 w 176"/>
                  <a:gd name="T15" fmla="*/ 250 h 302"/>
                  <a:gd name="T16" fmla="*/ 125 w 176"/>
                  <a:gd name="T17" fmla="*/ 211 h 302"/>
                  <a:gd name="T18" fmla="*/ 85 w 176"/>
                  <a:gd name="T19" fmla="*/ 148 h 302"/>
                  <a:gd name="T20" fmla="*/ 38 w 176"/>
                  <a:gd name="T21" fmla="*/ 70 h 302"/>
                  <a:gd name="T22" fmla="*/ 30 w 176"/>
                  <a:gd name="T23" fmla="*/ 53 h 3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76" h="302">
                    <a:moveTo>
                      <a:pt x="30" y="53"/>
                    </a:moveTo>
                    <a:cubicBezTo>
                      <a:pt x="23" y="40"/>
                      <a:pt x="13" y="26"/>
                      <a:pt x="1" y="16"/>
                    </a:cubicBezTo>
                    <a:cubicBezTo>
                      <a:pt x="0" y="13"/>
                      <a:pt x="0" y="13"/>
                      <a:pt x="0" y="13"/>
                    </a:cubicBezTo>
                    <a:cubicBezTo>
                      <a:pt x="7" y="9"/>
                      <a:pt x="15" y="4"/>
                      <a:pt x="22" y="0"/>
                    </a:cubicBezTo>
                    <a:cubicBezTo>
                      <a:pt x="63" y="80"/>
                      <a:pt x="110" y="153"/>
                      <a:pt x="146" y="234"/>
                    </a:cubicBezTo>
                    <a:cubicBezTo>
                      <a:pt x="156" y="256"/>
                      <a:pt x="165" y="279"/>
                      <a:pt x="176" y="301"/>
                    </a:cubicBezTo>
                    <a:cubicBezTo>
                      <a:pt x="172" y="302"/>
                      <a:pt x="172" y="302"/>
                      <a:pt x="172" y="302"/>
                    </a:cubicBezTo>
                    <a:cubicBezTo>
                      <a:pt x="160" y="286"/>
                      <a:pt x="153" y="267"/>
                      <a:pt x="145" y="250"/>
                    </a:cubicBezTo>
                    <a:cubicBezTo>
                      <a:pt x="137" y="238"/>
                      <a:pt x="132" y="223"/>
                      <a:pt x="125" y="211"/>
                    </a:cubicBezTo>
                    <a:cubicBezTo>
                      <a:pt x="113" y="188"/>
                      <a:pt x="99" y="168"/>
                      <a:pt x="85" y="148"/>
                    </a:cubicBezTo>
                    <a:cubicBezTo>
                      <a:pt x="70" y="121"/>
                      <a:pt x="56" y="96"/>
                      <a:pt x="38" y="70"/>
                    </a:cubicBezTo>
                    <a:cubicBezTo>
                      <a:pt x="36" y="65"/>
                      <a:pt x="33" y="59"/>
                      <a:pt x="30" y="53"/>
                    </a:cubicBezTo>
                    <a:close/>
                  </a:path>
                </a:pathLst>
              </a:custGeom>
              <a:solidFill>
                <a:srgbClr val="21AAD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470" name="Freeform 142">
                <a:extLst>
                  <a:ext uri="{FF2B5EF4-FFF2-40B4-BE49-F238E27FC236}">
                    <a16:creationId xmlns:a16="http://schemas.microsoft.com/office/drawing/2014/main" id="{B5FB2FDC-EAAD-42A5-9B94-2B74014B503A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472" y="1443"/>
                <a:ext cx="643" cy="183"/>
              </a:xfrm>
              <a:custGeom>
                <a:avLst/>
                <a:gdLst>
                  <a:gd name="T0" fmla="*/ 12 w 607"/>
                  <a:gd name="T1" fmla="*/ 162 h 173"/>
                  <a:gd name="T2" fmla="*/ 0 w 607"/>
                  <a:gd name="T3" fmla="*/ 158 h 173"/>
                  <a:gd name="T4" fmla="*/ 5 w 607"/>
                  <a:gd name="T5" fmla="*/ 137 h 173"/>
                  <a:gd name="T6" fmla="*/ 46 w 607"/>
                  <a:gd name="T7" fmla="*/ 143 h 173"/>
                  <a:gd name="T8" fmla="*/ 161 w 607"/>
                  <a:gd name="T9" fmla="*/ 141 h 173"/>
                  <a:gd name="T10" fmla="*/ 324 w 607"/>
                  <a:gd name="T11" fmla="*/ 106 h 173"/>
                  <a:gd name="T12" fmla="*/ 482 w 607"/>
                  <a:gd name="T13" fmla="*/ 57 h 173"/>
                  <a:gd name="T14" fmla="*/ 596 w 607"/>
                  <a:gd name="T15" fmla="*/ 0 h 173"/>
                  <a:gd name="T16" fmla="*/ 605 w 607"/>
                  <a:gd name="T17" fmla="*/ 14 h 173"/>
                  <a:gd name="T18" fmla="*/ 607 w 607"/>
                  <a:gd name="T19" fmla="*/ 19 h 173"/>
                  <a:gd name="T20" fmla="*/ 585 w 607"/>
                  <a:gd name="T21" fmla="*/ 32 h 173"/>
                  <a:gd name="T22" fmla="*/ 542 w 607"/>
                  <a:gd name="T23" fmla="*/ 54 h 173"/>
                  <a:gd name="T24" fmla="*/ 439 w 607"/>
                  <a:gd name="T25" fmla="*/ 101 h 173"/>
                  <a:gd name="T26" fmla="*/ 355 w 607"/>
                  <a:gd name="T27" fmla="*/ 131 h 173"/>
                  <a:gd name="T28" fmla="*/ 251 w 607"/>
                  <a:gd name="T29" fmla="*/ 154 h 173"/>
                  <a:gd name="T30" fmla="*/ 173 w 607"/>
                  <a:gd name="T31" fmla="*/ 164 h 173"/>
                  <a:gd name="T32" fmla="*/ 117 w 607"/>
                  <a:gd name="T33" fmla="*/ 171 h 173"/>
                  <a:gd name="T34" fmla="*/ 66 w 607"/>
                  <a:gd name="T35" fmla="*/ 173 h 173"/>
                  <a:gd name="T36" fmla="*/ 12 w 607"/>
                  <a:gd name="T37" fmla="*/ 162 h 1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607" h="173">
                    <a:moveTo>
                      <a:pt x="12" y="162"/>
                    </a:moveTo>
                    <a:cubicBezTo>
                      <a:pt x="8" y="160"/>
                      <a:pt x="4" y="159"/>
                      <a:pt x="0" y="158"/>
                    </a:cubicBezTo>
                    <a:cubicBezTo>
                      <a:pt x="5" y="137"/>
                      <a:pt x="5" y="137"/>
                      <a:pt x="5" y="137"/>
                    </a:cubicBezTo>
                    <a:cubicBezTo>
                      <a:pt x="19" y="140"/>
                      <a:pt x="33" y="142"/>
                      <a:pt x="46" y="143"/>
                    </a:cubicBezTo>
                    <a:cubicBezTo>
                      <a:pt x="86" y="146"/>
                      <a:pt x="123" y="147"/>
                      <a:pt x="161" y="141"/>
                    </a:cubicBezTo>
                    <a:cubicBezTo>
                      <a:pt x="217" y="133"/>
                      <a:pt x="269" y="120"/>
                      <a:pt x="324" y="106"/>
                    </a:cubicBezTo>
                    <a:cubicBezTo>
                      <a:pt x="377" y="92"/>
                      <a:pt x="431" y="78"/>
                      <a:pt x="482" y="57"/>
                    </a:cubicBezTo>
                    <a:cubicBezTo>
                      <a:pt x="521" y="41"/>
                      <a:pt x="560" y="22"/>
                      <a:pt x="596" y="0"/>
                    </a:cubicBezTo>
                    <a:cubicBezTo>
                      <a:pt x="605" y="14"/>
                      <a:pt x="605" y="14"/>
                      <a:pt x="605" y="14"/>
                    </a:cubicBezTo>
                    <a:cubicBezTo>
                      <a:pt x="606" y="16"/>
                      <a:pt x="606" y="17"/>
                      <a:pt x="607" y="19"/>
                    </a:cubicBezTo>
                    <a:cubicBezTo>
                      <a:pt x="600" y="23"/>
                      <a:pt x="592" y="28"/>
                      <a:pt x="585" y="32"/>
                    </a:cubicBezTo>
                    <a:cubicBezTo>
                      <a:pt x="571" y="39"/>
                      <a:pt x="556" y="46"/>
                      <a:pt x="542" y="54"/>
                    </a:cubicBezTo>
                    <a:cubicBezTo>
                      <a:pt x="508" y="70"/>
                      <a:pt x="475" y="87"/>
                      <a:pt x="439" y="101"/>
                    </a:cubicBezTo>
                    <a:cubicBezTo>
                      <a:pt x="411" y="110"/>
                      <a:pt x="383" y="121"/>
                      <a:pt x="355" y="131"/>
                    </a:cubicBezTo>
                    <a:cubicBezTo>
                      <a:pt x="321" y="143"/>
                      <a:pt x="285" y="149"/>
                      <a:pt x="251" y="154"/>
                    </a:cubicBezTo>
                    <a:cubicBezTo>
                      <a:pt x="225" y="159"/>
                      <a:pt x="197" y="161"/>
                      <a:pt x="173" y="164"/>
                    </a:cubicBezTo>
                    <a:cubicBezTo>
                      <a:pt x="155" y="166"/>
                      <a:pt x="135" y="170"/>
                      <a:pt x="117" y="171"/>
                    </a:cubicBezTo>
                    <a:cubicBezTo>
                      <a:pt x="101" y="173"/>
                      <a:pt x="82" y="172"/>
                      <a:pt x="66" y="173"/>
                    </a:cubicBezTo>
                    <a:cubicBezTo>
                      <a:pt x="48" y="173"/>
                      <a:pt x="30" y="168"/>
                      <a:pt x="12" y="162"/>
                    </a:cubicBezTo>
                    <a:close/>
                  </a:path>
                </a:pathLst>
              </a:custGeom>
              <a:solidFill>
                <a:srgbClr val="21AAD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471" name="Freeform 143">
                <a:extLst>
                  <a:ext uri="{FF2B5EF4-FFF2-40B4-BE49-F238E27FC236}">
                    <a16:creationId xmlns:a16="http://schemas.microsoft.com/office/drawing/2014/main" id="{9CA1ACA6-3C0B-4966-BF83-979E95388216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115" y="1441"/>
                <a:ext cx="223" cy="417"/>
              </a:xfrm>
              <a:custGeom>
                <a:avLst/>
                <a:gdLst>
                  <a:gd name="T0" fmla="*/ 29 w 211"/>
                  <a:gd name="T1" fmla="*/ 0 h 394"/>
                  <a:gd name="T2" fmla="*/ 72 w 211"/>
                  <a:gd name="T3" fmla="*/ 81 h 394"/>
                  <a:gd name="T4" fmla="*/ 120 w 211"/>
                  <a:gd name="T5" fmla="*/ 154 h 394"/>
                  <a:gd name="T6" fmla="*/ 134 w 211"/>
                  <a:gd name="T7" fmla="*/ 186 h 394"/>
                  <a:gd name="T8" fmla="*/ 146 w 211"/>
                  <a:gd name="T9" fmla="*/ 218 h 394"/>
                  <a:gd name="T10" fmla="*/ 158 w 211"/>
                  <a:gd name="T11" fmla="*/ 264 h 394"/>
                  <a:gd name="T12" fmla="*/ 168 w 211"/>
                  <a:gd name="T13" fmla="*/ 308 h 394"/>
                  <a:gd name="T14" fmla="*/ 175 w 211"/>
                  <a:gd name="T15" fmla="*/ 329 h 394"/>
                  <a:gd name="T16" fmla="*/ 184 w 211"/>
                  <a:gd name="T17" fmla="*/ 353 h 394"/>
                  <a:gd name="T18" fmla="*/ 211 w 211"/>
                  <a:gd name="T19" fmla="*/ 392 h 394"/>
                  <a:gd name="T20" fmla="*/ 205 w 211"/>
                  <a:gd name="T21" fmla="*/ 394 h 394"/>
                  <a:gd name="T22" fmla="*/ 183 w 211"/>
                  <a:gd name="T23" fmla="*/ 369 h 394"/>
                  <a:gd name="T24" fmla="*/ 154 w 211"/>
                  <a:gd name="T25" fmla="*/ 322 h 394"/>
                  <a:gd name="T26" fmla="*/ 124 w 211"/>
                  <a:gd name="T27" fmla="*/ 255 h 394"/>
                  <a:gd name="T28" fmla="*/ 0 w 211"/>
                  <a:gd name="T29" fmla="*/ 21 h 394"/>
                  <a:gd name="T30" fmla="*/ 7 w 211"/>
                  <a:gd name="T31" fmla="*/ 17 h 394"/>
                  <a:gd name="T32" fmla="*/ 29 w 211"/>
                  <a:gd name="T33" fmla="*/ 0 h 3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11" h="394">
                    <a:moveTo>
                      <a:pt x="29" y="0"/>
                    </a:moveTo>
                    <a:cubicBezTo>
                      <a:pt x="36" y="31"/>
                      <a:pt x="57" y="54"/>
                      <a:pt x="72" y="81"/>
                    </a:cubicBezTo>
                    <a:cubicBezTo>
                      <a:pt x="85" y="106"/>
                      <a:pt x="106" y="129"/>
                      <a:pt x="120" y="154"/>
                    </a:cubicBezTo>
                    <a:cubicBezTo>
                      <a:pt x="125" y="165"/>
                      <a:pt x="130" y="175"/>
                      <a:pt x="134" y="186"/>
                    </a:cubicBezTo>
                    <a:cubicBezTo>
                      <a:pt x="139" y="196"/>
                      <a:pt x="143" y="207"/>
                      <a:pt x="146" y="218"/>
                    </a:cubicBezTo>
                    <a:cubicBezTo>
                      <a:pt x="149" y="233"/>
                      <a:pt x="155" y="248"/>
                      <a:pt x="158" y="264"/>
                    </a:cubicBezTo>
                    <a:cubicBezTo>
                      <a:pt x="161" y="279"/>
                      <a:pt x="165" y="295"/>
                      <a:pt x="168" y="308"/>
                    </a:cubicBezTo>
                    <a:cubicBezTo>
                      <a:pt x="169" y="314"/>
                      <a:pt x="173" y="321"/>
                      <a:pt x="175" y="329"/>
                    </a:cubicBezTo>
                    <a:cubicBezTo>
                      <a:pt x="176" y="336"/>
                      <a:pt x="180" y="344"/>
                      <a:pt x="184" y="353"/>
                    </a:cubicBezTo>
                    <a:cubicBezTo>
                      <a:pt x="191" y="366"/>
                      <a:pt x="200" y="381"/>
                      <a:pt x="211" y="392"/>
                    </a:cubicBezTo>
                    <a:cubicBezTo>
                      <a:pt x="205" y="394"/>
                      <a:pt x="205" y="394"/>
                      <a:pt x="205" y="394"/>
                    </a:cubicBezTo>
                    <a:cubicBezTo>
                      <a:pt x="197" y="386"/>
                      <a:pt x="189" y="378"/>
                      <a:pt x="183" y="369"/>
                    </a:cubicBezTo>
                    <a:cubicBezTo>
                      <a:pt x="172" y="354"/>
                      <a:pt x="163" y="338"/>
                      <a:pt x="154" y="322"/>
                    </a:cubicBezTo>
                    <a:cubicBezTo>
                      <a:pt x="143" y="300"/>
                      <a:pt x="134" y="277"/>
                      <a:pt x="124" y="255"/>
                    </a:cubicBezTo>
                    <a:cubicBezTo>
                      <a:pt x="88" y="174"/>
                      <a:pt x="41" y="101"/>
                      <a:pt x="0" y="21"/>
                    </a:cubicBezTo>
                    <a:cubicBezTo>
                      <a:pt x="3" y="20"/>
                      <a:pt x="5" y="18"/>
                      <a:pt x="7" y="17"/>
                    </a:cubicBezTo>
                    <a:cubicBezTo>
                      <a:pt x="15" y="11"/>
                      <a:pt x="22" y="6"/>
                      <a:pt x="29" y="0"/>
                    </a:cubicBezTo>
                    <a:close/>
                  </a:path>
                </a:pathLst>
              </a:custGeom>
              <a:solidFill>
                <a:srgbClr val="21AAD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472" name="Freeform 144">
                <a:extLst>
                  <a:ext uri="{FF2B5EF4-FFF2-40B4-BE49-F238E27FC236}">
                    <a16:creationId xmlns:a16="http://schemas.microsoft.com/office/drawing/2014/main" id="{E8AF000D-F67E-4934-ABF8-730795782931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405" y="1598"/>
                <a:ext cx="79" cy="481"/>
              </a:xfrm>
              <a:custGeom>
                <a:avLst/>
                <a:gdLst>
                  <a:gd name="T0" fmla="*/ 63 w 75"/>
                  <a:gd name="T1" fmla="*/ 373 h 454"/>
                  <a:gd name="T2" fmla="*/ 34 w 75"/>
                  <a:gd name="T3" fmla="*/ 438 h 454"/>
                  <a:gd name="T4" fmla="*/ 17 w 75"/>
                  <a:gd name="T5" fmla="*/ 449 h 454"/>
                  <a:gd name="T6" fmla="*/ 0 w 75"/>
                  <a:gd name="T7" fmla="*/ 454 h 454"/>
                  <a:gd name="T8" fmla="*/ 30 w 75"/>
                  <a:gd name="T9" fmla="*/ 381 h 454"/>
                  <a:gd name="T10" fmla="*/ 32 w 75"/>
                  <a:gd name="T11" fmla="*/ 295 h 454"/>
                  <a:gd name="T12" fmla="*/ 24 w 75"/>
                  <a:gd name="T13" fmla="*/ 183 h 454"/>
                  <a:gd name="T14" fmla="*/ 26 w 75"/>
                  <a:gd name="T15" fmla="*/ 72 h 454"/>
                  <a:gd name="T16" fmla="*/ 29 w 75"/>
                  <a:gd name="T17" fmla="*/ 11 h 454"/>
                  <a:gd name="T18" fmla="*/ 25 w 75"/>
                  <a:gd name="T19" fmla="*/ 0 h 454"/>
                  <a:gd name="T20" fmla="*/ 58 w 75"/>
                  <a:gd name="T21" fmla="*/ 9 h 454"/>
                  <a:gd name="T22" fmla="*/ 63 w 75"/>
                  <a:gd name="T23" fmla="*/ 11 h 454"/>
                  <a:gd name="T24" fmla="*/ 75 w 75"/>
                  <a:gd name="T25" fmla="*/ 15 h 454"/>
                  <a:gd name="T26" fmla="*/ 65 w 75"/>
                  <a:gd name="T27" fmla="*/ 70 h 454"/>
                  <a:gd name="T28" fmla="*/ 71 w 75"/>
                  <a:gd name="T29" fmla="*/ 268 h 454"/>
                  <a:gd name="T30" fmla="*/ 68 w 75"/>
                  <a:gd name="T31" fmla="*/ 339 h 454"/>
                  <a:gd name="T32" fmla="*/ 63 w 75"/>
                  <a:gd name="T33" fmla="*/ 373 h 4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75" h="454">
                    <a:moveTo>
                      <a:pt x="63" y="373"/>
                    </a:moveTo>
                    <a:cubicBezTo>
                      <a:pt x="59" y="395"/>
                      <a:pt x="51" y="422"/>
                      <a:pt x="34" y="438"/>
                    </a:cubicBezTo>
                    <a:cubicBezTo>
                      <a:pt x="28" y="443"/>
                      <a:pt x="23" y="447"/>
                      <a:pt x="17" y="449"/>
                    </a:cubicBezTo>
                    <a:cubicBezTo>
                      <a:pt x="12" y="452"/>
                      <a:pt x="6" y="453"/>
                      <a:pt x="0" y="454"/>
                    </a:cubicBezTo>
                    <a:cubicBezTo>
                      <a:pt x="21" y="439"/>
                      <a:pt x="29" y="404"/>
                      <a:pt x="30" y="381"/>
                    </a:cubicBezTo>
                    <a:cubicBezTo>
                      <a:pt x="33" y="350"/>
                      <a:pt x="34" y="324"/>
                      <a:pt x="32" y="295"/>
                    </a:cubicBezTo>
                    <a:cubicBezTo>
                      <a:pt x="31" y="258"/>
                      <a:pt x="28" y="219"/>
                      <a:pt x="24" y="183"/>
                    </a:cubicBezTo>
                    <a:cubicBezTo>
                      <a:pt x="23" y="146"/>
                      <a:pt x="22" y="110"/>
                      <a:pt x="26" y="72"/>
                    </a:cubicBezTo>
                    <a:cubicBezTo>
                      <a:pt x="28" y="50"/>
                      <a:pt x="33" y="31"/>
                      <a:pt x="29" y="11"/>
                    </a:cubicBezTo>
                    <a:cubicBezTo>
                      <a:pt x="28" y="7"/>
                      <a:pt x="27" y="3"/>
                      <a:pt x="25" y="0"/>
                    </a:cubicBezTo>
                    <a:cubicBezTo>
                      <a:pt x="35" y="5"/>
                      <a:pt x="47" y="7"/>
                      <a:pt x="58" y="9"/>
                    </a:cubicBezTo>
                    <a:cubicBezTo>
                      <a:pt x="60" y="10"/>
                      <a:pt x="61" y="10"/>
                      <a:pt x="63" y="11"/>
                    </a:cubicBezTo>
                    <a:cubicBezTo>
                      <a:pt x="67" y="12"/>
                      <a:pt x="71" y="13"/>
                      <a:pt x="75" y="15"/>
                    </a:cubicBezTo>
                    <a:cubicBezTo>
                      <a:pt x="70" y="34"/>
                      <a:pt x="65" y="52"/>
                      <a:pt x="65" y="70"/>
                    </a:cubicBezTo>
                    <a:cubicBezTo>
                      <a:pt x="58" y="136"/>
                      <a:pt x="68" y="204"/>
                      <a:pt x="71" y="268"/>
                    </a:cubicBezTo>
                    <a:cubicBezTo>
                      <a:pt x="71" y="291"/>
                      <a:pt x="70" y="315"/>
                      <a:pt x="68" y="339"/>
                    </a:cubicBezTo>
                    <a:cubicBezTo>
                      <a:pt x="67" y="351"/>
                      <a:pt x="65" y="362"/>
                      <a:pt x="63" y="373"/>
                    </a:cubicBezTo>
                    <a:close/>
                  </a:path>
                </a:pathLst>
              </a:custGeom>
              <a:solidFill>
                <a:srgbClr val="21AAD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473" name="Freeform 145">
                <a:extLst>
                  <a:ext uri="{FF2B5EF4-FFF2-40B4-BE49-F238E27FC236}">
                    <a16:creationId xmlns:a16="http://schemas.microsoft.com/office/drawing/2014/main" id="{F67DAF32-30E9-4FA5-AC51-53E4000773E6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466" y="1477"/>
                <a:ext cx="657" cy="481"/>
              </a:xfrm>
              <a:custGeom>
                <a:avLst/>
                <a:gdLst>
                  <a:gd name="T0" fmla="*/ 13 w 620"/>
                  <a:gd name="T1" fmla="*/ 383 h 455"/>
                  <a:gd name="T2" fmla="*/ 7 w 620"/>
                  <a:gd name="T3" fmla="*/ 185 h 455"/>
                  <a:gd name="T4" fmla="*/ 17 w 620"/>
                  <a:gd name="T5" fmla="*/ 130 h 455"/>
                  <a:gd name="T6" fmla="*/ 71 w 620"/>
                  <a:gd name="T7" fmla="*/ 141 h 455"/>
                  <a:gd name="T8" fmla="*/ 122 w 620"/>
                  <a:gd name="T9" fmla="*/ 139 h 455"/>
                  <a:gd name="T10" fmla="*/ 178 w 620"/>
                  <a:gd name="T11" fmla="*/ 132 h 455"/>
                  <a:gd name="T12" fmla="*/ 256 w 620"/>
                  <a:gd name="T13" fmla="*/ 122 h 455"/>
                  <a:gd name="T14" fmla="*/ 360 w 620"/>
                  <a:gd name="T15" fmla="*/ 99 h 455"/>
                  <a:gd name="T16" fmla="*/ 444 w 620"/>
                  <a:gd name="T17" fmla="*/ 69 h 455"/>
                  <a:gd name="T18" fmla="*/ 547 w 620"/>
                  <a:gd name="T19" fmla="*/ 22 h 455"/>
                  <a:gd name="T20" fmla="*/ 590 w 620"/>
                  <a:gd name="T21" fmla="*/ 0 h 455"/>
                  <a:gd name="T22" fmla="*/ 591 w 620"/>
                  <a:gd name="T23" fmla="*/ 3 h 455"/>
                  <a:gd name="T24" fmla="*/ 620 w 620"/>
                  <a:gd name="T25" fmla="*/ 40 h 455"/>
                  <a:gd name="T26" fmla="*/ 611 w 620"/>
                  <a:gd name="T27" fmla="*/ 49 h 455"/>
                  <a:gd name="T28" fmla="*/ 581 w 620"/>
                  <a:gd name="T29" fmla="*/ 72 h 455"/>
                  <a:gd name="T30" fmla="*/ 525 w 620"/>
                  <a:gd name="T31" fmla="*/ 103 h 455"/>
                  <a:gd name="T32" fmla="*/ 466 w 620"/>
                  <a:gd name="T33" fmla="*/ 120 h 455"/>
                  <a:gd name="T34" fmla="*/ 442 w 620"/>
                  <a:gd name="T35" fmla="*/ 116 h 455"/>
                  <a:gd name="T36" fmla="*/ 433 w 620"/>
                  <a:gd name="T37" fmla="*/ 111 h 455"/>
                  <a:gd name="T38" fmla="*/ 411 w 620"/>
                  <a:gd name="T39" fmla="*/ 118 h 455"/>
                  <a:gd name="T40" fmla="*/ 336 w 620"/>
                  <a:gd name="T41" fmla="*/ 137 h 455"/>
                  <a:gd name="T42" fmla="*/ 261 w 620"/>
                  <a:gd name="T43" fmla="*/ 153 h 455"/>
                  <a:gd name="T44" fmla="*/ 236 w 620"/>
                  <a:gd name="T45" fmla="*/ 156 h 455"/>
                  <a:gd name="T46" fmla="*/ 237 w 620"/>
                  <a:gd name="T47" fmla="*/ 158 h 455"/>
                  <a:gd name="T48" fmla="*/ 200 w 620"/>
                  <a:gd name="T49" fmla="*/ 180 h 455"/>
                  <a:gd name="T50" fmla="*/ 177 w 620"/>
                  <a:gd name="T51" fmla="*/ 183 h 455"/>
                  <a:gd name="T52" fmla="*/ 149 w 620"/>
                  <a:gd name="T53" fmla="*/ 182 h 455"/>
                  <a:gd name="T54" fmla="*/ 112 w 620"/>
                  <a:gd name="T55" fmla="*/ 179 h 455"/>
                  <a:gd name="T56" fmla="*/ 83 w 620"/>
                  <a:gd name="T57" fmla="*/ 173 h 455"/>
                  <a:gd name="T58" fmla="*/ 30 w 620"/>
                  <a:gd name="T59" fmla="*/ 163 h 455"/>
                  <a:gd name="T60" fmla="*/ 26 w 620"/>
                  <a:gd name="T61" fmla="*/ 181 h 455"/>
                  <a:gd name="T62" fmla="*/ 23 w 620"/>
                  <a:gd name="T63" fmla="*/ 216 h 455"/>
                  <a:gd name="T64" fmla="*/ 20 w 620"/>
                  <a:gd name="T65" fmla="*/ 291 h 455"/>
                  <a:gd name="T66" fmla="*/ 22 w 620"/>
                  <a:gd name="T67" fmla="*/ 362 h 455"/>
                  <a:gd name="T68" fmla="*/ 22 w 620"/>
                  <a:gd name="T69" fmla="*/ 406 h 455"/>
                  <a:gd name="T70" fmla="*/ 19 w 620"/>
                  <a:gd name="T71" fmla="*/ 455 h 455"/>
                  <a:gd name="T72" fmla="*/ 10 w 620"/>
                  <a:gd name="T73" fmla="*/ 454 h 455"/>
                  <a:gd name="T74" fmla="*/ 13 w 620"/>
                  <a:gd name="T75" fmla="*/ 383 h 4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620" h="455">
                    <a:moveTo>
                      <a:pt x="13" y="383"/>
                    </a:moveTo>
                    <a:cubicBezTo>
                      <a:pt x="10" y="319"/>
                      <a:pt x="0" y="251"/>
                      <a:pt x="7" y="185"/>
                    </a:cubicBezTo>
                    <a:cubicBezTo>
                      <a:pt x="7" y="167"/>
                      <a:pt x="12" y="149"/>
                      <a:pt x="17" y="130"/>
                    </a:cubicBezTo>
                    <a:cubicBezTo>
                      <a:pt x="35" y="136"/>
                      <a:pt x="53" y="141"/>
                      <a:pt x="71" y="141"/>
                    </a:cubicBezTo>
                    <a:cubicBezTo>
                      <a:pt x="87" y="140"/>
                      <a:pt x="106" y="141"/>
                      <a:pt x="122" y="139"/>
                    </a:cubicBezTo>
                    <a:cubicBezTo>
                      <a:pt x="140" y="138"/>
                      <a:pt x="160" y="134"/>
                      <a:pt x="178" y="132"/>
                    </a:cubicBezTo>
                    <a:cubicBezTo>
                      <a:pt x="202" y="129"/>
                      <a:pt x="230" y="127"/>
                      <a:pt x="256" y="122"/>
                    </a:cubicBezTo>
                    <a:cubicBezTo>
                      <a:pt x="290" y="117"/>
                      <a:pt x="326" y="111"/>
                      <a:pt x="360" y="99"/>
                    </a:cubicBezTo>
                    <a:cubicBezTo>
                      <a:pt x="388" y="89"/>
                      <a:pt x="416" y="78"/>
                      <a:pt x="444" y="69"/>
                    </a:cubicBezTo>
                    <a:cubicBezTo>
                      <a:pt x="480" y="55"/>
                      <a:pt x="513" y="38"/>
                      <a:pt x="547" y="22"/>
                    </a:cubicBezTo>
                    <a:cubicBezTo>
                      <a:pt x="561" y="14"/>
                      <a:pt x="576" y="7"/>
                      <a:pt x="590" y="0"/>
                    </a:cubicBezTo>
                    <a:cubicBezTo>
                      <a:pt x="591" y="3"/>
                      <a:pt x="591" y="3"/>
                      <a:pt x="591" y="3"/>
                    </a:cubicBezTo>
                    <a:cubicBezTo>
                      <a:pt x="603" y="13"/>
                      <a:pt x="613" y="27"/>
                      <a:pt x="620" y="40"/>
                    </a:cubicBezTo>
                    <a:cubicBezTo>
                      <a:pt x="616" y="41"/>
                      <a:pt x="612" y="47"/>
                      <a:pt x="611" y="49"/>
                    </a:cubicBezTo>
                    <a:cubicBezTo>
                      <a:pt x="601" y="56"/>
                      <a:pt x="591" y="65"/>
                      <a:pt x="581" y="72"/>
                    </a:cubicBezTo>
                    <a:cubicBezTo>
                      <a:pt x="565" y="82"/>
                      <a:pt x="544" y="94"/>
                      <a:pt x="525" y="103"/>
                    </a:cubicBezTo>
                    <a:cubicBezTo>
                      <a:pt x="506" y="109"/>
                      <a:pt x="486" y="116"/>
                      <a:pt x="466" y="120"/>
                    </a:cubicBezTo>
                    <a:cubicBezTo>
                      <a:pt x="458" y="122"/>
                      <a:pt x="450" y="121"/>
                      <a:pt x="442" y="116"/>
                    </a:cubicBezTo>
                    <a:cubicBezTo>
                      <a:pt x="439" y="114"/>
                      <a:pt x="436" y="112"/>
                      <a:pt x="433" y="111"/>
                    </a:cubicBezTo>
                    <a:cubicBezTo>
                      <a:pt x="425" y="113"/>
                      <a:pt x="418" y="115"/>
                      <a:pt x="411" y="118"/>
                    </a:cubicBezTo>
                    <a:cubicBezTo>
                      <a:pt x="387" y="126"/>
                      <a:pt x="360" y="131"/>
                      <a:pt x="336" y="137"/>
                    </a:cubicBezTo>
                    <a:cubicBezTo>
                      <a:pt x="312" y="142"/>
                      <a:pt x="285" y="148"/>
                      <a:pt x="261" y="153"/>
                    </a:cubicBezTo>
                    <a:cubicBezTo>
                      <a:pt x="252" y="155"/>
                      <a:pt x="245" y="155"/>
                      <a:pt x="236" y="156"/>
                    </a:cubicBezTo>
                    <a:cubicBezTo>
                      <a:pt x="237" y="158"/>
                      <a:pt x="237" y="158"/>
                      <a:pt x="237" y="158"/>
                    </a:cubicBezTo>
                    <a:cubicBezTo>
                      <a:pt x="233" y="175"/>
                      <a:pt x="216" y="179"/>
                      <a:pt x="200" y="180"/>
                    </a:cubicBezTo>
                    <a:cubicBezTo>
                      <a:pt x="193" y="182"/>
                      <a:pt x="184" y="184"/>
                      <a:pt x="177" y="183"/>
                    </a:cubicBezTo>
                    <a:cubicBezTo>
                      <a:pt x="168" y="183"/>
                      <a:pt x="159" y="182"/>
                      <a:pt x="149" y="182"/>
                    </a:cubicBezTo>
                    <a:cubicBezTo>
                      <a:pt x="135" y="180"/>
                      <a:pt x="123" y="178"/>
                      <a:pt x="112" y="179"/>
                    </a:cubicBezTo>
                    <a:cubicBezTo>
                      <a:pt x="102" y="178"/>
                      <a:pt x="92" y="174"/>
                      <a:pt x="83" y="173"/>
                    </a:cubicBezTo>
                    <a:cubicBezTo>
                      <a:pt x="65" y="171"/>
                      <a:pt x="49" y="168"/>
                      <a:pt x="30" y="163"/>
                    </a:cubicBezTo>
                    <a:cubicBezTo>
                      <a:pt x="29" y="170"/>
                      <a:pt x="29" y="176"/>
                      <a:pt x="26" y="181"/>
                    </a:cubicBezTo>
                    <a:cubicBezTo>
                      <a:pt x="27" y="192"/>
                      <a:pt x="25" y="204"/>
                      <a:pt x="23" y="216"/>
                    </a:cubicBezTo>
                    <a:cubicBezTo>
                      <a:pt x="21" y="240"/>
                      <a:pt x="22" y="265"/>
                      <a:pt x="20" y="291"/>
                    </a:cubicBezTo>
                    <a:cubicBezTo>
                      <a:pt x="21" y="316"/>
                      <a:pt x="19" y="340"/>
                      <a:pt x="22" y="362"/>
                    </a:cubicBezTo>
                    <a:cubicBezTo>
                      <a:pt x="23" y="378"/>
                      <a:pt x="24" y="392"/>
                      <a:pt x="22" y="406"/>
                    </a:cubicBezTo>
                    <a:cubicBezTo>
                      <a:pt x="21" y="423"/>
                      <a:pt x="23" y="441"/>
                      <a:pt x="19" y="455"/>
                    </a:cubicBezTo>
                    <a:cubicBezTo>
                      <a:pt x="10" y="454"/>
                      <a:pt x="10" y="454"/>
                      <a:pt x="10" y="454"/>
                    </a:cubicBezTo>
                    <a:cubicBezTo>
                      <a:pt x="12" y="430"/>
                      <a:pt x="13" y="406"/>
                      <a:pt x="13" y="383"/>
                    </a:cubicBezTo>
                    <a:close/>
                  </a:path>
                </a:pathLst>
              </a:custGeom>
              <a:solidFill>
                <a:srgbClr val="21AAD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474" name="Freeform 146">
                <a:extLst>
                  <a:ext uri="{FF2B5EF4-FFF2-40B4-BE49-F238E27FC236}">
                    <a16:creationId xmlns:a16="http://schemas.microsoft.com/office/drawing/2014/main" id="{113225EA-B52D-4C7F-B7EE-1A46E4AB31C9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5217" y="1015"/>
                <a:ext cx="1251" cy="1065"/>
              </a:xfrm>
              <a:custGeom>
                <a:avLst/>
                <a:gdLst>
                  <a:gd name="T0" fmla="*/ 641 w 1180"/>
                  <a:gd name="T1" fmla="*/ 139 h 1006"/>
                  <a:gd name="T2" fmla="*/ 556 w 1180"/>
                  <a:gd name="T3" fmla="*/ 354 h 1006"/>
                  <a:gd name="T4" fmla="*/ 725 w 1180"/>
                  <a:gd name="T5" fmla="*/ 410 h 1006"/>
                  <a:gd name="T6" fmla="*/ 955 w 1180"/>
                  <a:gd name="T7" fmla="*/ 223 h 1006"/>
                  <a:gd name="T8" fmla="*/ 923 w 1180"/>
                  <a:gd name="T9" fmla="*/ 87 h 1006"/>
                  <a:gd name="T10" fmla="*/ 856 w 1180"/>
                  <a:gd name="T11" fmla="*/ 53 h 1006"/>
                  <a:gd name="T12" fmla="*/ 539 w 1180"/>
                  <a:gd name="T13" fmla="*/ 422 h 1006"/>
                  <a:gd name="T14" fmla="*/ 511 w 1180"/>
                  <a:gd name="T15" fmla="*/ 479 h 1006"/>
                  <a:gd name="T16" fmla="*/ 563 w 1180"/>
                  <a:gd name="T17" fmla="*/ 443 h 1006"/>
                  <a:gd name="T18" fmla="*/ 539 w 1180"/>
                  <a:gd name="T19" fmla="*/ 422 h 1006"/>
                  <a:gd name="T20" fmla="*/ 65 w 1180"/>
                  <a:gd name="T21" fmla="*/ 278 h 1006"/>
                  <a:gd name="T22" fmla="*/ 156 w 1180"/>
                  <a:gd name="T23" fmla="*/ 460 h 1006"/>
                  <a:gd name="T24" fmla="*/ 394 w 1180"/>
                  <a:gd name="T25" fmla="*/ 505 h 1006"/>
                  <a:gd name="T26" fmla="*/ 447 w 1180"/>
                  <a:gd name="T27" fmla="*/ 320 h 1006"/>
                  <a:gd name="T28" fmla="*/ 213 w 1180"/>
                  <a:gd name="T29" fmla="*/ 183 h 1006"/>
                  <a:gd name="T30" fmla="*/ 140 w 1180"/>
                  <a:gd name="T31" fmla="*/ 197 h 1006"/>
                  <a:gd name="T32" fmla="*/ 169 w 1180"/>
                  <a:gd name="T33" fmla="*/ 149 h 1006"/>
                  <a:gd name="T34" fmla="*/ 477 w 1180"/>
                  <a:gd name="T35" fmla="*/ 87 h 1006"/>
                  <a:gd name="T36" fmla="*/ 761 w 1180"/>
                  <a:gd name="T37" fmla="*/ 0 h 1006"/>
                  <a:gd name="T38" fmla="*/ 1026 w 1180"/>
                  <a:gd name="T39" fmla="*/ 166 h 1006"/>
                  <a:gd name="T40" fmla="*/ 1159 w 1180"/>
                  <a:gd name="T41" fmla="*/ 577 h 1006"/>
                  <a:gd name="T42" fmla="*/ 1119 w 1180"/>
                  <a:gd name="T43" fmla="*/ 819 h 1006"/>
                  <a:gd name="T44" fmla="*/ 1058 w 1180"/>
                  <a:gd name="T45" fmla="*/ 794 h 1006"/>
                  <a:gd name="T46" fmla="*/ 1022 w 1180"/>
                  <a:gd name="T47" fmla="*/ 731 h 1006"/>
                  <a:gd name="T48" fmla="*/ 1005 w 1180"/>
                  <a:gd name="T49" fmla="*/ 666 h 1006"/>
                  <a:gd name="T50" fmla="*/ 981 w 1180"/>
                  <a:gd name="T51" fmla="*/ 588 h 1006"/>
                  <a:gd name="T52" fmla="*/ 919 w 1180"/>
                  <a:gd name="T53" fmla="*/ 483 h 1006"/>
                  <a:gd name="T54" fmla="*/ 876 w 1180"/>
                  <a:gd name="T55" fmla="*/ 402 h 1006"/>
                  <a:gd name="T56" fmla="*/ 847 w 1180"/>
                  <a:gd name="T57" fmla="*/ 423 h 1006"/>
                  <a:gd name="T58" fmla="*/ 836 w 1180"/>
                  <a:gd name="T59" fmla="*/ 404 h 1006"/>
                  <a:gd name="T60" fmla="*/ 564 w 1180"/>
                  <a:gd name="T61" fmla="*/ 510 h 1006"/>
                  <a:gd name="T62" fmla="*/ 286 w 1180"/>
                  <a:gd name="T63" fmla="*/ 547 h 1006"/>
                  <a:gd name="T64" fmla="*/ 240 w 1180"/>
                  <a:gd name="T65" fmla="*/ 562 h 1006"/>
                  <a:gd name="T66" fmla="*/ 202 w 1180"/>
                  <a:gd name="T67" fmla="*/ 551 h 1006"/>
                  <a:gd name="T68" fmla="*/ 203 w 1180"/>
                  <a:gd name="T69" fmla="*/ 623 h 1006"/>
                  <a:gd name="T70" fmla="*/ 209 w 1180"/>
                  <a:gd name="T71" fmla="*/ 846 h 1006"/>
                  <a:gd name="T72" fmla="*/ 177 w 1180"/>
                  <a:gd name="T73" fmla="*/ 1005 h 1006"/>
                  <a:gd name="T74" fmla="*/ 64 w 1180"/>
                  <a:gd name="T75" fmla="*/ 891 h 1006"/>
                  <a:gd name="T76" fmla="*/ 2 w 1180"/>
                  <a:gd name="T77" fmla="*/ 521 h 10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1180" h="1006">
                    <a:moveTo>
                      <a:pt x="766" y="45"/>
                    </a:moveTo>
                    <a:cubicBezTo>
                      <a:pt x="716" y="60"/>
                      <a:pt x="673" y="97"/>
                      <a:pt x="641" y="139"/>
                    </a:cubicBezTo>
                    <a:cubicBezTo>
                      <a:pt x="620" y="169"/>
                      <a:pt x="604" y="205"/>
                      <a:pt x="586" y="239"/>
                    </a:cubicBezTo>
                    <a:cubicBezTo>
                      <a:pt x="566" y="273"/>
                      <a:pt x="549" y="314"/>
                      <a:pt x="556" y="354"/>
                    </a:cubicBezTo>
                    <a:cubicBezTo>
                      <a:pt x="562" y="394"/>
                      <a:pt x="591" y="420"/>
                      <a:pt x="630" y="428"/>
                    </a:cubicBezTo>
                    <a:cubicBezTo>
                      <a:pt x="663" y="433"/>
                      <a:pt x="696" y="423"/>
                      <a:pt x="725" y="410"/>
                    </a:cubicBezTo>
                    <a:cubicBezTo>
                      <a:pt x="777" y="385"/>
                      <a:pt x="828" y="353"/>
                      <a:pt x="876" y="317"/>
                    </a:cubicBezTo>
                    <a:cubicBezTo>
                      <a:pt x="908" y="292"/>
                      <a:pt x="943" y="263"/>
                      <a:pt x="955" y="223"/>
                    </a:cubicBezTo>
                    <a:cubicBezTo>
                      <a:pt x="965" y="196"/>
                      <a:pt x="971" y="160"/>
                      <a:pt x="960" y="130"/>
                    </a:cubicBezTo>
                    <a:cubicBezTo>
                      <a:pt x="954" y="113"/>
                      <a:pt x="940" y="100"/>
                      <a:pt x="923" y="87"/>
                    </a:cubicBezTo>
                    <a:cubicBezTo>
                      <a:pt x="902" y="72"/>
                      <a:pt x="880" y="61"/>
                      <a:pt x="858" y="49"/>
                    </a:cubicBezTo>
                    <a:cubicBezTo>
                      <a:pt x="856" y="53"/>
                      <a:pt x="856" y="53"/>
                      <a:pt x="856" y="53"/>
                    </a:cubicBezTo>
                    <a:cubicBezTo>
                      <a:pt x="825" y="39"/>
                      <a:pt x="796" y="36"/>
                      <a:pt x="766" y="45"/>
                    </a:cubicBezTo>
                    <a:close/>
                    <a:moveTo>
                      <a:pt x="539" y="422"/>
                    </a:moveTo>
                    <a:cubicBezTo>
                      <a:pt x="530" y="422"/>
                      <a:pt x="520" y="425"/>
                      <a:pt x="514" y="428"/>
                    </a:cubicBezTo>
                    <a:cubicBezTo>
                      <a:pt x="500" y="438"/>
                      <a:pt x="495" y="469"/>
                      <a:pt x="511" y="479"/>
                    </a:cubicBezTo>
                    <a:cubicBezTo>
                      <a:pt x="525" y="488"/>
                      <a:pt x="550" y="485"/>
                      <a:pt x="560" y="471"/>
                    </a:cubicBezTo>
                    <a:cubicBezTo>
                      <a:pt x="568" y="462"/>
                      <a:pt x="565" y="451"/>
                      <a:pt x="563" y="443"/>
                    </a:cubicBezTo>
                    <a:cubicBezTo>
                      <a:pt x="559" y="432"/>
                      <a:pt x="551" y="427"/>
                      <a:pt x="539" y="425"/>
                    </a:cubicBezTo>
                    <a:lnTo>
                      <a:pt x="539" y="422"/>
                    </a:lnTo>
                    <a:close/>
                    <a:moveTo>
                      <a:pt x="140" y="197"/>
                    </a:moveTo>
                    <a:cubicBezTo>
                      <a:pt x="108" y="218"/>
                      <a:pt x="81" y="245"/>
                      <a:pt x="65" y="278"/>
                    </a:cubicBezTo>
                    <a:cubicBezTo>
                      <a:pt x="49" y="309"/>
                      <a:pt x="48" y="347"/>
                      <a:pt x="62" y="380"/>
                    </a:cubicBezTo>
                    <a:cubicBezTo>
                      <a:pt x="82" y="418"/>
                      <a:pt x="118" y="445"/>
                      <a:pt x="156" y="460"/>
                    </a:cubicBezTo>
                    <a:cubicBezTo>
                      <a:pt x="196" y="476"/>
                      <a:pt x="238" y="486"/>
                      <a:pt x="278" y="493"/>
                    </a:cubicBezTo>
                    <a:cubicBezTo>
                      <a:pt x="318" y="503"/>
                      <a:pt x="356" y="511"/>
                      <a:pt x="394" y="505"/>
                    </a:cubicBezTo>
                    <a:cubicBezTo>
                      <a:pt x="435" y="498"/>
                      <a:pt x="471" y="474"/>
                      <a:pt x="481" y="435"/>
                    </a:cubicBezTo>
                    <a:cubicBezTo>
                      <a:pt x="490" y="394"/>
                      <a:pt x="472" y="352"/>
                      <a:pt x="447" y="320"/>
                    </a:cubicBezTo>
                    <a:cubicBezTo>
                      <a:pt x="417" y="280"/>
                      <a:pt x="375" y="248"/>
                      <a:pt x="333" y="222"/>
                    </a:cubicBezTo>
                    <a:cubicBezTo>
                      <a:pt x="296" y="200"/>
                      <a:pt x="256" y="188"/>
                      <a:pt x="213" y="183"/>
                    </a:cubicBezTo>
                    <a:cubicBezTo>
                      <a:pt x="213" y="176"/>
                      <a:pt x="213" y="176"/>
                      <a:pt x="213" y="176"/>
                    </a:cubicBezTo>
                    <a:cubicBezTo>
                      <a:pt x="187" y="178"/>
                      <a:pt x="162" y="186"/>
                      <a:pt x="140" y="197"/>
                    </a:cubicBezTo>
                    <a:close/>
                    <a:moveTo>
                      <a:pt x="40" y="309"/>
                    </a:moveTo>
                    <a:cubicBezTo>
                      <a:pt x="65" y="246"/>
                      <a:pt x="110" y="187"/>
                      <a:pt x="169" y="149"/>
                    </a:cubicBezTo>
                    <a:cubicBezTo>
                      <a:pt x="230" y="113"/>
                      <a:pt x="300" y="104"/>
                      <a:pt x="371" y="101"/>
                    </a:cubicBezTo>
                    <a:cubicBezTo>
                      <a:pt x="405" y="98"/>
                      <a:pt x="442" y="95"/>
                      <a:pt x="477" y="87"/>
                    </a:cubicBezTo>
                    <a:cubicBezTo>
                      <a:pt x="513" y="81"/>
                      <a:pt x="545" y="70"/>
                      <a:pt x="579" y="55"/>
                    </a:cubicBezTo>
                    <a:cubicBezTo>
                      <a:pt x="636" y="31"/>
                      <a:pt x="696" y="0"/>
                      <a:pt x="761" y="0"/>
                    </a:cubicBezTo>
                    <a:cubicBezTo>
                      <a:pt x="819" y="1"/>
                      <a:pt x="871" y="29"/>
                      <a:pt x="917" y="60"/>
                    </a:cubicBezTo>
                    <a:cubicBezTo>
                      <a:pt x="959" y="91"/>
                      <a:pt x="996" y="124"/>
                      <a:pt x="1026" y="166"/>
                    </a:cubicBezTo>
                    <a:cubicBezTo>
                      <a:pt x="1065" y="220"/>
                      <a:pt x="1089" y="287"/>
                      <a:pt x="1108" y="352"/>
                    </a:cubicBezTo>
                    <a:cubicBezTo>
                      <a:pt x="1129" y="426"/>
                      <a:pt x="1145" y="501"/>
                      <a:pt x="1159" y="577"/>
                    </a:cubicBezTo>
                    <a:cubicBezTo>
                      <a:pt x="1168" y="630"/>
                      <a:pt x="1180" y="685"/>
                      <a:pt x="1176" y="740"/>
                    </a:cubicBezTo>
                    <a:cubicBezTo>
                      <a:pt x="1172" y="773"/>
                      <a:pt x="1157" y="813"/>
                      <a:pt x="1119" y="819"/>
                    </a:cubicBezTo>
                    <a:cubicBezTo>
                      <a:pt x="1095" y="824"/>
                      <a:pt x="1071" y="813"/>
                      <a:pt x="1052" y="796"/>
                    </a:cubicBezTo>
                    <a:cubicBezTo>
                      <a:pt x="1058" y="794"/>
                      <a:pt x="1058" y="794"/>
                      <a:pt x="1058" y="794"/>
                    </a:cubicBezTo>
                    <a:cubicBezTo>
                      <a:pt x="1047" y="783"/>
                      <a:pt x="1038" y="768"/>
                      <a:pt x="1031" y="755"/>
                    </a:cubicBezTo>
                    <a:cubicBezTo>
                      <a:pt x="1027" y="746"/>
                      <a:pt x="1023" y="738"/>
                      <a:pt x="1022" y="731"/>
                    </a:cubicBezTo>
                    <a:cubicBezTo>
                      <a:pt x="1020" y="723"/>
                      <a:pt x="1016" y="716"/>
                      <a:pt x="1015" y="710"/>
                    </a:cubicBezTo>
                    <a:cubicBezTo>
                      <a:pt x="1012" y="697"/>
                      <a:pt x="1008" y="681"/>
                      <a:pt x="1005" y="666"/>
                    </a:cubicBezTo>
                    <a:cubicBezTo>
                      <a:pt x="1002" y="650"/>
                      <a:pt x="996" y="635"/>
                      <a:pt x="993" y="620"/>
                    </a:cubicBezTo>
                    <a:cubicBezTo>
                      <a:pt x="990" y="609"/>
                      <a:pt x="986" y="598"/>
                      <a:pt x="981" y="588"/>
                    </a:cubicBezTo>
                    <a:cubicBezTo>
                      <a:pt x="977" y="577"/>
                      <a:pt x="972" y="567"/>
                      <a:pt x="967" y="556"/>
                    </a:cubicBezTo>
                    <a:cubicBezTo>
                      <a:pt x="953" y="531"/>
                      <a:pt x="932" y="508"/>
                      <a:pt x="919" y="483"/>
                    </a:cubicBezTo>
                    <a:cubicBezTo>
                      <a:pt x="904" y="456"/>
                      <a:pt x="883" y="433"/>
                      <a:pt x="876" y="402"/>
                    </a:cubicBezTo>
                    <a:cubicBezTo>
                      <a:pt x="876" y="402"/>
                      <a:pt x="876" y="402"/>
                      <a:pt x="876" y="402"/>
                    </a:cubicBezTo>
                    <a:cubicBezTo>
                      <a:pt x="869" y="408"/>
                      <a:pt x="862" y="413"/>
                      <a:pt x="854" y="419"/>
                    </a:cubicBezTo>
                    <a:cubicBezTo>
                      <a:pt x="852" y="420"/>
                      <a:pt x="850" y="422"/>
                      <a:pt x="847" y="423"/>
                    </a:cubicBezTo>
                    <a:cubicBezTo>
                      <a:pt x="846" y="421"/>
                      <a:pt x="846" y="420"/>
                      <a:pt x="845" y="418"/>
                    </a:cubicBezTo>
                    <a:cubicBezTo>
                      <a:pt x="836" y="404"/>
                      <a:pt x="836" y="404"/>
                      <a:pt x="836" y="404"/>
                    </a:cubicBezTo>
                    <a:cubicBezTo>
                      <a:pt x="800" y="426"/>
                      <a:pt x="761" y="445"/>
                      <a:pt x="722" y="461"/>
                    </a:cubicBezTo>
                    <a:cubicBezTo>
                      <a:pt x="671" y="482"/>
                      <a:pt x="617" y="496"/>
                      <a:pt x="564" y="510"/>
                    </a:cubicBezTo>
                    <a:cubicBezTo>
                      <a:pt x="509" y="524"/>
                      <a:pt x="457" y="537"/>
                      <a:pt x="401" y="545"/>
                    </a:cubicBezTo>
                    <a:cubicBezTo>
                      <a:pt x="363" y="551"/>
                      <a:pt x="326" y="550"/>
                      <a:pt x="286" y="547"/>
                    </a:cubicBezTo>
                    <a:cubicBezTo>
                      <a:pt x="273" y="546"/>
                      <a:pt x="259" y="544"/>
                      <a:pt x="245" y="541"/>
                    </a:cubicBezTo>
                    <a:cubicBezTo>
                      <a:pt x="240" y="562"/>
                      <a:pt x="240" y="562"/>
                      <a:pt x="240" y="562"/>
                    </a:cubicBezTo>
                    <a:cubicBezTo>
                      <a:pt x="238" y="561"/>
                      <a:pt x="237" y="561"/>
                      <a:pt x="235" y="560"/>
                    </a:cubicBezTo>
                    <a:cubicBezTo>
                      <a:pt x="224" y="558"/>
                      <a:pt x="212" y="556"/>
                      <a:pt x="202" y="551"/>
                    </a:cubicBezTo>
                    <a:cubicBezTo>
                      <a:pt x="204" y="554"/>
                      <a:pt x="205" y="558"/>
                      <a:pt x="206" y="562"/>
                    </a:cubicBezTo>
                    <a:cubicBezTo>
                      <a:pt x="210" y="582"/>
                      <a:pt x="205" y="601"/>
                      <a:pt x="203" y="623"/>
                    </a:cubicBezTo>
                    <a:cubicBezTo>
                      <a:pt x="199" y="661"/>
                      <a:pt x="200" y="697"/>
                      <a:pt x="201" y="734"/>
                    </a:cubicBezTo>
                    <a:cubicBezTo>
                      <a:pt x="205" y="770"/>
                      <a:pt x="208" y="809"/>
                      <a:pt x="209" y="846"/>
                    </a:cubicBezTo>
                    <a:cubicBezTo>
                      <a:pt x="211" y="875"/>
                      <a:pt x="210" y="901"/>
                      <a:pt x="207" y="932"/>
                    </a:cubicBezTo>
                    <a:cubicBezTo>
                      <a:pt x="206" y="955"/>
                      <a:pt x="198" y="990"/>
                      <a:pt x="177" y="1005"/>
                    </a:cubicBezTo>
                    <a:cubicBezTo>
                      <a:pt x="152" y="1006"/>
                      <a:pt x="125" y="989"/>
                      <a:pt x="107" y="970"/>
                    </a:cubicBezTo>
                    <a:cubicBezTo>
                      <a:pt x="88" y="948"/>
                      <a:pt x="75" y="919"/>
                      <a:pt x="64" y="891"/>
                    </a:cubicBezTo>
                    <a:cubicBezTo>
                      <a:pt x="52" y="854"/>
                      <a:pt x="41" y="817"/>
                      <a:pt x="35" y="777"/>
                    </a:cubicBezTo>
                    <a:cubicBezTo>
                      <a:pt x="17" y="693"/>
                      <a:pt x="5" y="606"/>
                      <a:pt x="2" y="521"/>
                    </a:cubicBezTo>
                    <a:cubicBezTo>
                      <a:pt x="0" y="447"/>
                      <a:pt x="10" y="376"/>
                      <a:pt x="40" y="309"/>
                    </a:cubicBezTo>
                    <a:close/>
                  </a:path>
                </a:pathLst>
              </a:custGeom>
              <a:solidFill>
                <a:srgbClr val="21AAD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475" name="Freeform 147">
                <a:extLst>
                  <a:ext uri="{FF2B5EF4-FFF2-40B4-BE49-F238E27FC236}">
                    <a16:creationId xmlns:a16="http://schemas.microsoft.com/office/drawing/2014/main" id="{B599E13B-E047-48C9-9E44-2AF77B0FF723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207" y="1006"/>
                <a:ext cx="1273" cy="1104"/>
              </a:xfrm>
              <a:custGeom>
                <a:avLst/>
                <a:gdLst>
                  <a:gd name="T0" fmla="*/ 861 w 1202"/>
                  <a:gd name="T1" fmla="*/ 438 h 1043"/>
                  <a:gd name="T2" fmla="*/ 953 w 1202"/>
                  <a:gd name="T3" fmla="*/ 610 h 1043"/>
                  <a:gd name="T4" fmla="*/ 1037 w 1202"/>
                  <a:gd name="T5" fmla="*/ 781 h 1043"/>
                  <a:gd name="T6" fmla="*/ 1155 w 1202"/>
                  <a:gd name="T7" fmla="*/ 838 h 1043"/>
                  <a:gd name="T8" fmla="*/ 1201 w 1202"/>
                  <a:gd name="T9" fmla="*/ 720 h 1043"/>
                  <a:gd name="T10" fmla="*/ 1169 w 1202"/>
                  <a:gd name="T11" fmla="*/ 522 h 1043"/>
                  <a:gd name="T12" fmla="*/ 1121 w 1202"/>
                  <a:gd name="T13" fmla="*/ 332 h 1043"/>
                  <a:gd name="T14" fmla="*/ 1045 w 1202"/>
                  <a:gd name="T15" fmla="*/ 176 h 1043"/>
                  <a:gd name="T16" fmla="*/ 917 w 1202"/>
                  <a:gd name="T17" fmla="*/ 59 h 1043"/>
                  <a:gd name="T18" fmla="*/ 758 w 1202"/>
                  <a:gd name="T19" fmla="*/ 14 h 1043"/>
                  <a:gd name="T20" fmla="*/ 589 w 1202"/>
                  <a:gd name="T21" fmla="*/ 72 h 1043"/>
                  <a:gd name="T22" fmla="*/ 393 w 1202"/>
                  <a:gd name="T23" fmla="*/ 113 h 1043"/>
                  <a:gd name="T24" fmla="*/ 215 w 1202"/>
                  <a:gd name="T25" fmla="*/ 148 h 1043"/>
                  <a:gd name="T26" fmla="*/ 27 w 1202"/>
                  <a:gd name="T27" fmla="*/ 412 h 1043"/>
                  <a:gd name="T28" fmla="*/ 51 w 1202"/>
                  <a:gd name="T29" fmla="*/ 803 h 1043"/>
                  <a:gd name="T30" fmla="*/ 107 w 1202"/>
                  <a:gd name="T31" fmla="*/ 970 h 1043"/>
                  <a:gd name="T32" fmla="*/ 217 w 1202"/>
                  <a:gd name="T33" fmla="*/ 1022 h 1043"/>
                  <a:gd name="T34" fmla="*/ 270 w 1202"/>
                  <a:gd name="T35" fmla="*/ 894 h 1043"/>
                  <a:gd name="T36" fmla="*/ 263 w 1202"/>
                  <a:gd name="T37" fmla="*/ 696 h 1043"/>
                  <a:gd name="T38" fmla="*/ 276 w 1202"/>
                  <a:gd name="T39" fmla="*/ 583 h 1043"/>
                  <a:gd name="T40" fmla="*/ 266 w 1202"/>
                  <a:gd name="T41" fmla="*/ 580 h 1043"/>
                  <a:gd name="T42" fmla="*/ 255 w 1202"/>
                  <a:gd name="T43" fmla="*/ 942 h 1043"/>
                  <a:gd name="T44" fmla="*/ 222 w 1202"/>
                  <a:gd name="T45" fmla="*/ 1007 h 1043"/>
                  <a:gd name="T46" fmla="*/ 142 w 1202"/>
                  <a:gd name="T47" fmla="*/ 996 h 1043"/>
                  <a:gd name="T48" fmla="*/ 69 w 1202"/>
                  <a:gd name="T49" fmla="*/ 845 h 1043"/>
                  <a:gd name="T50" fmla="*/ 36 w 1202"/>
                  <a:gd name="T51" fmla="*/ 659 h 1043"/>
                  <a:gd name="T52" fmla="*/ 27 w 1202"/>
                  <a:gd name="T53" fmla="*/ 481 h 1043"/>
                  <a:gd name="T54" fmla="*/ 170 w 1202"/>
                  <a:gd name="T55" fmla="*/ 186 h 1043"/>
                  <a:gd name="T56" fmla="*/ 504 w 1202"/>
                  <a:gd name="T57" fmla="*/ 109 h 1043"/>
                  <a:gd name="T58" fmla="*/ 826 w 1202"/>
                  <a:gd name="T59" fmla="*/ 30 h 1043"/>
                  <a:gd name="T60" fmla="*/ 1069 w 1202"/>
                  <a:gd name="T61" fmla="*/ 232 h 1043"/>
                  <a:gd name="T62" fmla="*/ 1169 w 1202"/>
                  <a:gd name="T63" fmla="*/ 573 h 1043"/>
                  <a:gd name="T64" fmla="*/ 1186 w 1202"/>
                  <a:gd name="T65" fmla="*/ 669 h 1043"/>
                  <a:gd name="T66" fmla="*/ 1188 w 1202"/>
                  <a:gd name="T67" fmla="*/ 770 h 1043"/>
                  <a:gd name="T68" fmla="*/ 1142 w 1202"/>
                  <a:gd name="T69" fmla="*/ 830 h 1043"/>
                  <a:gd name="T70" fmla="*/ 1050 w 1202"/>
                  <a:gd name="T71" fmla="*/ 781 h 1043"/>
                  <a:gd name="T72" fmla="*/ 968 w 1202"/>
                  <a:gd name="T73" fmla="*/ 619 h 1043"/>
                  <a:gd name="T74" fmla="*/ 867 w 1202"/>
                  <a:gd name="T75" fmla="*/ 435 h 1043"/>
                  <a:gd name="T76" fmla="*/ 861 w 1202"/>
                  <a:gd name="T77" fmla="*/ 438 h 10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1202" h="1043">
                    <a:moveTo>
                      <a:pt x="861" y="438"/>
                    </a:moveTo>
                    <a:cubicBezTo>
                      <a:pt x="890" y="497"/>
                      <a:pt x="924" y="553"/>
                      <a:pt x="953" y="610"/>
                    </a:cubicBezTo>
                    <a:cubicBezTo>
                      <a:pt x="982" y="666"/>
                      <a:pt x="1001" y="729"/>
                      <a:pt x="1037" y="781"/>
                    </a:cubicBezTo>
                    <a:cubicBezTo>
                      <a:pt x="1062" y="819"/>
                      <a:pt x="1107" y="860"/>
                      <a:pt x="1155" y="838"/>
                    </a:cubicBezTo>
                    <a:cubicBezTo>
                      <a:pt x="1198" y="818"/>
                      <a:pt x="1202" y="760"/>
                      <a:pt x="1201" y="720"/>
                    </a:cubicBezTo>
                    <a:cubicBezTo>
                      <a:pt x="1198" y="654"/>
                      <a:pt x="1183" y="587"/>
                      <a:pt x="1169" y="522"/>
                    </a:cubicBezTo>
                    <a:cubicBezTo>
                      <a:pt x="1156" y="458"/>
                      <a:pt x="1141" y="394"/>
                      <a:pt x="1121" y="332"/>
                    </a:cubicBezTo>
                    <a:cubicBezTo>
                      <a:pt x="1103" y="277"/>
                      <a:pt x="1080" y="223"/>
                      <a:pt x="1045" y="176"/>
                    </a:cubicBezTo>
                    <a:cubicBezTo>
                      <a:pt x="1011" y="129"/>
                      <a:pt x="966" y="89"/>
                      <a:pt x="917" y="59"/>
                    </a:cubicBezTo>
                    <a:cubicBezTo>
                      <a:pt x="869" y="30"/>
                      <a:pt x="815" y="7"/>
                      <a:pt x="758" y="14"/>
                    </a:cubicBezTo>
                    <a:cubicBezTo>
                      <a:pt x="698" y="20"/>
                      <a:pt x="644" y="49"/>
                      <a:pt x="589" y="72"/>
                    </a:cubicBezTo>
                    <a:cubicBezTo>
                      <a:pt x="526" y="97"/>
                      <a:pt x="460" y="108"/>
                      <a:pt x="393" y="113"/>
                    </a:cubicBezTo>
                    <a:cubicBezTo>
                      <a:pt x="332" y="118"/>
                      <a:pt x="271" y="123"/>
                      <a:pt x="215" y="148"/>
                    </a:cubicBezTo>
                    <a:cubicBezTo>
                      <a:pt x="112" y="194"/>
                      <a:pt x="49" y="305"/>
                      <a:pt x="27" y="412"/>
                    </a:cubicBezTo>
                    <a:cubicBezTo>
                      <a:pt x="0" y="541"/>
                      <a:pt x="27" y="676"/>
                      <a:pt x="51" y="803"/>
                    </a:cubicBezTo>
                    <a:cubicBezTo>
                      <a:pt x="61" y="860"/>
                      <a:pt x="76" y="921"/>
                      <a:pt x="107" y="970"/>
                    </a:cubicBezTo>
                    <a:cubicBezTo>
                      <a:pt x="128" y="1004"/>
                      <a:pt x="175" y="1043"/>
                      <a:pt x="217" y="1022"/>
                    </a:cubicBezTo>
                    <a:cubicBezTo>
                      <a:pt x="261" y="1000"/>
                      <a:pt x="267" y="937"/>
                      <a:pt x="270" y="894"/>
                    </a:cubicBezTo>
                    <a:cubicBezTo>
                      <a:pt x="274" y="828"/>
                      <a:pt x="264" y="762"/>
                      <a:pt x="263" y="696"/>
                    </a:cubicBezTo>
                    <a:cubicBezTo>
                      <a:pt x="263" y="658"/>
                      <a:pt x="266" y="621"/>
                      <a:pt x="276" y="583"/>
                    </a:cubicBezTo>
                    <a:cubicBezTo>
                      <a:pt x="278" y="577"/>
                      <a:pt x="268" y="573"/>
                      <a:pt x="266" y="580"/>
                    </a:cubicBezTo>
                    <a:cubicBezTo>
                      <a:pt x="238" y="700"/>
                      <a:pt x="278" y="821"/>
                      <a:pt x="255" y="942"/>
                    </a:cubicBezTo>
                    <a:cubicBezTo>
                      <a:pt x="250" y="965"/>
                      <a:pt x="242" y="992"/>
                      <a:pt x="222" y="1007"/>
                    </a:cubicBezTo>
                    <a:cubicBezTo>
                      <a:pt x="196" y="1028"/>
                      <a:pt x="164" y="1015"/>
                      <a:pt x="142" y="996"/>
                    </a:cubicBezTo>
                    <a:cubicBezTo>
                      <a:pt x="99" y="961"/>
                      <a:pt x="82" y="896"/>
                      <a:pt x="69" y="845"/>
                    </a:cubicBezTo>
                    <a:cubicBezTo>
                      <a:pt x="54" y="784"/>
                      <a:pt x="43" y="721"/>
                      <a:pt x="36" y="659"/>
                    </a:cubicBezTo>
                    <a:cubicBezTo>
                      <a:pt x="28" y="601"/>
                      <a:pt x="23" y="540"/>
                      <a:pt x="27" y="481"/>
                    </a:cubicBezTo>
                    <a:cubicBezTo>
                      <a:pt x="35" y="370"/>
                      <a:pt x="80" y="256"/>
                      <a:pt x="170" y="186"/>
                    </a:cubicBezTo>
                    <a:cubicBezTo>
                      <a:pt x="265" y="113"/>
                      <a:pt x="393" y="130"/>
                      <a:pt x="504" y="109"/>
                    </a:cubicBezTo>
                    <a:cubicBezTo>
                      <a:pt x="612" y="88"/>
                      <a:pt x="712" y="0"/>
                      <a:pt x="826" y="30"/>
                    </a:cubicBezTo>
                    <a:cubicBezTo>
                      <a:pt x="927" y="56"/>
                      <a:pt x="1020" y="141"/>
                      <a:pt x="1069" y="232"/>
                    </a:cubicBezTo>
                    <a:cubicBezTo>
                      <a:pt x="1124" y="336"/>
                      <a:pt x="1147" y="458"/>
                      <a:pt x="1169" y="573"/>
                    </a:cubicBezTo>
                    <a:cubicBezTo>
                      <a:pt x="1175" y="605"/>
                      <a:pt x="1181" y="637"/>
                      <a:pt x="1186" y="669"/>
                    </a:cubicBezTo>
                    <a:cubicBezTo>
                      <a:pt x="1190" y="702"/>
                      <a:pt x="1195" y="738"/>
                      <a:pt x="1188" y="770"/>
                    </a:cubicBezTo>
                    <a:cubicBezTo>
                      <a:pt x="1182" y="796"/>
                      <a:pt x="1169" y="823"/>
                      <a:pt x="1142" y="830"/>
                    </a:cubicBezTo>
                    <a:cubicBezTo>
                      <a:pt x="1103" y="841"/>
                      <a:pt x="1071" y="810"/>
                      <a:pt x="1050" y="781"/>
                    </a:cubicBezTo>
                    <a:cubicBezTo>
                      <a:pt x="1015" y="732"/>
                      <a:pt x="996" y="673"/>
                      <a:pt x="968" y="619"/>
                    </a:cubicBezTo>
                    <a:cubicBezTo>
                      <a:pt x="936" y="557"/>
                      <a:pt x="899" y="497"/>
                      <a:pt x="867" y="435"/>
                    </a:cubicBezTo>
                    <a:cubicBezTo>
                      <a:pt x="865" y="431"/>
                      <a:pt x="859" y="434"/>
                      <a:pt x="861" y="438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476" name="Freeform 148">
                <a:extLst>
                  <a:ext uri="{FF2B5EF4-FFF2-40B4-BE49-F238E27FC236}">
                    <a16:creationId xmlns:a16="http://schemas.microsoft.com/office/drawing/2014/main" id="{BE58FD05-0737-4574-88C5-F63740F8B873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380" y="1417"/>
                <a:ext cx="810" cy="224"/>
              </a:xfrm>
              <a:custGeom>
                <a:avLst/>
                <a:gdLst>
                  <a:gd name="T0" fmla="*/ 2 w 765"/>
                  <a:gd name="T1" fmla="*/ 145 h 211"/>
                  <a:gd name="T2" fmla="*/ 78 w 765"/>
                  <a:gd name="T3" fmla="*/ 190 h 211"/>
                  <a:gd name="T4" fmla="*/ 140 w 765"/>
                  <a:gd name="T5" fmla="*/ 208 h 211"/>
                  <a:gd name="T6" fmla="*/ 183 w 765"/>
                  <a:gd name="T7" fmla="*/ 210 h 211"/>
                  <a:gd name="T8" fmla="*/ 289 w 765"/>
                  <a:gd name="T9" fmla="*/ 199 h 211"/>
                  <a:gd name="T10" fmla="*/ 386 w 765"/>
                  <a:gd name="T11" fmla="*/ 185 h 211"/>
                  <a:gd name="T12" fmla="*/ 487 w 765"/>
                  <a:gd name="T13" fmla="*/ 155 h 211"/>
                  <a:gd name="T14" fmla="*/ 586 w 765"/>
                  <a:gd name="T15" fmla="*/ 117 h 211"/>
                  <a:gd name="T16" fmla="*/ 764 w 765"/>
                  <a:gd name="T17" fmla="*/ 6 h 211"/>
                  <a:gd name="T18" fmla="*/ 760 w 765"/>
                  <a:gd name="T19" fmla="*/ 2 h 211"/>
                  <a:gd name="T20" fmla="*/ 714 w 765"/>
                  <a:gd name="T21" fmla="*/ 39 h 211"/>
                  <a:gd name="T22" fmla="*/ 669 w 765"/>
                  <a:gd name="T23" fmla="*/ 66 h 211"/>
                  <a:gd name="T24" fmla="*/ 582 w 765"/>
                  <a:gd name="T25" fmla="*/ 109 h 211"/>
                  <a:gd name="T26" fmla="*/ 485 w 765"/>
                  <a:gd name="T27" fmla="*/ 147 h 211"/>
                  <a:gd name="T28" fmla="*/ 391 w 765"/>
                  <a:gd name="T29" fmla="*/ 175 h 211"/>
                  <a:gd name="T30" fmla="*/ 290 w 765"/>
                  <a:gd name="T31" fmla="*/ 190 h 211"/>
                  <a:gd name="T32" fmla="*/ 198 w 765"/>
                  <a:gd name="T33" fmla="*/ 201 h 211"/>
                  <a:gd name="T34" fmla="*/ 148 w 765"/>
                  <a:gd name="T35" fmla="*/ 201 h 211"/>
                  <a:gd name="T36" fmla="*/ 100 w 765"/>
                  <a:gd name="T37" fmla="*/ 188 h 211"/>
                  <a:gd name="T38" fmla="*/ 56 w 765"/>
                  <a:gd name="T39" fmla="*/ 175 h 211"/>
                  <a:gd name="T40" fmla="*/ 4 w 765"/>
                  <a:gd name="T41" fmla="*/ 142 h 211"/>
                  <a:gd name="T42" fmla="*/ 2 w 765"/>
                  <a:gd name="T43" fmla="*/ 145 h 2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765" h="211">
                    <a:moveTo>
                      <a:pt x="2" y="145"/>
                    </a:moveTo>
                    <a:cubicBezTo>
                      <a:pt x="24" y="165"/>
                      <a:pt x="49" y="183"/>
                      <a:pt x="78" y="190"/>
                    </a:cubicBezTo>
                    <a:cubicBezTo>
                      <a:pt x="99" y="196"/>
                      <a:pt x="119" y="204"/>
                      <a:pt x="140" y="208"/>
                    </a:cubicBezTo>
                    <a:cubicBezTo>
                      <a:pt x="155" y="211"/>
                      <a:pt x="169" y="210"/>
                      <a:pt x="183" y="210"/>
                    </a:cubicBezTo>
                    <a:cubicBezTo>
                      <a:pt x="219" y="209"/>
                      <a:pt x="254" y="203"/>
                      <a:pt x="289" y="199"/>
                    </a:cubicBezTo>
                    <a:cubicBezTo>
                      <a:pt x="322" y="196"/>
                      <a:pt x="354" y="191"/>
                      <a:pt x="386" y="185"/>
                    </a:cubicBezTo>
                    <a:cubicBezTo>
                      <a:pt x="421" y="179"/>
                      <a:pt x="454" y="168"/>
                      <a:pt x="487" y="155"/>
                    </a:cubicBezTo>
                    <a:cubicBezTo>
                      <a:pt x="521" y="143"/>
                      <a:pt x="554" y="132"/>
                      <a:pt x="586" y="117"/>
                    </a:cubicBezTo>
                    <a:cubicBezTo>
                      <a:pt x="647" y="88"/>
                      <a:pt x="721" y="61"/>
                      <a:pt x="764" y="6"/>
                    </a:cubicBezTo>
                    <a:cubicBezTo>
                      <a:pt x="765" y="4"/>
                      <a:pt x="762" y="0"/>
                      <a:pt x="760" y="2"/>
                    </a:cubicBezTo>
                    <a:cubicBezTo>
                      <a:pt x="743" y="13"/>
                      <a:pt x="730" y="28"/>
                      <a:pt x="714" y="39"/>
                    </a:cubicBezTo>
                    <a:cubicBezTo>
                      <a:pt x="700" y="50"/>
                      <a:pt x="685" y="58"/>
                      <a:pt x="669" y="66"/>
                    </a:cubicBezTo>
                    <a:cubicBezTo>
                      <a:pt x="640" y="81"/>
                      <a:pt x="611" y="95"/>
                      <a:pt x="582" y="109"/>
                    </a:cubicBezTo>
                    <a:cubicBezTo>
                      <a:pt x="550" y="124"/>
                      <a:pt x="518" y="135"/>
                      <a:pt x="485" y="147"/>
                    </a:cubicBezTo>
                    <a:cubicBezTo>
                      <a:pt x="454" y="158"/>
                      <a:pt x="424" y="169"/>
                      <a:pt x="391" y="175"/>
                    </a:cubicBezTo>
                    <a:cubicBezTo>
                      <a:pt x="357" y="182"/>
                      <a:pt x="324" y="187"/>
                      <a:pt x="290" y="190"/>
                    </a:cubicBezTo>
                    <a:cubicBezTo>
                      <a:pt x="259" y="194"/>
                      <a:pt x="229" y="200"/>
                      <a:pt x="198" y="201"/>
                    </a:cubicBezTo>
                    <a:cubicBezTo>
                      <a:pt x="182" y="202"/>
                      <a:pt x="165" y="203"/>
                      <a:pt x="148" y="201"/>
                    </a:cubicBezTo>
                    <a:cubicBezTo>
                      <a:pt x="132" y="199"/>
                      <a:pt x="116" y="193"/>
                      <a:pt x="100" y="188"/>
                    </a:cubicBezTo>
                    <a:cubicBezTo>
                      <a:pt x="86" y="183"/>
                      <a:pt x="70" y="182"/>
                      <a:pt x="56" y="175"/>
                    </a:cubicBezTo>
                    <a:cubicBezTo>
                      <a:pt x="38" y="166"/>
                      <a:pt x="21" y="153"/>
                      <a:pt x="4" y="142"/>
                    </a:cubicBezTo>
                    <a:cubicBezTo>
                      <a:pt x="2" y="141"/>
                      <a:pt x="0" y="144"/>
                      <a:pt x="2" y="145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477" name="Freeform 149">
                <a:extLst>
                  <a:ext uri="{FF2B5EF4-FFF2-40B4-BE49-F238E27FC236}">
                    <a16:creationId xmlns:a16="http://schemas.microsoft.com/office/drawing/2014/main" id="{0ED5FC29-4519-4691-AFFA-04FBC886BDEB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153" y="1448"/>
                <a:ext cx="210" cy="430"/>
              </a:xfrm>
              <a:custGeom>
                <a:avLst/>
                <a:gdLst>
                  <a:gd name="T0" fmla="*/ 1 w 198"/>
                  <a:gd name="T1" fmla="*/ 3 h 406"/>
                  <a:gd name="T2" fmla="*/ 48 w 198"/>
                  <a:gd name="T3" fmla="*/ 93 h 406"/>
                  <a:gd name="T4" fmla="*/ 81 w 198"/>
                  <a:gd name="T5" fmla="*/ 140 h 406"/>
                  <a:gd name="T6" fmla="*/ 112 w 198"/>
                  <a:gd name="T7" fmla="*/ 208 h 406"/>
                  <a:gd name="T8" fmla="*/ 140 w 198"/>
                  <a:gd name="T9" fmla="*/ 322 h 406"/>
                  <a:gd name="T10" fmla="*/ 191 w 198"/>
                  <a:gd name="T11" fmla="*/ 404 h 406"/>
                  <a:gd name="T12" fmla="*/ 195 w 198"/>
                  <a:gd name="T13" fmla="*/ 397 h 406"/>
                  <a:gd name="T14" fmla="*/ 113 w 198"/>
                  <a:gd name="T15" fmla="*/ 193 h 406"/>
                  <a:gd name="T16" fmla="*/ 92 w 198"/>
                  <a:gd name="T17" fmla="*/ 149 h 406"/>
                  <a:gd name="T18" fmla="*/ 60 w 198"/>
                  <a:gd name="T19" fmla="*/ 105 h 406"/>
                  <a:gd name="T20" fmla="*/ 32 w 198"/>
                  <a:gd name="T21" fmla="*/ 59 h 406"/>
                  <a:gd name="T22" fmla="*/ 4 w 198"/>
                  <a:gd name="T23" fmla="*/ 2 h 406"/>
                  <a:gd name="T24" fmla="*/ 1 w 198"/>
                  <a:gd name="T25" fmla="*/ 3 h 4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98" h="406">
                    <a:moveTo>
                      <a:pt x="1" y="3"/>
                    </a:moveTo>
                    <a:cubicBezTo>
                      <a:pt x="9" y="36"/>
                      <a:pt x="31" y="63"/>
                      <a:pt x="48" y="93"/>
                    </a:cubicBezTo>
                    <a:cubicBezTo>
                      <a:pt x="58" y="109"/>
                      <a:pt x="70" y="124"/>
                      <a:pt x="81" y="140"/>
                    </a:cubicBezTo>
                    <a:cubicBezTo>
                      <a:pt x="94" y="160"/>
                      <a:pt x="104" y="185"/>
                      <a:pt x="112" y="208"/>
                    </a:cubicBezTo>
                    <a:cubicBezTo>
                      <a:pt x="125" y="245"/>
                      <a:pt x="128" y="284"/>
                      <a:pt x="140" y="322"/>
                    </a:cubicBezTo>
                    <a:cubicBezTo>
                      <a:pt x="150" y="351"/>
                      <a:pt x="163" y="388"/>
                      <a:pt x="191" y="404"/>
                    </a:cubicBezTo>
                    <a:cubicBezTo>
                      <a:pt x="195" y="406"/>
                      <a:pt x="198" y="400"/>
                      <a:pt x="195" y="397"/>
                    </a:cubicBezTo>
                    <a:cubicBezTo>
                      <a:pt x="137" y="345"/>
                      <a:pt x="142" y="260"/>
                      <a:pt x="113" y="193"/>
                    </a:cubicBezTo>
                    <a:cubicBezTo>
                      <a:pt x="106" y="178"/>
                      <a:pt x="100" y="163"/>
                      <a:pt x="92" y="149"/>
                    </a:cubicBezTo>
                    <a:cubicBezTo>
                      <a:pt x="82" y="134"/>
                      <a:pt x="70" y="120"/>
                      <a:pt x="60" y="105"/>
                    </a:cubicBezTo>
                    <a:cubicBezTo>
                      <a:pt x="50" y="90"/>
                      <a:pt x="42" y="74"/>
                      <a:pt x="32" y="59"/>
                    </a:cubicBezTo>
                    <a:cubicBezTo>
                      <a:pt x="21" y="41"/>
                      <a:pt x="9" y="23"/>
                      <a:pt x="4" y="2"/>
                    </a:cubicBezTo>
                    <a:cubicBezTo>
                      <a:pt x="3" y="0"/>
                      <a:pt x="0" y="1"/>
                      <a:pt x="1" y="3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478" name="Freeform 150">
                <a:extLst>
                  <a:ext uri="{FF2B5EF4-FFF2-40B4-BE49-F238E27FC236}">
                    <a16:creationId xmlns:a16="http://schemas.microsoft.com/office/drawing/2014/main" id="{B9DD060B-7274-4ACE-8E92-127587D8A898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406" y="1602"/>
                <a:ext cx="49" cy="492"/>
              </a:xfrm>
              <a:custGeom>
                <a:avLst/>
                <a:gdLst>
                  <a:gd name="T0" fmla="*/ 28 w 46"/>
                  <a:gd name="T1" fmla="*/ 4 h 465"/>
                  <a:gd name="T2" fmla="*/ 33 w 46"/>
                  <a:gd name="T3" fmla="*/ 70 h 465"/>
                  <a:gd name="T4" fmla="*/ 29 w 46"/>
                  <a:gd name="T5" fmla="*/ 130 h 465"/>
                  <a:gd name="T6" fmla="*/ 35 w 46"/>
                  <a:gd name="T7" fmla="*/ 249 h 465"/>
                  <a:gd name="T8" fmla="*/ 37 w 46"/>
                  <a:gd name="T9" fmla="*/ 364 h 465"/>
                  <a:gd name="T10" fmla="*/ 3 w 46"/>
                  <a:gd name="T11" fmla="*/ 459 h 465"/>
                  <a:gd name="T12" fmla="*/ 8 w 46"/>
                  <a:gd name="T13" fmla="*/ 464 h 465"/>
                  <a:gd name="T14" fmla="*/ 41 w 46"/>
                  <a:gd name="T15" fmla="*/ 393 h 465"/>
                  <a:gd name="T16" fmla="*/ 41 w 46"/>
                  <a:gd name="T17" fmla="*/ 256 h 465"/>
                  <a:gd name="T18" fmla="*/ 34 w 46"/>
                  <a:gd name="T19" fmla="*/ 108 h 465"/>
                  <a:gd name="T20" fmla="*/ 41 w 46"/>
                  <a:gd name="T21" fmla="*/ 30 h 465"/>
                  <a:gd name="T22" fmla="*/ 30 w 46"/>
                  <a:gd name="T23" fmla="*/ 1 h 465"/>
                  <a:gd name="T24" fmla="*/ 28 w 46"/>
                  <a:gd name="T25" fmla="*/ 4 h 4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46" h="465">
                    <a:moveTo>
                      <a:pt x="28" y="4"/>
                    </a:moveTo>
                    <a:cubicBezTo>
                      <a:pt x="43" y="19"/>
                      <a:pt x="35" y="51"/>
                      <a:pt x="33" y="70"/>
                    </a:cubicBezTo>
                    <a:cubicBezTo>
                      <a:pt x="30" y="90"/>
                      <a:pt x="30" y="110"/>
                      <a:pt x="29" y="130"/>
                    </a:cubicBezTo>
                    <a:cubicBezTo>
                      <a:pt x="29" y="170"/>
                      <a:pt x="32" y="209"/>
                      <a:pt x="35" y="249"/>
                    </a:cubicBezTo>
                    <a:cubicBezTo>
                      <a:pt x="38" y="287"/>
                      <a:pt x="40" y="326"/>
                      <a:pt x="37" y="364"/>
                    </a:cubicBezTo>
                    <a:cubicBezTo>
                      <a:pt x="35" y="401"/>
                      <a:pt x="31" y="433"/>
                      <a:pt x="3" y="459"/>
                    </a:cubicBezTo>
                    <a:cubicBezTo>
                      <a:pt x="0" y="461"/>
                      <a:pt x="5" y="465"/>
                      <a:pt x="8" y="464"/>
                    </a:cubicBezTo>
                    <a:cubicBezTo>
                      <a:pt x="31" y="451"/>
                      <a:pt x="38" y="417"/>
                      <a:pt x="41" y="393"/>
                    </a:cubicBezTo>
                    <a:cubicBezTo>
                      <a:pt x="46" y="347"/>
                      <a:pt x="44" y="301"/>
                      <a:pt x="41" y="256"/>
                    </a:cubicBezTo>
                    <a:cubicBezTo>
                      <a:pt x="37" y="206"/>
                      <a:pt x="32" y="157"/>
                      <a:pt x="34" y="108"/>
                    </a:cubicBezTo>
                    <a:cubicBezTo>
                      <a:pt x="35" y="82"/>
                      <a:pt x="42" y="56"/>
                      <a:pt x="41" y="30"/>
                    </a:cubicBezTo>
                    <a:cubicBezTo>
                      <a:pt x="41" y="19"/>
                      <a:pt x="39" y="8"/>
                      <a:pt x="30" y="1"/>
                    </a:cubicBezTo>
                    <a:cubicBezTo>
                      <a:pt x="28" y="0"/>
                      <a:pt x="26" y="2"/>
                      <a:pt x="28" y="4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479" name="Freeform 151">
                <a:extLst>
                  <a:ext uri="{FF2B5EF4-FFF2-40B4-BE49-F238E27FC236}">
                    <a16:creationId xmlns:a16="http://schemas.microsoft.com/office/drawing/2014/main" id="{DEF9D589-B10A-42AA-851F-9BD5E506E53B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177" y="1523"/>
                <a:ext cx="43" cy="78"/>
              </a:xfrm>
              <a:custGeom>
                <a:avLst/>
                <a:gdLst>
                  <a:gd name="T0" fmla="*/ 40 w 40"/>
                  <a:gd name="T1" fmla="*/ 73 h 73"/>
                  <a:gd name="T2" fmla="*/ 27 w 40"/>
                  <a:gd name="T3" fmla="*/ 40 h 73"/>
                  <a:gd name="T4" fmla="*/ 2 w 40"/>
                  <a:gd name="T5" fmla="*/ 0 h 73"/>
                  <a:gd name="T6" fmla="*/ 1 w 40"/>
                  <a:gd name="T7" fmla="*/ 1 h 73"/>
                  <a:gd name="T8" fmla="*/ 21 w 40"/>
                  <a:gd name="T9" fmla="*/ 38 h 73"/>
                  <a:gd name="T10" fmla="*/ 40 w 40"/>
                  <a:gd name="T11" fmla="*/ 73 h 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0" h="73">
                    <a:moveTo>
                      <a:pt x="40" y="73"/>
                    </a:moveTo>
                    <a:cubicBezTo>
                      <a:pt x="38" y="60"/>
                      <a:pt x="34" y="51"/>
                      <a:pt x="27" y="40"/>
                    </a:cubicBezTo>
                    <a:cubicBezTo>
                      <a:pt x="19" y="26"/>
                      <a:pt x="13" y="12"/>
                      <a:pt x="2" y="0"/>
                    </a:cubicBezTo>
                    <a:cubicBezTo>
                      <a:pt x="1" y="0"/>
                      <a:pt x="0" y="0"/>
                      <a:pt x="1" y="1"/>
                    </a:cubicBezTo>
                    <a:cubicBezTo>
                      <a:pt x="10" y="13"/>
                      <a:pt x="15" y="25"/>
                      <a:pt x="21" y="38"/>
                    </a:cubicBezTo>
                    <a:cubicBezTo>
                      <a:pt x="27" y="50"/>
                      <a:pt x="35" y="60"/>
                      <a:pt x="40" y="73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480" name="Freeform 152">
                <a:extLst>
                  <a:ext uri="{FF2B5EF4-FFF2-40B4-BE49-F238E27FC236}">
                    <a16:creationId xmlns:a16="http://schemas.microsoft.com/office/drawing/2014/main" id="{2C7E38CE-65ED-43FF-8726-0DB685A442A8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158" y="1497"/>
                <a:ext cx="8" cy="12"/>
              </a:xfrm>
              <a:custGeom>
                <a:avLst/>
                <a:gdLst>
                  <a:gd name="T0" fmla="*/ 7 w 7"/>
                  <a:gd name="T1" fmla="*/ 12 h 12"/>
                  <a:gd name="T2" fmla="*/ 0 w 7"/>
                  <a:gd name="T3" fmla="*/ 0 h 12"/>
                  <a:gd name="T4" fmla="*/ 0 w 7"/>
                  <a:gd name="T5" fmla="*/ 0 h 12"/>
                  <a:gd name="T6" fmla="*/ 7 w 7"/>
                  <a:gd name="T7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7" h="12">
                    <a:moveTo>
                      <a:pt x="7" y="12"/>
                    </a:moveTo>
                    <a:cubicBezTo>
                      <a:pt x="6" y="7"/>
                      <a:pt x="3" y="3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2" y="4"/>
                      <a:pt x="6" y="7"/>
                      <a:pt x="7" y="12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481" name="Freeform 153">
                <a:extLst>
                  <a:ext uri="{FF2B5EF4-FFF2-40B4-BE49-F238E27FC236}">
                    <a16:creationId xmlns:a16="http://schemas.microsoft.com/office/drawing/2014/main" id="{5350DA47-6666-4015-B9BB-C57039DEDB7D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139" y="1469"/>
                <a:ext cx="12" cy="17"/>
              </a:xfrm>
              <a:custGeom>
                <a:avLst/>
                <a:gdLst>
                  <a:gd name="T0" fmla="*/ 11 w 11"/>
                  <a:gd name="T1" fmla="*/ 16 h 16"/>
                  <a:gd name="T2" fmla="*/ 2 w 11"/>
                  <a:gd name="T3" fmla="*/ 1 h 16"/>
                  <a:gd name="T4" fmla="*/ 0 w 11"/>
                  <a:gd name="T5" fmla="*/ 2 h 16"/>
                  <a:gd name="T6" fmla="*/ 11 w 11"/>
                  <a:gd name="T7" fmla="*/ 16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1" h="16">
                    <a:moveTo>
                      <a:pt x="11" y="16"/>
                    </a:moveTo>
                    <a:cubicBezTo>
                      <a:pt x="8" y="11"/>
                      <a:pt x="5" y="6"/>
                      <a:pt x="2" y="1"/>
                    </a:cubicBezTo>
                    <a:cubicBezTo>
                      <a:pt x="1" y="0"/>
                      <a:pt x="0" y="1"/>
                      <a:pt x="0" y="2"/>
                    </a:cubicBezTo>
                    <a:cubicBezTo>
                      <a:pt x="4" y="7"/>
                      <a:pt x="8" y="11"/>
                      <a:pt x="11" y="16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482" name="Freeform 154">
                <a:extLst>
                  <a:ext uri="{FF2B5EF4-FFF2-40B4-BE49-F238E27FC236}">
                    <a16:creationId xmlns:a16="http://schemas.microsoft.com/office/drawing/2014/main" id="{BD24B3F1-D5A8-4137-98B4-8DC2F3F7F0AD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224" y="1616"/>
                <a:ext cx="11" cy="13"/>
              </a:xfrm>
              <a:custGeom>
                <a:avLst/>
                <a:gdLst>
                  <a:gd name="T0" fmla="*/ 1 w 10"/>
                  <a:gd name="T1" fmla="*/ 3 h 12"/>
                  <a:gd name="T2" fmla="*/ 5 w 10"/>
                  <a:gd name="T3" fmla="*/ 6 h 12"/>
                  <a:gd name="T4" fmla="*/ 7 w 10"/>
                  <a:gd name="T5" fmla="*/ 11 h 12"/>
                  <a:gd name="T6" fmla="*/ 10 w 10"/>
                  <a:gd name="T7" fmla="*/ 10 h 12"/>
                  <a:gd name="T8" fmla="*/ 3 w 10"/>
                  <a:gd name="T9" fmla="*/ 1 h 12"/>
                  <a:gd name="T10" fmla="*/ 1 w 10"/>
                  <a:gd name="T11" fmla="*/ 3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0" h="12">
                    <a:moveTo>
                      <a:pt x="1" y="3"/>
                    </a:moveTo>
                    <a:cubicBezTo>
                      <a:pt x="3" y="4"/>
                      <a:pt x="4" y="5"/>
                      <a:pt x="5" y="6"/>
                    </a:cubicBezTo>
                    <a:cubicBezTo>
                      <a:pt x="6" y="7"/>
                      <a:pt x="7" y="9"/>
                      <a:pt x="7" y="11"/>
                    </a:cubicBezTo>
                    <a:cubicBezTo>
                      <a:pt x="8" y="12"/>
                      <a:pt x="10" y="11"/>
                      <a:pt x="10" y="10"/>
                    </a:cubicBezTo>
                    <a:cubicBezTo>
                      <a:pt x="9" y="6"/>
                      <a:pt x="6" y="3"/>
                      <a:pt x="3" y="1"/>
                    </a:cubicBezTo>
                    <a:cubicBezTo>
                      <a:pt x="1" y="0"/>
                      <a:pt x="0" y="2"/>
                      <a:pt x="1" y="3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483" name="Freeform 155">
                <a:extLst>
                  <a:ext uri="{FF2B5EF4-FFF2-40B4-BE49-F238E27FC236}">
                    <a16:creationId xmlns:a16="http://schemas.microsoft.com/office/drawing/2014/main" id="{3A0BDE77-627C-4CC5-810D-1D51FB1B9855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457" y="1627"/>
                <a:ext cx="15" cy="257"/>
              </a:xfrm>
              <a:custGeom>
                <a:avLst/>
                <a:gdLst>
                  <a:gd name="T0" fmla="*/ 13 w 14"/>
                  <a:gd name="T1" fmla="*/ 242 h 243"/>
                  <a:gd name="T2" fmla="*/ 2 w 14"/>
                  <a:gd name="T3" fmla="*/ 115 h 243"/>
                  <a:gd name="T4" fmla="*/ 7 w 14"/>
                  <a:gd name="T5" fmla="*/ 55 h 243"/>
                  <a:gd name="T6" fmla="*/ 13 w 14"/>
                  <a:gd name="T7" fmla="*/ 2 h 243"/>
                  <a:gd name="T8" fmla="*/ 10 w 14"/>
                  <a:gd name="T9" fmla="*/ 2 h 243"/>
                  <a:gd name="T10" fmla="*/ 1 w 14"/>
                  <a:gd name="T11" fmla="*/ 126 h 243"/>
                  <a:gd name="T12" fmla="*/ 12 w 14"/>
                  <a:gd name="T13" fmla="*/ 242 h 243"/>
                  <a:gd name="T14" fmla="*/ 13 w 14"/>
                  <a:gd name="T15" fmla="*/ 242 h 2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4" h="243">
                    <a:moveTo>
                      <a:pt x="13" y="242"/>
                    </a:moveTo>
                    <a:cubicBezTo>
                      <a:pt x="11" y="200"/>
                      <a:pt x="2" y="157"/>
                      <a:pt x="2" y="115"/>
                    </a:cubicBezTo>
                    <a:cubicBezTo>
                      <a:pt x="2" y="95"/>
                      <a:pt x="5" y="75"/>
                      <a:pt x="7" y="55"/>
                    </a:cubicBezTo>
                    <a:cubicBezTo>
                      <a:pt x="8" y="37"/>
                      <a:pt x="13" y="20"/>
                      <a:pt x="13" y="2"/>
                    </a:cubicBezTo>
                    <a:cubicBezTo>
                      <a:pt x="13" y="0"/>
                      <a:pt x="10" y="0"/>
                      <a:pt x="10" y="2"/>
                    </a:cubicBezTo>
                    <a:cubicBezTo>
                      <a:pt x="8" y="43"/>
                      <a:pt x="0" y="84"/>
                      <a:pt x="1" y="126"/>
                    </a:cubicBezTo>
                    <a:cubicBezTo>
                      <a:pt x="3" y="165"/>
                      <a:pt x="8" y="203"/>
                      <a:pt x="12" y="242"/>
                    </a:cubicBezTo>
                    <a:cubicBezTo>
                      <a:pt x="12" y="243"/>
                      <a:pt x="14" y="243"/>
                      <a:pt x="13" y="242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484" name="Freeform 156">
                <a:extLst>
                  <a:ext uri="{FF2B5EF4-FFF2-40B4-BE49-F238E27FC236}">
                    <a16:creationId xmlns:a16="http://schemas.microsoft.com/office/drawing/2014/main" id="{6050DD28-E756-47F7-94F4-9D0B434BA3CC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425" y="1926"/>
                <a:ext cx="51" cy="167"/>
              </a:xfrm>
              <a:custGeom>
                <a:avLst/>
                <a:gdLst>
                  <a:gd name="T0" fmla="*/ 44 w 48"/>
                  <a:gd name="T1" fmla="*/ 1 h 158"/>
                  <a:gd name="T2" fmla="*/ 39 w 48"/>
                  <a:gd name="T3" fmla="*/ 45 h 158"/>
                  <a:gd name="T4" fmla="*/ 36 w 48"/>
                  <a:gd name="T5" fmla="*/ 81 h 158"/>
                  <a:gd name="T6" fmla="*/ 1 w 48"/>
                  <a:gd name="T7" fmla="*/ 152 h 158"/>
                  <a:gd name="T8" fmla="*/ 6 w 48"/>
                  <a:gd name="T9" fmla="*/ 156 h 158"/>
                  <a:gd name="T10" fmla="*/ 39 w 48"/>
                  <a:gd name="T11" fmla="*/ 88 h 158"/>
                  <a:gd name="T12" fmla="*/ 44 w 48"/>
                  <a:gd name="T13" fmla="*/ 43 h 158"/>
                  <a:gd name="T14" fmla="*/ 46 w 48"/>
                  <a:gd name="T15" fmla="*/ 1 h 158"/>
                  <a:gd name="T16" fmla="*/ 44 w 48"/>
                  <a:gd name="T17" fmla="*/ 1 h 1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8" h="158">
                    <a:moveTo>
                      <a:pt x="44" y="1"/>
                    </a:moveTo>
                    <a:cubicBezTo>
                      <a:pt x="45" y="16"/>
                      <a:pt x="41" y="31"/>
                      <a:pt x="39" y="45"/>
                    </a:cubicBezTo>
                    <a:cubicBezTo>
                      <a:pt x="38" y="57"/>
                      <a:pt x="38" y="69"/>
                      <a:pt x="36" y="81"/>
                    </a:cubicBezTo>
                    <a:cubicBezTo>
                      <a:pt x="31" y="108"/>
                      <a:pt x="18" y="131"/>
                      <a:pt x="1" y="152"/>
                    </a:cubicBezTo>
                    <a:cubicBezTo>
                      <a:pt x="0" y="155"/>
                      <a:pt x="4" y="158"/>
                      <a:pt x="6" y="156"/>
                    </a:cubicBezTo>
                    <a:cubicBezTo>
                      <a:pt x="22" y="137"/>
                      <a:pt x="34" y="112"/>
                      <a:pt x="39" y="88"/>
                    </a:cubicBezTo>
                    <a:cubicBezTo>
                      <a:pt x="43" y="73"/>
                      <a:pt x="43" y="59"/>
                      <a:pt x="44" y="43"/>
                    </a:cubicBezTo>
                    <a:cubicBezTo>
                      <a:pt x="45" y="29"/>
                      <a:pt x="48" y="15"/>
                      <a:pt x="46" y="1"/>
                    </a:cubicBezTo>
                    <a:cubicBezTo>
                      <a:pt x="46" y="0"/>
                      <a:pt x="44" y="0"/>
                      <a:pt x="44" y="1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485" name="Freeform 157">
                <a:extLst>
                  <a:ext uri="{FF2B5EF4-FFF2-40B4-BE49-F238E27FC236}">
                    <a16:creationId xmlns:a16="http://schemas.microsoft.com/office/drawing/2014/main" id="{7DE979AA-D87D-4AAF-98FA-E00CE4C8E088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493" y="1634"/>
                <a:ext cx="22" cy="338"/>
              </a:xfrm>
              <a:custGeom>
                <a:avLst/>
                <a:gdLst>
                  <a:gd name="T0" fmla="*/ 17 w 21"/>
                  <a:gd name="T1" fmla="*/ 2 h 319"/>
                  <a:gd name="T2" fmla="*/ 5 w 21"/>
                  <a:gd name="T3" fmla="*/ 69 h 319"/>
                  <a:gd name="T4" fmla="*/ 2 w 21"/>
                  <a:gd name="T5" fmla="*/ 155 h 319"/>
                  <a:gd name="T6" fmla="*/ 1 w 21"/>
                  <a:gd name="T7" fmla="*/ 315 h 319"/>
                  <a:gd name="T8" fmla="*/ 6 w 21"/>
                  <a:gd name="T9" fmla="*/ 316 h 319"/>
                  <a:gd name="T10" fmla="*/ 10 w 21"/>
                  <a:gd name="T11" fmla="*/ 248 h 319"/>
                  <a:gd name="T12" fmla="*/ 7 w 21"/>
                  <a:gd name="T13" fmla="*/ 162 h 319"/>
                  <a:gd name="T14" fmla="*/ 9 w 21"/>
                  <a:gd name="T15" fmla="*/ 77 h 319"/>
                  <a:gd name="T16" fmla="*/ 20 w 21"/>
                  <a:gd name="T17" fmla="*/ 3 h 319"/>
                  <a:gd name="T18" fmla="*/ 17 w 21"/>
                  <a:gd name="T19" fmla="*/ 2 h 3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1" h="319">
                    <a:moveTo>
                      <a:pt x="17" y="2"/>
                    </a:moveTo>
                    <a:cubicBezTo>
                      <a:pt x="8" y="22"/>
                      <a:pt x="8" y="48"/>
                      <a:pt x="5" y="69"/>
                    </a:cubicBezTo>
                    <a:cubicBezTo>
                      <a:pt x="2" y="97"/>
                      <a:pt x="2" y="127"/>
                      <a:pt x="2" y="155"/>
                    </a:cubicBezTo>
                    <a:cubicBezTo>
                      <a:pt x="2" y="208"/>
                      <a:pt x="8" y="262"/>
                      <a:pt x="1" y="315"/>
                    </a:cubicBezTo>
                    <a:cubicBezTo>
                      <a:pt x="0" y="318"/>
                      <a:pt x="5" y="319"/>
                      <a:pt x="6" y="316"/>
                    </a:cubicBezTo>
                    <a:cubicBezTo>
                      <a:pt x="11" y="295"/>
                      <a:pt x="10" y="270"/>
                      <a:pt x="10" y="248"/>
                    </a:cubicBezTo>
                    <a:cubicBezTo>
                      <a:pt x="10" y="219"/>
                      <a:pt x="7" y="191"/>
                      <a:pt x="7" y="162"/>
                    </a:cubicBezTo>
                    <a:cubicBezTo>
                      <a:pt x="7" y="134"/>
                      <a:pt x="6" y="105"/>
                      <a:pt x="9" y="77"/>
                    </a:cubicBezTo>
                    <a:cubicBezTo>
                      <a:pt x="12" y="53"/>
                      <a:pt x="13" y="25"/>
                      <a:pt x="20" y="3"/>
                    </a:cubicBezTo>
                    <a:cubicBezTo>
                      <a:pt x="21" y="1"/>
                      <a:pt x="17" y="0"/>
                      <a:pt x="17" y="2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486" name="Freeform 158">
                <a:extLst>
                  <a:ext uri="{FF2B5EF4-FFF2-40B4-BE49-F238E27FC236}">
                    <a16:creationId xmlns:a16="http://schemas.microsoft.com/office/drawing/2014/main" id="{95E03568-0038-470F-850F-AC98C4E42AA9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100" y="1487"/>
                <a:ext cx="189" cy="310"/>
              </a:xfrm>
              <a:custGeom>
                <a:avLst/>
                <a:gdLst>
                  <a:gd name="T0" fmla="*/ 1 w 178"/>
                  <a:gd name="T1" fmla="*/ 3 h 293"/>
                  <a:gd name="T2" fmla="*/ 89 w 178"/>
                  <a:gd name="T3" fmla="*/ 141 h 293"/>
                  <a:gd name="T4" fmla="*/ 132 w 178"/>
                  <a:gd name="T5" fmla="*/ 215 h 293"/>
                  <a:gd name="T6" fmla="*/ 171 w 178"/>
                  <a:gd name="T7" fmla="*/ 290 h 293"/>
                  <a:gd name="T8" fmla="*/ 176 w 178"/>
                  <a:gd name="T9" fmla="*/ 287 h 293"/>
                  <a:gd name="T10" fmla="*/ 137 w 178"/>
                  <a:gd name="T11" fmla="*/ 212 h 293"/>
                  <a:gd name="T12" fmla="*/ 95 w 178"/>
                  <a:gd name="T13" fmla="*/ 141 h 293"/>
                  <a:gd name="T14" fmla="*/ 42 w 178"/>
                  <a:gd name="T15" fmla="*/ 56 h 293"/>
                  <a:gd name="T16" fmla="*/ 3 w 178"/>
                  <a:gd name="T17" fmla="*/ 1 h 293"/>
                  <a:gd name="T18" fmla="*/ 1 w 178"/>
                  <a:gd name="T19" fmla="*/ 3 h 2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78" h="293">
                    <a:moveTo>
                      <a:pt x="1" y="3"/>
                    </a:moveTo>
                    <a:cubicBezTo>
                      <a:pt x="39" y="43"/>
                      <a:pt x="58" y="96"/>
                      <a:pt x="89" y="141"/>
                    </a:cubicBezTo>
                    <a:cubicBezTo>
                      <a:pt x="104" y="165"/>
                      <a:pt x="119" y="189"/>
                      <a:pt x="132" y="215"/>
                    </a:cubicBezTo>
                    <a:cubicBezTo>
                      <a:pt x="143" y="240"/>
                      <a:pt x="153" y="269"/>
                      <a:pt x="171" y="290"/>
                    </a:cubicBezTo>
                    <a:cubicBezTo>
                      <a:pt x="173" y="293"/>
                      <a:pt x="178" y="290"/>
                      <a:pt x="176" y="287"/>
                    </a:cubicBezTo>
                    <a:cubicBezTo>
                      <a:pt x="161" y="263"/>
                      <a:pt x="149" y="237"/>
                      <a:pt x="137" y="212"/>
                    </a:cubicBezTo>
                    <a:cubicBezTo>
                      <a:pt x="125" y="187"/>
                      <a:pt x="110" y="164"/>
                      <a:pt x="95" y="141"/>
                    </a:cubicBezTo>
                    <a:cubicBezTo>
                      <a:pt x="76" y="114"/>
                      <a:pt x="59" y="85"/>
                      <a:pt x="42" y="56"/>
                    </a:cubicBezTo>
                    <a:cubicBezTo>
                      <a:pt x="30" y="37"/>
                      <a:pt x="21" y="15"/>
                      <a:pt x="3" y="1"/>
                    </a:cubicBezTo>
                    <a:cubicBezTo>
                      <a:pt x="2" y="0"/>
                      <a:pt x="0" y="1"/>
                      <a:pt x="1" y="3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487" name="Freeform 159">
                <a:extLst>
                  <a:ext uri="{FF2B5EF4-FFF2-40B4-BE49-F238E27FC236}">
                    <a16:creationId xmlns:a16="http://schemas.microsoft.com/office/drawing/2014/main" id="{277AF798-D7A6-4169-BF52-9561CA9F59B9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500" y="1647"/>
                <a:ext cx="232" cy="40"/>
              </a:xfrm>
              <a:custGeom>
                <a:avLst/>
                <a:gdLst>
                  <a:gd name="T0" fmla="*/ 3 w 219"/>
                  <a:gd name="T1" fmla="*/ 13 h 38"/>
                  <a:gd name="T2" fmla="*/ 140 w 219"/>
                  <a:gd name="T3" fmla="*/ 34 h 38"/>
                  <a:gd name="T4" fmla="*/ 217 w 219"/>
                  <a:gd name="T5" fmla="*/ 8 h 38"/>
                  <a:gd name="T6" fmla="*/ 210 w 219"/>
                  <a:gd name="T7" fmla="*/ 5 h 38"/>
                  <a:gd name="T8" fmla="*/ 110 w 219"/>
                  <a:gd name="T9" fmla="*/ 25 h 38"/>
                  <a:gd name="T10" fmla="*/ 5 w 219"/>
                  <a:gd name="T11" fmla="*/ 8 h 38"/>
                  <a:gd name="T12" fmla="*/ 3 w 219"/>
                  <a:gd name="T13" fmla="*/ 13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19" h="38">
                    <a:moveTo>
                      <a:pt x="3" y="13"/>
                    </a:moveTo>
                    <a:cubicBezTo>
                      <a:pt x="47" y="25"/>
                      <a:pt x="94" y="32"/>
                      <a:pt x="140" y="34"/>
                    </a:cubicBezTo>
                    <a:cubicBezTo>
                      <a:pt x="164" y="35"/>
                      <a:pt x="208" y="38"/>
                      <a:pt x="217" y="8"/>
                    </a:cubicBezTo>
                    <a:cubicBezTo>
                      <a:pt x="219" y="3"/>
                      <a:pt x="211" y="0"/>
                      <a:pt x="210" y="5"/>
                    </a:cubicBezTo>
                    <a:cubicBezTo>
                      <a:pt x="201" y="36"/>
                      <a:pt x="133" y="27"/>
                      <a:pt x="110" y="25"/>
                    </a:cubicBezTo>
                    <a:cubicBezTo>
                      <a:pt x="75" y="21"/>
                      <a:pt x="40" y="16"/>
                      <a:pt x="5" y="8"/>
                    </a:cubicBezTo>
                    <a:cubicBezTo>
                      <a:pt x="2" y="7"/>
                      <a:pt x="0" y="12"/>
                      <a:pt x="3" y="13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488" name="Freeform 160">
                <a:extLst>
                  <a:ext uri="{FF2B5EF4-FFF2-40B4-BE49-F238E27FC236}">
                    <a16:creationId xmlns:a16="http://schemas.microsoft.com/office/drawing/2014/main" id="{5D70787E-26AE-43E0-AD62-D99D6E8259DA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703" y="1583"/>
                <a:ext cx="283" cy="79"/>
              </a:xfrm>
              <a:custGeom>
                <a:avLst/>
                <a:gdLst>
                  <a:gd name="T0" fmla="*/ 3 w 267"/>
                  <a:gd name="T1" fmla="*/ 69 h 75"/>
                  <a:gd name="T2" fmla="*/ 61 w 267"/>
                  <a:gd name="T3" fmla="*/ 63 h 75"/>
                  <a:gd name="T4" fmla="*/ 136 w 267"/>
                  <a:gd name="T5" fmla="*/ 47 h 75"/>
                  <a:gd name="T6" fmla="*/ 204 w 267"/>
                  <a:gd name="T7" fmla="*/ 29 h 75"/>
                  <a:gd name="T8" fmla="*/ 264 w 267"/>
                  <a:gd name="T9" fmla="*/ 6 h 75"/>
                  <a:gd name="T10" fmla="*/ 263 w 267"/>
                  <a:gd name="T11" fmla="*/ 1 h 75"/>
                  <a:gd name="T12" fmla="*/ 131 w 267"/>
                  <a:gd name="T13" fmla="*/ 40 h 75"/>
                  <a:gd name="T14" fmla="*/ 67 w 267"/>
                  <a:gd name="T15" fmla="*/ 54 h 75"/>
                  <a:gd name="T16" fmla="*/ 4 w 267"/>
                  <a:gd name="T17" fmla="*/ 64 h 75"/>
                  <a:gd name="T18" fmla="*/ 3 w 267"/>
                  <a:gd name="T19" fmla="*/ 69 h 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67" h="75">
                    <a:moveTo>
                      <a:pt x="3" y="69"/>
                    </a:moveTo>
                    <a:cubicBezTo>
                      <a:pt x="19" y="75"/>
                      <a:pt x="45" y="67"/>
                      <a:pt x="61" y="63"/>
                    </a:cubicBezTo>
                    <a:cubicBezTo>
                      <a:pt x="86" y="58"/>
                      <a:pt x="111" y="52"/>
                      <a:pt x="136" y="47"/>
                    </a:cubicBezTo>
                    <a:cubicBezTo>
                      <a:pt x="159" y="42"/>
                      <a:pt x="181" y="36"/>
                      <a:pt x="204" y="29"/>
                    </a:cubicBezTo>
                    <a:cubicBezTo>
                      <a:pt x="224" y="22"/>
                      <a:pt x="246" y="18"/>
                      <a:pt x="264" y="6"/>
                    </a:cubicBezTo>
                    <a:cubicBezTo>
                      <a:pt x="267" y="5"/>
                      <a:pt x="266" y="0"/>
                      <a:pt x="263" y="1"/>
                    </a:cubicBezTo>
                    <a:cubicBezTo>
                      <a:pt x="219" y="16"/>
                      <a:pt x="176" y="30"/>
                      <a:pt x="131" y="40"/>
                    </a:cubicBezTo>
                    <a:cubicBezTo>
                      <a:pt x="110" y="45"/>
                      <a:pt x="88" y="49"/>
                      <a:pt x="67" y="54"/>
                    </a:cubicBezTo>
                    <a:cubicBezTo>
                      <a:pt x="48" y="58"/>
                      <a:pt x="23" y="66"/>
                      <a:pt x="4" y="64"/>
                    </a:cubicBezTo>
                    <a:cubicBezTo>
                      <a:pt x="1" y="64"/>
                      <a:pt x="0" y="68"/>
                      <a:pt x="3" y="69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489" name="Freeform 161">
                <a:extLst>
                  <a:ext uri="{FF2B5EF4-FFF2-40B4-BE49-F238E27FC236}">
                    <a16:creationId xmlns:a16="http://schemas.microsoft.com/office/drawing/2014/main" id="{F79620E0-9D87-486C-9A4F-A2BE98E6BBD4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927" y="1523"/>
                <a:ext cx="212" cy="107"/>
              </a:xfrm>
              <a:custGeom>
                <a:avLst/>
                <a:gdLst>
                  <a:gd name="T0" fmla="*/ 2 w 200"/>
                  <a:gd name="T1" fmla="*/ 74 h 101"/>
                  <a:gd name="T2" fmla="*/ 97 w 200"/>
                  <a:gd name="T3" fmla="*/ 72 h 101"/>
                  <a:gd name="T4" fmla="*/ 151 w 200"/>
                  <a:gd name="T5" fmla="*/ 44 h 101"/>
                  <a:gd name="T6" fmla="*/ 172 w 200"/>
                  <a:gd name="T7" fmla="*/ 29 h 101"/>
                  <a:gd name="T8" fmla="*/ 196 w 200"/>
                  <a:gd name="T9" fmla="*/ 9 h 101"/>
                  <a:gd name="T10" fmla="*/ 193 w 200"/>
                  <a:gd name="T11" fmla="*/ 2 h 101"/>
                  <a:gd name="T12" fmla="*/ 167 w 200"/>
                  <a:gd name="T13" fmla="*/ 23 h 101"/>
                  <a:gd name="T14" fmla="*/ 120 w 200"/>
                  <a:gd name="T15" fmla="*/ 53 h 101"/>
                  <a:gd name="T16" fmla="*/ 72 w 200"/>
                  <a:gd name="T17" fmla="*/ 73 h 101"/>
                  <a:gd name="T18" fmla="*/ 47 w 200"/>
                  <a:gd name="T19" fmla="*/ 80 h 101"/>
                  <a:gd name="T20" fmla="*/ 4 w 200"/>
                  <a:gd name="T21" fmla="*/ 71 h 101"/>
                  <a:gd name="T22" fmla="*/ 2 w 200"/>
                  <a:gd name="T23" fmla="*/ 74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200" h="101">
                    <a:moveTo>
                      <a:pt x="2" y="74"/>
                    </a:moveTo>
                    <a:cubicBezTo>
                      <a:pt x="28" y="101"/>
                      <a:pt x="66" y="84"/>
                      <a:pt x="97" y="72"/>
                    </a:cubicBezTo>
                    <a:cubicBezTo>
                      <a:pt x="116" y="65"/>
                      <a:pt x="134" y="55"/>
                      <a:pt x="151" y="44"/>
                    </a:cubicBezTo>
                    <a:cubicBezTo>
                      <a:pt x="159" y="39"/>
                      <a:pt x="165" y="34"/>
                      <a:pt x="172" y="29"/>
                    </a:cubicBezTo>
                    <a:cubicBezTo>
                      <a:pt x="180" y="23"/>
                      <a:pt x="188" y="14"/>
                      <a:pt x="196" y="9"/>
                    </a:cubicBezTo>
                    <a:cubicBezTo>
                      <a:pt x="200" y="6"/>
                      <a:pt x="197" y="0"/>
                      <a:pt x="193" y="2"/>
                    </a:cubicBezTo>
                    <a:cubicBezTo>
                      <a:pt x="183" y="6"/>
                      <a:pt x="176" y="16"/>
                      <a:pt x="167" y="23"/>
                    </a:cubicBezTo>
                    <a:cubicBezTo>
                      <a:pt x="152" y="34"/>
                      <a:pt x="137" y="44"/>
                      <a:pt x="120" y="53"/>
                    </a:cubicBezTo>
                    <a:cubicBezTo>
                      <a:pt x="105" y="61"/>
                      <a:pt x="89" y="67"/>
                      <a:pt x="72" y="73"/>
                    </a:cubicBezTo>
                    <a:cubicBezTo>
                      <a:pt x="64" y="75"/>
                      <a:pt x="55" y="78"/>
                      <a:pt x="47" y="80"/>
                    </a:cubicBezTo>
                    <a:cubicBezTo>
                      <a:pt x="31" y="84"/>
                      <a:pt x="17" y="80"/>
                      <a:pt x="4" y="71"/>
                    </a:cubicBezTo>
                    <a:cubicBezTo>
                      <a:pt x="2" y="69"/>
                      <a:pt x="0" y="72"/>
                      <a:pt x="2" y="74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490" name="Freeform 162">
                <a:extLst>
                  <a:ext uri="{FF2B5EF4-FFF2-40B4-BE49-F238E27FC236}">
                    <a16:creationId xmlns:a16="http://schemas.microsoft.com/office/drawing/2014/main" id="{A47C66A5-7F66-4C75-A08E-EF68DF02077D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753" y="1465"/>
                <a:ext cx="83" cy="79"/>
              </a:xfrm>
              <a:custGeom>
                <a:avLst/>
                <a:gdLst>
                  <a:gd name="T0" fmla="*/ 52 w 79"/>
                  <a:gd name="T1" fmla="*/ 6 h 75"/>
                  <a:gd name="T2" fmla="*/ 5 w 79"/>
                  <a:gd name="T3" fmla="*/ 27 h 75"/>
                  <a:gd name="T4" fmla="*/ 20 w 79"/>
                  <a:gd name="T5" fmla="*/ 69 h 75"/>
                  <a:gd name="T6" fmla="*/ 71 w 79"/>
                  <a:gd name="T7" fmla="*/ 50 h 75"/>
                  <a:gd name="T8" fmla="*/ 43 w 79"/>
                  <a:gd name="T9" fmla="*/ 6 h 75"/>
                  <a:gd name="T10" fmla="*/ 42 w 79"/>
                  <a:gd name="T11" fmla="*/ 12 h 75"/>
                  <a:gd name="T12" fmla="*/ 61 w 79"/>
                  <a:gd name="T13" fmla="*/ 22 h 75"/>
                  <a:gd name="T14" fmla="*/ 60 w 79"/>
                  <a:gd name="T15" fmla="*/ 55 h 75"/>
                  <a:gd name="T16" fmla="*/ 19 w 79"/>
                  <a:gd name="T17" fmla="*/ 62 h 75"/>
                  <a:gd name="T18" fmla="*/ 11 w 79"/>
                  <a:gd name="T19" fmla="*/ 26 h 75"/>
                  <a:gd name="T20" fmla="*/ 51 w 79"/>
                  <a:gd name="T21" fmla="*/ 8 h 75"/>
                  <a:gd name="T22" fmla="*/ 52 w 79"/>
                  <a:gd name="T23" fmla="*/ 6 h 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79" h="75">
                    <a:moveTo>
                      <a:pt x="52" y="6"/>
                    </a:moveTo>
                    <a:cubicBezTo>
                      <a:pt x="33" y="0"/>
                      <a:pt x="12" y="7"/>
                      <a:pt x="5" y="27"/>
                    </a:cubicBezTo>
                    <a:cubicBezTo>
                      <a:pt x="0" y="42"/>
                      <a:pt x="3" y="63"/>
                      <a:pt x="20" y="69"/>
                    </a:cubicBezTo>
                    <a:cubicBezTo>
                      <a:pt x="38" y="75"/>
                      <a:pt x="64" y="69"/>
                      <a:pt x="71" y="50"/>
                    </a:cubicBezTo>
                    <a:cubicBezTo>
                      <a:pt x="79" y="29"/>
                      <a:pt x="64" y="7"/>
                      <a:pt x="43" y="6"/>
                    </a:cubicBezTo>
                    <a:cubicBezTo>
                      <a:pt x="39" y="6"/>
                      <a:pt x="39" y="11"/>
                      <a:pt x="42" y="12"/>
                    </a:cubicBezTo>
                    <a:cubicBezTo>
                      <a:pt x="49" y="14"/>
                      <a:pt x="56" y="16"/>
                      <a:pt x="61" y="22"/>
                    </a:cubicBezTo>
                    <a:cubicBezTo>
                      <a:pt x="68" y="31"/>
                      <a:pt x="68" y="47"/>
                      <a:pt x="60" y="55"/>
                    </a:cubicBezTo>
                    <a:cubicBezTo>
                      <a:pt x="51" y="65"/>
                      <a:pt x="32" y="69"/>
                      <a:pt x="19" y="62"/>
                    </a:cubicBezTo>
                    <a:cubicBezTo>
                      <a:pt x="6" y="55"/>
                      <a:pt x="6" y="38"/>
                      <a:pt x="11" y="26"/>
                    </a:cubicBezTo>
                    <a:cubicBezTo>
                      <a:pt x="17" y="11"/>
                      <a:pt x="36" y="7"/>
                      <a:pt x="51" y="8"/>
                    </a:cubicBezTo>
                    <a:cubicBezTo>
                      <a:pt x="53" y="8"/>
                      <a:pt x="53" y="6"/>
                      <a:pt x="52" y="6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491" name="Freeform 163">
                <a:extLst>
                  <a:ext uri="{FF2B5EF4-FFF2-40B4-BE49-F238E27FC236}">
                    <a16:creationId xmlns:a16="http://schemas.microsoft.com/office/drawing/2014/main" id="{2AB28EBB-160F-4305-8759-245A41BE4EBC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422" y="1389"/>
                <a:ext cx="779" cy="244"/>
              </a:xfrm>
              <a:custGeom>
                <a:avLst/>
                <a:gdLst>
                  <a:gd name="T0" fmla="*/ 1 w 735"/>
                  <a:gd name="T1" fmla="*/ 177 h 231"/>
                  <a:gd name="T2" fmla="*/ 189 w 735"/>
                  <a:gd name="T3" fmla="*/ 207 h 231"/>
                  <a:gd name="T4" fmla="*/ 388 w 735"/>
                  <a:gd name="T5" fmla="*/ 167 h 231"/>
                  <a:gd name="T6" fmla="*/ 733 w 735"/>
                  <a:gd name="T7" fmla="*/ 6 h 231"/>
                  <a:gd name="T8" fmla="*/ 729 w 735"/>
                  <a:gd name="T9" fmla="*/ 2 h 231"/>
                  <a:gd name="T10" fmla="*/ 563 w 735"/>
                  <a:gd name="T11" fmla="*/ 103 h 231"/>
                  <a:gd name="T12" fmla="*/ 379 w 735"/>
                  <a:gd name="T13" fmla="*/ 163 h 231"/>
                  <a:gd name="T14" fmla="*/ 1 w 735"/>
                  <a:gd name="T15" fmla="*/ 176 h 231"/>
                  <a:gd name="T16" fmla="*/ 1 w 735"/>
                  <a:gd name="T17" fmla="*/ 177 h 2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735" h="231">
                    <a:moveTo>
                      <a:pt x="1" y="177"/>
                    </a:moveTo>
                    <a:cubicBezTo>
                      <a:pt x="57" y="207"/>
                      <a:pt x="126" y="211"/>
                      <a:pt x="189" y="207"/>
                    </a:cubicBezTo>
                    <a:cubicBezTo>
                      <a:pt x="256" y="202"/>
                      <a:pt x="323" y="184"/>
                      <a:pt x="388" y="167"/>
                    </a:cubicBezTo>
                    <a:cubicBezTo>
                      <a:pt x="510" y="135"/>
                      <a:pt x="639" y="94"/>
                      <a:pt x="733" y="6"/>
                    </a:cubicBezTo>
                    <a:cubicBezTo>
                      <a:pt x="735" y="3"/>
                      <a:pt x="732" y="0"/>
                      <a:pt x="729" y="2"/>
                    </a:cubicBezTo>
                    <a:cubicBezTo>
                      <a:pt x="678" y="43"/>
                      <a:pt x="623" y="76"/>
                      <a:pt x="563" y="103"/>
                    </a:cubicBezTo>
                    <a:cubicBezTo>
                      <a:pt x="504" y="130"/>
                      <a:pt x="442" y="146"/>
                      <a:pt x="379" y="163"/>
                    </a:cubicBezTo>
                    <a:cubicBezTo>
                      <a:pt x="259" y="194"/>
                      <a:pt x="121" y="231"/>
                      <a:pt x="1" y="176"/>
                    </a:cubicBezTo>
                    <a:cubicBezTo>
                      <a:pt x="1" y="176"/>
                      <a:pt x="0" y="176"/>
                      <a:pt x="1" y="177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492" name="Freeform 164">
                <a:extLst>
                  <a:ext uri="{FF2B5EF4-FFF2-40B4-BE49-F238E27FC236}">
                    <a16:creationId xmlns:a16="http://schemas.microsoft.com/office/drawing/2014/main" id="{5861AC8B-76D2-4B4A-A96D-2ED511D51297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803" y="1059"/>
                <a:ext cx="460" cy="455"/>
              </a:xfrm>
              <a:custGeom>
                <a:avLst/>
                <a:gdLst>
                  <a:gd name="T0" fmla="*/ 312 w 434"/>
                  <a:gd name="T1" fmla="*/ 20 h 430"/>
                  <a:gd name="T2" fmla="*/ 195 w 434"/>
                  <a:gd name="T3" fmla="*/ 22 h 430"/>
                  <a:gd name="T4" fmla="*/ 95 w 434"/>
                  <a:gd name="T5" fmla="*/ 105 h 430"/>
                  <a:gd name="T6" fmla="*/ 30 w 434"/>
                  <a:gd name="T7" fmla="*/ 223 h 430"/>
                  <a:gd name="T8" fmla="*/ 11 w 434"/>
                  <a:gd name="T9" fmla="*/ 335 h 430"/>
                  <a:gd name="T10" fmla="*/ 76 w 434"/>
                  <a:gd name="T11" fmla="*/ 398 h 430"/>
                  <a:gd name="T12" fmla="*/ 196 w 434"/>
                  <a:gd name="T13" fmla="*/ 375 h 430"/>
                  <a:gd name="T14" fmla="*/ 317 w 434"/>
                  <a:gd name="T15" fmla="*/ 301 h 430"/>
                  <a:gd name="T16" fmla="*/ 405 w 434"/>
                  <a:gd name="T17" fmla="*/ 216 h 430"/>
                  <a:gd name="T18" fmla="*/ 420 w 434"/>
                  <a:gd name="T19" fmla="*/ 96 h 430"/>
                  <a:gd name="T20" fmla="*/ 312 w 434"/>
                  <a:gd name="T21" fmla="*/ 12 h 430"/>
                  <a:gd name="T22" fmla="*/ 309 w 434"/>
                  <a:gd name="T23" fmla="*/ 17 h 430"/>
                  <a:gd name="T24" fmla="*/ 405 w 434"/>
                  <a:gd name="T25" fmla="*/ 84 h 430"/>
                  <a:gd name="T26" fmla="*/ 403 w 434"/>
                  <a:gd name="T27" fmla="*/ 202 h 430"/>
                  <a:gd name="T28" fmla="*/ 330 w 434"/>
                  <a:gd name="T29" fmla="*/ 282 h 430"/>
                  <a:gd name="T30" fmla="*/ 228 w 434"/>
                  <a:gd name="T31" fmla="*/ 349 h 430"/>
                  <a:gd name="T32" fmla="*/ 23 w 434"/>
                  <a:gd name="T33" fmla="*/ 347 h 430"/>
                  <a:gd name="T34" fmla="*/ 33 w 434"/>
                  <a:gd name="T35" fmla="*/ 232 h 430"/>
                  <a:gd name="T36" fmla="*/ 85 w 434"/>
                  <a:gd name="T37" fmla="*/ 132 h 430"/>
                  <a:gd name="T38" fmla="*/ 167 w 434"/>
                  <a:gd name="T39" fmla="*/ 42 h 430"/>
                  <a:gd name="T40" fmla="*/ 311 w 434"/>
                  <a:gd name="T41" fmla="*/ 23 h 430"/>
                  <a:gd name="T42" fmla="*/ 312 w 434"/>
                  <a:gd name="T43" fmla="*/ 20 h 4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434" h="430">
                    <a:moveTo>
                      <a:pt x="312" y="20"/>
                    </a:moveTo>
                    <a:cubicBezTo>
                      <a:pt x="273" y="0"/>
                      <a:pt x="234" y="3"/>
                      <a:pt x="195" y="22"/>
                    </a:cubicBezTo>
                    <a:cubicBezTo>
                      <a:pt x="156" y="40"/>
                      <a:pt x="120" y="71"/>
                      <a:pt x="95" y="105"/>
                    </a:cubicBezTo>
                    <a:cubicBezTo>
                      <a:pt x="68" y="140"/>
                      <a:pt x="50" y="184"/>
                      <a:pt x="30" y="223"/>
                    </a:cubicBezTo>
                    <a:cubicBezTo>
                      <a:pt x="12" y="257"/>
                      <a:pt x="0" y="297"/>
                      <a:pt x="11" y="335"/>
                    </a:cubicBezTo>
                    <a:cubicBezTo>
                      <a:pt x="20" y="366"/>
                      <a:pt x="45" y="389"/>
                      <a:pt x="76" y="398"/>
                    </a:cubicBezTo>
                    <a:cubicBezTo>
                      <a:pt x="116" y="409"/>
                      <a:pt x="160" y="393"/>
                      <a:pt x="196" y="375"/>
                    </a:cubicBezTo>
                    <a:cubicBezTo>
                      <a:pt x="238" y="354"/>
                      <a:pt x="278" y="329"/>
                      <a:pt x="317" y="301"/>
                    </a:cubicBezTo>
                    <a:cubicBezTo>
                      <a:pt x="349" y="278"/>
                      <a:pt x="384" y="251"/>
                      <a:pt x="405" y="216"/>
                    </a:cubicBezTo>
                    <a:cubicBezTo>
                      <a:pt x="424" y="182"/>
                      <a:pt x="434" y="133"/>
                      <a:pt x="420" y="96"/>
                    </a:cubicBezTo>
                    <a:cubicBezTo>
                      <a:pt x="403" y="54"/>
                      <a:pt x="350" y="30"/>
                      <a:pt x="312" y="12"/>
                    </a:cubicBezTo>
                    <a:cubicBezTo>
                      <a:pt x="308" y="10"/>
                      <a:pt x="305" y="15"/>
                      <a:pt x="309" y="17"/>
                    </a:cubicBezTo>
                    <a:cubicBezTo>
                      <a:pt x="341" y="38"/>
                      <a:pt x="382" y="52"/>
                      <a:pt x="405" y="84"/>
                    </a:cubicBezTo>
                    <a:cubicBezTo>
                      <a:pt x="428" y="117"/>
                      <a:pt x="418" y="167"/>
                      <a:pt x="403" y="202"/>
                    </a:cubicBezTo>
                    <a:cubicBezTo>
                      <a:pt x="388" y="235"/>
                      <a:pt x="358" y="260"/>
                      <a:pt x="330" y="282"/>
                    </a:cubicBezTo>
                    <a:cubicBezTo>
                      <a:pt x="298" y="307"/>
                      <a:pt x="263" y="329"/>
                      <a:pt x="228" y="349"/>
                    </a:cubicBezTo>
                    <a:cubicBezTo>
                      <a:pt x="170" y="382"/>
                      <a:pt x="65" y="430"/>
                      <a:pt x="23" y="347"/>
                    </a:cubicBezTo>
                    <a:cubicBezTo>
                      <a:pt x="5" y="311"/>
                      <a:pt x="16" y="267"/>
                      <a:pt x="33" y="232"/>
                    </a:cubicBezTo>
                    <a:cubicBezTo>
                      <a:pt x="49" y="199"/>
                      <a:pt x="66" y="164"/>
                      <a:pt x="85" y="132"/>
                    </a:cubicBezTo>
                    <a:cubicBezTo>
                      <a:pt x="105" y="97"/>
                      <a:pt x="134" y="66"/>
                      <a:pt x="167" y="42"/>
                    </a:cubicBezTo>
                    <a:cubicBezTo>
                      <a:pt x="211" y="11"/>
                      <a:pt x="260" y="3"/>
                      <a:pt x="311" y="23"/>
                    </a:cubicBezTo>
                    <a:cubicBezTo>
                      <a:pt x="313" y="23"/>
                      <a:pt x="314" y="21"/>
                      <a:pt x="312" y="20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493" name="Freeform 165">
                <a:extLst>
                  <a:ext uri="{FF2B5EF4-FFF2-40B4-BE49-F238E27FC236}">
                    <a16:creationId xmlns:a16="http://schemas.microsoft.com/office/drawing/2014/main" id="{2FA4C7FE-57F4-40D6-9B96-42B99B227128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265" y="1210"/>
                <a:ext cx="510" cy="359"/>
              </a:xfrm>
              <a:custGeom>
                <a:avLst/>
                <a:gdLst>
                  <a:gd name="T0" fmla="*/ 180 w 481"/>
                  <a:gd name="T1" fmla="*/ 0 h 339"/>
                  <a:gd name="T2" fmla="*/ 14 w 481"/>
                  <a:gd name="T3" fmla="*/ 137 h 339"/>
                  <a:gd name="T4" fmla="*/ 147 w 481"/>
                  <a:gd name="T5" fmla="*/ 299 h 339"/>
                  <a:gd name="T6" fmla="*/ 289 w 481"/>
                  <a:gd name="T7" fmla="*/ 332 h 339"/>
                  <a:gd name="T8" fmla="*/ 397 w 481"/>
                  <a:gd name="T9" fmla="*/ 322 h 339"/>
                  <a:gd name="T10" fmla="*/ 420 w 481"/>
                  <a:gd name="T11" fmla="*/ 150 h 339"/>
                  <a:gd name="T12" fmla="*/ 178 w 481"/>
                  <a:gd name="T13" fmla="*/ 5 h 339"/>
                  <a:gd name="T14" fmla="*/ 177 w 481"/>
                  <a:gd name="T15" fmla="*/ 12 h 339"/>
                  <a:gd name="T16" fmla="*/ 374 w 481"/>
                  <a:gd name="T17" fmla="*/ 110 h 339"/>
                  <a:gd name="T18" fmla="*/ 414 w 481"/>
                  <a:gd name="T19" fmla="*/ 301 h 339"/>
                  <a:gd name="T20" fmla="*/ 312 w 481"/>
                  <a:gd name="T21" fmla="*/ 327 h 339"/>
                  <a:gd name="T22" fmla="*/ 193 w 481"/>
                  <a:gd name="T23" fmla="*/ 304 h 339"/>
                  <a:gd name="T24" fmla="*/ 22 w 481"/>
                  <a:gd name="T25" fmla="*/ 179 h 339"/>
                  <a:gd name="T26" fmla="*/ 65 w 481"/>
                  <a:gd name="T27" fmla="*/ 58 h 339"/>
                  <a:gd name="T28" fmla="*/ 181 w 481"/>
                  <a:gd name="T29" fmla="*/ 1 h 339"/>
                  <a:gd name="T30" fmla="*/ 180 w 481"/>
                  <a:gd name="T31" fmla="*/ 0 h 3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481" h="339">
                    <a:moveTo>
                      <a:pt x="180" y="0"/>
                    </a:moveTo>
                    <a:cubicBezTo>
                      <a:pt x="105" y="2"/>
                      <a:pt x="28" y="60"/>
                      <a:pt x="14" y="137"/>
                    </a:cubicBezTo>
                    <a:cubicBezTo>
                      <a:pt x="0" y="223"/>
                      <a:pt x="75" y="275"/>
                      <a:pt x="147" y="299"/>
                    </a:cubicBezTo>
                    <a:cubicBezTo>
                      <a:pt x="193" y="314"/>
                      <a:pt x="242" y="325"/>
                      <a:pt x="289" y="332"/>
                    </a:cubicBezTo>
                    <a:cubicBezTo>
                      <a:pt x="325" y="338"/>
                      <a:pt x="363" y="339"/>
                      <a:pt x="397" y="322"/>
                    </a:cubicBezTo>
                    <a:cubicBezTo>
                      <a:pt x="467" y="287"/>
                      <a:pt x="460" y="206"/>
                      <a:pt x="420" y="150"/>
                    </a:cubicBezTo>
                    <a:cubicBezTo>
                      <a:pt x="363" y="72"/>
                      <a:pt x="274" y="16"/>
                      <a:pt x="178" y="5"/>
                    </a:cubicBezTo>
                    <a:cubicBezTo>
                      <a:pt x="173" y="4"/>
                      <a:pt x="172" y="12"/>
                      <a:pt x="177" y="12"/>
                    </a:cubicBezTo>
                    <a:cubicBezTo>
                      <a:pt x="252" y="21"/>
                      <a:pt x="319" y="57"/>
                      <a:pt x="374" y="110"/>
                    </a:cubicBezTo>
                    <a:cubicBezTo>
                      <a:pt x="421" y="155"/>
                      <a:pt x="481" y="245"/>
                      <a:pt x="414" y="301"/>
                    </a:cubicBezTo>
                    <a:cubicBezTo>
                      <a:pt x="386" y="325"/>
                      <a:pt x="348" y="330"/>
                      <a:pt x="312" y="327"/>
                    </a:cubicBezTo>
                    <a:cubicBezTo>
                      <a:pt x="272" y="324"/>
                      <a:pt x="232" y="313"/>
                      <a:pt x="193" y="304"/>
                    </a:cubicBezTo>
                    <a:cubicBezTo>
                      <a:pt x="126" y="288"/>
                      <a:pt x="37" y="257"/>
                      <a:pt x="22" y="179"/>
                    </a:cubicBezTo>
                    <a:cubicBezTo>
                      <a:pt x="13" y="134"/>
                      <a:pt x="34" y="90"/>
                      <a:pt x="65" y="58"/>
                    </a:cubicBezTo>
                    <a:cubicBezTo>
                      <a:pt x="96" y="25"/>
                      <a:pt x="136" y="6"/>
                      <a:pt x="181" y="1"/>
                    </a:cubicBezTo>
                    <a:cubicBezTo>
                      <a:pt x="181" y="1"/>
                      <a:pt x="181" y="0"/>
                      <a:pt x="180" y="0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494" name="Freeform 166">
                <a:extLst>
                  <a:ext uri="{FF2B5EF4-FFF2-40B4-BE49-F238E27FC236}">
                    <a16:creationId xmlns:a16="http://schemas.microsoft.com/office/drawing/2014/main" id="{4E97BADB-3C08-44D5-A71F-324D46DDE2CE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524" y="1341"/>
                <a:ext cx="154" cy="158"/>
              </a:xfrm>
              <a:custGeom>
                <a:avLst/>
                <a:gdLst>
                  <a:gd name="T0" fmla="*/ 65 w 146"/>
                  <a:gd name="T1" fmla="*/ 2 h 149"/>
                  <a:gd name="T2" fmla="*/ 18 w 146"/>
                  <a:gd name="T3" fmla="*/ 31 h 149"/>
                  <a:gd name="T4" fmla="*/ 1 w 146"/>
                  <a:gd name="T5" fmla="*/ 83 h 149"/>
                  <a:gd name="T6" fmla="*/ 76 w 146"/>
                  <a:gd name="T7" fmla="*/ 146 h 149"/>
                  <a:gd name="T8" fmla="*/ 144 w 146"/>
                  <a:gd name="T9" fmla="*/ 79 h 149"/>
                  <a:gd name="T10" fmla="*/ 76 w 146"/>
                  <a:gd name="T11" fmla="*/ 1 h 149"/>
                  <a:gd name="T12" fmla="*/ 74 w 146"/>
                  <a:gd name="T13" fmla="*/ 7 h 149"/>
                  <a:gd name="T14" fmla="*/ 111 w 146"/>
                  <a:gd name="T15" fmla="*/ 20 h 149"/>
                  <a:gd name="T16" fmla="*/ 134 w 146"/>
                  <a:gd name="T17" fmla="*/ 63 h 149"/>
                  <a:gd name="T18" fmla="*/ 81 w 146"/>
                  <a:gd name="T19" fmla="*/ 139 h 149"/>
                  <a:gd name="T20" fmla="*/ 28 w 146"/>
                  <a:gd name="T21" fmla="*/ 123 h 149"/>
                  <a:gd name="T22" fmla="*/ 9 w 146"/>
                  <a:gd name="T23" fmla="*/ 71 h 149"/>
                  <a:gd name="T24" fmla="*/ 24 w 146"/>
                  <a:gd name="T25" fmla="*/ 34 h 149"/>
                  <a:gd name="T26" fmla="*/ 66 w 146"/>
                  <a:gd name="T27" fmla="*/ 5 h 149"/>
                  <a:gd name="T28" fmla="*/ 65 w 146"/>
                  <a:gd name="T29" fmla="*/ 2 h 1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146" h="149">
                    <a:moveTo>
                      <a:pt x="65" y="2"/>
                    </a:moveTo>
                    <a:cubicBezTo>
                      <a:pt x="47" y="8"/>
                      <a:pt x="30" y="14"/>
                      <a:pt x="18" y="31"/>
                    </a:cubicBezTo>
                    <a:cubicBezTo>
                      <a:pt x="8" y="45"/>
                      <a:pt x="2" y="65"/>
                      <a:pt x="1" y="83"/>
                    </a:cubicBezTo>
                    <a:cubicBezTo>
                      <a:pt x="0" y="119"/>
                      <a:pt x="41" y="149"/>
                      <a:pt x="76" y="146"/>
                    </a:cubicBezTo>
                    <a:cubicBezTo>
                      <a:pt x="107" y="144"/>
                      <a:pt x="142" y="110"/>
                      <a:pt x="144" y="79"/>
                    </a:cubicBezTo>
                    <a:cubicBezTo>
                      <a:pt x="146" y="33"/>
                      <a:pt x="119" y="5"/>
                      <a:pt x="76" y="1"/>
                    </a:cubicBezTo>
                    <a:cubicBezTo>
                      <a:pt x="71" y="0"/>
                      <a:pt x="70" y="6"/>
                      <a:pt x="74" y="7"/>
                    </a:cubicBezTo>
                    <a:cubicBezTo>
                      <a:pt x="87" y="11"/>
                      <a:pt x="100" y="13"/>
                      <a:pt x="111" y="20"/>
                    </a:cubicBezTo>
                    <a:cubicBezTo>
                      <a:pt x="126" y="29"/>
                      <a:pt x="132" y="46"/>
                      <a:pt x="134" y="63"/>
                    </a:cubicBezTo>
                    <a:cubicBezTo>
                      <a:pt x="140" y="95"/>
                      <a:pt x="113" y="132"/>
                      <a:pt x="81" y="139"/>
                    </a:cubicBezTo>
                    <a:cubicBezTo>
                      <a:pt x="62" y="144"/>
                      <a:pt x="42" y="135"/>
                      <a:pt x="28" y="123"/>
                    </a:cubicBezTo>
                    <a:cubicBezTo>
                      <a:pt x="12" y="109"/>
                      <a:pt x="5" y="92"/>
                      <a:pt x="9" y="71"/>
                    </a:cubicBezTo>
                    <a:cubicBezTo>
                      <a:pt x="12" y="58"/>
                      <a:pt x="16" y="45"/>
                      <a:pt x="24" y="34"/>
                    </a:cubicBezTo>
                    <a:cubicBezTo>
                      <a:pt x="34" y="19"/>
                      <a:pt x="50" y="13"/>
                      <a:pt x="66" y="5"/>
                    </a:cubicBezTo>
                    <a:cubicBezTo>
                      <a:pt x="68" y="4"/>
                      <a:pt x="67" y="2"/>
                      <a:pt x="65" y="2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495" name="Freeform 167">
                <a:extLst>
                  <a:ext uri="{FF2B5EF4-FFF2-40B4-BE49-F238E27FC236}">
                    <a16:creationId xmlns:a16="http://schemas.microsoft.com/office/drawing/2014/main" id="{D9A7C396-CAB5-42D7-BCB8-BD05F6503A13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538" y="1374"/>
                <a:ext cx="168" cy="169"/>
              </a:xfrm>
              <a:custGeom>
                <a:avLst/>
                <a:gdLst>
                  <a:gd name="T0" fmla="*/ 1 w 158"/>
                  <a:gd name="T1" fmla="*/ 88 h 160"/>
                  <a:gd name="T2" fmla="*/ 129 w 158"/>
                  <a:gd name="T3" fmla="*/ 112 h 160"/>
                  <a:gd name="T4" fmla="*/ 150 w 158"/>
                  <a:gd name="T5" fmla="*/ 40 h 160"/>
                  <a:gd name="T6" fmla="*/ 116 w 158"/>
                  <a:gd name="T7" fmla="*/ 1 h 160"/>
                  <a:gd name="T8" fmla="*/ 116 w 158"/>
                  <a:gd name="T9" fmla="*/ 5 h 160"/>
                  <a:gd name="T10" fmla="*/ 146 w 158"/>
                  <a:gd name="T11" fmla="*/ 63 h 160"/>
                  <a:gd name="T12" fmla="*/ 110 w 158"/>
                  <a:gd name="T13" fmla="*/ 121 h 160"/>
                  <a:gd name="T14" fmla="*/ 45 w 158"/>
                  <a:gd name="T15" fmla="*/ 134 h 160"/>
                  <a:gd name="T16" fmla="*/ 5 w 158"/>
                  <a:gd name="T17" fmla="*/ 87 h 160"/>
                  <a:gd name="T18" fmla="*/ 1 w 158"/>
                  <a:gd name="T19" fmla="*/ 88 h 1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58" h="160">
                    <a:moveTo>
                      <a:pt x="1" y="88"/>
                    </a:moveTo>
                    <a:cubicBezTo>
                      <a:pt x="15" y="150"/>
                      <a:pt x="91" y="160"/>
                      <a:pt x="129" y="112"/>
                    </a:cubicBezTo>
                    <a:cubicBezTo>
                      <a:pt x="147" y="91"/>
                      <a:pt x="158" y="67"/>
                      <a:pt x="150" y="40"/>
                    </a:cubicBezTo>
                    <a:cubicBezTo>
                      <a:pt x="145" y="24"/>
                      <a:pt x="136" y="0"/>
                      <a:pt x="116" y="1"/>
                    </a:cubicBezTo>
                    <a:cubicBezTo>
                      <a:pt x="113" y="1"/>
                      <a:pt x="114" y="5"/>
                      <a:pt x="116" y="5"/>
                    </a:cubicBezTo>
                    <a:cubicBezTo>
                      <a:pt x="141" y="6"/>
                      <a:pt x="148" y="43"/>
                      <a:pt x="146" y="63"/>
                    </a:cubicBezTo>
                    <a:cubicBezTo>
                      <a:pt x="144" y="84"/>
                      <a:pt x="127" y="109"/>
                      <a:pt x="110" y="121"/>
                    </a:cubicBezTo>
                    <a:cubicBezTo>
                      <a:pt x="91" y="134"/>
                      <a:pt x="67" y="142"/>
                      <a:pt x="45" y="134"/>
                    </a:cubicBezTo>
                    <a:cubicBezTo>
                      <a:pt x="25" y="127"/>
                      <a:pt x="11" y="106"/>
                      <a:pt x="5" y="87"/>
                    </a:cubicBezTo>
                    <a:cubicBezTo>
                      <a:pt x="4" y="85"/>
                      <a:pt x="0" y="85"/>
                      <a:pt x="1" y="88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496" name="Freeform 168">
                <a:extLst>
                  <a:ext uri="{FF2B5EF4-FFF2-40B4-BE49-F238E27FC236}">
                    <a16:creationId xmlns:a16="http://schemas.microsoft.com/office/drawing/2014/main" id="{AF099752-2076-4F50-9353-E38FACFA442F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430" y="1251"/>
                <a:ext cx="44" cy="55"/>
              </a:xfrm>
              <a:custGeom>
                <a:avLst/>
                <a:gdLst>
                  <a:gd name="T0" fmla="*/ 7 w 41"/>
                  <a:gd name="T1" fmla="*/ 48 h 52"/>
                  <a:gd name="T2" fmla="*/ 9 w 41"/>
                  <a:gd name="T3" fmla="*/ 30 h 52"/>
                  <a:gd name="T4" fmla="*/ 9 w 41"/>
                  <a:gd name="T5" fmla="*/ 9 h 52"/>
                  <a:gd name="T6" fmla="*/ 12 w 41"/>
                  <a:gd name="T7" fmla="*/ 5 h 52"/>
                  <a:gd name="T8" fmla="*/ 17 w 41"/>
                  <a:gd name="T9" fmla="*/ 5 h 52"/>
                  <a:gd name="T10" fmla="*/ 27 w 41"/>
                  <a:gd name="T11" fmla="*/ 10 h 52"/>
                  <a:gd name="T12" fmla="*/ 37 w 41"/>
                  <a:gd name="T13" fmla="*/ 15 h 52"/>
                  <a:gd name="T14" fmla="*/ 39 w 41"/>
                  <a:gd name="T15" fmla="*/ 10 h 52"/>
                  <a:gd name="T16" fmla="*/ 8 w 41"/>
                  <a:gd name="T17" fmla="*/ 1 h 52"/>
                  <a:gd name="T18" fmla="*/ 6 w 41"/>
                  <a:gd name="T19" fmla="*/ 2 h 52"/>
                  <a:gd name="T20" fmla="*/ 0 w 41"/>
                  <a:gd name="T21" fmla="*/ 47 h 52"/>
                  <a:gd name="T22" fmla="*/ 7 w 41"/>
                  <a:gd name="T23" fmla="*/ 48 h 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1" h="52">
                    <a:moveTo>
                      <a:pt x="7" y="48"/>
                    </a:moveTo>
                    <a:cubicBezTo>
                      <a:pt x="9" y="42"/>
                      <a:pt x="9" y="36"/>
                      <a:pt x="9" y="30"/>
                    </a:cubicBezTo>
                    <a:cubicBezTo>
                      <a:pt x="9" y="24"/>
                      <a:pt x="7" y="14"/>
                      <a:pt x="9" y="9"/>
                    </a:cubicBezTo>
                    <a:cubicBezTo>
                      <a:pt x="8" y="6"/>
                      <a:pt x="9" y="5"/>
                      <a:pt x="12" y="5"/>
                    </a:cubicBezTo>
                    <a:cubicBezTo>
                      <a:pt x="13" y="4"/>
                      <a:pt x="15" y="4"/>
                      <a:pt x="17" y="5"/>
                    </a:cubicBezTo>
                    <a:cubicBezTo>
                      <a:pt x="21" y="6"/>
                      <a:pt x="24" y="8"/>
                      <a:pt x="27" y="10"/>
                    </a:cubicBezTo>
                    <a:cubicBezTo>
                      <a:pt x="30" y="12"/>
                      <a:pt x="33" y="14"/>
                      <a:pt x="37" y="15"/>
                    </a:cubicBezTo>
                    <a:cubicBezTo>
                      <a:pt x="40" y="15"/>
                      <a:pt x="41" y="11"/>
                      <a:pt x="39" y="10"/>
                    </a:cubicBezTo>
                    <a:cubicBezTo>
                      <a:pt x="29" y="5"/>
                      <a:pt x="19" y="0"/>
                      <a:pt x="8" y="1"/>
                    </a:cubicBezTo>
                    <a:cubicBezTo>
                      <a:pt x="7" y="1"/>
                      <a:pt x="7" y="1"/>
                      <a:pt x="6" y="2"/>
                    </a:cubicBezTo>
                    <a:cubicBezTo>
                      <a:pt x="2" y="17"/>
                      <a:pt x="3" y="32"/>
                      <a:pt x="0" y="47"/>
                    </a:cubicBezTo>
                    <a:cubicBezTo>
                      <a:pt x="0" y="51"/>
                      <a:pt x="6" y="52"/>
                      <a:pt x="7" y="48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497" name="Freeform 169">
                <a:extLst>
                  <a:ext uri="{FF2B5EF4-FFF2-40B4-BE49-F238E27FC236}">
                    <a16:creationId xmlns:a16="http://schemas.microsoft.com/office/drawing/2014/main" id="{33CBAF58-8D52-406F-82B8-C26A3CBFF34F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357" y="1244"/>
                <a:ext cx="92" cy="71"/>
              </a:xfrm>
              <a:custGeom>
                <a:avLst/>
                <a:gdLst>
                  <a:gd name="T0" fmla="*/ 84 w 87"/>
                  <a:gd name="T1" fmla="*/ 6 h 67"/>
                  <a:gd name="T2" fmla="*/ 53 w 87"/>
                  <a:gd name="T3" fmla="*/ 4 h 67"/>
                  <a:gd name="T4" fmla="*/ 2 w 87"/>
                  <a:gd name="T5" fmla="*/ 23 h 67"/>
                  <a:gd name="T6" fmla="*/ 1 w 87"/>
                  <a:gd name="T7" fmla="*/ 26 h 67"/>
                  <a:gd name="T8" fmla="*/ 16 w 87"/>
                  <a:gd name="T9" fmla="*/ 53 h 67"/>
                  <a:gd name="T10" fmla="*/ 28 w 87"/>
                  <a:gd name="T11" fmla="*/ 66 h 67"/>
                  <a:gd name="T12" fmla="*/ 30 w 87"/>
                  <a:gd name="T13" fmla="*/ 62 h 67"/>
                  <a:gd name="T14" fmla="*/ 18 w 87"/>
                  <a:gd name="T15" fmla="*/ 43 h 67"/>
                  <a:gd name="T16" fmla="*/ 14 w 87"/>
                  <a:gd name="T17" fmla="*/ 34 h 67"/>
                  <a:gd name="T18" fmla="*/ 20 w 87"/>
                  <a:gd name="T19" fmla="*/ 21 h 67"/>
                  <a:gd name="T20" fmla="*/ 83 w 87"/>
                  <a:gd name="T21" fmla="*/ 10 h 67"/>
                  <a:gd name="T22" fmla="*/ 84 w 87"/>
                  <a:gd name="T23" fmla="*/ 6 h 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87" h="67">
                    <a:moveTo>
                      <a:pt x="84" y="6"/>
                    </a:moveTo>
                    <a:cubicBezTo>
                      <a:pt x="74" y="0"/>
                      <a:pt x="65" y="2"/>
                      <a:pt x="53" y="4"/>
                    </a:cubicBezTo>
                    <a:cubicBezTo>
                      <a:pt x="35" y="8"/>
                      <a:pt x="18" y="14"/>
                      <a:pt x="2" y="23"/>
                    </a:cubicBezTo>
                    <a:cubicBezTo>
                      <a:pt x="1" y="23"/>
                      <a:pt x="0" y="25"/>
                      <a:pt x="1" y="26"/>
                    </a:cubicBezTo>
                    <a:cubicBezTo>
                      <a:pt x="5" y="36"/>
                      <a:pt x="12" y="43"/>
                      <a:pt x="16" y="53"/>
                    </a:cubicBezTo>
                    <a:cubicBezTo>
                      <a:pt x="19" y="58"/>
                      <a:pt x="21" y="64"/>
                      <a:pt x="28" y="66"/>
                    </a:cubicBezTo>
                    <a:cubicBezTo>
                      <a:pt x="30" y="67"/>
                      <a:pt x="32" y="64"/>
                      <a:pt x="30" y="62"/>
                    </a:cubicBezTo>
                    <a:cubicBezTo>
                      <a:pt x="24" y="57"/>
                      <a:pt x="21" y="50"/>
                      <a:pt x="18" y="43"/>
                    </a:cubicBezTo>
                    <a:cubicBezTo>
                      <a:pt x="17" y="40"/>
                      <a:pt x="15" y="37"/>
                      <a:pt x="14" y="34"/>
                    </a:cubicBezTo>
                    <a:cubicBezTo>
                      <a:pt x="10" y="25"/>
                      <a:pt x="9" y="25"/>
                      <a:pt x="20" y="21"/>
                    </a:cubicBezTo>
                    <a:cubicBezTo>
                      <a:pt x="40" y="13"/>
                      <a:pt x="62" y="7"/>
                      <a:pt x="83" y="10"/>
                    </a:cubicBezTo>
                    <a:cubicBezTo>
                      <a:pt x="86" y="11"/>
                      <a:pt x="87" y="7"/>
                      <a:pt x="84" y="6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498" name="Freeform 170">
                <a:extLst>
                  <a:ext uri="{FF2B5EF4-FFF2-40B4-BE49-F238E27FC236}">
                    <a16:creationId xmlns:a16="http://schemas.microsoft.com/office/drawing/2014/main" id="{BC69ED6B-4A82-4F3C-9E1F-DA22DFDB3C60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319" y="1305"/>
                <a:ext cx="68" cy="67"/>
              </a:xfrm>
              <a:custGeom>
                <a:avLst/>
                <a:gdLst>
                  <a:gd name="T0" fmla="*/ 61 w 64"/>
                  <a:gd name="T1" fmla="*/ 3 h 63"/>
                  <a:gd name="T2" fmla="*/ 41 w 64"/>
                  <a:gd name="T3" fmla="*/ 1 h 63"/>
                  <a:gd name="T4" fmla="*/ 28 w 64"/>
                  <a:gd name="T5" fmla="*/ 2 h 63"/>
                  <a:gd name="T6" fmla="*/ 4 w 64"/>
                  <a:gd name="T7" fmla="*/ 8 h 63"/>
                  <a:gd name="T8" fmla="*/ 2 w 64"/>
                  <a:gd name="T9" fmla="*/ 24 h 63"/>
                  <a:gd name="T10" fmla="*/ 3 w 64"/>
                  <a:gd name="T11" fmla="*/ 46 h 63"/>
                  <a:gd name="T12" fmla="*/ 7 w 64"/>
                  <a:gd name="T13" fmla="*/ 61 h 63"/>
                  <a:gd name="T14" fmla="*/ 12 w 64"/>
                  <a:gd name="T15" fmla="*/ 59 h 63"/>
                  <a:gd name="T16" fmla="*/ 10 w 64"/>
                  <a:gd name="T17" fmla="*/ 56 h 63"/>
                  <a:gd name="T18" fmla="*/ 7 w 64"/>
                  <a:gd name="T19" fmla="*/ 57 h 63"/>
                  <a:gd name="T20" fmla="*/ 7 w 64"/>
                  <a:gd name="T21" fmla="*/ 60 h 63"/>
                  <a:gd name="T22" fmla="*/ 12 w 64"/>
                  <a:gd name="T23" fmla="*/ 58 h 63"/>
                  <a:gd name="T24" fmla="*/ 7 w 64"/>
                  <a:gd name="T25" fmla="*/ 27 h 63"/>
                  <a:gd name="T26" fmla="*/ 6 w 64"/>
                  <a:gd name="T27" fmla="*/ 17 h 63"/>
                  <a:gd name="T28" fmla="*/ 12 w 64"/>
                  <a:gd name="T29" fmla="*/ 10 h 63"/>
                  <a:gd name="T30" fmla="*/ 31 w 64"/>
                  <a:gd name="T31" fmla="*/ 8 h 63"/>
                  <a:gd name="T32" fmla="*/ 49 w 64"/>
                  <a:gd name="T33" fmla="*/ 8 h 63"/>
                  <a:gd name="T34" fmla="*/ 57 w 64"/>
                  <a:gd name="T35" fmla="*/ 10 h 63"/>
                  <a:gd name="T36" fmla="*/ 63 w 64"/>
                  <a:gd name="T37" fmla="*/ 5 h 63"/>
                  <a:gd name="T38" fmla="*/ 61 w 64"/>
                  <a:gd name="T39" fmla="*/ 3 h 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64" h="63">
                    <a:moveTo>
                      <a:pt x="61" y="3"/>
                    </a:moveTo>
                    <a:cubicBezTo>
                      <a:pt x="58" y="6"/>
                      <a:pt x="45" y="1"/>
                      <a:pt x="41" y="1"/>
                    </a:cubicBezTo>
                    <a:cubicBezTo>
                      <a:pt x="37" y="0"/>
                      <a:pt x="32" y="1"/>
                      <a:pt x="28" y="2"/>
                    </a:cubicBezTo>
                    <a:cubicBezTo>
                      <a:pt x="22" y="3"/>
                      <a:pt x="8" y="4"/>
                      <a:pt x="4" y="8"/>
                    </a:cubicBezTo>
                    <a:cubicBezTo>
                      <a:pt x="0" y="11"/>
                      <a:pt x="1" y="20"/>
                      <a:pt x="2" y="24"/>
                    </a:cubicBezTo>
                    <a:cubicBezTo>
                      <a:pt x="2" y="32"/>
                      <a:pt x="3" y="38"/>
                      <a:pt x="3" y="46"/>
                    </a:cubicBezTo>
                    <a:cubicBezTo>
                      <a:pt x="4" y="51"/>
                      <a:pt x="4" y="56"/>
                      <a:pt x="7" y="61"/>
                    </a:cubicBezTo>
                    <a:cubicBezTo>
                      <a:pt x="8" y="63"/>
                      <a:pt x="13" y="62"/>
                      <a:pt x="12" y="59"/>
                    </a:cubicBezTo>
                    <a:cubicBezTo>
                      <a:pt x="12" y="58"/>
                      <a:pt x="11" y="57"/>
                      <a:pt x="10" y="56"/>
                    </a:cubicBezTo>
                    <a:cubicBezTo>
                      <a:pt x="10" y="55"/>
                      <a:pt x="7" y="55"/>
                      <a:pt x="7" y="57"/>
                    </a:cubicBezTo>
                    <a:cubicBezTo>
                      <a:pt x="7" y="58"/>
                      <a:pt x="6" y="59"/>
                      <a:pt x="7" y="60"/>
                    </a:cubicBezTo>
                    <a:cubicBezTo>
                      <a:pt x="8" y="59"/>
                      <a:pt x="10" y="59"/>
                      <a:pt x="12" y="58"/>
                    </a:cubicBezTo>
                    <a:cubicBezTo>
                      <a:pt x="7" y="49"/>
                      <a:pt x="8" y="37"/>
                      <a:pt x="7" y="27"/>
                    </a:cubicBezTo>
                    <a:cubicBezTo>
                      <a:pt x="6" y="24"/>
                      <a:pt x="5" y="20"/>
                      <a:pt x="6" y="17"/>
                    </a:cubicBezTo>
                    <a:cubicBezTo>
                      <a:pt x="6" y="12"/>
                      <a:pt x="8" y="11"/>
                      <a:pt x="12" y="10"/>
                    </a:cubicBezTo>
                    <a:cubicBezTo>
                      <a:pt x="18" y="9"/>
                      <a:pt x="25" y="8"/>
                      <a:pt x="31" y="8"/>
                    </a:cubicBezTo>
                    <a:cubicBezTo>
                      <a:pt x="37" y="7"/>
                      <a:pt x="43" y="7"/>
                      <a:pt x="49" y="8"/>
                    </a:cubicBezTo>
                    <a:cubicBezTo>
                      <a:pt x="51" y="9"/>
                      <a:pt x="54" y="10"/>
                      <a:pt x="57" y="10"/>
                    </a:cubicBezTo>
                    <a:cubicBezTo>
                      <a:pt x="60" y="9"/>
                      <a:pt x="62" y="8"/>
                      <a:pt x="63" y="5"/>
                    </a:cubicBezTo>
                    <a:cubicBezTo>
                      <a:pt x="64" y="3"/>
                      <a:pt x="62" y="2"/>
                      <a:pt x="61" y="3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499" name="Freeform 171">
                <a:extLst>
                  <a:ext uri="{FF2B5EF4-FFF2-40B4-BE49-F238E27FC236}">
                    <a16:creationId xmlns:a16="http://schemas.microsoft.com/office/drawing/2014/main" id="{21379DA6-FA10-4CE4-B894-A326CF7F4274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324" y="1344"/>
                <a:ext cx="67" cy="27"/>
              </a:xfrm>
              <a:custGeom>
                <a:avLst/>
                <a:gdLst>
                  <a:gd name="T0" fmla="*/ 2 w 63"/>
                  <a:gd name="T1" fmla="*/ 25 h 25"/>
                  <a:gd name="T2" fmla="*/ 33 w 63"/>
                  <a:gd name="T3" fmla="*/ 16 h 25"/>
                  <a:gd name="T4" fmla="*/ 60 w 63"/>
                  <a:gd name="T5" fmla="*/ 7 h 25"/>
                  <a:gd name="T6" fmla="*/ 58 w 63"/>
                  <a:gd name="T7" fmla="*/ 1 h 25"/>
                  <a:gd name="T8" fmla="*/ 32 w 63"/>
                  <a:gd name="T9" fmla="*/ 9 h 25"/>
                  <a:gd name="T10" fmla="*/ 2 w 63"/>
                  <a:gd name="T11" fmla="*/ 21 h 25"/>
                  <a:gd name="T12" fmla="*/ 2 w 63"/>
                  <a:gd name="T13" fmla="*/ 25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3" h="25">
                    <a:moveTo>
                      <a:pt x="2" y="25"/>
                    </a:moveTo>
                    <a:cubicBezTo>
                      <a:pt x="13" y="24"/>
                      <a:pt x="23" y="20"/>
                      <a:pt x="33" y="16"/>
                    </a:cubicBezTo>
                    <a:cubicBezTo>
                      <a:pt x="42" y="13"/>
                      <a:pt x="52" y="11"/>
                      <a:pt x="60" y="7"/>
                    </a:cubicBezTo>
                    <a:cubicBezTo>
                      <a:pt x="63" y="5"/>
                      <a:pt x="61" y="1"/>
                      <a:pt x="58" y="1"/>
                    </a:cubicBezTo>
                    <a:cubicBezTo>
                      <a:pt x="49" y="0"/>
                      <a:pt x="40" y="5"/>
                      <a:pt x="32" y="9"/>
                    </a:cubicBezTo>
                    <a:cubicBezTo>
                      <a:pt x="22" y="13"/>
                      <a:pt x="12" y="17"/>
                      <a:pt x="2" y="21"/>
                    </a:cubicBezTo>
                    <a:cubicBezTo>
                      <a:pt x="0" y="22"/>
                      <a:pt x="0" y="25"/>
                      <a:pt x="2" y="25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500" name="Freeform 172">
                <a:extLst>
                  <a:ext uri="{FF2B5EF4-FFF2-40B4-BE49-F238E27FC236}">
                    <a16:creationId xmlns:a16="http://schemas.microsoft.com/office/drawing/2014/main" id="{2DC4DAA5-F247-4394-AC68-79E88808C715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328" y="1363"/>
                <a:ext cx="24" cy="18"/>
              </a:xfrm>
              <a:custGeom>
                <a:avLst/>
                <a:gdLst>
                  <a:gd name="T0" fmla="*/ 4 w 23"/>
                  <a:gd name="T1" fmla="*/ 1 h 17"/>
                  <a:gd name="T2" fmla="*/ 19 w 23"/>
                  <a:gd name="T3" fmla="*/ 17 h 17"/>
                  <a:gd name="T4" fmla="*/ 21 w 23"/>
                  <a:gd name="T5" fmla="*/ 13 h 17"/>
                  <a:gd name="T6" fmla="*/ 13 w 23"/>
                  <a:gd name="T7" fmla="*/ 8 h 17"/>
                  <a:gd name="T8" fmla="*/ 6 w 23"/>
                  <a:gd name="T9" fmla="*/ 2 h 17"/>
                  <a:gd name="T10" fmla="*/ 4 w 23"/>
                  <a:gd name="T11" fmla="*/ 1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3" h="17">
                    <a:moveTo>
                      <a:pt x="4" y="1"/>
                    </a:moveTo>
                    <a:cubicBezTo>
                      <a:pt x="0" y="10"/>
                      <a:pt x="12" y="16"/>
                      <a:pt x="19" y="17"/>
                    </a:cubicBezTo>
                    <a:cubicBezTo>
                      <a:pt x="21" y="17"/>
                      <a:pt x="23" y="15"/>
                      <a:pt x="21" y="13"/>
                    </a:cubicBezTo>
                    <a:cubicBezTo>
                      <a:pt x="19" y="10"/>
                      <a:pt x="16" y="9"/>
                      <a:pt x="13" y="8"/>
                    </a:cubicBezTo>
                    <a:cubicBezTo>
                      <a:pt x="9" y="7"/>
                      <a:pt x="5" y="6"/>
                      <a:pt x="6" y="2"/>
                    </a:cubicBezTo>
                    <a:cubicBezTo>
                      <a:pt x="7" y="0"/>
                      <a:pt x="4" y="0"/>
                      <a:pt x="4" y="1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501" name="Freeform 173">
                <a:extLst>
                  <a:ext uri="{FF2B5EF4-FFF2-40B4-BE49-F238E27FC236}">
                    <a16:creationId xmlns:a16="http://schemas.microsoft.com/office/drawing/2014/main" id="{5E36651F-FE1E-451C-9916-818DE18A21C5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338" y="1349"/>
                <a:ext cx="100" cy="69"/>
              </a:xfrm>
              <a:custGeom>
                <a:avLst/>
                <a:gdLst>
                  <a:gd name="T0" fmla="*/ 42 w 94"/>
                  <a:gd name="T1" fmla="*/ 1 h 66"/>
                  <a:gd name="T2" fmla="*/ 4 w 94"/>
                  <a:gd name="T3" fmla="*/ 35 h 66"/>
                  <a:gd name="T4" fmla="*/ 22 w 94"/>
                  <a:gd name="T5" fmla="*/ 57 h 66"/>
                  <a:gd name="T6" fmla="*/ 58 w 94"/>
                  <a:gd name="T7" fmla="*/ 62 h 66"/>
                  <a:gd name="T8" fmla="*/ 93 w 94"/>
                  <a:gd name="T9" fmla="*/ 47 h 66"/>
                  <a:gd name="T10" fmla="*/ 89 w 94"/>
                  <a:gd name="T11" fmla="*/ 43 h 66"/>
                  <a:gd name="T12" fmla="*/ 60 w 94"/>
                  <a:gd name="T13" fmla="*/ 52 h 66"/>
                  <a:gd name="T14" fmla="*/ 32 w 94"/>
                  <a:gd name="T15" fmla="*/ 53 h 66"/>
                  <a:gd name="T16" fmla="*/ 20 w 94"/>
                  <a:gd name="T17" fmla="*/ 44 h 66"/>
                  <a:gd name="T18" fmla="*/ 12 w 94"/>
                  <a:gd name="T19" fmla="*/ 35 h 66"/>
                  <a:gd name="T20" fmla="*/ 27 w 94"/>
                  <a:gd name="T21" fmla="*/ 22 h 66"/>
                  <a:gd name="T22" fmla="*/ 45 w 94"/>
                  <a:gd name="T23" fmla="*/ 4 h 66"/>
                  <a:gd name="T24" fmla="*/ 42 w 94"/>
                  <a:gd name="T25" fmla="*/ 1 h 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94" h="66">
                    <a:moveTo>
                      <a:pt x="42" y="1"/>
                    </a:moveTo>
                    <a:cubicBezTo>
                      <a:pt x="32" y="9"/>
                      <a:pt x="8" y="22"/>
                      <a:pt x="4" y="35"/>
                    </a:cubicBezTo>
                    <a:cubicBezTo>
                      <a:pt x="0" y="47"/>
                      <a:pt x="15" y="51"/>
                      <a:pt x="22" y="57"/>
                    </a:cubicBezTo>
                    <a:cubicBezTo>
                      <a:pt x="33" y="66"/>
                      <a:pt x="45" y="64"/>
                      <a:pt x="58" y="62"/>
                    </a:cubicBezTo>
                    <a:cubicBezTo>
                      <a:pt x="71" y="60"/>
                      <a:pt x="86" y="60"/>
                      <a:pt x="93" y="47"/>
                    </a:cubicBezTo>
                    <a:cubicBezTo>
                      <a:pt x="94" y="45"/>
                      <a:pt x="91" y="41"/>
                      <a:pt x="89" y="43"/>
                    </a:cubicBezTo>
                    <a:cubicBezTo>
                      <a:pt x="79" y="47"/>
                      <a:pt x="70" y="50"/>
                      <a:pt x="60" y="52"/>
                    </a:cubicBezTo>
                    <a:cubicBezTo>
                      <a:pt x="50" y="54"/>
                      <a:pt x="42" y="57"/>
                      <a:pt x="32" y="53"/>
                    </a:cubicBezTo>
                    <a:cubicBezTo>
                      <a:pt x="27" y="50"/>
                      <a:pt x="25" y="47"/>
                      <a:pt x="20" y="44"/>
                    </a:cubicBezTo>
                    <a:cubicBezTo>
                      <a:pt x="17" y="42"/>
                      <a:pt x="10" y="42"/>
                      <a:pt x="12" y="35"/>
                    </a:cubicBezTo>
                    <a:cubicBezTo>
                      <a:pt x="14" y="31"/>
                      <a:pt x="23" y="25"/>
                      <a:pt x="27" y="22"/>
                    </a:cubicBezTo>
                    <a:cubicBezTo>
                      <a:pt x="33" y="16"/>
                      <a:pt x="40" y="11"/>
                      <a:pt x="45" y="4"/>
                    </a:cubicBezTo>
                    <a:cubicBezTo>
                      <a:pt x="46" y="2"/>
                      <a:pt x="44" y="0"/>
                      <a:pt x="42" y="1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502" name="Freeform 174">
                <a:extLst>
                  <a:ext uri="{FF2B5EF4-FFF2-40B4-BE49-F238E27FC236}">
                    <a16:creationId xmlns:a16="http://schemas.microsoft.com/office/drawing/2014/main" id="{0427AE8B-2D5F-42E1-8050-E77EA853744B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421" y="1339"/>
                <a:ext cx="17" cy="59"/>
              </a:xfrm>
              <a:custGeom>
                <a:avLst/>
                <a:gdLst>
                  <a:gd name="T0" fmla="*/ 10 w 16"/>
                  <a:gd name="T1" fmla="*/ 55 h 56"/>
                  <a:gd name="T2" fmla="*/ 13 w 16"/>
                  <a:gd name="T3" fmla="*/ 34 h 56"/>
                  <a:gd name="T4" fmla="*/ 5 w 16"/>
                  <a:gd name="T5" fmla="*/ 2 h 56"/>
                  <a:gd name="T6" fmla="*/ 0 w 16"/>
                  <a:gd name="T7" fmla="*/ 3 h 56"/>
                  <a:gd name="T8" fmla="*/ 4 w 16"/>
                  <a:gd name="T9" fmla="*/ 27 h 56"/>
                  <a:gd name="T10" fmla="*/ 7 w 16"/>
                  <a:gd name="T11" fmla="*/ 52 h 56"/>
                  <a:gd name="T12" fmla="*/ 10 w 16"/>
                  <a:gd name="T13" fmla="*/ 55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6" h="56">
                    <a:moveTo>
                      <a:pt x="10" y="55"/>
                    </a:moveTo>
                    <a:cubicBezTo>
                      <a:pt x="16" y="50"/>
                      <a:pt x="14" y="40"/>
                      <a:pt x="13" y="34"/>
                    </a:cubicBezTo>
                    <a:cubicBezTo>
                      <a:pt x="11" y="24"/>
                      <a:pt x="10" y="11"/>
                      <a:pt x="5" y="2"/>
                    </a:cubicBezTo>
                    <a:cubicBezTo>
                      <a:pt x="4" y="0"/>
                      <a:pt x="0" y="0"/>
                      <a:pt x="0" y="3"/>
                    </a:cubicBezTo>
                    <a:cubicBezTo>
                      <a:pt x="0" y="11"/>
                      <a:pt x="3" y="19"/>
                      <a:pt x="4" y="27"/>
                    </a:cubicBezTo>
                    <a:cubicBezTo>
                      <a:pt x="6" y="34"/>
                      <a:pt x="11" y="46"/>
                      <a:pt x="7" y="52"/>
                    </a:cubicBezTo>
                    <a:cubicBezTo>
                      <a:pt x="6" y="54"/>
                      <a:pt x="9" y="56"/>
                      <a:pt x="10" y="55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503" name="Freeform 175">
                <a:extLst>
                  <a:ext uri="{FF2B5EF4-FFF2-40B4-BE49-F238E27FC236}">
                    <a16:creationId xmlns:a16="http://schemas.microsoft.com/office/drawing/2014/main" id="{E74558B7-6366-4F44-9383-DC5DBD9ADDBE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419" y="1340"/>
                <a:ext cx="42" cy="49"/>
              </a:xfrm>
              <a:custGeom>
                <a:avLst/>
                <a:gdLst>
                  <a:gd name="T0" fmla="*/ 2 w 40"/>
                  <a:gd name="T1" fmla="*/ 5 h 46"/>
                  <a:gd name="T2" fmla="*/ 19 w 40"/>
                  <a:gd name="T3" fmla="*/ 28 h 46"/>
                  <a:gd name="T4" fmla="*/ 26 w 40"/>
                  <a:gd name="T5" fmla="*/ 36 h 46"/>
                  <a:gd name="T6" fmla="*/ 35 w 40"/>
                  <a:gd name="T7" fmla="*/ 44 h 46"/>
                  <a:gd name="T8" fmla="*/ 39 w 40"/>
                  <a:gd name="T9" fmla="*/ 41 h 46"/>
                  <a:gd name="T10" fmla="*/ 33 w 40"/>
                  <a:gd name="T11" fmla="*/ 32 h 46"/>
                  <a:gd name="T12" fmla="*/ 23 w 40"/>
                  <a:gd name="T13" fmla="*/ 22 h 46"/>
                  <a:gd name="T14" fmla="*/ 3 w 40"/>
                  <a:gd name="T15" fmla="*/ 1 h 46"/>
                  <a:gd name="T16" fmla="*/ 2 w 40"/>
                  <a:gd name="T17" fmla="*/ 5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0" h="46">
                    <a:moveTo>
                      <a:pt x="2" y="5"/>
                    </a:moveTo>
                    <a:cubicBezTo>
                      <a:pt x="10" y="10"/>
                      <a:pt x="14" y="19"/>
                      <a:pt x="19" y="28"/>
                    </a:cubicBezTo>
                    <a:cubicBezTo>
                      <a:pt x="21" y="31"/>
                      <a:pt x="23" y="33"/>
                      <a:pt x="26" y="36"/>
                    </a:cubicBezTo>
                    <a:cubicBezTo>
                      <a:pt x="29" y="38"/>
                      <a:pt x="32" y="42"/>
                      <a:pt x="35" y="44"/>
                    </a:cubicBezTo>
                    <a:cubicBezTo>
                      <a:pt x="37" y="46"/>
                      <a:pt x="40" y="44"/>
                      <a:pt x="39" y="41"/>
                    </a:cubicBezTo>
                    <a:cubicBezTo>
                      <a:pt x="39" y="37"/>
                      <a:pt x="36" y="35"/>
                      <a:pt x="33" y="32"/>
                    </a:cubicBezTo>
                    <a:cubicBezTo>
                      <a:pt x="29" y="29"/>
                      <a:pt x="26" y="27"/>
                      <a:pt x="23" y="22"/>
                    </a:cubicBezTo>
                    <a:cubicBezTo>
                      <a:pt x="17" y="14"/>
                      <a:pt x="12" y="5"/>
                      <a:pt x="3" y="1"/>
                    </a:cubicBezTo>
                    <a:cubicBezTo>
                      <a:pt x="1" y="0"/>
                      <a:pt x="0" y="3"/>
                      <a:pt x="2" y="5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504" name="Freeform 176">
                <a:extLst>
                  <a:ext uri="{FF2B5EF4-FFF2-40B4-BE49-F238E27FC236}">
                    <a16:creationId xmlns:a16="http://schemas.microsoft.com/office/drawing/2014/main" id="{CAC3CFF2-1BBC-4820-9FE8-6B78B87971AE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434" y="1387"/>
                <a:ext cx="23" cy="9"/>
              </a:xfrm>
              <a:custGeom>
                <a:avLst/>
                <a:gdLst>
                  <a:gd name="T0" fmla="*/ 4 w 22"/>
                  <a:gd name="T1" fmla="*/ 6 h 9"/>
                  <a:gd name="T2" fmla="*/ 18 w 22"/>
                  <a:gd name="T3" fmla="*/ 7 h 9"/>
                  <a:gd name="T4" fmla="*/ 17 w 22"/>
                  <a:gd name="T5" fmla="*/ 0 h 9"/>
                  <a:gd name="T6" fmla="*/ 11 w 22"/>
                  <a:gd name="T7" fmla="*/ 1 h 9"/>
                  <a:gd name="T8" fmla="*/ 7 w 22"/>
                  <a:gd name="T9" fmla="*/ 1 h 9"/>
                  <a:gd name="T10" fmla="*/ 4 w 22"/>
                  <a:gd name="T11" fmla="*/ 6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2" h="9">
                    <a:moveTo>
                      <a:pt x="4" y="6"/>
                    </a:moveTo>
                    <a:cubicBezTo>
                      <a:pt x="8" y="9"/>
                      <a:pt x="13" y="8"/>
                      <a:pt x="18" y="7"/>
                    </a:cubicBezTo>
                    <a:cubicBezTo>
                      <a:pt x="22" y="6"/>
                      <a:pt x="20" y="0"/>
                      <a:pt x="17" y="0"/>
                    </a:cubicBezTo>
                    <a:cubicBezTo>
                      <a:pt x="15" y="1"/>
                      <a:pt x="13" y="1"/>
                      <a:pt x="11" y="1"/>
                    </a:cubicBezTo>
                    <a:cubicBezTo>
                      <a:pt x="10" y="1"/>
                      <a:pt x="8" y="2"/>
                      <a:pt x="7" y="1"/>
                    </a:cubicBezTo>
                    <a:cubicBezTo>
                      <a:pt x="3" y="0"/>
                      <a:pt x="0" y="4"/>
                      <a:pt x="4" y="6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505" name="Freeform 177">
                <a:extLst>
                  <a:ext uri="{FF2B5EF4-FFF2-40B4-BE49-F238E27FC236}">
                    <a16:creationId xmlns:a16="http://schemas.microsoft.com/office/drawing/2014/main" id="{AFF28CBC-9228-4230-B517-C51B6773D253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419" y="1331"/>
                <a:ext cx="73" cy="21"/>
              </a:xfrm>
              <a:custGeom>
                <a:avLst/>
                <a:gdLst>
                  <a:gd name="T0" fmla="*/ 2 w 69"/>
                  <a:gd name="T1" fmla="*/ 4 h 20"/>
                  <a:gd name="T2" fmla="*/ 27 w 69"/>
                  <a:gd name="T3" fmla="*/ 15 h 20"/>
                  <a:gd name="T4" fmla="*/ 66 w 69"/>
                  <a:gd name="T5" fmla="*/ 15 h 20"/>
                  <a:gd name="T6" fmla="*/ 66 w 69"/>
                  <a:gd name="T7" fmla="*/ 9 h 20"/>
                  <a:gd name="T8" fmla="*/ 4 w 69"/>
                  <a:gd name="T9" fmla="*/ 1 h 20"/>
                  <a:gd name="T10" fmla="*/ 2 w 69"/>
                  <a:gd name="T11" fmla="*/ 4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69" h="20">
                    <a:moveTo>
                      <a:pt x="2" y="4"/>
                    </a:moveTo>
                    <a:cubicBezTo>
                      <a:pt x="8" y="12"/>
                      <a:pt x="17" y="13"/>
                      <a:pt x="27" y="15"/>
                    </a:cubicBezTo>
                    <a:cubicBezTo>
                      <a:pt x="39" y="17"/>
                      <a:pt x="55" y="20"/>
                      <a:pt x="66" y="15"/>
                    </a:cubicBezTo>
                    <a:cubicBezTo>
                      <a:pt x="69" y="14"/>
                      <a:pt x="68" y="10"/>
                      <a:pt x="66" y="9"/>
                    </a:cubicBezTo>
                    <a:cubicBezTo>
                      <a:pt x="48" y="2"/>
                      <a:pt x="21" y="14"/>
                      <a:pt x="4" y="1"/>
                    </a:cubicBezTo>
                    <a:cubicBezTo>
                      <a:pt x="2" y="0"/>
                      <a:pt x="0" y="2"/>
                      <a:pt x="2" y="4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506" name="Freeform 178">
                <a:extLst>
                  <a:ext uri="{FF2B5EF4-FFF2-40B4-BE49-F238E27FC236}">
                    <a16:creationId xmlns:a16="http://schemas.microsoft.com/office/drawing/2014/main" id="{60044830-0232-4607-9549-30C1CDB75685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470" y="1262"/>
                <a:ext cx="25" cy="76"/>
              </a:xfrm>
              <a:custGeom>
                <a:avLst/>
                <a:gdLst>
                  <a:gd name="T0" fmla="*/ 19 w 24"/>
                  <a:gd name="T1" fmla="*/ 71 h 72"/>
                  <a:gd name="T2" fmla="*/ 21 w 24"/>
                  <a:gd name="T3" fmla="*/ 36 h 72"/>
                  <a:gd name="T4" fmla="*/ 9 w 24"/>
                  <a:gd name="T5" fmla="*/ 4 h 72"/>
                  <a:gd name="T6" fmla="*/ 3 w 24"/>
                  <a:gd name="T7" fmla="*/ 8 h 72"/>
                  <a:gd name="T8" fmla="*/ 14 w 24"/>
                  <a:gd name="T9" fmla="*/ 34 h 72"/>
                  <a:gd name="T10" fmla="*/ 17 w 24"/>
                  <a:gd name="T11" fmla="*/ 70 h 72"/>
                  <a:gd name="T12" fmla="*/ 19 w 24"/>
                  <a:gd name="T13" fmla="*/ 71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4" h="72">
                    <a:moveTo>
                      <a:pt x="19" y="71"/>
                    </a:moveTo>
                    <a:cubicBezTo>
                      <a:pt x="24" y="59"/>
                      <a:pt x="23" y="49"/>
                      <a:pt x="21" y="36"/>
                    </a:cubicBezTo>
                    <a:cubicBezTo>
                      <a:pt x="18" y="25"/>
                      <a:pt x="17" y="13"/>
                      <a:pt x="9" y="4"/>
                    </a:cubicBezTo>
                    <a:cubicBezTo>
                      <a:pt x="6" y="0"/>
                      <a:pt x="0" y="4"/>
                      <a:pt x="3" y="8"/>
                    </a:cubicBezTo>
                    <a:cubicBezTo>
                      <a:pt x="10" y="15"/>
                      <a:pt x="11" y="25"/>
                      <a:pt x="14" y="34"/>
                    </a:cubicBezTo>
                    <a:cubicBezTo>
                      <a:pt x="17" y="46"/>
                      <a:pt x="21" y="58"/>
                      <a:pt x="17" y="70"/>
                    </a:cubicBezTo>
                    <a:cubicBezTo>
                      <a:pt x="16" y="71"/>
                      <a:pt x="18" y="72"/>
                      <a:pt x="19" y="71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507" name="Freeform 179">
                <a:extLst>
                  <a:ext uri="{FF2B5EF4-FFF2-40B4-BE49-F238E27FC236}">
                    <a16:creationId xmlns:a16="http://schemas.microsoft.com/office/drawing/2014/main" id="{E6AB9E1F-3AB1-43DD-BF69-AE37166499C2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433" y="1260"/>
                <a:ext cx="49" cy="41"/>
              </a:xfrm>
              <a:custGeom>
                <a:avLst/>
                <a:gdLst>
                  <a:gd name="T0" fmla="*/ 1 w 47"/>
                  <a:gd name="T1" fmla="*/ 38 h 39"/>
                  <a:gd name="T2" fmla="*/ 24 w 47"/>
                  <a:gd name="T3" fmla="*/ 23 h 39"/>
                  <a:gd name="T4" fmla="*/ 33 w 47"/>
                  <a:gd name="T5" fmla="*/ 15 h 39"/>
                  <a:gd name="T6" fmla="*/ 46 w 47"/>
                  <a:gd name="T7" fmla="*/ 4 h 39"/>
                  <a:gd name="T8" fmla="*/ 44 w 47"/>
                  <a:gd name="T9" fmla="*/ 0 h 39"/>
                  <a:gd name="T10" fmla="*/ 27 w 47"/>
                  <a:gd name="T11" fmla="*/ 11 h 39"/>
                  <a:gd name="T12" fmla="*/ 1 w 47"/>
                  <a:gd name="T13" fmla="*/ 36 h 39"/>
                  <a:gd name="T14" fmla="*/ 1 w 47"/>
                  <a:gd name="T15" fmla="*/ 38 h 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47" h="39">
                    <a:moveTo>
                      <a:pt x="1" y="38"/>
                    </a:moveTo>
                    <a:cubicBezTo>
                      <a:pt x="11" y="36"/>
                      <a:pt x="18" y="30"/>
                      <a:pt x="24" y="23"/>
                    </a:cubicBezTo>
                    <a:cubicBezTo>
                      <a:pt x="27" y="21"/>
                      <a:pt x="30" y="18"/>
                      <a:pt x="33" y="15"/>
                    </a:cubicBezTo>
                    <a:cubicBezTo>
                      <a:pt x="37" y="11"/>
                      <a:pt x="43" y="8"/>
                      <a:pt x="46" y="4"/>
                    </a:cubicBezTo>
                    <a:cubicBezTo>
                      <a:pt x="47" y="2"/>
                      <a:pt x="46" y="0"/>
                      <a:pt x="44" y="0"/>
                    </a:cubicBezTo>
                    <a:cubicBezTo>
                      <a:pt x="37" y="0"/>
                      <a:pt x="32" y="6"/>
                      <a:pt x="27" y="11"/>
                    </a:cubicBezTo>
                    <a:cubicBezTo>
                      <a:pt x="19" y="19"/>
                      <a:pt x="12" y="32"/>
                      <a:pt x="1" y="36"/>
                    </a:cubicBezTo>
                    <a:cubicBezTo>
                      <a:pt x="0" y="36"/>
                      <a:pt x="0" y="39"/>
                      <a:pt x="1" y="38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508" name="Freeform 180">
                <a:extLst>
                  <a:ext uri="{FF2B5EF4-FFF2-40B4-BE49-F238E27FC236}">
                    <a16:creationId xmlns:a16="http://schemas.microsoft.com/office/drawing/2014/main" id="{2AB896DB-1DD8-4951-B441-168F0ED2B997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480" y="1262"/>
                <a:ext cx="36" cy="88"/>
              </a:xfrm>
              <a:custGeom>
                <a:avLst/>
                <a:gdLst>
                  <a:gd name="T0" fmla="*/ 2 w 34"/>
                  <a:gd name="T1" fmla="*/ 3 h 83"/>
                  <a:gd name="T2" fmla="*/ 25 w 34"/>
                  <a:gd name="T3" fmla="*/ 45 h 83"/>
                  <a:gd name="T4" fmla="*/ 11 w 34"/>
                  <a:gd name="T5" fmla="*/ 77 h 83"/>
                  <a:gd name="T6" fmla="*/ 17 w 34"/>
                  <a:gd name="T7" fmla="*/ 80 h 83"/>
                  <a:gd name="T8" fmla="*/ 25 w 34"/>
                  <a:gd name="T9" fmla="*/ 63 h 83"/>
                  <a:gd name="T10" fmla="*/ 31 w 34"/>
                  <a:gd name="T11" fmla="*/ 48 h 83"/>
                  <a:gd name="T12" fmla="*/ 33 w 34"/>
                  <a:gd name="T13" fmla="*/ 44 h 83"/>
                  <a:gd name="T14" fmla="*/ 3 w 34"/>
                  <a:gd name="T15" fmla="*/ 1 h 83"/>
                  <a:gd name="T16" fmla="*/ 2 w 34"/>
                  <a:gd name="T17" fmla="*/ 3 h 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4" h="83">
                    <a:moveTo>
                      <a:pt x="2" y="3"/>
                    </a:moveTo>
                    <a:cubicBezTo>
                      <a:pt x="11" y="11"/>
                      <a:pt x="27" y="33"/>
                      <a:pt x="25" y="45"/>
                    </a:cubicBezTo>
                    <a:cubicBezTo>
                      <a:pt x="24" y="57"/>
                      <a:pt x="14" y="67"/>
                      <a:pt x="11" y="77"/>
                    </a:cubicBezTo>
                    <a:cubicBezTo>
                      <a:pt x="10" y="81"/>
                      <a:pt x="16" y="83"/>
                      <a:pt x="17" y="80"/>
                    </a:cubicBezTo>
                    <a:cubicBezTo>
                      <a:pt x="19" y="74"/>
                      <a:pt x="23" y="69"/>
                      <a:pt x="25" y="63"/>
                    </a:cubicBezTo>
                    <a:cubicBezTo>
                      <a:pt x="26" y="59"/>
                      <a:pt x="26" y="49"/>
                      <a:pt x="31" y="48"/>
                    </a:cubicBezTo>
                    <a:cubicBezTo>
                      <a:pt x="32" y="47"/>
                      <a:pt x="34" y="45"/>
                      <a:pt x="33" y="44"/>
                    </a:cubicBezTo>
                    <a:cubicBezTo>
                      <a:pt x="28" y="27"/>
                      <a:pt x="18" y="10"/>
                      <a:pt x="3" y="1"/>
                    </a:cubicBezTo>
                    <a:cubicBezTo>
                      <a:pt x="2" y="0"/>
                      <a:pt x="0" y="2"/>
                      <a:pt x="2" y="3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509" name="Freeform 181">
                <a:extLst>
                  <a:ext uri="{FF2B5EF4-FFF2-40B4-BE49-F238E27FC236}">
                    <a16:creationId xmlns:a16="http://schemas.microsoft.com/office/drawing/2014/main" id="{D3ECC812-D087-4247-8DF8-068E8DD65829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341" y="1273"/>
                <a:ext cx="27" cy="37"/>
              </a:xfrm>
              <a:custGeom>
                <a:avLst/>
                <a:gdLst>
                  <a:gd name="T0" fmla="*/ 5 w 25"/>
                  <a:gd name="T1" fmla="*/ 33 h 35"/>
                  <a:gd name="T2" fmla="*/ 7 w 25"/>
                  <a:gd name="T3" fmla="*/ 27 h 35"/>
                  <a:gd name="T4" fmla="*/ 11 w 25"/>
                  <a:gd name="T5" fmla="*/ 20 h 35"/>
                  <a:gd name="T6" fmla="*/ 23 w 25"/>
                  <a:gd name="T7" fmla="*/ 5 h 35"/>
                  <a:gd name="T8" fmla="*/ 19 w 25"/>
                  <a:gd name="T9" fmla="*/ 2 h 35"/>
                  <a:gd name="T10" fmla="*/ 5 w 25"/>
                  <a:gd name="T11" fmla="*/ 18 h 35"/>
                  <a:gd name="T12" fmla="*/ 0 w 25"/>
                  <a:gd name="T13" fmla="*/ 28 h 35"/>
                  <a:gd name="T14" fmla="*/ 2 w 25"/>
                  <a:gd name="T15" fmla="*/ 34 h 35"/>
                  <a:gd name="T16" fmla="*/ 5 w 25"/>
                  <a:gd name="T17" fmla="*/ 33 h 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5" h="35">
                    <a:moveTo>
                      <a:pt x="5" y="33"/>
                    </a:moveTo>
                    <a:cubicBezTo>
                      <a:pt x="6" y="31"/>
                      <a:pt x="6" y="29"/>
                      <a:pt x="7" y="27"/>
                    </a:cubicBezTo>
                    <a:cubicBezTo>
                      <a:pt x="8" y="25"/>
                      <a:pt x="10" y="22"/>
                      <a:pt x="11" y="20"/>
                    </a:cubicBezTo>
                    <a:cubicBezTo>
                      <a:pt x="15" y="15"/>
                      <a:pt x="19" y="10"/>
                      <a:pt x="23" y="5"/>
                    </a:cubicBezTo>
                    <a:cubicBezTo>
                      <a:pt x="25" y="3"/>
                      <a:pt x="21" y="0"/>
                      <a:pt x="19" y="2"/>
                    </a:cubicBezTo>
                    <a:cubicBezTo>
                      <a:pt x="13" y="7"/>
                      <a:pt x="9" y="12"/>
                      <a:pt x="5" y="18"/>
                    </a:cubicBezTo>
                    <a:cubicBezTo>
                      <a:pt x="3" y="21"/>
                      <a:pt x="0" y="25"/>
                      <a:pt x="0" y="28"/>
                    </a:cubicBezTo>
                    <a:cubicBezTo>
                      <a:pt x="0" y="30"/>
                      <a:pt x="1" y="32"/>
                      <a:pt x="2" y="34"/>
                    </a:cubicBezTo>
                    <a:cubicBezTo>
                      <a:pt x="3" y="35"/>
                      <a:pt x="5" y="35"/>
                      <a:pt x="5" y="33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510" name="Freeform 182">
                <a:extLst>
                  <a:ext uri="{FF2B5EF4-FFF2-40B4-BE49-F238E27FC236}">
                    <a16:creationId xmlns:a16="http://schemas.microsoft.com/office/drawing/2014/main" id="{B5CAE21C-1AC8-49FE-AC10-5B1238B8EF51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329" y="1315"/>
                <a:ext cx="182" cy="129"/>
              </a:xfrm>
              <a:custGeom>
                <a:avLst/>
                <a:gdLst>
                  <a:gd name="T0" fmla="*/ 1 w 172"/>
                  <a:gd name="T1" fmla="*/ 46 h 122"/>
                  <a:gd name="T2" fmla="*/ 10 w 172"/>
                  <a:gd name="T3" fmla="*/ 88 h 122"/>
                  <a:gd name="T4" fmla="*/ 34 w 172"/>
                  <a:gd name="T5" fmla="*/ 108 h 122"/>
                  <a:gd name="T6" fmla="*/ 99 w 172"/>
                  <a:gd name="T7" fmla="*/ 117 h 122"/>
                  <a:gd name="T8" fmla="*/ 172 w 172"/>
                  <a:gd name="T9" fmla="*/ 2 h 122"/>
                  <a:gd name="T10" fmla="*/ 168 w 172"/>
                  <a:gd name="T11" fmla="*/ 2 h 122"/>
                  <a:gd name="T12" fmla="*/ 102 w 172"/>
                  <a:gd name="T13" fmla="*/ 106 h 122"/>
                  <a:gd name="T14" fmla="*/ 40 w 172"/>
                  <a:gd name="T15" fmla="*/ 104 h 122"/>
                  <a:gd name="T16" fmla="*/ 2 w 172"/>
                  <a:gd name="T17" fmla="*/ 45 h 122"/>
                  <a:gd name="T18" fmla="*/ 1 w 172"/>
                  <a:gd name="T19" fmla="*/ 46 h 1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72" h="122">
                    <a:moveTo>
                      <a:pt x="1" y="46"/>
                    </a:moveTo>
                    <a:cubicBezTo>
                      <a:pt x="1" y="62"/>
                      <a:pt x="0" y="74"/>
                      <a:pt x="10" y="88"/>
                    </a:cubicBezTo>
                    <a:cubicBezTo>
                      <a:pt x="16" y="97"/>
                      <a:pt x="24" y="103"/>
                      <a:pt x="34" y="108"/>
                    </a:cubicBezTo>
                    <a:cubicBezTo>
                      <a:pt x="53" y="118"/>
                      <a:pt x="78" y="122"/>
                      <a:pt x="99" y="117"/>
                    </a:cubicBezTo>
                    <a:cubicBezTo>
                      <a:pt x="151" y="104"/>
                      <a:pt x="172" y="51"/>
                      <a:pt x="172" y="2"/>
                    </a:cubicBezTo>
                    <a:cubicBezTo>
                      <a:pt x="172" y="0"/>
                      <a:pt x="168" y="0"/>
                      <a:pt x="168" y="2"/>
                    </a:cubicBezTo>
                    <a:cubicBezTo>
                      <a:pt x="170" y="47"/>
                      <a:pt x="147" y="90"/>
                      <a:pt x="102" y="106"/>
                    </a:cubicBezTo>
                    <a:cubicBezTo>
                      <a:pt x="82" y="113"/>
                      <a:pt x="59" y="112"/>
                      <a:pt x="40" y="104"/>
                    </a:cubicBezTo>
                    <a:cubicBezTo>
                      <a:pt x="13" y="92"/>
                      <a:pt x="8" y="72"/>
                      <a:pt x="2" y="45"/>
                    </a:cubicBezTo>
                    <a:cubicBezTo>
                      <a:pt x="2" y="45"/>
                      <a:pt x="1" y="45"/>
                      <a:pt x="1" y="46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511" name="Freeform 183">
                <a:extLst>
                  <a:ext uri="{FF2B5EF4-FFF2-40B4-BE49-F238E27FC236}">
                    <a16:creationId xmlns:a16="http://schemas.microsoft.com/office/drawing/2014/main" id="{44AD41CF-C8A3-4BFA-9F8E-A1FC1DFC90A9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423" y="1330"/>
                <a:ext cx="52" cy="68"/>
              </a:xfrm>
              <a:custGeom>
                <a:avLst/>
                <a:gdLst>
                  <a:gd name="T0" fmla="*/ 2 w 49"/>
                  <a:gd name="T1" fmla="*/ 4 h 65"/>
                  <a:gd name="T2" fmla="*/ 15 w 49"/>
                  <a:gd name="T3" fmla="*/ 18 h 65"/>
                  <a:gd name="T4" fmla="*/ 29 w 49"/>
                  <a:gd name="T5" fmla="*/ 37 h 65"/>
                  <a:gd name="T6" fmla="*/ 33 w 49"/>
                  <a:gd name="T7" fmla="*/ 44 h 65"/>
                  <a:gd name="T8" fmla="*/ 28 w 49"/>
                  <a:gd name="T9" fmla="*/ 54 h 65"/>
                  <a:gd name="T10" fmla="*/ 8 w 49"/>
                  <a:gd name="T11" fmla="*/ 58 h 65"/>
                  <a:gd name="T12" fmla="*/ 9 w 49"/>
                  <a:gd name="T13" fmla="*/ 65 h 65"/>
                  <a:gd name="T14" fmla="*/ 42 w 49"/>
                  <a:gd name="T15" fmla="*/ 45 h 65"/>
                  <a:gd name="T16" fmla="*/ 25 w 49"/>
                  <a:gd name="T17" fmla="*/ 21 h 65"/>
                  <a:gd name="T18" fmla="*/ 4 w 49"/>
                  <a:gd name="T19" fmla="*/ 1 h 65"/>
                  <a:gd name="T20" fmla="*/ 2 w 49"/>
                  <a:gd name="T21" fmla="*/ 4 h 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49" h="65">
                    <a:moveTo>
                      <a:pt x="2" y="4"/>
                    </a:moveTo>
                    <a:cubicBezTo>
                      <a:pt x="8" y="7"/>
                      <a:pt x="11" y="13"/>
                      <a:pt x="15" y="18"/>
                    </a:cubicBezTo>
                    <a:cubicBezTo>
                      <a:pt x="19" y="24"/>
                      <a:pt x="25" y="30"/>
                      <a:pt x="29" y="37"/>
                    </a:cubicBezTo>
                    <a:cubicBezTo>
                      <a:pt x="30" y="39"/>
                      <a:pt x="31" y="42"/>
                      <a:pt x="33" y="44"/>
                    </a:cubicBezTo>
                    <a:cubicBezTo>
                      <a:pt x="36" y="51"/>
                      <a:pt x="38" y="52"/>
                      <a:pt x="28" y="54"/>
                    </a:cubicBezTo>
                    <a:cubicBezTo>
                      <a:pt x="21" y="56"/>
                      <a:pt x="15" y="56"/>
                      <a:pt x="8" y="58"/>
                    </a:cubicBezTo>
                    <a:cubicBezTo>
                      <a:pt x="5" y="59"/>
                      <a:pt x="5" y="65"/>
                      <a:pt x="9" y="65"/>
                    </a:cubicBezTo>
                    <a:cubicBezTo>
                      <a:pt x="19" y="64"/>
                      <a:pt x="49" y="61"/>
                      <a:pt x="42" y="45"/>
                    </a:cubicBezTo>
                    <a:cubicBezTo>
                      <a:pt x="38" y="37"/>
                      <a:pt x="31" y="28"/>
                      <a:pt x="25" y="21"/>
                    </a:cubicBezTo>
                    <a:cubicBezTo>
                      <a:pt x="19" y="14"/>
                      <a:pt x="13" y="4"/>
                      <a:pt x="4" y="1"/>
                    </a:cubicBezTo>
                    <a:cubicBezTo>
                      <a:pt x="2" y="0"/>
                      <a:pt x="0" y="3"/>
                      <a:pt x="2" y="4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512" name="Freeform 184">
                <a:extLst>
                  <a:ext uri="{FF2B5EF4-FFF2-40B4-BE49-F238E27FC236}">
                    <a16:creationId xmlns:a16="http://schemas.microsoft.com/office/drawing/2014/main" id="{48A28164-A593-4DC8-8E1E-74F8BAF0AB8A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032" y="1083"/>
                <a:ext cx="93" cy="93"/>
              </a:xfrm>
              <a:custGeom>
                <a:avLst/>
                <a:gdLst>
                  <a:gd name="T0" fmla="*/ 40 w 88"/>
                  <a:gd name="T1" fmla="*/ 7 h 88"/>
                  <a:gd name="T2" fmla="*/ 9 w 88"/>
                  <a:gd name="T3" fmla="*/ 18 h 88"/>
                  <a:gd name="T4" fmla="*/ 1 w 88"/>
                  <a:gd name="T5" fmla="*/ 47 h 88"/>
                  <a:gd name="T6" fmla="*/ 47 w 88"/>
                  <a:gd name="T7" fmla="*/ 84 h 88"/>
                  <a:gd name="T8" fmla="*/ 85 w 88"/>
                  <a:gd name="T9" fmla="*/ 44 h 88"/>
                  <a:gd name="T10" fmla="*/ 38 w 88"/>
                  <a:gd name="T11" fmla="*/ 8 h 88"/>
                  <a:gd name="T12" fmla="*/ 38 w 88"/>
                  <a:gd name="T13" fmla="*/ 13 h 88"/>
                  <a:gd name="T14" fmla="*/ 78 w 88"/>
                  <a:gd name="T15" fmla="*/ 47 h 88"/>
                  <a:gd name="T16" fmla="*/ 43 w 88"/>
                  <a:gd name="T17" fmla="*/ 77 h 88"/>
                  <a:gd name="T18" fmla="*/ 9 w 88"/>
                  <a:gd name="T19" fmla="*/ 53 h 88"/>
                  <a:gd name="T20" fmla="*/ 12 w 88"/>
                  <a:gd name="T21" fmla="*/ 25 h 88"/>
                  <a:gd name="T22" fmla="*/ 40 w 88"/>
                  <a:gd name="T23" fmla="*/ 9 h 88"/>
                  <a:gd name="T24" fmla="*/ 40 w 88"/>
                  <a:gd name="T25" fmla="*/ 7 h 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88" h="88">
                    <a:moveTo>
                      <a:pt x="40" y="7"/>
                    </a:moveTo>
                    <a:cubicBezTo>
                      <a:pt x="26" y="7"/>
                      <a:pt x="18" y="7"/>
                      <a:pt x="9" y="18"/>
                    </a:cubicBezTo>
                    <a:cubicBezTo>
                      <a:pt x="3" y="27"/>
                      <a:pt x="0" y="36"/>
                      <a:pt x="1" y="47"/>
                    </a:cubicBezTo>
                    <a:cubicBezTo>
                      <a:pt x="4" y="71"/>
                      <a:pt x="23" y="88"/>
                      <a:pt x="47" y="84"/>
                    </a:cubicBezTo>
                    <a:cubicBezTo>
                      <a:pt x="66" y="81"/>
                      <a:pt x="88" y="65"/>
                      <a:pt x="85" y="44"/>
                    </a:cubicBezTo>
                    <a:cubicBezTo>
                      <a:pt x="82" y="23"/>
                      <a:pt x="60" y="0"/>
                      <a:pt x="38" y="8"/>
                    </a:cubicBezTo>
                    <a:cubicBezTo>
                      <a:pt x="35" y="9"/>
                      <a:pt x="35" y="13"/>
                      <a:pt x="38" y="13"/>
                    </a:cubicBezTo>
                    <a:cubicBezTo>
                      <a:pt x="56" y="14"/>
                      <a:pt x="76" y="26"/>
                      <a:pt x="78" y="47"/>
                    </a:cubicBezTo>
                    <a:cubicBezTo>
                      <a:pt x="78" y="64"/>
                      <a:pt x="58" y="76"/>
                      <a:pt x="43" y="77"/>
                    </a:cubicBezTo>
                    <a:cubicBezTo>
                      <a:pt x="26" y="79"/>
                      <a:pt x="14" y="68"/>
                      <a:pt x="9" y="53"/>
                    </a:cubicBezTo>
                    <a:cubicBezTo>
                      <a:pt x="6" y="43"/>
                      <a:pt x="6" y="33"/>
                      <a:pt x="12" y="25"/>
                    </a:cubicBezTo>
                    <a:cubicBezTo>
                      <a:pt x="18" y="14"/>
                      <a:pt x="28" y="11"/>
                      <a:pt x="40" y="9"/>
                    </a:cubicBezTo>
                    <a:cubicBezTo>
                      <a:pt x="41" y="9"/>
                      <a:pt x="41" y="7"/>
                      <a:pt x="40" y="7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513" name="Freeform 185">
                <a:extLst>
                  <a:ext uri="{FF2B5EF4-FFF2-40B4-BE49-F238E27FC236}">
                    <a16:creationId xmlns:a16="http://schemas.microsoft.com/office/drawing/2014/main" id="{778BF394-2782-4DBE-84A9-6C4373A4AC22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958" y="1174"/>
                <a:ext cx="94" cy="78"/>
              </a:xfrm>
              <a:custGeom>
                <a:avLst/>
                <a:gdLst>
                  <a:gd name="T0" fmla="*/ 33 w 89"/>
                  <a:gd name="T1" fmla="*/ 5 h 74"/>
                  <a:gd name="T2" fmla="*/ 11 w 89"/>
                  <a:gd name="T3" fmla="*/ 47 h 74"/>
                  <a:gd name="T4" fmla="*/ 55 w 89"/>
                  <a:gd name="T5" fmla="*/ 70 h 74"/>
                  <a:gd name="T6" fmla="*/ 88 w 89"/>
                  <a:gd name="T7" fmla="*/ 29 h 74"/>
                  <a:gd name="T8" fmla="*/ 44 w 89"/>
                  <a:gd name="T9" fmla="*/ 2 h 74"/>
                  <a:gd name="T10" fmla="*/ 44 w 89"/>
                  <a:gd name="T11" fmla="*/ 9 h 74"/>
                  <a:gd name="T12" fmla="*/ 79 w 89"/>
                  <a:gd name="T13" fmla="*/ 38 h 74"/>
                  <a:gd name="T14" fmla="*/ 46 w 89"/>
                  <a:gd name="T15" fmla="*/ 64 h 74"/>
                  <a:gd name="T16" fmla="*/ 16 w 89"/>
                  <a:gd name="T17" fmla="*/ 41 h 74"/>
                  <a:gd name="T18" fmla="*/ 34 w 89"/>
                  <a:gd name="T19" fmla="*/ 6 h 74"/>
                  <a:gd name="T20" fmla="*/ 33 w 89"/>
                  <a:gd name="T21" fmla="*/ 5 h 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89" h="74">
                    <a:moveTo>
                      <a:pt x="33" y="5"/>
                    </a:moveTo>
                    <a:cubicBezTo>
                      <a:pt x="16" y="16"/>
                      <a:pt x="0" y="25"/>
                      <a:pt x="11" y="47"/>
                    </a:cubicBezTo>
                    <a:cubicBezTo>
                      <a:pt x="19" y="63"/>
                      <a:pt x="37" y="74"/>
                      <a:pt x="55" y="70"/>
                    </a:cubicBezTo>
                    <a:cubicBezTo>
                      <a:pt x="73" y="66"/>
                      <a:pt x="89" y="48"/>
                      <a:pt x="88" y="29"/>
                    </a:cubicBezTo>
                    <a:cubicBezTo>
                      <a:pt x="87" y="6"/>
                      <a:pt x="63" y="0"/>
                      <a:pt x="44" y="2"/>
                    </a:cubicBezTo>
                    <a:cubicBezTo>
                      <a:pt x="40" y="2"/>
                      <a:pt x="40" y="9"/>
                      <a:pt x="44" y="9"/>
                    </a:cubicBezTo>
                    <a:cubicBezTo>
                      <a:pt x="62" y="10"/>
                      <a:pt x="87" y="13"/>
                      <a:pt x="79" y="38"/>
                    </a:cubicBezTo>
                    <a:cubicBezTo>
                      <a:pt x="75" y="52"/>
                      <a:pt x="61" y="64"/>
                      <a:pt x="46" y="64"/>
                    </a:cubicBezTo>
                    <a:cubicBezTo>
                      <a:pt x="32" y="64"/>
                      <a:pt x="21" y="53"/>
                      <a:pt x="16" y="41"/>
                    </a:cubicBezTo>
                    <a:cubicBezTo>
                      <a:pt x="9" y="24"/>
                      <a:pt x="23" y="16"/>
                      <a:pt x="34" y="6"/>
                    </a:cubicBezTo>
                    <a:cubicBezTo>
                      <a:pt x="35" y="6"/>
                      <a:pt x="34" y="4"/>
                      <a:pt x="33" y="5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514" name="Freeform 186">
                <a:extLst>
                  <a:ext uri="{FF2B5EF4-FFF2-40B4-BE49-F238E27FC236}">
                    <a16:creationId xmlns:a16="http://schemas.microsoft.com/office/drawing/2014/main" id="{0E8A4C79-E554-43FA-85D2-A0AFBB155787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136" y="1132"/>
                <a:ext cx="99" cy="92"/>
              </a:xfrm>
              <a:custGeom>
                <a:avLst/>
                <a:gdLst>
                  <a:gd name="T0" fmla="*/ 36 w 93"/>
                  <a:gd name="T1" fmla="*/ 12 h 87"/>
                  <a:gd name="T2" fmla="*/ 15 w 93"/>
                  <a:gd name="T3" fmla="*/ 68 h 87"/>
                  <a:gd name="T4" fmla="*/ 69 w 93"/>
                  <a:gd name="T5" fmla="*/ 79 h 87"/>
                  <a:gd name="T6" fmla="*/ 86 w 93"/>
                  <a:gd name="T7" fmla="*/ 31 h 87"/>
                  <a:gd name="T8" fmla="*/ 31 w 93"/>
                  <a:gd name="T9" fmla="*/ 16 h 87"/>
                  <a:gd name="T10" fmla="*/ 34 w 93"/>
                  <a:gd name="T11" fmla="*/ 22 h 87"/>
                  <a:gd name="T12" fmla="*/ 79 w 93"/>
                  <a:gd name="T13" fmla="*/ 37 h 87"/>
                  <a:gd name="T14" fmla="*/ 62 w 93"/>
                  <a:gd name="T15" fmla="*/ 73 h 87"/>
                  <a:gd name="T16" fmla="*/ 26 w 93"/>
                  <a:gd name="T17" fmla="*/ 69 h 87"/>
                  <a:gd name="T18" fmla="*/ 37 w 93"/>
                  <a:gd name="T19" fmla="*/ 14 h 87"/>
                  <a:gd name="T20" fmla="*/ 36 w 93"/>
                  <a:gd name="T21" fmla="*/ 12 h 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93" h="87">
                    <a:moveTo>
                      <a:pt x="36" y="12"/>
                    </a:moveTo>
                    <a:cubicBezTo>
                      <a:pt x="13" y="21"/>
                      <a:pt x="0" y="46"/>
                      <a:pt x="15" y="68"/>
                    </a:cubicBezTo>
                    <a:cubicBezTo>
                      <a:pt x="27" y="85"/>
                      <a:pt x="52" y="87"/>
                      <a:pt x="69" y="79"/>
                    </a:cubicBezTo>
                    <a:cubicBezTo>
                      <a:pt x="89" y="71"/>
                      <a:pt x="93" y="49"/>
                      <a:pt x="86" y="31"/>
                    </a:cubicBezTo>
                    <a:cubicBezTo>
                      <a:pt x="77" y="7"/>
                      <a:pt x="51" y="0"/>
                      <a:pt x="31" y="16"/>
                    </a:cubicBezTo>
                    <a:cubicBezTo>
                      <a:pt x="28" y="18"/>
                      <a:pt x="30" y="23"/>
                      <a:pt x="34" y="22"/>
                    </a:cubicBezTo>
                    <a:cubicBezTo>
                      <a:pt x="53" y="13"/>
                      <a:pt x="74" y="15"/>
                      <a:pt x="79" y="37"/>
                    </a:cubicBezTo>
                    <a:cubicBezTo>
                      <a:pt x="83" y="53"/>
                      <a:pt x="78" y="68"/>
                      <a:pt x="62" y="73"/>
                    </a:cubicBezTo>
                    <a:cubicBezTo>
                      <a:pt x="50" y="77"/>
                      <a:pt x="36" y="76"/>
                      <a:pt x="26" y="69"/>
                    </a:cubicBezTo>
                    <a:cubicBezTo>
                      <a:pt x="5" y="52"/>
                      <a:pt x="18" y="25"/>
                      <a:pt x="37" y="14"/>
                    </a:cubicBezTo>
                    <a:cubicBezTo>
                      <a:pt x="39" y="13"/>
                      <a:pt x="38" y="11"/>
                      <a:pt x="36" y="12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515" name="Freeform 187">
                <a:extLst>
                  <a:ext uri="{FF2B5EF4-FFF2-40B4-BE49-F238E27FC236}">
                    <a16:creationId xmlns:a16="http://schemas.microsoft.com/office/drawing/2014/main" id="{0F3233E4-87DA-45EB-BCCA-10F791CCA231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081" y="1234"/>
                <a:ext cx="87" cy="78"/>
              </a:xfrm>
              <a:custGeom>
                <a:avLst/>
                <a:gdLst>
                  <a:gd name="T0" fmla="*/ 33 w 82"/>
                  <a:gd name="T1" fmla="*/ 3 h 73"/>
                  <a:gd name="T2" fmla="*/ 7 w 82"/>
                  <a:gd name="T3" fmla="*/ 11 h 73"/>
                  <a:gd name="T4" fmla="*/ 0 w 82"/>
                  <a:gd name="T5" fmla="*/ 38 h 73"/>
                  <a:gd name="T6" fmla="*/ 38 w 82"/>
                  <a:gd name="T7" fmla="*/ 73 h 73"/>
                  <a:gd name="T8" fmla="*/ 79 w 82"/>
                  <a:gd name="T9" fmla="*/ 29 h 73"/>
                  <a:gd name="T10" fmla="*/ 38 w 82"/>
                  <a:gd name="T11" fmla="*/ 1 h 73"/>
                  <a:gd name="T12" fmla="*/ 37 w 82"/>
                  <a:gd name="T13" fmla="*/ 6 h 73"/>
                  <a:gd name="T14" fmla="*/ 69 w 82"/>
                  <a:gd name="T15" fmla="*/ 21 h 73"/>
                  <a:gd name="T16" fmla="*/ 36 w 82"/>
                  <a:gd name="T17" fmla="*/ 66 h 73"/>
                  <a:gd name="T18" fmla="*/ 6 w 82"/>
                  <a:gd name="T19" fmla="*/ 34 h 73"/>
                  <a:gd name="T20" fmla="*/ 11 w 82"/>
                  <a:gd name="T21" fmla="*/ 17 h 73"/>
                  <a:gd name="T22" fmla="*/ 34 w 82"/>
                  <a:gd name="T23" fmla="*/ 6 h 73"/>
                  <a:gd name="T24" fmla="*/ 33 w 82"/>
                  <a:gd name="T25" fmla="*/ 3 h 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82" h="73">
                    <a:moveTo>
                      <a:pt x="33" y="3"/>
                    </a:moveTo>
                    <a:cubicBezTo>
                      <a:pt x="24" y="5"/>
                      <a:pt x="14" y="2"/>
                      <a:pt x="7" y="11"/>
                    </a:cubicBezTo>
                    <a:cubicBezTo>
                      <a:pt x="2" y="18"/>
                      <a:pt x="0" y="29"/>
                      <a:pt x="0" y="38"/>
                    </a:cubicBezTo>
                    <a:cubicBezTo>
                      <a:pt x="0" y="59"/>
                      <a:pt x="18" y="73"/>
                      <a:pt x="38" y="73"/>
                    </a:cubicBezTo>
                    <a:cubicBezTo>
                      <a:pt x="58" y="73"/>
                      <a:pt x="80" y="50"/>
                      <a:pt x="79" y="29"/>
                    </a:cubicBezTo>
                    <a:cubicBezTo>
                      <a:pt x="78" y="11"/>
                      <a:pt x="54" y="0"/>
                      <a:pt x="38" y="1"/>
                    </a:cubicBezTo>
                    <a:cubicBezTo>
                      <a:pt x="35" y="1"/>
                      <a:pt x="34" y="5"/>
                      <a:pt x="37" y="6"/>
                    </a:cubicBezTo>
                    <a:cubicBezTo>
                      <a:pt x="48" y="10"/>
                      <a:pt x="61" y="11"/>
                      <a:pt x="69" y="21"/>
                    </a:cubicBezTo>
                    <a:cubicBezTo>
                      <a:pt x="82" y="40"/>
                      <a:pt x="54" y="66"/>
                      <a:pt x="36" y="66"/>
                    </a:cubicBezTo>
                    <a:cubicBezTo>
                      <a:pt x="18" y="66"/>
                      <a:pt x="5" y="52"/>
                      <a:pt x="6" y="34"/>
                    </a:cubicBezTo>
                    <a:cubicBezTo>
                      <a:pt x="6" y="29"/>
                      <a:pt x="8" y="21"/>
                      <a:pt x="11" y="17"/>
                    </a:cubicBezTo>
                    <a:cubicBezTo>
                      <a:pt x="16" y="8"/>
                      <a:pt x="26" y="9"/>
                      <a:pt x="34" y="6"/>
                    </a:cubicBezTo>
                    <a:cubicBezTo>
                      <a:pt x="36" y="5"/>
                      <a:pt x="35" y="2"/>
                      <a:pt x="33" y="3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516" name="Freeform 188">
                <a:extLst>
                  <a:ext uri="{FF2B5EF4-FFF2-40B4-BE49-F238E27FC236}">
                    <a16:creationId xmlns:a16="http://schemas.microsoft.com/office/drawing/2014/main" id="{50683672-C70B-428A-B5BD-9AD9A7386410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999" y="1136"/>
                <a:ext cx="34" cy="41"/>
              </a:xfrm>
              <a:custGeom>
                <a:avLst/>
                <a:gdLst>
                  <a:gd name="T0" fmla="*/ 5 w 32"/>
                  <a:gd name="T1" fmla="*/ 36 h 39"/>
                  <a:gd name="T2" fmla="*/ 5 w 32"/>
                  <a:gd name="T3" fmla="*/ 35 h 39"/>
                  <a:gd name="T4" fmla="*/ 6 w 32"/>
                  <a:gd name="T5" fmla="*/ 32 h 39"/>
                  <a:gd name="T6" fmla="*/ 12 w 32"/>
                  <a:gd name="T7" fmla="*/ 23 h 39"/>
                  <a:gd name="T8" fmla="*/ 29 w 32"/>
                  <a:gd name="T9" fmla="*/ 7 h 39"/>
                  <a:gd name="T10" fmla="*/ 27 w 32"/>
                  <a:gd name="T11" fmla="*/ 2 h 39"/>
                  <a:gd name="T12" fmla="*/ 9 w 32"/>
                  <a:gd name="T13" fmla="*/ 17 h 39"/>
                  <a:gd name="T14" fmla="*/ 1 w 32"/>
                  <a:gd name="T15" fmla="*/ 38 h 39"/>
                  <a:gd name="T16" fmla="*/ 4 w 32"/>
                  <a:gd name="T17" fmla="*/ 39 h 39"/>
                  <a:gd name="T18" fmla="*/ 5 w 32"/>
                  <a:gd name="T19" fmla="*/ 38 h 39"/>
                  <a:gd name="T20" fmla="*/ 5 w 32"/>
                  <a:gd name="T21" fmla="*/ 36 h 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32" h="39">
                    <a:moveTo>
                      <a:pt x="5" y="36"/>
                    </a:moveTo>
                    <a:cubicBezTo>
                      <a:pt x="4" y="36"/>
                      <a:pt x="5" y="37"/>
                      <a:pt x="5" y="35"/>
                    </a:cubicBezTo>
                    <a:cubicBezTo>
                      <a:pt x="5" y="34"/>
                      <a:pt x="6" y="33"/>
                      <a:pt x="6" y="32"/>
                    </a:cubicBezTo>
                    <a:cubicBezTo>
                      <a:pt x="7" y="29"/>
                      <a:pt x="10" y="26"/>
                      <a:pt x="12" y="23"/>
                    </a:cubicBezTo>
                    <a:cubicBezTo>
                      <a:pt x="17" y="17"/>
                      <a:pt x="22" y="11"/>
                      <a:pt x="29" y="7"/>
                    </a:cubicBezTo>
                    <a:cubicBezTo>
                      <a:pt x="32" y="5"/>
                      <a:pt x="30" y="0"/>
                      <a:pt x="27" y="2"/>
                    </a:cubicBezTo>
                    <a:cubicBezTo>
                      <a:pt x="20" y="6"/>
                      <a:pt x="14" y="11"/>
                      <a:pt x="9" y="17"/>
                    </a:cubicBezTo>
                    <a:cubicBezTo>
                      <a:pt x="4" y="24"/>
                      <a:pt x="0" y="29"/>
                      <a:pt x="1" y="38"/>
                    </a:cubicBezTo>
                    <a:cubicBezTo>
                      <a:pt x="1" y="39"/>
                      <a:pt x="3" y="39"/>
                      <a:pt x="4" y="39"/>
                    </a:cubicBezTo>
                    <a:cubicBezTo>
                      <a:pt x="4" y="38"/>
                      <a:pt x="5" y="38"/>
                      <a:pt x="5" y="38"/>
                    </a:cubicBezTo>
                    <a:cubicBezTo>
                      <a:pt x="6" y="37"/>
                      <a:pt x="6" y="36"/>
                      <a:pt x="5" y="36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517" name="Freeform 189">
                <a:extLst>
                  <a:ext uri="{FF2B5EF4-FFF2-40B4-BE49-F238E27FC236}">
                    <a16:creationId xmlns:a16="http://schemas.microsoft.com/office/drawing/2014/main" id="{6985DEF8-F938-4ACC-83D5-C781A7C715EC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112" y="1109"/>
                <a:ext cx="59" cy="27"/>
              </a:xfrm>
              <a:custGeom>
                <a:avLst/>
                <a:gdLst>
                  <a:gd name="T0" fmla="*/ 2 w 56"/>
                  <a:gd name="T1" fmla="*/ 4 h 25"/>
                  <a:gd name="T2" fmla="*/ 30 w 56"/>
                  <a:gd name="T3" fmla="*/ 9 h 25"/>
                  <a:gd name="T4" fmla="*/ 51 w 56"/>
                  <a:gd name="T5" fmla="*/ 23 h 25"/>
                  <a:gd name="T6" fmla="*/ 54 w 56"/>
                  <a:gd name="T7" fmla="*/ 20 h 25"/>
                  <a:gd name="T8" fmla="*/ 33 w 56"/>
                  <a:gd name="T9" fmla="*/ 4 h 25"/>
                  <a:gd name="T10" fmla="*/ 2 w 56"/>
                  <a:gd name="T11" fmla="*/ 1 h 25"/>
                  <a:gd name="T12" fmla="*/ 2 w 56"/>
                  <a:gd name="T13" fmla="*/ 4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56" h="25">
                    <a:moveTo>
                      <a:pt x="2" y="4"/>
                    </a:moveTo>
                    <a:cubicBezTo>
                      <a:pt x="11" y="6"/>
                      <a:pt x="20" y="5"/>
                      <a:pt x="30" y="9"/>
                    </a:cubicBezTo>
                    <a:cubicBezTo>
                      <a:pt x="37" y="12"/>
                      <a:pt x="44" y="18"/>
                      <a:pt x="51" y="23"/>
                    </a:cubicBezTo>
                    <a:cubicBezTo>
                      <a:pt x="52" y="25"/>
                      <a:pt x="56" y="22"/>
                      <a:pt x="54" y="20"/>
                    </a:cubicBezTo>
                    <a:cubicBezTo>
                      <a:pt x="48" y="14"/>
                      <a:pt x="41" y="8"/>
                      <a:pt x="33" y="4"/>
                    </a:cubicBezTo>
                    <a:cubicBezTo>
                      <a:pt x="22" y="0"/>
                      <a:pt x="13" y="3"/>
                      <a:pt x="2" y="1"/>
                    </a:cubicBezTo>
                    <a:cubicBezTo>
                      <a:pt x="0" y="1"/>
                      <a:pt x="0" y="4"/>
                      <a:pt x="2" y="4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518" name="Freeform 190">
                <a:extLst>
                  <a:ext uri="{FF2B5EF4-FFF2-40B4-BE49-F238E27FC236}">
                    <a16:creationId xmlns:a16="http://schemas.microsoft.com/office/drawing/2014/main" id="{EC825A8B-D41E-4D96-BAEC-B49BFBCAA892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178" y="1212"/>
                <a:ext cx="30" cy="51"/>
              </a:xfrm>
              <a:custGeom>
                <a:avLst/>
                <a:gdLst>
                  <a:gd name="T0" fmla="*/ 20 w 28"/>
                  <a:gd name="T1" fmla="*/ 3 h 48"/>
                  <a:gd name="T2" fmla="*/ 1 w 28"/>
                  <a:gd name="T3" fmla="*/ 43 h 48"/>
                  <a:gd name="T4" fmla="*/ 5 w 28"/>
                  <a:gd name="T5" fmla="*/ 46 h 48"/>
                  <a:gd name="T6" fmla="*/ 24 w 28"/>
                  <a:gd name="T7" fmla="*/ 2 h 48"/>
                  <a:gd name="T8" fmla="*/ 20 w 28"/>
                  <a:gd name="T9" fmla="*/ 3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8" h="48">
                    <a:moveTo>
                      <a:pt x="20" y="3"/>
                    </a:moveTo>
                    <a:cubicBezTo>
                      <a:pt x="22" y="19"/>
                      <a:pt x="9" y="31"/>
                      <a:pt x="1" y="43"/>
                    </a:cubicBezTo>
                    <a:cubicBezTo>
                      <a:pt x="0" y="45"/>
                      <a:pt x="3" y="48"/>
                      <a:pt x="5" y="46"/>
                    </a:cubicBezTo>
                    <a:cubicBezTo>
                      <a:pt x="17" y="35"/>
                      <a:pt x="28" y="20"/>
                      <a:pt x="24" y="2"/>
                    </a:cubicBezTo>
                    <a:cubicBezTo>
                      <a:pt x="24" y="0"/>
                      <a:pt x="20" y="1"/>
                      <a:pt x="20" y="3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519" name="Freeform 191">
                <a:extLst>
                  <a:ext uri="{FF2B5EF4-FFF2-40B4-BE49-F238E27FC236}">
                    <a16:creationId xmlns:a16="http://schemas.microsoft.com/office/drawing/2014/main" id="{0D60CB29-FAC9-40EC-B5B4-4D733D70831F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017" y="1238"/>
                <a:ext cx="51" cy="39"/>
              </a:xfrm>
              <a:custGeom>
                <a:avLst/>
                <a:gdLst>
                  <a:gd name="T0" fmla="*/ 0 w 48"/>
                  <a:gd name="T1" fmla="*/ 2 h 36"/>
                  <a:gd name="T2" fmla="*/ 46 w 48"/>
                  <a:gd name="T3" fmla="*/ 36 h 36"/>
                  <a:gd name="T4" fmla="*/ 46 w 48"/>
                  <a:gd name="T5" fmla="*/ 32 h 36"/>
                  <a:gd name="T6" fmla="*/ 2 w 48"/>
                  <a:gd name="T7" fmla="*/ 1 h 36"/>
                  <a:gd name="T8" fmla="*/ 0 w 48"/>
                  <a:gd name="T9" fmla="*/ 2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8" h="36">
                    <a:moveTo>
                      <a:pt x="0" y="2"/>
                    </a:moveTo>
                    <a:cubicBezTo>
                      <a:pt x="4" y="22"/>
                      <a:pt x="26" y="36"/>
                      <a:pt x="46" y="36"/>
                    </a:cubicBezTo>
                    <a:cubicBezTo>
                      <a:pt x="48" y="36"/>
                      <a:pt x="48" y="32"/>
                      <a:pt x="46" y="32"/>
                    </a:cubicBezTo>
                    <a:cubicBezTo>
                      <a:pt x="29" y="29"/>
                      <a:pt x="8" y="19"/>
                      <a:pt x="2" y="1"/>
                    </a:cubicBezTo>
                    <a:cubicBezTo>
                      <a:pt x="2" y="0"/>
                      <a:pt x="0" y="1"/>
                      <a:pt x="0" y="2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520" name="Freeform 192">
                <a:extLst>
                  <a:ext uri="{FF2B5EF4-FFF2-40B4-BE49-F238E27FC236}">
                    <a16:creationId xmlns:a16="http://schemas.microsoft.com/office/drawing/2014/main" id="{FD005931-41B0-45B8-8801-5A7ECEAA75D1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862" y="1253"/>
                <a:ext cx="174" cy="168"/>
              </a:xfrm>
              <a:custGeom>
                <a:avLst/>
                <a:gdLst>
                  <a:gd name="T0" fmla="*/ 74 w 165"/>
                  <a:gd name="T1" fmla="*/ 17 h 158"/>
                  <a:gd name="T2" fmla="*/ 16 w 165"/>
                  <a:gd name="T3" fmla="*/ 47 h 158"/>
                  <a:gd name="T4" fmla="*/ 5 w 165"/>
                  <a:gd name="T5" fmla="*/ 105 h 158"/>
                  <a:gd name="T6" fmla="*/ 48 w 165"/>
                  <a:gd name="T7" fmla="*/ 147 h 158"/>
                  <a:gd name="T8" fmla="*/ 110 w 165"/>
                  <a:gd name="T9" fmla="*/ 151 h 158"/>
                  <a:gd name="T10" fmla="*/ 154 w 165"/>
                  <a:gd name="T11" fmla="*/ 61 h 158"/>
                  <a:gd name="T12" fmla="*/ 55 w 165"/>
                  <a:gd name="T13" fmla="*/ 17 h 158"/>
                  <a:gd name="T14" fmla="*/ 56 w 165"/>
                  <a:gd name="T15" fmla="*/ 22 h 158"/>
                  <a:gd name="T16" fmla="*/ 144 w 165"/>
                  <a:gd name="T17" fmla="*/ 61 h 158"/>
                  <a:gd name="T18" fmla="*/ 112 w 165"/>
                  <a:gd name="T19" fmla="*/ 139 h 158"/>
                  <a:gd name="T20" fmla="*/ 9 w 165"/>
                  <a:gd name="T21" fmla="*/ 91 h 158"/>
                  <a:gd name="T22" fmla="*/ 26 w 165"/>
                  <a:gd name="T23" fmla="*/ 40 h 158"/>
                  <a:gd name="T24" fmla="*/ 74 w 165"/>
                  <a:gd name="T25" fmla="*/ 18 h 158"/>
                  <a:gd name="T26" fmla="*/ 74 w 165"/>
                  <a:gd name="T27" fmla="*/ 17 h 1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65" h="158">
                    <a:moveTo>
                      <a:pt x="74" y="17"/>
                    </a:moveTo>
                    <a:cubicBezTo>
                      <a:pt x="52" y="25"/>
                      <a:pt x="31" y="26"/>
                      <a:pt x="16" y="47"/>
                    </a:cubicBezTo>
                    <a:cubicBezTo>
                      <a:pt x="5" y="62"/>
                      <a:pt x="0" y="86"/>
                      <a:pt x="5" y="105"/>
                    </a:cubicBezTo>
                    <a:cubicBezTo>
                      <a:pt x="10" y="124"/>
                      <a:pt x="30" y="139"/>
                      <a:pt x="48" y="147"/>
                    </a:cubicBezTo>
                    <a:cubicBezTo>
                      <a:pt x="67" y="157"/>
                      <a:pt x="89" y="158"/>
                      <a:pt x="110" y="151"/>
                    </a:cubicBezTo>
                    <a:cubicBezTo>
                      <a:pt x="147" y="139"/>
                      <a:pt x="165" y="98"/>
                      <a:pt x="154" y="61"/>
                    </a:cubicBezTo>
                    <a:cubicBezTo>
                      <a:pt x="143" y="25"/>
                      <a:pt x="89" y="0"/>
                      <a:pt x="55" y="17"/>
                    </a:cubicBezTo>
                    <a:cubicBezTo>
                      <a:pt x="52" y="18"/>
                      <a:pt x="53" y="23"/>
                      <a:pt x="56" y="22"/>
                    </a:cubicBezTo>
                    <a:cubicBezTo>
                      <a:pt x="88" y="18"/>
                      <a:pt x="133" y="25"/>
                      <a:pt x="144" y="61"/>
                    </a:cubicBezTo>
                    <a:cubicBezTo>
                      <a:pt x="154" y="91"/>
                      <a:pt x="141" y="127"/>
                      <a:pt x="112" y="139"/>
                    </a:cubicBezTo>
                    <a:cubicBezTo>
                      <a:pt x="74" y="156"/>
                      <a:pt x="11" y="138"/>
                      <a:pt x="9" y="91"/>
                    </a:cubicBezTo>
                    <a:cubicBezTo>
                      <a:pt x="8" y="73"/>
                      <a:pt x="13" y="53"/>
                      <a:pt x="26" y="40"/>
                    </a:cubicBezTo>
                    <a:cubicBezTo>
                      <a:pt x="40" y="27"/>
                      <a:pt x="58" y="26"/>
                      <a:pt x="74" y="18"/>
                    </a:cubicBezTo>
                    <a:cubicBezTo>
                      <a:pt x="75" y="18"/>
                      <a:pt x="74" y="17"/>
                      <a:pt x="74" y="17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521" name="Freeform 193">
                <a:extLst>
                  <a:ext uri="{FF2B5EF4-FFF2-40B4-BE49-F238E27FC236}">
                    <a16:creationId xmlns:a16="http://schemas.microsoft.com/office/drawing/2014/main" id="{0CFAEC00-39F0-424A-A5D4-3042E901731C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851" y="1335"/>
                <a:ext cx="182" cy="116"/>
              </a:xfrm>
              <a:custGeom>
                <a:avLst/>
                <a:gdLst>
                  <a:gd name="T0" fmla="*/ 15 w 172"/>
                  <a:gd name="T1" fmla="*/ 1 h 110"/>
                  <a:gd name="T2" fmla="*/ 10 w 172"/>
                  <a:gd name="T3" fmla="*/ 66 h 110"/>
                  <a:gd name="T4" fmla="*/ 62 w 172"/>
                  <a:gd name="T5" fmla="*/ 104 h 110"/>
                  <a:gd name="T6" fmla="*/ 139 w 172"/>
                  <a:gd name="T7" fmla="*/ 90 h 110"/>
                  <a:gd name="T8" fmla="*/ 162 w 172"/>
                  <a:gd name="T9" fmla="*/ 19 h 110"/>
                  <a:gd name="T10" fmla="*/ 156 w 172"/>
                  <a:gd name="T11" fmla="*/ 20 h 110"/>
                  <a:gd name="T12" fmla="*/ 58 w 172"/>
                  <a:gd name="T13" fmla="*/ 98 h 110"/>
                  <a:gd name="T14" fmla="*/ 15 w 172"/>
                  <a:gd name="T15" fmla="*/ 64 h 110"/>
                  <a:gd name="T16" fmla="*/ 17 w 172"/>
                  <a:gd name="T17" fmla="*/ 2 h 110"/>
                  <a:gd name="T18" fmla="*/ 15 w 172"/>
                  <a:gd name="T19" fmla="*/ 1 h 1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72" h="110">
                    <a:moveTo>
                      <a:pt x="15" y="1"/>
                    </a:moveTo>
                    <a:cubicBezTo>
                      <a:pt x="4" y="22"/>
                      <a:pt x="0" y="43"/>
                      <a:pt x="10" y="66"/>
                    </a:cubicBezTo>
                    <a:cubicBezTo>
                      <a:pt x="19" y="86"/>
                      <a:pt x="40" y="100"/>
                      <a:pt x="62" y="104"/>
                    </a:cubicBezTo>
                    <a:cubicBezTo>
                      <a:pt x="85" y="109"/>
                      <a:pt x="120" y="105"/>
                      <a:pt x="139" y="90"/>
                    </a:cubicBezTo>
                    <a:cubicBezTo>
                      <a:pt x="159" y="74"/>
                      <a:pt x="172" y="43"/>
                      <a:pt x="162" y="19"/>
                    </a:cubicBezTo>
                    <a:cubicBezTo>
                      <a:pt x="160" y="15"/>
                      <a:pt x="155" y="16"/>
                      <a:pt x="156" y="20"/>
                    </a:cubicBezTo>
                    <a:cubicBezTo>
                      <a:pt x="171" y="76"/>
                      <a:pt x="106" y="110"/>
                      <a:pt x="58" y="98"/>
                    </a:cubicBezTo>
                    <a:cubicBezTo>
                      <a:pt x="40" y="93"/>
                      <a:pt x="23" y="81"/>
                      <a:pt x="15" y="64"/>
                    </a:cubicBezTo>
                    <a:cubicBezTo>
                      <a:pt x="5" y="42"/>
                      <a:pt x="10" y="23"/>
                      <a:pt x="17" y="2"/>
                    </a:cubicBezTo>
                    <a:cubicBezTo>
                      <a:pt x="18" y="1"/>
                      <a:pt x="16" y="0"/>
                      <a:pt x="15" y="1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522" name="Freeform 194">
                <a:extLst>
                  <a:ext uri="{FF2B5EF4-FFF2-40B4-BE49-F238E27FC236}">
                    <a16:creationId xmlns:a16="http://schemas.microsoft.com/office/drawing/2014/main" id="{9F1D9936-AA70-441C-BCA0-843AA63C7979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504" y="1172"/>
                <a:ext cx="198" cy="20"/>
              </a:xfrm>
              <a:custGeom>
                <a:avLst/>
                <a:gdLst>
                  <a:gd name="T0" fmla="*/ 2 w 187"/>
                  <a:gd name="T1" fmla="*/ 19 h 19"/>
                  <a:gd name="T2" fmla="*/ 91 w 187"/>
                  <a:gd name="T3" fmla="*/ 7 h 19"/>
                  <a:gd name="T4" fmla="*/ 185 w 187"/>
                  <a:gd name="T5" fmla="*/ 8 h 19"/>
                  <a:gd name="T6" fmla="*/ 185 w 187"/>
                  <a:gd name="T7" fmla="*/ 4 h 19"/>
                  <a:gd name="T8" fmla="*/ 88 w 187"/>
                  <a:gd name="T9" fmla="*/ 1 h 19"/>
                  <a:gd name="T10" fmla="*/ 2 w 187"/>
                  <a:gd name="T11" fmla="*/ 16 h 19"/>
                  <a:gd name="T12" fmla="*/ 2 w 187"/>
                  <a:gd name="T13" fmla="*/ 19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87" h="19">
                    <a:moveTo>
                      <a:pt x="2" y="19"/>
                    </a:moveTo>
                    <a:cubicBezTo>
                      <a:pt x="33" y="12"/>
                      <a:pt x="60" y="5"/>
                      <a:pt x="91" y="7"/>
                    </a:cubicBezTo>
                    <a:cubicBezTo>
                      <a:pt x="122" y="8"/>
                      <a:pt x="154" y="7"/>
                      <a:pt x="185" y="8"/>
                    </a:cubicBezTo>
                    <a:cubicBezTo>
                      <a:pt x="187" y="8"/>
                      <a:pt x="187" y="4"/>
                      <a:pt x="185" y="4"/>
                    </a:cubicBezTo>
                    <a:cubicBezTo>
                      <a:pt x="153" y="0"/>
                      <a:pt x="120" y="2"/>
                      <a:pt x="88" y="1"/>
                    </a:cubicBezTo>
                    <a:cubicBezTo>
                      <a:pt x="57" y="0"/>
                      <a:pt x="31" y="7"/>
                      <a:pt x="2" y="16"/>
                    </a:cubicBezTo>
                    <a:cubicBezTo>
                      <a:pt x="0" y="17"/>
                      <a:pt x="1" y="19"/>
                      <a:pt x="2" y="19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523" name="Freeform 195">
                <a:extLst>
                  <a:ext uri="{FF2B5EF4-FFF2-40B4-BE49-F238E27FC236}">
                    <a16:creationId xmlns:a16="http://schemas.microsoft.com/office/drawing/2014/main" id="{4FE4F7BA-155F-4447-A022-1C2CF6AF9056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784" y="1082"/>
                <a:ext cx="213" cy="73"/>
              </a:xfrm>
              <a:custGeom>
                <a:avLst/>
                <a:gdLst>
                  <a:gd name="T0" fmla="*/ 0 w 201"/>
                  <a:gd name="T1" fmla="*/ 69 h 69"/>
                  <a:gd name="T2" fmla="*/ 96 w 201"/>
                  <a:gd name="T3" fmla="*/ 43 h 69"/>
                  <a:gd name="T4" fmla="*/ 199 w 201"/>
                  <a:gd name="T5" fmla="*/ 6 h 69"/>
                  <a:gd name="T6" fmla="*/ 199 w 201"/>
                  <a:gd name="T7" fmla="*/ 3 h 69"/>
                  <a:gd name="T8" fmla="*/ 113 w 201"/>
                  <a:gd name="T9" fmla="*/ 27 h 69"/>
                  <a:gd name="T10" fmla="*/ 0 w 201"/>
                  <a:gd name="T11" fmla="*/ 68 h 69"/>
                  <a:gd name="T12" fmla="*/ 0 w 201"/>
                  <a:gd name="T13" fmla="*/ 69 h 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01" h="69">
                    <a:moveTo>
                      <a:pt x="0" y="69"/>
                    </a:moveTo>
                    <a:cubicBezTo>
                      <a:pt x="34" y="67"/>
                      <a:pt x="66" y="57"/>
                      <a:pt x="96" y="43"/>
                    </a:cubicBezTo>
                    <a:cubicBezTo>
                      <a:pt x="129" y="27"/>
                      <a:pt x="161" y="6"/>
                      <a:pt x="199" y="6"/>
                    </a:cubicBezTo>
                    <a:cubicBezTo>
                      <a:pt x="201" y="6"/>
                      <a:pt x="201" y="3"/>
                      <a:pt x="199" y="3"/>
                    </a:cubicBezTo>
                    <a:cubicBezTo>
                      <a:pt x="167" y="0"/>
                      <a:pt x="141" y="13"/>
                      <a:pt x="113" y="27"/>
                    </a:cubicBezTo>
                    <a:cubicBezTo>
                      <a:pt x="77" y="46"/>
                      <a:pt x="41" y="63"/>
                      <a:pt x="0" y="68"/>
                    </a:cubicBezTo>
                    <a:lnTo>
                      <a:pt x="0" y="69"/>
                    </a:ln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524" name="Freeform 196">
                <a:extLst>
                  <a:ext uri="{FF2B5EF4-FFF2-40B4-BE49-F238E27FC236}">
                    <a16:creationId xmlns:a16="http://schemas.microsoft.com/office/drawing/2014/main" id="{67A5635E-921D-4804-B966-771BF0117FEE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933" y="3141"/>
                <a:ext cx="32" cy="15"/>
              </a:xfrm>
              <a:custGeom>
                <a:avLst/>
                <a:gdLst>
                  <a:gd name="T0" fmla="*/ 2 w 30"/>
                  <a:gd name="T1" fmla="*/ 11 h 14"/>
                  <a:gd name="T2" fmla="*/ 5 w 30"/>
                  <a:gd name="T3" fmla="*/ 8 h 14"/>
                  <a:gd name="T4" fmla="*/ 6 w 30"/>
                  <a:gd name="T5" fmla="*/ 7 h 14"/>
                  <a:gd name="T6" fmla="*/ 3 w 30"/>
                  <a:gd name="T7" fmla="*/ 3 h 14"/>
                  <a:gd name="T8" fmla="*/ 1 w 30"/>
                  <a:gd name="T9" fmla="*/ 9 h 14"/>
                  <a:gd name="T10" fmla="*/ 5 w 30"/>
                  <a:gd name="T11" fmla="*/ 13 h 14"/>
                  <a:gd name="T12" fmla="*/ 9 w 30"/>
                  <a:gd name="T13" fmla="*/ 12 h 14"/>
                  <a:gd name="T14" fmla="*/ 12 w 30"/>
                  <a:gd name="T15" fmla="*/ 9 h 14"/>
                  <a:gd name="T16" fmla="*/ 8 w 30"/>
                  <a:gd name="T17" fmla="*/ 4 h 14"/>
                  <a:gd name="T18" fmla="*/ 8 w 30"/>
                  <a:gd name="T19" fmla="*/ 6 h 14"/>
                  <a:gd name="T20" fmla="*/ 10 w 30"/>
                  <a:gd name="T21" fmla="*/ 10 h 14"/>
                  <a:gd name="T22" fmla="*/ 16 w 30"/>
                  <a:gd name="T23" fmla="*/ 9 h 14"/>
                  <a:gd name="T24" fmla="*/ 13 w 30"/>
                  <a:gd name="T25" fmla="*/ 9 h 14"/>
                  <a:gd name="T26" fmla="*/ 13 w 30"/>
                  <a:gd name="T27" fmla="*/ 9 h 14"/>
                  <a:gd name="T28" fmla="*/ 11 w 30"/>
                  <a:gd name="T29" fmla="*/ 7 h 14"/>
                  <a:gd name="T30" fmla="*/ 22 w 30"/>
                  <a:gd name="T31" fmla="*/ 12 h 14"/>
                  <a:gd name="T32" fmla="*/ 18 w 30"/>
                  <a:gd name="T33" fmla="*/ 11 h 14"/>
                  <a:gd name="T34" fmla="*/ 23 w 30"/>
                  <a:gd name="T35" fmla="*/ 12 h 14"/>
                  <a:gd name="T36" fmla="*/ 21 w 30"/>
                  <a:gd name="T37" fmla="*/ 2 h 14"/>
                  <a:gd name="T38" fmla="*/ 19 w 30"/>
                  <a:gd name="T39" fmla="*/ 3 h 14"/>
                  <a:gd name="T40" fmla="*/ 25 w 30"/>
                  <a:gd name="T41" fmla="*/ 3 h 14"/>
                  <a:gd name="T42" fmla="*/ 20 w 30"/>
                  <a:gd name="T43" fmla="*/ 2 h 14"/>
                  <a:gd name="T44" fmla="*/ 16 w 30"/>
                  <a:gd name="T45" fmla="*/ 3 h 14"/>
                  <a:gd name="T46" fmla="*/ 20 w 30"/>
                  <a:gd name="T47" fmla="*/ 5 h 14"/>
                  <a:gd name="T48" fmla="*/ 16 w 30"/>
                  <a:gd name="T49" fmla="*/ 1 h 14"/>
                  <a:gd name="T50" fmla="*/ 10 w 30"/>
                  <a:gd name="T51" fmla="*/ 3 h 14"/>
                  <a:gd name="T52" fmla="*/ 14 w 30"/>
                  <a:gd name="T53" fmla="*/ 3 h 14"/>
                  <a:gd name="T54" fmla="*/ 13 w 30"/>
                  <a:gd name="T55" fmla="*/ 2 h 14"/>
                  <a:gd name="T56" fmla="*/ 16 w 30"/>
                  <a:gd name="T57" fmla="*/ 7 h 14"/>
                  <a:gd name="T58" fmla="*/ 16 w 30"/>
                  <a:gd name="T59" fmla="*/ 4 h 14"/>
                  <a:gd name="T60" fmla="*/ 12 w 30"/>
                  <a:gd name="T61" fmla="*/ 1 h 14"/>
                  <a:gd name="T62" fmla="*/ 3 w 30"/>
                  <a:gd name="T63" fmla="*/ 6 h 14"/>
                  <a:gd name="T64" fmla="*/ 7 w 30"/>
                  <a:gd name="T65" fmla="*/ 8 h 14"/>
                  <a:gd name="T66" fmla="*/ 8 w 30"/>
                  <a:gd name="T67" fmla="*/ 5 h 14"/>
                  <a:gd name="T68" fmla="*/ 4 w 30"/>
                  <a:gd name="T69" fmla="*/ 3 h 14"/>
                  <a:gd name="T70" fmla="*/ 1 w 30"/>
                  <a:gd name="T71" fmla="*/ 10 h 14"/>
                  <a:gd name="T72" fmla="*/ 2 w 30"/>
                  <a:gd name="T73" fmla="*/ 11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30" h="14">
                    <a:moveTo>
                      <a:pt x="2" y="11"/>
                    </a:moveTo>
                    <a:cubicBezTo>
                      <a:pt x="3" y="10"/>
                      <a:pt x="4" y="9"/>
                      <a:pt x="5" y="8"/>
                    </a:cubicBezTo>
                    <a:cubicBezTo>
                      <a:pt x="6" y="8"/>
                      <a:pt x="7" y="7"/>
                      <a:pt x="6" y="7"/>
                    </a:cubicBezTo>
                    <a:cubicBezTo>
                      <a:pt x="5" y="6"/>
                      <a:pt x="4" y="4"/>
                      <a:pt x="3" y="3"/>
                    </a:cubicBezTo>
                    <a:cubicBezTo>
                      <a:pt x="2" y="5"/>
                      <a:pt x="1" y="7"/>
                      <a:pt x="1" y="9"/>
                    </a:cubicBezTo>
                    <a:cubicBezTo>
                      <a:pt x="0" y="12"/>
                      <a:pt x="2" y="14"/>
                      <a:pt x="5" y="13"/>
                    </a:cubicBezTo>
                    <a:cubicBezTo>
                      <a:pt x="6" y="13"/>
                      <a:pt x="7" y="13"/>
                      <a:pt x="9" y="12"/>
                    </a:cubicBezTo>
                    <a:cubicBezTo>
                      <a:pt x="9" y="11"/>
                      <a:pt x="12" y="9"/>
                      <a:pt x="12" y="9"/>
                    </a:cubicBezTo>
                    <a:cubicBezTo>
                      <a:pt x="11" y="7"/>
                      <a:pt x="9" y="6"/>
                      <a:pt x="8" y="4"/>
                    </a:cubicBezTo>
                    <a:cubicBezTo>
                      <a:pt x="8" y="5"/>
                      <a:pt x="8" y="6"/>
                      <a:pt x="8" y="6"/>
                    </a:cubicBezTo>
                    <a:cubicBezTo>
                      <a:pt x="8" y="7"/>
                      <a:pt x="9" y="9"/>
                      <a:pt x="10" y="10"/>
                    </a:cubicBezTo>
                    <a:cubicBezTo>
                      <a:pt x="12" y="11"/>
                      <a:pt x="14" y="10"/>
                      <a:pt x="16" y="9"/>
                    </a:cubicBezTo>
                    <a:cubicBezTo>
                      <a:pt x="15" y="9"/>
                      <a:pt x="14" y="9"/>
                      <a:pt x="13" y="9"/>
                    </a:cubicBezTo>
                    <a:cubicBezTo>
                      <a:pt x="13" y="9"/>
                      <a:pt x="13" y="9"/>
                      <a:pt x="13" y="9"/>
                    </a:cubicBezTo>
                    <a:cubicBezTo>
                      <a:pt x="12" y="8"/>
                      <a:pt x="12" y="8"/>
                      <a:pt x="11" y="7"/>
                    </a:cubicBezTo>
                    <a:cubicBezTo>
                      <a:pt x="12" y="13"/>
                      <a:pt x="16" y="12"/>
                      <a:pt x="22" y="12"/>
                    </a:cubicBezTo>
                    <a:cubicBezTo>
                      <a:pt x="20" y="11"/>
                      <a:pt x="19" y="11"/>
                      <a:pt x="18" y="11"/>
                    </a:cubicBezTo>
                    <a:cubicBezTo>
                      <a:pt x="19" y="12"/>
                      <a:pt x="21" y="13"/>
                      <a:pt x="23" y="12"/>
                    </a:cubicBezTo>
                    <a:cubicBezTo>
                      <a:pt x="30" y="11"/>
                      <a:pt x="27" y="0"/>
                      <a:pt x="21" y="2"/>
                    </a:cubicBezTo>
                    <a:cubicBezTo>
                      <a:pt x="20" y="2"/>
                      <a:pt x="20" y="2"/>
                      <a:pt x="19" y="3"/>
                    </a:cubicBezTo>
                    <a:cubicBezTo>
                      <a:pt x="21" y="3"/>
                      <a:pt x="23" y="3"/>
                      <a:pt x="25" y="3"/>
                    </a:cubicBezTo>
                    <a:cubicBezTo>
                      <a:pt x="23" y="2"/>
                      <a:pt x="22" y="1"/>
                      <a:pt x="20" y="2"/>
                    </a:cubicBezTo>
                    <a:cubicBezTo>
                      <a:pt x="19" y="2"/>
                      <a:pt x="17" y="3"/>
                      <a:pt x="16" y="3"/>
                    </a:cubicBezTo>
                    <a:cubicBezTo>
                      <a:pt x="17" y="4"/>
                      <a:pt x="18" y="4"/>
                      <a:pt x="20" y="5"/>
                    </a:cubicBezTo>
                    <a:cubicBezTo>
                      <a:pt x="19" y="4"/>
                      <a:pt x="18" y="2"/>
                      <a:pt x="16" y="1"/>
                    </a:cubicBezTo>
                    <a:cubicBezTo>
                      <a:pt x="14" y="0"/>
                      <a:pt x="12" y="2"/>
                      <a:pt x="10" y="3"/>
                    </a:cubicBezTo>
                    <a:cubicBezTo>
                      <a:pt x="12" y="3"/>
                      <a:pt x="13" y="3"/>
                      <a:pt x="14" y="3"/>
                    </a:cubicBezTo>
                    <a:cubicBezTo>
                      <a:pt x="13" y="2"/>
                      <a:pt x="13" y="2"/>
                      <a:pt x="13" y="2"/>
                    </a:cubicBezTo>
                    <a:cubicBezTo>
                      <a:pt x="14" y="4"/>
                      <a:pt x="15" y="5"/>
                      <a:pt x="16" y="7"/>
                    </a:cubicBezTo>
                    <a:cubicBezTo>
                      <a:pt x="16" y="6"/>
                      <a:pt x="16" y="5"/>
                      <a:pt x="16" y="4"/>
                    </a:cubicBezTo>
                    <a:cubicBezTo>
                      <a:pt x="16" y="2"/>
                      <a:pt x="14" y="1"/>
                      <a:pt x="12" y="1"/>
                    </a:cubicBezTo>
                    <a:cubicBezTo>
                      <a:pt x="8" y="1"/>
                      <a:pt x="6" y="5"/>
                      <a:pt x="3" y="6"/>
                    </a:cubicBezTo>
                    <a:cubicBezTo>
                      <a:pt x="4" y="7"/>
                      <a:pt x="6" y="7"/>
                      <a:pt x="7" y="8"/>
                    </a:cubicBezTo>
                    <a:cubicBezTo>
                      <a:pt x="8" y="7"/>
                      <a:pt x="8" y="6"/>
                      <a:pt x="8" y="5"/>
                    </a:cubicBezTo>
                    <a:cubicBezTo>
                      <a:pt x="8" y="3"/>
                      <a:pt x="6" y="1"/>
                      <a:pt x="4" y="3"/>
                    </a:cubicBezTo>
                    <a:cubicBezTo>
                      <a:pt x="1" y="4"/>
                      <a:pt x="1" y="8"/>
                      <a:pt x="1" y="10"/>
                    </a:cubicBezTo>
                    <a:cubicBezTo>
                      <a:pt x="1" y="11"/>
                      <a:pt x="2" y="11"/>
                      <a:pt x="2" y="11"/>
                    </a:cubicBezTo>
                    <a:close/>
                  </a:path>
                </a:pathLst>
              </a:custGeom>
              <a:solidFill>
                <a:srgbClr val="3C3C3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525" name="Freeform 197">
                <a:extLst>
                  <a:ext uri="{FF2B5EF4-FFF2-40B4-BE49-F238E27FC236}">
                    <a16:creationId xmlns:a16="http://schemas.microsoft.com/office/drawing/2014/main" id="{D7421C41-1EE9-4A88-AE9F-38727E1A2D65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944" y="3140"/>
                <a:ext cx="22" cy="17"/>
              </a:xfrm>
              <a:custGeom>
                <a:avLst/>
                <a:gdLst>
                  <a:gd name="T0" fmla="*/ 11 w 21"/>
                  <a:gd name="T1" fmla="*/ 16 h 16"/>
                  <a:gd name="T2" fmla="*/ 11 w 21"/>
                  <a:gd name="T3" fmla="*/ 0 h 16"/>
                  <a:gd name="T4" fmla="*/ 11 w 21"/>
                  <a:gd name="T5" fmla="*/ 16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1" h="16">
                    <a:moveTo>
                      <a:pt x="11" y="16"/>
                    </a:moveTo>
                    <a:cubicBezTo>
                      <a:pt x="21" y="16"/>
                      <a:pt x="21" y="0"/>
                      <a:pt x="11" y="0"/>
                    </a:cubicBezTo>
                    <a:cubicBezTo>
                      <a:pt x="1" y="0"/>
                      <a:pt x="0" y="16"/>
                      <a:pt x="11" y="16"/>
                    </a:cubicBezTo>
                    <a:close/>
                  </a:path>
                </a:pathLst>
              </a:custGeom>
              <a:solidFill>
                <a:srgbClr val="3C3C3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526" name="Freeform 198">
                <a:extLst>
                  <a:ext uri="{FF2B5EF4-FFF2-40B4-BE49-F238E27FC236}">
                    <a16:creationId xmlns:a16="http://schemas.microsoft.com/office/drawing/2014/main" id="{EE3D14ED-DDC4-4E32-B682-CA92215F360A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770" y="3601"/>
                <a:ext cx="210" cy="73"/>
              </a:xfrm>
              <a:custGeom>
                <a:avLst/>
                <a:gdLst>
                  <a:gd name="T0" fmla="*/ 102 w 198"/>
                  <a:gd name="T1" fmla="*/ 16 h 69"/>
                  <a:gd name="T2" fmla="*/ 177 w 198"/>
                  <a:gd name="T3" fmla="*/ 15 h 69"/>
                  <a:gd name="T4" fmla="*/ 196 w 198"/>
                  <a:gd name="T5" fmla="*/ 14 h 69"/>
                  <a:gd name="T6" fmla="*/ 196 w 198"/>
                  <a:gd name="T7" fmla="*/ 18 h 69"/>
                  <a:gd name="T8" fmla="*/ 157 w 198"/>
                  <a:gd name="T9" fmla="*/ 49 h 69"/>
                  <a:gd name="T10" fmla="*/ 84 w 198"/>
                  <a:gd name="T11" fmla="*/ 67 h 69"/>
                  <a:gd name="T12" fmla="*/ 39 w 198"/>
                  <a:gd name="T13" fmla="*/ 68 h 69"/>
                  <a:gd name="T14" fmla="*/ 11 w 198"/>
                  <a:gd name="T15" fmla="*/ 53 h 69"/>
                  <a:gd name="T16" fmla="*/ 13 w 198"/>
                  <a:gd name="T17" fmla="*/ 18 h 69"/>
                  <a:gd name="T18" fmla="*/ 37 w 198"/>
                  <a:gd name="T19" fmla="*/ 0 h 69"/>
                  <a:gd name="T20" fmla="*/ 102 w 198"/>
                  <a:gd name="T21" fmla="*/ 16 h 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98" h="69">
                    <a:moveTo>
                      <a:pt x="102" y="16"/>
                    </a:moveTo>
                    <a:cubicBezTo>
                      <a:pt x="128" y="18"/>
                      <a:pt x="152" y="16"/>
                      <a:pt x="177" y="15"/>
                    </a:cubicBezTo>
                    <a:cubicBezTo>
                      <a:pt x="183" y="15"/>
                      <a:pt x="189" y="14"/>
                      <a:pt x="196" y="14"/>
                    </a:cubicBezTo>
                    <a:cubicBezTo>
                      <a:pt x="196" y="18"/>
                      <a:pt x="196" y="18"/>
                      <a:pt x="196" y="18"/>
                    </a:cubicBezTo>
                    <a:cubicBezTo>
                      <a:pt x="198" y="37"/>
                      <a:pt x="172" y="44"/>
                      <a:pt x="157" y="49"/>
                    </a:cubicBezTo>
                    <a:cubicBezTo>
                      <a:pt x="133" y="57"/>
                      <a:pt x="110" y="65"/>
                      <a:pt x="84" y="67"/>
                    </a:cubicBezTo>
                    <a:cubicBezTo>
                      <a:pt x="69" y="68"/>
                      <a:pt x="54" y="69"/>
                      <a:pt x="39" y="68"/>
                    </a:cubicBezTo>
                    <a:cubicBezTo>
                      <a:pt x="28" y="66"/>
                      <a:pt x="19" y="60"/>
                      <a:pt x="11" y="53"/>
                    </a:cubicBezTo>
                    <a:cubicBezTo>
                      <a:pt x="0" y="42"/>
                      <a:pt x="3" y="28"/>
                      <a:pt x="13" y="18"/>
                    </a:cubicBezTo>
                    <a:cubicBezTo>
                      <a:pt x="20" y="10"/>
                      <a:pt x="27" y="2"/>
                      <a:pt x="37" y="0"/>
                    </a:cubicBezTo>
                    <a:cubicBezTo>
                      <a:pt x="54" y="16"/>
                      <a:pt x="79" y="16"/>
                      <a:pt x="102" y="16"/>
                    </a:cubicBezTo>
                    <a:close/>
                  </a:path>
                </a:pathLst>
              </a:custGeom>
              <a:solidFill>
                <a:srgbClr val="F6B84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527" name="Freeform 199">
                <a:extLst>
                  <a:ext uri="{FF2B5EF4-FFF2-40B4-BE49-F238E27FC236}">
                    <a16:creationId xmlns:a16="http://schemas.microsoft.com/office/drawing/2014/main" id="{F3DFCC05-311C-4A6C-873A-0952B7185769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7200" y="3548"/>
                <a:ext cx="234" cy="109"/>
              </a:xfrm>
              <a:custGeom>
                <a:avLst/>
                <a:gdLst>
                  <a:gd name="T0" fmla="*/ 208 w 221"/>
                  <a:gd name="T1" fmla="*/ 5 h 103"/>
                  <a:gd name="T2" fmla="*/ 220 w 221"/>
                  <a:gd name="T3" fmla="*/ 30 h 103"/>
                  <a:gd name="T4" fmla="*/ 179 w 221"/>
                  <a:gd name="T5" fmla="*/ 76 h 103"/>
                  <a:gd name="T6" fmla="*/ 112 w 221"/>
                  <a:gd name="T7" fmla="*/ 99 h 103"/>
                  <a:gd name="T8" fmla="*/ 43 w 221"/>
                  <a:gd name="T9" fmla="*/ 97 h 103"/>
                  <a:gd name="T10" fmla="*/ 3 w 221"/>
                  <a:gd name="T11" fmla="*/ 61 h 103"/>
                  <a:gd name="T12" fmla="*/ 2 w 221"/>
                  <a:gd name="T13" fmla="*/ 57 h 103"/>
                  <a:gd name="T14" fmla="*/ 12 w 221"/>
                  <a:gd name="T15" fmla="*/ 54 h 103"/>
                  <a:gd name="T16" fmla="*/ 22 w 221"/>
                  <a:gd name="T17" fmla="*/ 44 h 103"/>
                  <a:gd name="T18" fmla="*/ 20 w 221"/>
                  <a:gd name="T19" fmla="*/ 37 h 103"/>
                  <a:gd name="T20" fmla="*/ 19 w 221"/>
                  <a:gd name="T21" fmla="*/ 35 h 103"/>
                  <a:gd name="T22" fmla="*/ 24 w 221"/>
                  <a:gd name="T23" fmla="*/ 35 h 103"/>
                  <a:gd name="T24" fmla="*/ 36 w 221"/>
                  <a:gd name="T25" fmla="*/ 32 h 103"/>
                  <a:gd name="T26" fmla="*/ 52 w 221"/>
                  <a:gd name="T27" fmla="*/ 30 h 103"/>
                  <a:gd name="T28" fmla="*/ 103 w 221"/>
                  <a:gd name="T29" fmla="*/ 20 h 103"/>
                  <a:gd name="T30" fmla="*/ 144 w 221"/>
                  <a:gd name="T31" fmla="*/ 19 h 103"/>
                  <a:gd name="T32" fmla="*/ 173 w 221"/>
                  <a:gd name="T33" fmla="*/ 14 h 103"/>
                  <a:gd name="T34" fmla="*/ 172 w 221"/>
                  <a:gd name="T35" fmla="*/ 13 h 103"/>
                  <a:gd name="T36" fmla="*/ 177 w 221"/>
                  <a:gd name="T37" fmla="*/ 11 h 103"/>
                  <a:gd name="T38" fmla="*/ 190 w 221"/>
                  <a:gd name="T39" fmla="*/ 5 h 103"/>
                  <a:gd name="T40" fmla="*/ 198 w 221"/>
                  <a:gd name="T41" fmla="*/ 0 h 103"/>
                  <a:gd name="T42" fmla="*/ 208 w 221"/>
                  <a:gd name="T43" fmla="*/ 5 h 1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221" h="103">
                    <a:moveTo>
                      <a:pt x="208" y="5"/>
                    </a:moveTo>
                    <a:cubicBezTo>
                      <a:pt x="215" y="11"/>
                      <a:pt x="221" y="20"/>
                      <a:pt x="220" y="30"/>
                    </a:cubicBezTo>
                    <a:cubicBezTo>
                      <a:pt x="217" y="51"/>
                      <a:pt x="197" y="67"/>
                      <a:pt x="179" y="76"/>
                    </a:cubicBezTo>
                    <a:cubicBezTo>
                      <a:pt x="158" y="87"/>
                      <a:pt x="135" y="95"/>
                      <a:pt x="112" y="99"/>
                    </a:cubicBezTo>
                    <a:cubicBezTo>
                      <a:pt x="89" y="103"/>
                      <a:pt x="65" y="100"/>
                      <a:pt x="43" y="97"/>
                    </a:cubicBezTo>
                    <a:cubicBezTo>
                      <a:pt x="25" y="96"/>
                      <a:pt x="0" y="82"/>
                      <a:pt x="3" y="61"/>
                    </a:cubicBezTo>
                    <a:cubicBezTo>
                      <a:pt x="2" y="57"/>
                      <a:pt x="2" y="57"/>
                      <a:pt x="2" y="57"/>
                    </a:cubicBezTo>
                    <a:cubicBezTo>
                      <a:pt x="5" y="56"/>
                      <a:pt x="9" y="55"/>
                      <a:pt x="12" y="54"/>
                    </a:cubicBezTo>
                    <a:cubicBezTo>
                      <a:pt x="16" y="51"/>
                      <a:pt x="21" y="49"/>
                      <a:pt x="22" y="44"/>
                    </a:cubicBezTo>
                    <a:cubicBezTo>
                      <a:pt x="22" y="42"/>
                      <a:pt x="21" y="39"/>
                      <a:pt x="20" y="37"/>
                    </a:cubicBezTo>
                    <a:cubicBezTo>
                      <a:pt x="19" y="36"/>
                      <a:pt x="19" y="36"/>
                      <a:pt x="19" y="35"/>
                    </a:cubicBezTo>
                    <a:cubicBezTo>
                      <a:pt x="20" y="35"/>
                      <a:pt x="23" y="36"/>
                      <a:pt x="24" y="35"/>
                    </a:cubicBezTo>
                    <a:cubicBezTo>
                      <a:pt x="29" y="34"/>
                      <a:pt x="31" y="34"/>
                      <a:pt x="36" y="32"/>
                    </a:cubicBezTo>
                    <a:cubicBezTo>
                      <a:pt x="42" y="31"/>
                      <a:pt x="46" y="31"/>
                      <a:pt x="52" y="30"/>
                    </a:cubicBezTo>
                    <a:cubicBezTo>
                      <a:pt x="69" y="27"/>
                      <a:pt x="85" y="23"/>
                      <a:pt x="103" y="20"/>
                    </a:cubicBezTo>
                    <a:cubicBezTo>
                      <a:pt x="116" y="19"/>
                      <a:pt x="130" y="18"/>
                      <a:pt x="144" y="19"/>
                    </a:cubicBezTo>
                    <a:cubicBezTo>
                      <a:pt x="152" y="19"/>
                      <a:pt x="166" y="20"/>
                      <a:pt x="173" y="14"/>
                    </a:cubicBezTo>
                    <a:cubicBezTo>
                      <a:pt x="172" y="13"/>
                      <a:pt x="172" y="13"/>
                      <a:pt x="172" y="13"/>
                    </a:cubicBezTo>
                    <a:cubicBezTo>
                      <a:pt x="174" y="12"/>
                      <a:pt x="175" y="12"/>
                      <a:pt x="177" y="11"/>
                    </a:cubicBezTo>
                    <a:cubicBezTo>
                      <a:pt x="182" y="10"/>
                      <a:pt x="187" y="9"/>
                      <a:pt x="190" y="5"/>
                    </a:cubicBezTo>
                    <a:cubicBezTo>
                      <a:pt x="193" y="3"/>
                      <a:pt x="195" y="2"/>
                      <a:pt x="198" y="0"/>
                    </a:cubicBezTo>
                    <a:cubicBezTo>
                      <a:pt x="200" y="2"/>
                      <a:pt x="204" y="3"/>
                      <a:pt x="208" y="5"/>
                    </a:cubicBezTo>
                    <a:close/>
                  </a:path>
                </a:pathLst>
              </a:custGeom>
              <a:solidFill>
                <a:srgbClr val="F6B84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528" name="Freeform 200">
                <a:extLst>
                  <a:ext uri="{FF2B5EF4-FFF2-40B4-BE49-F238E27FC236}">
                    <a16:creationId xmlns:a16="http://schemas.microsoft.com/office/drawing/2014/main" id="{85064DC6-9E27-4386-9A01-5D47E4207DC7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7570" y="3245"/>
                <a:ext cx="94" cy="94"/>
              </a:xfrm>
              <a:custGeom>
                <a:avLst/>
                <a:gdLst>
                  <a:gd name="T0" fmla="*/ 0 w 89"/>
                  <a:gd name="T1" fmla="*/ 87 h 89"/>
                  <a:gd name="T2" fmla="*/ 19 w 89"/>
                  <a:gd name="T3" fmla="*/ 64 h 89"/>
                  <a:gd name="T4" fmla="*/ 65 w 89"/>
                  <a:gd name="T5" fmla="*/ 0 h 89"/>
                  <a:gd name="T6" fmla="*/ 71 w 89"/>
                  <a:gd name="T7" fmla="*/ 6 h 89"/>
                  <a:gd name="T8" fmla="*/ 85 w 89"/>
                  <a:gd name="T9" fmla="*/ 18 h 89"/>
                  <a:gd name="T10" fmla="*/ 73 w 89"/>
                  <a:gd name="T11" fmla="*/ 51 h 89"/>
                  <a:gd name="T12" fmla="*/ 32 w 89"/>
                  <a:gd name="T13" fmla="*/ 79 h 89"/>
                  <a:gd name="T14" fmla="*/ 2 w 89"/>
                  <a:gd name="T15" fmla="*/ 89 h 89"/>
                  <a:gd name="T16" fmla="*/ 0 w 89"/>
                  <a:gd name="T17" fmla="*/ 87 h 8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89" h="89">
                    <a:moveTo>
                      <a:pt x="0" y="87"/>
                    </a:moveTo>
                    <a:cubicBezTo>
                      <a:pt x="6" y="79"/>
                      <a:pt x="13" y="72"/>
                      <a:pt x="19" y="64"/>
                    </a:cubicBezTo>
                    <a:cubicBezTo>
                      <a:pt x="35" y="44"/>
                      <a:pt x="50" y="22"/>
                      <a:pt x="65" y="0"/>
                    </a:cubicBezTo>
                    <a:cubicBezTo>
                      <a:pt x="66" y="3"/>
                      <a:pt x="69" y="4"/>
                      <a:pt x="71" y="6"/>
                    </a:cubicBezTo>
                    <a:cubicBezTo>
                      <a:pt x="76" y="8"/>
                      <a:pt x="82" y="11"/>
                      <a:pt x="85" y="18"/>
                    </a:cubicBezTo>
                    <a:cubicBezTo>
                      <a:pt x="89" y="29"/>
                      <a:pt x="81" y="44"/>
                      <a:pt x="73" y="51"/>
                    </a:cubicBezTo>
                    <a:cubicBezTo>
                      <a:pt x="61" y="63"/>
                      <a:pt x="47" y="72"/>
                      <a:pt x="32" y="79"/>
                    </a:cubicBezTo>
                    <a:cubicBezTo>
                      <a:pt x="22" y="82"/>
                      <a:pt x="11" y="89"/>
                      <a:pt x="2" y="89"/>
                    </a:cubicBezTo>
                    <a:lnTo>
                      <a:pt x="0" y="87"/>
                    </a:lnTo>
                    <a:close/>
                  </a:path>
                </a:pathLst>
              </a:custGeom>
              <a:solidFill>
                <a:srgbClr val="F6B84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529" name="Freeform 201">
                <a:extLst>
                  <a:ext uri="{FF2B5EF4-FFF2-40B4-BE49-F238E27FC236}">
                    <a16:creationId xmlns:a16="http://schemas.microsoft.com/office/drawing/2014/main" id="{16B21808-8047-4B71-B485-E844DF883220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7240" y="2984"/>
                <a:ext cx="134" cy="66"/>
              </a:xfrm>
              <a:custGeom>
                <a:avLst/>
                <a:gdLst>
                  <a:gd name="T0" fmla="*/ 10 w 126"/>
                  <a:gd name="T1" fmla="*/ 22 h 62"/>
                  <a:gd name="T2" fmla="*/ 2 w 126"/>
                  <a:gd name="T3" fmla="*/ 16 h 62"/>
                  <a:gd name="T4" fmla="*/ 0 w 126"/>
                  <a:gd name="T5" fmla="*/ 16 h 62"/>
                  <a:gd name="T6" fmla="*/ 0 w 126"/>
                  <a:gd name="T7" fmla="*/ 16 h 62"/>
                  <a:gd name="T8" fmla="*/ 17 w 126"/>
                  <a:gd name="T9" fmla="*/ 14 h 62"/>
                  <a:gd name="T10" fmla="*/ 74 w 126"/>
                  <a:gd name="T11" fmla="*/ 6 h 62"/>
                  <a:gd name="T12" fmla="*/ 125 w 126"/>
                  <a:gd name="T13" fmla="*/ 0 h 62"/>
                  <a:gd name="T14" fmla="*/ 126 w 126"/>
                  <a:gd name="T15" fmla="*/ 15 h 62"/>
                  <a:gd name="T16" fmla="*/ 116 w 126"/>
                  <a:gd name="T17" fmla="*/ 24 h 62"/>
                  <a:gd name="T18" fmla="*/ 97 w 126"/>
                  <a:gd name="T19" fmla="*/ 31 h 62"/>
                  <a:gd name="T20" fmla="*/ 84 w 126"/>
                  <a:gd name="T21" fmla="*/ 41 h 62"/>
                  <a:gd name="T22" fmla="*/ 75 w 126"/>
                  <a:gd name="T23" fmla="*/ 43 h 62"/>
                  <a:gd name="T24" fmla="*/ 76 w 126"/>
                  <a:gd name="T25" fmla="*/ 44 h 62"/>
                  <a:gd name="T26" fmla="*/ 87 w 126"/>
                  <a:gd name="T27" fmla="*/ 46 h 62"/>
                  <a:gd name="T28" fmla="*/ 107 w 126"/>
                  <a:gd name="T29" fmla="*/ 54 h 62"/>
                  <a:gd name="T30" fmla="*/ 103 w 126"/>
                  <a:gd name="T31" fmla="*/ 55 h 62"/>
                  <a:gd name="T32" fmla="*/ 87 w 126"/>
                  <a:gd name="T33" fmla="*/ 57 h 62"/>
                  <a:gd name="T34" fmla="*/ 52 w 126"/>
                  <a:gd name="T35" fmla="*/ 60 h 62"/>
                  <a:gd name="T36" fmla="*/ 37 w 126"/>
                  <a:gd name="T37" fmla="*/ 62 h 62"/>
                  <a:gd name="T38" fmla="*/ 27 w 126"/>
                  <a:gd name="T39" fmla="*/ 61 h 62"/>
                  <a:gd name="T40" fmla="*/ 25 w 126"/>
                  <a:gd name="T41" fmla="*/ 61 h 62"/>
                  <a:gd name="T42" fmla="*/ 24 w 126"/>
                  <a:gd name="T43" fmla="*/ 48 h 62"/>
                  <a:gd name="T44" fmla="*/ 19 w 126"/>
                  <a:gd name="T45" fmla="*/ 35 h 62"/>
                  <a:gd name="T46" fmla="*/ 16 w 126"/>
                  <a:gd name="T47" fmla="*/ 34 h 62"/>
                  <a:gd name="T48" fmla="*/ 17 w 126"/>
                  <a:gd name="T49" fmla="*/ 33 h 62"/>
                  <a:gd name="T50" fmla="*/ 16 w 126"/>
                  <a:gd name="T51" fmla="*/ 26 h 62"/>
                  <a:gd name="T52" fmla="*/ 10 w 126"/>
                  <a:gd name="T53" fmla="*/ 22 h 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126" h="62">
                    <a:moveTo>
                      <a:pt x="10" y="22"/>
                    </a:moveTo>
                    <a:cubicBezTo>
                      <a:pt x="9" y="19"/>
                      <a:pt x="5" y="16"/>
                      <a:pt x="2" y="16"/>
                    </a:cubicBezTo>
                    <a:cubicBezTo>
                      <a:pt x="0" y="16"/>
                      <a:pt x="0" y="16"/>
                      <a:pt x="0" y="16"/>
                    </a:cubicBezTo>
                    <a:cubicBezTo>
                      <a:pt x="0" y="16"/>
                      <a:pt x="0" y="16"/>
                      <a:pt x="0" y="16"/>
                    </a:cubicBezTo>
                    <a:cubicBezTo>
                      <a:pt x="17" y="14"/>
                      <a:pt x="17" y="14"/>
                      <a:pt x="17" y="14"/>
                    </a:cubicBezTo>
                    <a:cubicBezTo>
                      <a:pt x="36" y="9"/>
                      <a:pt x="56" y="9"/>
                      <a:pt x="74" y="6"/>
                    </a:cubicBezTo>
                    <a:cubicBezTo>
                      <a:pt x="91" y="4"/>
                      <a:pt x="108" y="2"/>
                      <a:pt x="125" y="0"/>
                    </a:cubicBezTo>
                    <a:cubicBezTo>
                      <a:pt x="126" y="15"/>
                      <a:pt x="126" y="15"/>
                      <a:pt x="126" y="15"/>
                    </a:cubicBezTo>
                    <a:cubicBezTo>
                      <a:pt x="123" y="19"/>
                      <a:pt x="119" y="21"/>
                      <a:pt x="116" y="24"/>
                    </a:cubicBezTo>
                    <a:cubicBezTo>
                      <a:pt x="110" y="25"/>
                      <a:pt x="104" y="28"/>
                      <a:pt x="97" y="31"/>
                    </a:cubicBezTo>
                    <a:cubicBezTo>
                      <a:pt x="93" y="34"/>
                      <a:pt x="88" y="38"/>
                      <a:pt x="84" y="41"/>
                    </a:cubicBezTo>
                    <a:cubicBezTo>
                      <a:pt x="81" y="42"/>
                      <a:pt x="78" y="42"/>
                      <a:pt x="75" y="43"/>
                    </a:cubicBezTo>
                    <a:cubicBezTo>
                      <a:pt x="76" y="44"/>
                      <a:pt x="76" y="44"/>
                      <a:pt x="76" y="44"/>
                    </a:cubicBezTo>
                    <a:cubicBezTo>
                      <a:pt x="79" y="45"/>
                      <a:pt x="84" y="46"/>
                      <a:pt x="87" y="46"/>
                    </a:cubicBezTo>
                    <a:cubicBezTo>
                      <a:pt x="94" y="48"/>
                      <a:pt x="100" y="51"/>
                      <a:pt x="107" y="54"/>
                    </a:cubicBezTo>
                    <a:cubicBezTo>
                      <a:pt x="106" y="54"/>
                      <a:pt x="105" y="54"/>
                      <a:pt x="103" y="55"/>
                    </a:cubicBezTo>
                    <a:cubicBezTo>
                      <a:pt x="97" y="56"/>
                      <a:pt x="92" y="56"/>
                      <a:pt x="87" y="57"/>
                    </a:cubicBezTo>
                    <a:cubicBezTo>
                      <a:pt x="75" y="59"/>
                      <a:pt x="64" y="60"/>
                      <a:pt x="52" y="60"/>
                    </a:cubicBezTo>
                    <a:cubicBezTo>
                      <a:pt x="46" y="61"/>
                      <a:pt x="41" y="61"/>
                      <a:pt x="37" y="62"/>
                    </a:cubicBezTo>
                    <a:cubicBezTo>
                      <a:pt x="33" y="61"/>
                      <a:pt x="30" y="62"/>
                      <a:pt x="27" y="61"/>
                    </a:cubicBezTo>
                    <a:cubicBezTo>
                      <a:pt x="25" y="61"/>
                      <a:pt x="25" y="61"/>
                      <a:pt x="25" y="61"/>
                    </a:cubicBezTo>
                    <a:cubicBezTo>
                      <a:pt x="25" y="57"/>
                      <a:pt x="25" y="52"/>
                      <a:pt x="24" y="48"/>
                    </a:cubicBezTo>
                    <a:cubicBezTo>
                      <a:pt x="23" y="44"/>
                      <a:pt x="19" y="40"/>
                      <a:pt x="19" y="35"/>
                    </a:cubicBezTo>
                    <a:cubicBezTo>
                      <a:pt x="16" y="34"/>
                      <a:pt x="16" y="34"/>
                      <a:pt x="16" y="34"/>
                    </a:cubicBezTo>
                    <a:cubicBezTo>
                      <a:pt x="17" y="33"/>
                      <a:pt x="17" y="33"/>
                      <a:pt x="17" y="33"/>
                    </a:cubicBezTo>
                    <a:cubicBezTo>
                      <a:pt x="18" y="29"/>
                      <a:pt x="17" y="27"/>
                      <a:pt x="16" y="26"/>
                    </a:cubicBezTo>
                    <a:cubicBezTo>
                      <a:pt x="15" y="24"/>
                      <a:pt x="13" y="23"/>
                      <a:pt x="10" y="22"/>
                    </a:cubicBezTo>
                    <a:close/>
                  </a:path>
                </a:pathLst>
              </a:custGeom>
              <a:solidFill>
                <a:srgbClr val="F6B84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530" name="Freeform 202">
                <a:extLst>
                  <a:ext uri="{FF2B5EF4-FFF2-40B4-BE49-F238E27FC236}">
                    <a16:creationId xmlns:a16="http://schemas.microsoft.com/office/drawing/2014/main" id="{BC502E01-9CF1-4734-B269-84507F3F30B1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7320" y="2981"/>
                <a:ext cx="213" cy="60"/>
              </a:xfrm>
              <a:custGeom>
                <a:avLst/>
                <a:gdLst>
                  <a:gd name="T0" fmla="*/ 9 w 201"/>
                  <a:gd name="T1" fmla="*/ 44 h 57"/>
                  <a:gd name="T2" fmla="*/ 22 w 201"/>
                  <a:gd name="T3" fmla="*/ 34 h 57"/>
                  <a:gd name="T4" fmla="*/ 41 w 201"/>
                  <a:gd name="T5" fmla="*/ 27 h 57"/>
                  <a:gd name="T6" fmla="*/ 51 w 201"/>
                  <a:gd name="T7" fmla="*/ 18 h 57"/>
                  <a:gd name="T8" fmla="*/ 50 w 201"/>
                  <a:gd name="T9" fmla="*/ 3 h 57"/>
                  <a:gd name="T10" fmla="*/ 89 w 201"/>
                  <a:gd name="T11" fmla="*/ 2 h 57"/>
                  <a:gd name="T12" fmla="*/ 155 w 201"/>
                  <a:gd name="T13" fmla="*/ 1 h 57"/>
                  <a:gd name="T14" fmla="*/ 171 w 201"/>
                  <a:gd name="T15" fmla="*/ 0 h 57"/>
                  <a:gd name="T16" fmla="*/ 184 w 201"/>
                  <a:gd name="T17" fmla="*/ 6 h 57"/>
                  <a:gd name="T18" fmla="*/ 197 w 201"/>
                  <a:gd name="T19" fmla="*/ 19 h 57"/>
                  <a:gd name="T20" fmla="*/ 201 w 201"/>
                  <a:gd name="T21" fmla="*/ 22 h 57"/>
                  <a:gd name="T22" fmla="*/ 201 w 201"/>
                  <a:gd name="T23" fmla="*/ 25 h 57"/>
                  <a:gd name="T24" fmla="*/ 149 w 201"/>
                  <a:gd name="T25" fmla="*/ 34 h 57"/>
                  <a:gd name="T26" fmla="*/ 119 w 201"/>
                  <a:gd name="T27" fmla="*/ 38 h 57"/>
                  <a:gd name="T28" fmla="*/ 87 w 201"/>
                  <a:gd name="T29" fmla="*/ 45 h 57"/>
                  <a:gd name="T30" fmla="*/ 47 w 201"/>
                  <a:gd name="T31" fmla="*/ 53 h 57"/>
                  <a:gd name="T32" fmla="*/ 32 w 201"/>
                  <a:gd name="T33" fmla="*/ 57 h 57"/>
                  <a:gd name="T34" fmla="*/ 12 w 201"/>
                  <a:gd name="T35" fmla="*/ 49 h 57"/>
                  <a:gd name="T36" fmla="*/ 1 w 201"/>
                  <a:gd name="T37" fmla="*/ 47 h 57"/>
                  <a:gd name="T38" fmla="*/ 0 w 201"/>
                  <a:gd name="T39" fmla="*/ 46 h 57"/>
                  <a:gd name="T40" fmla="*/ 9 w 201"/>
                  <a:gd name="T41" fmla="*/ 44 h 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01" h="57">
                    <a:moveTo>
                      <a:pt x="9" y="44"/>
                    </a:moveTo>
                    <a:cubicBezTo>
                      <a:pt x="13" y="41"/>
                      <a:pt x="18" y="37"/>
                      <a:pt x="22" y="34"/>
                    </a:cubicBezTo>
                    <a:cubicBezTo>
                      <a:pt x="29" y="31"/>
                      <a:pt x="35" y="28"/>
                      <a:pt x="41" y="27"/>
                    </a:cubicBezTo>
                    <a:cubicBezTo>
                      <a:pt x="44" y="24"/>
                      <a:pt x="48" y="22"/>
                      <a:pt x="51" y="18"/>
                    </a:cubicBezTo>
                    <a:cubicBezTo>
                      <a:pt x="50" y="3"/>
                      <a:pt x="50" y="3"/>
                      <a:pt x="50" y="3"/>
                    </a:cubicBezTo>
                    <a:cubicBezTo>
                      <a:pt x="63" y="2"/>
                      <a:pt x="76" y="2"/>
                      <a:pt x="89" y="2"/>
                    </a:cubicBezTo>
                    <a:cubicBezTo>
                      <a:pt x="111" y="3"/>
                      <a:pt x="133" y="0"/>
                      <a:pt x="155" y="1"/>
                    </a:cubicBezTo>
                    <a:cubicBezTo>
                      <a:pt x="161" y="1"/>
                      <a:pt x="166" y="0"/>
                      <a:pt x="171" y="0"/>
                    </a:cubicBezTo>
                    <a:cubicBezTo>
                      <a:pt x="177" y="0"/>
                      <a:pt x="182" y="4"/>
                      <a:pt x="184" y="6"/>
                    </a:cubicBezTo>
                    <a:cubicBezTo>
                      <a:pt x="190" y="11"/>
                      <a:pt x="193" y="15"/>
                      <a:pt x="197" y="19"/>
                    </a:cubicBezTo>
                    <a:cubicBezTo>
                      <a:pt x="197" y="20"/>
                      <a:pt x="199" y="22"/>
                      <a:pt x="201" y="22"/>
                    </a:cubicBezTo>
                    <a:cubicBezTo>
                      <a:pt x="201" y="25"/>
                      <a:pt x="201" y="25"/>
                      <a:pt x="201" y="25"/>
                    </a:cubicBezTo>
                    <a:cubicBezTo>
                      <a:pt x="183" y="27"/>
                      <a:pt x="166" y="32"/>
                      <a:pt x="149" y="34"/>
                    </a:cubicBezTo>
                    <a:cubicBezTo>
                      <a:pt x="139" y="36"/>
                      <a:pt x="130" y="35"/>
                      <a:pt x="119" y="38"/>
                    </a:cubicBezTo>
                    <a:cubicBezTo>
                      <a:pt x="109" y="39"/>
                      <a:pt x="97" y="42"/>
                      <a:pt x="87" y="45"/>
                    </a:cubicBezTo>
                    <a:cubicBezTo>
                      <a:pt x="74" y="48"/>
                      <a:pt x="60" y="50"/>
                      <a:pt x="47" y="53"/>
                    </a:cubicBezTo>
                    <a:cubicBezTo>
                      <a:pt x="42" y="54"/>
                      <a:pt x="37" y="55"/>
                      <a:pt x="32" y="57"/>
                    </a:cubicBezTo>
                    <a:cubicBezTo>
                      <a:pt x="25" y="54"/>
                      <a:pt x="19" y="51"/>
                      <a:pt x="12" y="49"/>
                    </a:cubicBezTo>
                    <a:cubicBezTo>
                      <a:pt x="9" y="49"/>
                      <a:pt x="4" y="48"/>
                      <a:pt x="1" y="47"/>
                    </a:cubicBezTo>
                    <a:cubicBezTo>
                      <a:pt x="0" y="46"/>
                      <a:pt x="0" y="46"/>
                      <a:pt x="0" y="46"/>
                    </a:cubicBezTo>
                    <a:cubicBezTo>
                      <a:pt x="3" y="45"/>
                      <a:pt x="6" y="45"/>
                      <a:pt x="9" y="44"/>
                    </a:cubicBezTo>
                    <a:close/>
                  </a:path>
                </a:pathLst>
              </a:custGeom>
              <a:solidFill>
                <a:srgbClr val="F6B84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531" name="Freeform 203">
                <a:extLst>
                  <a:ext uri="{FF2B5EF4-FFF2-40B4-BE49-F238E27FC236}">
                    <a16:creationId xmlns:a16="http://schemas.microsoft.com/office/drawing/2014/main" id="{288D7F91-2C0E-4920-82B7-050C9AD4D578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7140" y="3353"/>
                <a:ext cx="58" cy="193"/>
              </a:xfrm>
              <a:custGeom>
                <a:avLst/>
                <a:gdLst>
                  <a:gd name="T0" fmla="*/ 9 w 55"/>
                  <a:gd name="T1" fmla="*/ 166 h 183"/>
                  <a:gd name="T2" fmla="*/ 2 w 55"/>
                  <a:gd name="T3" fmla="*/ 94 h 183"/>
                  <a:gd name="T4" fmla="*/ 19 w 55"/>
                  <a:gd name="T5" fmla="*/ 23 h 183"/>
                  <a:gd name="T6" fmla="*/ 22 w 55"/>
                  <a:gd name="T7" fmla="*/ 0 h 183"/>
                  <a:gd name="T8" fmla="*/ 29 w 55"/>
                  <a:gd name="T9" fmla="*/ 0 h 183"/>
                  <a:gd name="T10" fmla="*/ 45 w 55"/>
                  <a:gd name="T11" fmla="*/ 1 h 183"/>
                  <a:gd name="T12" fmla="*/ 41 w 55"/>
                  <a:gd name="T13" fmla="*/ 41 h 183"/>
                  <a:gd name="T14" fmla="*/ 33 w 55"/>
                  <a:gd name="T15" fmla="*/ 97 h 183"/>
                  <a:gd name="T16" fmla="*/ 37 w 55"/>
                  <a:gd name="T17" fmla="*/ 137 h 183"/>
                  <a:gd name="T18" fmla="*/ 40 w 55"/>
                  <a:gd name="T19" fmla="*/ 161 h 183"/>
                  <a:gd name="T20" fmla="*/ 41 w 55"/>
                  <a:gd name="T21" fmla="*/ 165 h 183"/>
                  <a:gd name="T22" fmla="*/ 37 w 55"/>
                  <a:gd name="T23" fmla="*/ 166 h 183"/>
                  <a:gd name="T24" fmla="*/ 16 w 55"/>
                  <a:gd name="T25" fmla="*/ 182 h 183"/>
                  <a:gd name="T26" fmla="*/ 13 w 55"/>
                  <a:gd name="T27" fmla="*/ 183 h 183"/>
                  <a:gd name="T28" fmla="*/ 13 w 55"/>
                  <a:gd name="T29" fmla="*/ 182 h 183"/>
                  <a:gd name="T30" fmla="*/ 9 w 55"/>
                  <a:gd name="T31" fmla="*/ 166 h 1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55" h="183">
                    <a:moveTo>
                      <a:pt x="9" y="166"/>
                    </a:moveTo>
                    <a:cubicBezTo>
                      <a:pt x="3" y="142"/>
                      <a:pt x="0" y="118"/>
                      <a:pt x="2" y="94"/>
                    </a:cubicBezTo>
                    <a:cubicBezTo>
                      <a:pt x="3" y="71"/>
                      <a:pt x="8" y="45"/>
                      <a:pt x="19" y="23"/>
                    </a:cubicBezTo>
                    <a:cubicBezTo>
                      <a:pt x="22" y="0"/>
                      <a:pt x="22" y="0"/>
                      <a:pt x="22" y="0"/>
                    </a:cubicBezTo>
                    <a:cubicBezTo>
                      <a:pt x="25" y="0"/>
                      <a:pt x="27" y="0"/>
                      <a:pt x="29" y="0"/>
                    </a:cubicBezTo>
                    <a:cubicBezTo>
                      <a:pt x="45" y="1"/>
                      <a:pt x="45" y="1"/>
                      <a:pt x="45" y="1"/>
                    </a:cubicBezTo>
                    <a:cubicBezTo>
                      <a:pt x="55" y="10"/>
                      <a:pt x="45" y="31"/>
                      <a:pt x="41" y="41"/>
                    </a:cubicBezTo>
                    <a:cubicBezTo>
                      <a:pt x="35" y="60"/>
                      <a:pt x="33" y="77"/>
                      <a:pt x="33" y="97"/>
                    </a:cubicBezTo>
                    <a:cubicBezTo>
                      <a:pt x="32" y="110"/>
                      <a:pt x="34" y="124"/>
                      <a:pt x="37" y="137"/>
                    </a:cubicBezTo>
                    <a:cubicBezTo>
                      <a:pt x="38" y="144"/>
                      <a:pt x="39" y="153"/>
                      <a:pt x="40" y="161"/>
                    </a:cubicBezTo>
                    <a:cubicBezTo>
                      <a:pt x="41" y="163"/>
                      <a:pt x="41" y="164"/>
                      <a:pt x="41" y="165"/>
                    </a:cubicBezTo>
                    <a:cubicBezTo>
                      <a:pt x="37" y="166"/>
                      <a:pt x="37" y="166"/>
                      <a:pt x="37" y="166"/>
                    </a:cubicBezTo>
                    <a:cubicBezTo>
                      <a:pt x="31" y="174"/>
                      <a:pt x="25" y="180"/>
                      <a:pt x="16" y="182"/>
                    </a:cubicBezTo>
                    <a:cubicBezTo>
                      <a:pt x="13" y="183"/>
                      <a:pt x="13" y="183"/>
                      <a:pt x="13" y="183"/>
                    </a:cubicBezTo>
                    <a:cubicBezTo>
                      <a:pt x="13" y="183"/>
                      <a:pt x="13" y="182"/>
                      <a:pt x="13" y="182"/>
                    </a:cubicBezTo>
                    <a:cubicBezTo>
                      <a:pt x="11" y="176"/>
                      <a:pt x="10" y="171"/>
                      <a:pt x="9" y="166"/>
                    </a:cubicBezTo>
                    <a:close/>
                  </a:path>
                </a:pathLst>
              </a:custGeom>
              <a:solidFill>
                <a:srgbClr val="F6B84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532" name="Freeform 204">
                <a:extLst>
                  <a:ext uri="{FF2B5EF4-FFF2-40B4-BE49-F238E27FC236}">
                    <a16:creationId xmlns:a16="http://schemas.microsoft.com/office/drawing/2014/main" id="{DE77CA31-E794-4FE1-8B0F-2341A5C0DD60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770" y="3527"/>
                <a:ext cx="453" cy="93"/>
              </a:xfrm>
              <a:custGeom>
                <a:avLst/>
                <a:gdLst>
                  <a:gd name="T0" fmla="*/ 24 w 428"/>
                  <a:gd name="T1" fmla="*/ 59 h 88"/>
                  <a:gd name="T2" fmla="*/ 0 w 428"/>
                  <a:gd name="T3" fmla="*/ 29 h 88"/>
                  <a:gd name="T4" fmla="*/ 13 w 428"/>
                  <a:gd name="T5" fmla="*/ 28 h 88"/>
                  <a:gd name="T6" fmla="*/ 179 w 428"/>
                  <a:gd name="T7" fmla="*/ 25 h 88"/>
                  <a:gd name="T8" fmla="*/ 298 w 428"/>
                  <a:gd name="T9" fmla="*/ 18 h 88"/>
                  <a:gd name="T10" fmla="*/ 330 w 428"/>
                  <a:gd name="T11" fmla="*/ 17 h 88"/>
                  <a:gd name="T12" fmla="*/ 349 w 428"/>
                  <a:gd name="T13" fmla="*/ 17 h 88"/>
                  <a:gd name="T14" fmla="*/ 360 w 428"/>
                  <a:gd name="T15" fmla="*/ 17 h 88"/>
                  <a:gd name="T16" fmla="*/ 362 w 428"/>
                  <a:gd name="T17" fmla="*/ 17 h 88"/>
                  <a:gd name="T18" fmla="*/ 362 w 428"/>
                  <a:gd name="T19" fmla="*/ 18 h 88"/>
                  <a:gd name="T20" fmla="*/ 365 w 428"/>
                  <a:gd name="T21" fmla="*/ 17 h 88"/>
                  <a:gd name="T22" fmla="*/ 386 w 428"/>
                  <a:gd name="T23" fmla="*/ 1 h 88"/>
                  <a:gd name="T24" fmla="*/ 390 w 428"/>
                  <a:gd name="T25" fmla="*/ 0 h 88"/>
                  <a:gd name="T26" fmla="*/ 391 w 428"/>
                  <a:gd name="T27" fmla="*/ 6 h 88"/>
                  <a:gd name="T28" fmla="*/ 423 w 428"/>
                  <a:gd name="T29" fmla="*/ 59 h 88"/>
                  <a:gd name="T30" fmla="*/ 426 w 428"/>
                  <a:gd name="T31" fmla="*/ 57 h 88"/>
                  <a:gd name="T32" fmla="*/ 428 w 428"/>
                  <a:gd name="T33" fmla="*/ 64 h 88"/>
                  <a:gd name="T34" fmla="*/ 418 w 428"/>
                  <a:gd name="T35" fmla="*/ 74 h 88"/>
                  <a:gd name="T36" fmla="*/ 408 w 428"/>
                  <a:gd name="T37" fmla="*/ 77 h 88"/>
                  <a:gd name="T38" fmla="*/ 390 w 428"/>
                  <a:gd name="T39" fmla="*/ 81 h 88"/>
                  <a:gd name="T40" fmla="*/ 309 w 428"/>
                  <a:gd name="T41" fmla="*/ 81 h 88"/>
                  <a:gd name="T42" fmla="*/ 257 w 428"/>
                  <a:gd name="T43" fmla="*/ 83 h 88"/>
                  <a:gd name="T44" fmla="*/ 196 w 428"/>
                  <a:gd name="T45" fmla="*/ 84 h 88"/>
                  <a:gd name="T46" fmla="*/ 177 w 428"/>
                  <a:gd name="T47" fmla="*/ 85 h 88"/>
                  <a:gd name="T48" fmla="*/ 102 w 428"/>
                  <a:gd name="T49" fmla="*/ 86 h 88"/>
                  <a:gd name="T50" fmla="*/ 37 w 428"/>
                  <a:gd name="T51" fmla="*/ 70 h 88"/>
                  <a:gd name="T52" fmla="*/ 33 w 428"/>
                  <a:gd name="T53" fmla="*/ 65 h 88"/>
                  <a:gd name="T54" fmla="*/ 31 w 428"/>
                  <a:gd name="T55" fmla="*/ 62 h 88"/>
                  <a:gd name="T56" fmla="*/ 24 w 428"/>
                  <a:gd name="T57" fmla="*/ 59 h 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428" h="88">
                    <a:moveTo>
                      <a:pt x="24" y="59"/>
                    </a:moveTo>
                    <a:cubicBezTo>
                      <a:pt x="15" y="50"/>
                      <a:pt x="7" y="40"/>
                      <a:pt x="0" y="29"/>
                    </a:cubicBezTo>
                    <a:cubicBezTo>
                      <a:pt x="13" y="28"/>
                      <a:pt x="13" y="28"/>
                      <a:pt x="13" y="28"/>
                    </a:cubicBezTo>
                    <a:cubicBezTo>
                      <a:pt x="70" y="29"/>
                      <a:pt x="124" y="28"/>
                      <a:pt x="179" y="25"/>
                    </a:cubicBezTo>
                    <a:cubicBezTo>
                      <a:pt x="219" y="24"/>
                      <a:pt x="259" y="22"/>
                      <a:pt x="298" y="18"/>
                    </a:cubicBezTo>
                    <a:cubicBezTo>
                      <a:pt x="309" y="19"/>
                      <a:pt x="320" y="18"/>
                      <a:pt x="330" y="17"/>
                    </a:cubicBezTo>
                    <a:cubicBezTo>
                      <a:pt x="337" y="17"/>
                      <a:pt x="343" y="17"/>
                      <a:pt x="349" y="17"/>
                    </a:cubicBezTo>
                    <a:cubicBezTo>
                      <a:pt x="352" y="17"/>
                      <a:pt x="357" y="18"/>
                      <a:pt x="360" y="17"/>
                    </a:cubicBezTo>
                    <a:cubicBezTo>
                      <a:pt x="362" y="17"/>
                      <a:pt x="362" y="17"/>
                      <a:pt x="362" y="17"/>
                    </a:cubicBezTo>
                    <a:cubicBezTo>
                      <a:pt x="362" y="17"/>
                      <a:pt x="362" y="18"/>
                      <a:pt x="362" y="18"/>
                    </a:cubicBezTo>
                    <a:cubicBezTo>
                      <a:pt x="365" y="17"/>
                      <a:pt x="365" y="17"/>
                      <a:pt x="365" y="17"/>
                    </a:cubicBezTo>
                    <a:cubicBezTo>
                      <a:pt x="374" y="15"/>
                      <a:pt x="380" y="9"/>
                      <a:pt x="386" y="1"/>
                    </a:cubicBezTo>
                    <a:cubicBezTo>
                      <a:pt x="390" y="0"/>
                      <a:pt x="390" y="0"/>
                      <a:pt x="390" y="0"/>
                    </a:cubicBezTo>
                    <a:cubicBezTo>
                      <a:pt x="391" y="2"/>
                      <a:pt x="391" y="4"/>
                      <a:pt x="391" y="6"/>
                    </a:cubicBezTo>
                    <a:cubicBezTo>
                      <a:pt x="398" y="25"/>
                      <a:pt x="407" y="44"/>
                      <a:pt x="423" y="59"/>
                    </a:cubicBezTo>
                    <a:cubicBezTo>
                      <a:pt x="426" y="57"/>
                      <a:pt x="426" y="57"/>
                      <a:pt x="426" y="57"/>
                    </a:cubicBezTo>
                    <a:cubicBezTo>
                      <a:pt x="427" y="59"/>
                      <a:pt x="428" y="62"/>
                      <a:pt x="428" y="64"/>
                    </a:cubicBezTo>
                    <a:cubicBezTo>
                      <a:pt x="427" y="69"/>
                      <a:pt x="422" y="71"/>
                      <a:pt x="418" y="74"/>
                    </a:cubicBezTo>
                    <a:cubicBezTo>
                      <a:pt x="415" y="75"/>
                      <a:pt x="411" y="76"/>
                      <a:pt x="408" y="77"/>
                    </a:cubicBezTo>
                    <a:cubicBezTo>
                      <a:pt x="402" y="79"/>
                      <a:pt x="396" y="80"/>
                      <a:pt x="390" y="81"/>
                    </a:cubicBezTo>
                    <a:cubicBezTo>
                      <a:pt x="363" y="83"/>
                      <a:pt x="336" y="82"/>
                      <a:pt x="309" y="81"/>
                    </a:cubicBezTo>
                    <a:cubicBezTo>
                      <a:pt x="292" y="82"/>
                      <a:pt x="274" y="83"/>
                      <a:pt x="257" y="83"/>
                    </a:cubicBezTo>
                    <a:cubicBezTo>
                      <a:pt x="237" y="83"/>
                      <a:pt x="216" y="84"/>
                      <a:pt x="196" y="84"/>
                    </a:cubicBezTo>
                    <a:cubicBezTo>
                      <a:pt x="189" y="84"/>
                      <a:pt x="183" y="85"/>
                      <a:pt x="177" y="85"/>
                    </a:cubicBezTo>
                    <a:cubicBezTo>
                      <a:pt x="152" y="86"/>
                      <a:pt x="128" y="88"/>
                      <a:pt x="102" y="86"/>
                    </a:cubicBezTo>
                    <a:cubicBezTo>
                      <a:pt x="79" y="86"/>
                      <a:pt x="54" y="86"/>
                      <a:pt x="37" y="70"/>
                    </a:cubicBezTo>
                    <a:cubicBezTo>
                      <a:pt x="36" y="68"/>
                      <a:pt x="34" y="66"/>
                      <a:pt x="33" y="65"/>
                    </a:cubicBezTo>
                    <a:cubicBezTo>
                      <a:pt x="32" y="64"/>
                      <a:pt x="32" y="63"/>
                      <a:pt x="31" y="62"/>
                    </a:cubicBezTo>
                    <a:lnTo>
                      <a:pt x="24" y="59"/>
                    </a:lnTo>
                    <a:close/>
                  </a:path>
                </a:pathLst>
              </a:custGeom>
              <a:solidFill>
                <a:srgbClr val="F6B84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</p:grpSp>
        <p:grpSp>
          <p:nvGrpSpPr>
            <p:cNvPr id="9" name="Group 406">
              <a:extLst>
                <a:ext uri="{FF2B5EF4-FFF2-40B4-BE49-F238E27FC236}">
                  <a16:creationId xmlns:a16="http://schemas.microsoft.com/office/drawing/2014/main" id="{0BE9D55C-0E39-4364-8C7A-287D31803112}"/>
                </a:ext>
              </a:extLst>
            </p:cNvPr>
            <p:cNvGrpSpPr>
              <a:grpSpLocks/>
            </p:cNvGrpSpPr>
            <p:nvPr userDrawn="1"/>
          </p:nvGrpSpPr>
          <p:grpSpPr bwMode="auto">
            <a:xfrm>
              <a:off x="-3175" y="1004888"/>
              <a:ext cx="12198350" cy="4851400"/>
              <a:chOff x="-2" y="633"/>
              <a:chExt cx="7684" cy="3056"/>
            </a:xfrm>
          </p:grpSpPr>
          <p:sp>
            <p:nvSpPr>
              <p:cNvPr id="133" name="Freeform 206">
                <a:extLst>
                  <a:ext uri="{FF2B5EF4-FFF2-40B4-BE49-F238E27FC236}">
                    <a16:creationId xmlns:a16="http://schemas.microsoft.com/office/drawing/2014/main" id="{BCDAFF92-D7F0-414B-8AD6-402C121C526B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743" y="3346"/>
                <a:ext cx="420" cy="212"/>
              </a:xfrm>
              <a:custGeom>
                <a:avLst/>
                <a:gdLst>
                  <a:gd name="T0" fmla="*/ 374 w 396"/>
                  <a:gd name="T1" fmla="*/ 188 h 200"/>
                  <a:gd name="T2" fmla="*/ 355 w 396"/>
                  <a:gd name="T3" fmla="*/ 188 h 200"/>
                  <a:gd name="T4" fmla="*/ 323 w 396"/>
                  <a:gd name="T5" fmla="*/ 189 h 200"/>
                  <a:gd name="T6" fmla="*/ 204 w 396"/>
                  <a:gd name="T7" fmla="*/ 196 h 200"/>
                  <a:gd name="T8" fmla="*/ 38 w 396"/>
                  <a:gd name="T9" fmla="*/ 199 h 200"/>
                  <a:gd name="T10" fmla="*/ 25 w 396"/>
                  <a:gd name="T11" fmla="*/ 200 h 200"/>
                  <a:gd name="T12" fmla="*/ 19 w 396"/>
                  <a:gd name="T13" fmla="*/ 188 h 200"/>
                  <a:gd name="T14" fmla="*/ 18 w 396"/>
                  <a:gd name="T15" fmla="*/ 186 h 200"/>
                  <a:gd name="T16" fmla="*/ 6 w 396"/>
                  <a:gd name="T17" fmla="*/ 151 h 200"/>
                  <a:gd name="T18" fmla="*/ 2 w 396"/>
                  <a:gd name="T19" fmla="*/ 90 h 200"/>
                  <a:gd name="T20" fmla="*/ 10 w 396"/>
                  <a:gd name="T21" fmla="*/ 60 h 200"/>
                  <a:gd name="T22" fmla="*/ 26 w 396"/>
                  <a:gd name="T23" fmla="*/ 37 h 200"/>
                  <a:gd name="T24" fmla="*/ 33 w 396"/>
                  <a:gd name="T25" fmla="*/ 29 h 200"/>
                  <a:gd name="T26" fmla="*/ 65 w 396"/>
                  <a:gd name="T27" fmla="*/ 0 h 200"/>
                  <a:gd name="T28" fmla="*/ 66 w 396"/>
                  <a:gd name="T29" fmla="*/ 1 h 200"/>
                  <a:gd name="T30" fmla="*/ 124 w 396"/>
                  <a:gd name="T31" fmla="*/ 0 h 200"/>
                  <a:gd name="T32" fmla="*/ 177 w 396"/>
                  <a:gd name="T33" fmla="*/ 1 h 200"/>
                  <a:gd name="T34" fmla="*/ 238 w 396"/>
                  <a:gd name="T35" fmla="*/ 3 h 200"/>
                  <a:gd name="T36" fmla="*/ 298 w 396"/>
                  <a:gd name="T37" fmla="*/ 2 h 200"/>
                  <a:gd name="T38" fmla="*/ 350 w 396"/>
                  <a:gd name="T39" fmla="*/ 3 h 200"/>
                  <a:gd name="T40" fmla="*/ 391 w 396"/>
                  <a:gd name="T41" fmla="*/ 5 h 200"/>
                  <a:gd name="T42" fmla="*/ 396 w 396"/>
                  <a:gd name="T43" fmla="*/ 6 h 200"/>
                  <a:gd name="T44" fmla="*/ 393 w 396"/>
                  <a:gd name="T45" fmla="*/ 29 h 200"/>
                  <a:gd name="T46" fmla="*/ 376 w 396"/>
                  <a:gd name="T47" fmla="*/ 100 h 200"/>
                  <a:gd name="T48" fmla="*/ 383 w 396"/>
                  <a:gd name="T49" fmla="*/ 172 h 200"/>
                  <a:gd name="T50" fmla="*/ 387 w 396"/>
                  <a:gd name="T51" fmla="*/ 188 h 200"/>
                  <a:gd name="T52" fmla="*/ 385 w 396"/>
                  <a:gd name="T53" fmla="*/ 188 h 200"/>
                  <a:gd name="T54" fmla="*/ 374 w 396"/>
                  <a:gd name="T55" fmla="*/ 188 h 2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396" h="200">
                    <a:moveTo>
                      <a:pt x="374" y="188"/>
                    </a:moveTo>
                    <a:cubicBezTo>
                      <a:pt x="368" y="188"/>
                      <a:pt x="362" y="188"/>
                      <a:pt x="355" y="188"/>
                    </a:cubicBezTo>
                    <a:cubicBezTo>
                      <a:pt x="345" y="189"/>
                      <a:pt x="334" y="190"/>
                      <a:pt x="323" y="189"/>
                    </a:cubicBezTo>
                    <a:cubicBezTo>
                      <a:pt x="284" y="193"/>
                      <a:pt x="244" y="195"/>
                      <a:pt x="204" y="196"/>
                    </a:cubicBezTo>
                    <a:cubicBezTo>
                      <a:pt x="149" y="199"/>
                      <a:pt x="95" y="200"/>
                      <a:pt x="38" y="199"/>
                    </a:cubicBezTo>
                    <a:cubicBezTo>
                      <a:pt x="25" y="200"/>
                      <a:pt x="25" y="200"/>
                      <a:pt x="25" y="200"/>
                    </a:cubicBezTo>
                    <a:cubicBezTo>
                      <a:pt x="22" y="196"/>
                      <a:pt x="20" y="192"/>
                      <a:pt x="19" y="188"/>
                    </a:cubicBezTo>
                    <a:cubicBezTo>
                      <a:pt x="18" y="187"/>
                      <a:pt x="18" y="187"/>
                      <a:pt x="18" y="186"/>
                    </a:cubicBezTo>
                    <a:cubicBezTo>
                      <a:pt x="12" y="175"/>
                      <a:pt x="9" y="163"/>
                      <a:pt x="6" y="151"/>
                    </a:cubicBezTo>
                    <a:cubicBezTo>
                      <a:pt x="1" y="130"/>
                      <a:pt x="0" y="112"/>
                      <a:pt x="2" y="90"/>
                    </a:cubicBezTo>
                    <a:cubicBezTo>
                      <a:pt x="3" y="80"/>
                      <a:pt x="4" y="69"/>
                      <a:pt x="10" y="60"/>
                    </a:cubicBezTo>
                    <a:cubicBezTo>
                      <a:pt x="13" y="51"/>
                      <a:pt x="19" y="44"/>
                      <a:pt x="26" y="37"/>
                    </a:cubicBezTo>
                    <a:cubicBezTo>
                      <a:pt x="28" y="34"/>
                      <a:pt x="31" y="32"/>
                      <a:pt x="33" y="29"/>
                    </a:cubicBezTo>
                    <a:cubicBezTo>
                      <a:pt x="43" y="19"/>
                      <a:pt x="55" y="10"/>
                      <a:pt x="65" y="0"/>
                    </a:cubicBezTo>
                    <a:cubicBezTo>
                      <a:pt x="66" y="1"/>
                      <a:pt x="66" y="1"/>
                      <a:pt x="66" y="1"/>
                    </a:cubicBezTo>
                    <a:cubicBezTo>
                      <a:pt x="85" y="1"/>
                      <a:pt x="105" y="0"/>
                      <a:pt x="124" y="0"/>
                    </a:cubicBezTo>
                    <a:cubicBezTo>
                      <a:pt x="141" y="1"/>
                      <a:pt x="160" y="1"/>
                      <a:pt x="177" y="1"/>
                    </a:cubicBezTo>
                    <a:cubicBezTo>
                      <a:pt x="197" y="1"/>
                      <a:pt x="217" y="2"/>
                      <a:pt x="238" y="3"/>
                    </a:cubicBezTo>
                    <a:cubicBezTo>
                      <a:pt x="258" y="2"/>
                      <a:pt x="278" y="2"/>
                      <a:pt x="298" y="2"/>
                    </a:cubicBezTo>
                    <a:cubicBezTo>
                      <a:pt x="315" y="2"/>
                      <a:pt x="334" y="1"/>
                      <a:pt x="350" y="3"/>
                    </a:cubicBezTo>
                    <a:cubicBezTo>
                      <a:pt x="364" y="4"/>
                      <a:pt x="376" y="4"/>
                      <a:pt x="391" y="5"/>
                    </a:cubicBezTo>
                    <a:cubicBezTo>
                      <a:pt x="392" y="5"/>
                      <a:pt x="394" y="6"/>
                      <a:pt x="396" y="6"/>
                    </a:cubicBezTo>
                    <a:cubicBezTo>
                      <a:pt x="393" y="29"/>
                      <a:pt x="393" y="29"/>
                      <a:pt x="393" y="29"/>
                    </a:cubicBezTo>
                    <a:cubicBezTo>
                      <a:pt x="382" y="51"/>
                      <a:pt x="377" y="77"/>
                      <a:pt x="376" y="100"/>
                    </a:cubicBezTo>
                    <a:cubicBezTo>
                      <a:pt x="374" y="124"/>
                      <a:pt x="377" y="148"/>
                      <a:pt x="383" y="172"/>
                    </a:cubicBezTo>
                    <a:cubicBezTo>
                      <a:pt x="384" y="177"/>
                      <a:pt x="385" y="182"/>
                      <a:pt x="387" y="188"/>
                    </a:cubicBezTo>
                    <a:cubicBezTo>
                      <a:pt x="385" y="188"/>
                      <a:pt x="385" y="188"/>
                      <a:pt x="385" y="188"/>
                    </a:cubicBezTo>
                    <a:cubicBezTo>
                      <a:pt x="382" y="189"/>
                      <a:pt x="377" y="188"/>
                      <a:pt x="374" y="188"/>
                    </a:cubicBezTo>
                    <a:close/>
                  </a:path>
                </a:pathLst>
              </a:custGeom>
              <a:solidFill>
                <a:srgbClr val="F6B84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34" name="Freeform 207">
                <a:extLst>
                  <a:ext uri="{FF2B5EF4-FFF2-40B4-BE49-F238E27FC236}">
                    <a16:creationId xmlns:a16="http://schemas.microsoft.com/office/drawing/2014/main" id="{B4D7B4CD-523D-461F-BE0A-02F124A2C378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686" y="3543"/>
                <a:ext cx="119" cy="53"/>
              </a:xfrm>
              <a:custGeom>
                <a:avLst/>
                <a:gdLst>
                  <a:gd name="T0" fmla="*/ 0 w 112"/>
                  <a:gd name="T1" fmla="*/ 5 h 50"/>
                  <a:gd name="T2" fmla="*/ 6 w 112"/>
                  <a:gd name="T3" fmla="*/ 3 h 50"/>
                  <a:gd name="T4" fmla="*/ 22 w 112"/>
                  <a:gd name="T5" fmla="*/ 4 h 50"/>
                  <a:gd name="T6" fmla="*/ 37 w 112"/>
                  <a:gd name="T7" fmla="*/ 3 h 50"/>
                  <a:gd name="T8" fmla="*/ 57 w 112"/>
                  <a:gd name="T9" fmla="*/ 3 h 50"/>
                  <a:gd name="T10" fmla="*/ 68 w 112"/>
                  <a:gd name="T11" fmla="*/ 2 h 50"/>
                  <a:gd name="T12" fmla="*/ 72 w 112"/>
                  <a:gd name="T13" fmla="*/ 0 h 50"/>
                  <a:gd name="T14" fmla="*/ 73 w 112"/>
                  <a:gd name="T15" fmla="*/ 2 h 50"/>
                  <a:gd name="T16" fmla="*/ 79 w 112"/>
                  <a:gd name="T17" fmla="*/ 14 h 50"/>
                  <a:gd name="T18" fmla="*/ 103 w 112"/>
                  <a:gd name="T19" fmla="*/ 44 h 50"/>
                  <a:gd name="T20" fmla="*/ 110 w 112"/>
                  <a:gd name="T21" fmla="*/ 47 h 50"/>
                  <a:gd name="T22" fmla="*/ 112 w 112"/>
                  <a:gd name="T23" fmla="*/ 50 h 50"/>
                  <a:gd name="T24" fmla="*/ 101 w 112"/>
                  <a:gd name="T25" fmla="*/ 49 h 50"/>
                  <a:gd name="T26" fmla="*/ 78 w 112"/>
                  <a:gd name="T27" fmla="*/ 49 h 50"/>
                  <a:gd name="T28" fmla="*/ 65 w 112"/>
                  <a:gd name="T29" fmla="*/ 47 h 50"/>
                  <a:gd name="T30" fmla="*/ 50 w 112"/>
                  <a:gd name="T31" fmla="*/ 47 h 50"/>
                  <a:gd name="T32" fmla="*/ 29 w 112"/>
                  <a:gd name="T33" fmla="*/ 45 h 50"/>
                  <a:gd name="T34" fmla="*/ 29 w 112"/>
                  <a:gd name="T35" fmla="*/ 44 h 50"/>
                  <a:gd name="T36" fmla="*/ 4 w 112"/>
                  <a:gd name="T37" fmla="*/ 14 h 50"/>
                  <a:gd name="T38" fmla="*/ 0 w 112"/>
                  <a:gd name="T39" fmla="*/ 5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112" h="50">
                    <a:moveTo>
                      <a:pt x="0" y="5"/>
                    </a:moveTo>
                    <a:cubicBezTo>
                      <a:pt x="6" y="3"/>
                      <a:pt x="6" y="3"/>
                      <a:pt x="6" y="3"/>
                    </a:cubicBezTo>
                    <a:cubicBezTo>
                      <a:pt x="12" y="3"/>
                      <a:pt x="16" y="4"/>
                      <a:pt x="22" y="4"/>
                    </a:cubicBezTo>
                    <a:cubicBezTo>
                      <a:pt x="27" y="4"/>
                      <a:pt x="31" y="3"/>
                      <a:pt x="37" y="3"/>
                    </a:cubicBezTo>
                    <a:cubicBezTo>
                      <a:pt x="43" y="3"/>
                      <a:pt x="51" y="3"/>
                      <a:pt x="57" y="3"/>
                    </a:cubicBezTo>
                    <a:cubicBezTo>
                      <a:pt x="60" y="2"/>
                      <a:pt x="65" y="2"/>
                      <a:pt x="68" y="2"/>
                    </a:cubicBezTo>
                    <a:cubicBezTo>
                      <a:pt x="72" y="0"/>
                      <a:pt x="72" y="0"/>
                      <a:pt x="72" y="0"/>
                    </a:cubicBezTo>
                    <a:cubicBezTo>
                      <a:pt x="72" y="1"/>
                      <a:pt x="72" y="1"/>
                      <a:pt x="73" y="2"/>
                    </a:cubicBezTo>
                    <a:cubicBezTo>
                      <a:pt x="74" y="6"/>
                      <a:pt x="76" y="10"/>
                      <a:pt x="79" y="14"/>
                    </a:cubicBezTo>
                    <a:cubicBezTo>
                      <a:pt x="86" y="25"/>
                      <a:pt x="94" y="35"/>
                      <a:pt x="103" y="44"/>
                    </a:cubicBezTo>
                    <a:cubicBezTo>
                      <a:pt x="110" y="47"/>
                      <a:pt x="110" y="47"/>
                      <a:pt x="110" y="47"/>
                    </a:cubicBezTo>
                    <a:cubicBezTo>
                      <a:pt x="111" y="48"/>
                      <a:pt x="111" y="49"/>
                      <a:pt x="112" y="50"/>
                    </a:cubicBezTo>
                    <a:cubicBezTo>
                      <a:pt x="109" y="50"/>
                      <a:pt x="105" y="50"/>
                      <a:pt x="101" y="49"/>
                    </a:cubicBezTo>
                    <a:cubicBezTo>
                      <a:pt x="94" y="50"/>
                      <a:pt x="86" y="48"/>
                      <a:pt x="78" y="49"/>
                    </a:cubicBezTo>
                    <a:cubicBezTo>
                      <a:pt x="74" y="50"/>
                      <a:pt x="70" y="48"/>
                      <a:pt x="65" y="47"/>
                    </a:cubicBezTo>
                    <a:cubicBezTo>
                      <a:pt x="61" y="47"/>
                      <a:pt x="56" y="47"/>
                      <a:pt x="50" y="47"/>
                    </a:cubicBezTo>
                    <a:cubicBezTo>
                      <a:pt x="43" y="47"/>
                      <a:pt x="36" y="46"/>
                      <a:pt x="29" y="45"/>
                    </a:cubicBezTo>
                    <a:cubicBezTo>
                      <a:pt x="29" y="44"/>
                      <a:pt x="29" y="44"/>
                      <a:pt x="29" y="44"/>
                    </a:cubicBezTo>
                    <a:cubicBezTo>
                      <a:pt x="19" y="36"/>
                      <a:pt x="10" y="25"/>
                      <a:pt x="4" y="14"/>
                    </a:cubicBezTo>
                    <a:cubicBezTo>
                      <a:pt x="3" y="11"/>
                      <a:pt x="1" y="8"/>
                      <a:pt x="0" y="5"/>
                    </a:cubicBezTo>
                    <a:close/>
                  </a:path>
                </a:pathLst>
              </a:custGeom>
              <a:solidFill>
                <a:srgbClr val="3C3C3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35" name="Freeform 208">
                <a:extLst>
                  <a:ext uri="{FF2B5EF4-FFF2-40B4-BE49-F238E27FC236}">
                    <a16:creationId xmlns:a16="http://schemas.microsoft.com/office/drawing/2014/main" id="{F5DADAF3-D5F1-4CAB-9EFF-750E1866D11C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670" y="3371"/>
                <a:ext cx="101" cy="177"/>
              </a:xfrm>
              <a:custGeom>
                <a:avLst/>
                <a:gdLst>
                  <a:gd name="T0" fmla="*/ 95 w 95"/>
                  <a:gd name="T1" fmla="*/ 14 h 168"/>
                  <a:gd name="T2" fmla="*/ 79 w 95"/>
                  <a:gd name="T3" fmla="*/ 37 h 168"/>
                  <a:gd name="T4" fmla="*/ 71 w 95"/>
                  <a:gd name="T5" fmla="*/ 67 h 168"/>
                  <a:gd name="T6" fmla="*/ 75 w 95"/>
                  <a:gd name="T7" fmla="*/ 128 h 168"/>
                  <a:gd name="T8" fmla="*/ 87 w 95"/>
                  <a:gd name="T9" fmla="*/ 163 h 168"/>
                  <a:gd name="T10" fmla="*/ 83 w 95"/>
                  <a:gd name="T11" fmla="*/ 165 h 168"/>
                  <a:gd name="T12" fmla="*/ 72 w 95"/>
                  <a:gd name="T13" fmla="*/ 166 h 168"/>
                  <a:gd name="T14" fmla="*/ 52 w 95"/>
                  <a:gd name="T15" fmla="*/ 166 h 168"/>
                  <a:gd name="T16" fmla="*/ 37 w 95"/>
                  <a:gd name="T17" fmla="*/ 167 h 168"/>
                  <a:gd name="T18" fmla="*/ 21 w 95"/>
                  <a:gd name="T19" fmla="*/ 166 h 168"/>
                  <a:gd name="T20" fmla="*/ 15 w 95"/>
                  <a:gd name="T21" fmla="*/ 168 h 168"/>
                  <a:gd name="T22" fmla="*/ 7 w 95"/>
                  <a:gd name="T23" fmla="*/ 140 h 168"/>
                  <a:gd name="T24" fmla="*/ 10 w 95"/>
                  <a:gd name="T25" fmla="*/ 60 h 168"/>
                  <a:gd name="T26" fmla="*/ 24 w 95"/>
                  <a:gd name="T27" fmla="*/ 27 h 168"/>
                  <a:gd name="T28" fmla="*/ 39 w 95"/>
                  <a:gd name="T29" fmla="*/ 0 h 168"/>
                  <a:gd name="T30" fmla="*/ 47 w 95"/>
                  <a:gd name="T31" fmla="*/ 3 h 168"/>
                  <a:gd name="T32" fmla="*/ 73 w 95"/>
                  <a:gd name="T33" fmla="*/ 2 h 168"/>
                  <a:gd name="T34" fmla="*/ 86 w 95"/>
                  <a:gd name="T35" fmla="*/ 3 h 168"/>
                  <a:gd name="T36" fmla="*/ 95 w 95"/>
                  <a:gd name="T37" fmla="*/ 14 h 1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95" h="168">
                    <a:moveTo>
                      <a:pt x="95" y="14"/>
                    </a:moveTo>
                    <a:cubicBezTo>
                      <a:pt x="88" y="21"/>
                      <a:pt x="82" y="28"/>
                      <a:pt x="79" y="37"/>
                    </a:cubicBezTo>
                    <a:cubicBezTo>
                      <a:pt x="73" y="46"/>
                      <a:pt x="72" y="57"/>
                      <a:pt x="71" y="67"/>
                    </a:cubicBezTo>
                    <a:cubicBezTo>
                      <a:pt x="69" y="89"/>
                      <a:pt x="70" y="107"/>
                      <a:pt x="75" y="128"/>
                    </a:cubicBezTo>
                    <a:cubicBezTo>
                      <a:pt x="78" y="140"/>
                      <a:pt x="81" y="152"/>
                      <a:pt x="87" y="163"/>
                    </a:cubicBezTo>
                    <a:cubicBezTo>
                      <a:pt x="83" y="165"/>
                      <a:pt x="83" y="165"/>
                      <a:pt x="83" y="165"/>
                    </a:cubicBezTo>
                    <a:cubicBezTo>
                      <a:pt x="80" y="165"/>
                      <a:pt x="75" y="165"/>
                      <a:pt x="72" y="166"/>
                    </a:cubicBezTo>
                    <a:cubicBezTo>
                      <a:pt x="66" y="166"/>
                      <a:pt x="58" y="166"/>
                      <a:pt x="52" y="166"/>
                    </a:cubicBezTo>
                    <a:cubicBezTo>
                      <a:pt x="46" y="166"/>
                      <a:pt x="42" y="167"/>
                      <a:pt x="37" y="167"/>
                    </a:cubicBezTo>
                    <a:cubicBezTo>
                      <a:pt x="31" y="167"/>
                      <a:pt x="27" y="166"/>
                      <a:pt x="21" y="166"/>
                    </a:cubicBezTo>
                    <a:cubicBezTo>
                      <a:pt x="15" y="168"/>
                      <a:pt x="15" y="168"/>
                      <a:pt x="15" y="168"/>
                    </a:cubicBezTo>
                    <a:cubicBezTo>
                      <a:pt x="12" y="159"/>
                      <a:pt x="9" y="150"/>
                      <a:pt x="7" y="140"/>
                    </a:cubicBezTo>
                    <a:cubicBezTo>
                      <a:pt x="0" y="112"/>
                      <a:pt x="0" y="86"/>
                      <a:pt x="10" y="60"/>
                    </a:cubicBezTo>
                    <a:cubicBezTo>
                      <a:pt x="15" y="48"/>
                      <a:pt x="20" y="38"/>
                      <a:pt x="24" y="27"/>
                    </a:cubicBezTo>
                    <a:cubicBezTo>
                      <a:pt x="28" y="18"/>
                      <a:pt x="33" y="9"/>
                      <a:pt x="39" y="0"/>
                    </a:cubicBezTo>
                    <a:cubicBezTo>
                      <a:pt x="47" y="3"/>
                      <a:pt x="47" y="3"/>
                      <a:pt x="47" y="3"/>
                    </a:cubicBezTo>
                    <a:cubicBezTo>
                      <a:pt x="56" y="1"/>
                      <a:pt x="64" y="2"/>
                      <a:pt x="73" y="2"/>
                    </a:cubicBezTo>
                    <a:cubicBezTo>
                      <a:pt x="77" y="2"/>
                      <a:pt x="82" y="3"/>
                      <a:pt x="86" y="3"/>
                    </a:cubicBezTo>
                    <a:lnTo>
                      <a:pt x="95" y="14"/>
                    </a:lnTo>
                    <a:close/>
                  </a:path>
                </a:pathLst>
              </a:custGeom>
              <a:solidFill>
                <a:srgbClr val="3C3C3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36" name="Freeform 209">
                <a:extLst>
                  <a:ext uri="{FF2B5EF4-FFF2-40B4-BE49-F238E27FC236}">
                    <a16:creationId xmlns:a16="http://schemas.microsoft.com/office/drawing/2014/main" id="{3760ABDC-5297-4342-8D0F-C66A793205D9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842" y="3152"/>
                <a:ext cx="115" cy="128"/>
              </a:xfrm>
              <a:custGeom>
                <a:avLst/>
                <a:gdLst>
                  <a:gd name="T0" fmla="*/ 6 w 109"/>
                  <a:gd name="T1" fmla="*/ 101 h 120"/>
                  <a:gd name="T2" fmla="*/ 19 w 109"/>
                  <a:gd name="T3" fmla="*/ 79 h 120"/>
                  <a:gd name="T4" fmla="*/ 47 w 109"/>
                  <a:gd name="T5" fmla="*/ 41 h 120"/>
                  <a:gd name="T6" fmla="*/ 63 w 109"/>
                  <a:gd name="T7" fmla="*/ 25 h 120"/>
                  <a:gd name="T8" fmla="*/ 71 w 109"/>
                  <a:gd name="T9" fmla="*/ 16 h 120"/>
                  <a:gd name="T10" fmla="*/ 81 w 109"/>
                  <a:gd name="T11" fmla="*/ 9 h 120"/>
                  <a:gd name="T12" fmla="*/ 97 w 109"/>
                  <a:gd name="T13" fmla="*/ 1 h 120"/>
                  <a:gd name="T14" fmla="*/ 108 w 109"/>
                  <a:gd name="T15" fmla="*/ 2 h 120"/>
                  <a:gd name="T16" fmla="*/ 109 w 109"/>
                  <a:gd name="T17" fmla="*/ 3 h 120"/>
                  <a:gd name="T18" fmla="*/ 107 w 109"/>
                  <a:gd name="T19" fmla="*/ 4 h 120"/>
                  <a:gd name="T20" fmla="*/ 88 w 109"/>
                  <a:gd name="T21" fmla="*/ 26 h 120"/>
                  <a:gd name="T22" fmla="*/ 66 w 109"/>
                  <a:gd name="T23" fmla="*/ 55 h 120"/>
                  <a:gd name="T24" fmla="*/ 46 w 109"/>
                  <a:gd name="T25" fmla="*/ 82 h 120"/>
                  <a:gd name="T26" fmla="*/ 27 w 109"/>
                  <a:gd name="T27" fmla="*/ 105 h 120"/>
                  <a:gd name="T28" fmla="*/ 9 w 109"/>
                  <a:gd name="T29" fmla="*/ 119 h 120"/>
                  <a:gd name="T30" fmla="*/ 0 w 109"/>
                  <a:gd name="T31" fmla="*/ 120 h 120"/>
                  <a:gd name="T32" fmla="*/ 6 w 109"/>
                  <a:gd name="T33" fmla="*/ 101 h 1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09" h="120">
                    <a:moveTo>
                      <a:pt x="6" y="101"/>
                    </a:moveTo>
                    <a:cubicBezTo>
                      <a:pt x="10" y="94"/>
                      <a:pt x="14" y="86"/>
                      <a:pt x="19" y="79"/>
                    </a:cubicBezTo>
                    <a:cubicBezTo>
                      <a:pt x="28" y="64"/>
                      <a:pt x="36" y="53"/>
                      <a:pt x="47" y="41"/>
                    </a:cubicBezTo>
                    <a:cubicBezTo>
                      <a:pt x="52" y="37"/>
                      <a:pt x="58" y="31"/>
                      <a:pt x="63" y="25"/>
                    </a:cubicBezTo>
                    <a:cubicBezTo>
                      <a:pt x="65" y="23"/>
                      <a:pt x="69" y="20"/>
                      <a:pt x="71" y="16"/>
                    </a:cubicBezTo>
                    <a:cubicBezTo>
                      <a:pt x="75" y="14"/>
                      <a:pt x="76" y="12"/>
                      <a:pt x="81" y="9"/>
                    </a:cubicBezTo>
                    <a:cubicBezTo>
                      <a:pt x="84" y="5"/>
                      <a:pt x="91" y="1"/>
                      <a:pt x="97" y="1"/>
                    </a:cubicBezTo>
                    <a:cubicBezTo>
                      <a:pt x="100" y="0"/>
                      <a:pt x="105" y="2"/>
                      <a:pt x="108" y="2"/>
                    </a:cubicBezTo>
                    <a:cubicBezTo>
                      <a:pt x="109" y="3"/>
                      <a:pt x="109" y="3"/>
                      <a:pt x="109" y="3"/>
                    </a:cubicBezTo>
                    <a:cubicBezTo>
                      <a:pt x="108" y="3"/>
                      <a:pt x="108" y="4"/>
                      <a:pt x="107" y="4"/>
                    </a:cubicBezTo>
                    <a:cubicBezTo>
                      <a:pt x="101" y="12"/>
                      <a:pt x="94" y="18"/>
                      <a:pt x="88" y="26"/>
                    </a:cubicBezTo>
                    <a:cubicBezTo>
                      <a:pt x="79" y="36"/>
                      <a:pt x="72" y="46"/>
                      <a:pt x="66" y="55"/>
                    </a:cubicBezTo>
                    <a:cubicBezTo>
                      <a:pt x="60" y="64"/>
                      <a:pt x="51" y="73"/>
                      <a:pt x="46" y="82"/>
                    </a:cubicBezTo>
                    <a:cubicBezTo>
                      <a:pt x="40" y="89"/>
                      <a:pt x="34" y="97"/>
                      <a:pt x="27" y="105"/>
                    </a:cubicBezTo>
                    <a:cubicBezTo>
                      <a:pt x="22" y="111"/>
                      <a:pt x="15" y="116"/>
                      <a:pt x="9" y="119"/>
                    </a:cubicBezTo>
                    <a:cubicBezTo>
                      <a:pt x="6" y="120"/>
                      <a:pt x="3" y="120"/>
                      <a:pt x="0" y="120"/>
                    </a:cubicBezTo>
                    <a:cubicBezTo>
                      <a:pt x="1" y="114"/>
                      <a:pt x="3" y="108"/>
                      <a:pt x="6" y="101"/>
                    </a:cubicBezTo>
                    <a:close/>
                  </a:path>
                </a:pathLst>
              </a:custGeom>
              <a:solidFill>
                <a:srgbClr val="E840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37" name="Freeform 210">
                <a:extLst>
                  <a:ext uri="{FF2B5EF4-FFF2-40B4-BE49-F238E27FC236}">
                    <a16:creationId xmlns:a16="http://schemas.microsoft.com/office/drawing/2014/main" id="{0821FE98-5CF7-4462-AFF8-1D1F66C45AB4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7031" y="3111"/>
                <a:ext cx="190" cy="56"/>
              </a:xfrm>
              <a:custGeom>
                <a:avLst/>
                <a:gdLst>
                  <a:gd name="T0" fmla="*/ 29 w 179"/>
                  <a:gd name="T1" fmla="*/ 32 h 53"/>
                  <a:gd name="T2" fmla="*/ 106 w 179"/>
                  <a:gd name="T3" fmla="*/ 23 h 53"/>
                  <a:gd name="T4" fmla="*/ 160 w 179"/>
                  <a:gd name="T5" fmla="*/ 7 h 53"/>
                  <a:gd name="T6" fmla="*/ 174 w 179"/>
                  <a:gd name="T7" fmla="*/ 0 h 53"/>
                  <a:gd name="T8" fmla="*/ 178 w 179"/>
                  <a:gd name="T9" fmla="*/ 4 h 53"/>
                  <a:gd name="T10" fmla="*/ 162 w 179"/>
                  <a:gd name="T11" fmla="*/ 22 h 53"/>
                  <a:gd name="T12" fmla="*/ 134 w 179"/>
                  <a:gd name="T13" fmla="*/ 34 h 53"/>
                  <a:gd name="T14" fmla="*/ 112 w 179"/>
                  <a:gd name="T15" fmla="*/ 41 h 53"/>
                  <a:gd name="T16" fmla="*/ 79 w 179"/>
                  <a:gd name="T17" fmla="*/ 51 h 53"/>
                  <a:gd name="T18" fmla="*/ 47 w 179"/>
                  <a:gd name="T19" fmla="*/ 52 h 53"/>
                  <a:gd name="T20" fmla="*/ 16 w 179"/>
                  <a:gd name="T21" fmla="*/ 48 h 53"/>
                  <a:gd name="T22" fmla="*/ 1 w 179"/>
                  <a:gd name="T23" fmla="*/ 30 h 53"/>
                  <a:gd name="T24" fmla="*/ 1 w 179"/>
                  <a:gd name="T25" fmla="*/ 29 h 53"/>
                  <a:gd name="T26" fmla="*/ 29 w 179"/>
                  <a:gd name="T27" fmla="*/ 32 h 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79" h="53">
                    <a:moveTo>
                      <a:pt x="29" y="32"/>
                    </a:moveTo>
                    <a:cubicBezTo>
                      <a:pt x="56" y="33"/>
                      <a:pt x="81" y="28"/>
                      <a:pt x="106" y="23"/>
                    </a:cubicBezTo>
                    <a:cubicBezTo>
                      <a:pt x="124" y="21"/>
                      <a:pt x="143" y="13"/>
                      <a:pt x="160" y="7"/>
                    </a:cubicBezTo>
                    <a:cubicBezTo>
                      <a:pt x="165" y="5"/>
                      <a:pt x="170" y="3"/>
                      <a:pt x="174" y="0"/>
                    </a:cubicBezTo>
                    <a:cubicBezTo>
                      <a:pt x="176" y="1"/>
                      <a:pt x="177" y="2"/>
                      <a:pt x="178" y="4"/>
                    </a:cubicBezTo>
                    <a:cubicBezTo>
                      <a:pt x="179" y="15"/>
                      <a:pt x="169" y="19"/>
                      <a:pt x="162" y="22"/>
                    </a:cubicBezTo>
                    <a:cubicBezTo>
                      <a:pt x="154" y="27"/>
                      <a:pt x="144" y="31"/>
                      <a:pt x="134" y="34"/>
                    </a:cubicBezTo>
                    <a:cubicBezTo>
                      <a:pt x="127" y="36"/>
                      <a:pt x="120" y="39"/>
                      <a:pt x="112" y="41"/>
                    </a:cubicBezTo>
                    <a:cubicBezTo>
                      <a:pt x="102" y="43"/>
                      <a:pt x="91" y="49"/>
                      <a:pt x="79" y="51"/>
                    </a:cubicBezTo>
                    <a:cubicBezTo>
                      <a:pt x="68" y="52"/>
                      <a:pt x="58" y="53"/>
                      <a:pt x="47" y="52"/>
                    </a:cubicBezTo>
                    <a:cubicBezTo>
                      <a:pt x="36" y="52"/>
                      <a:pt x="25" y="52"/>
                      <a:pt x="16" y="48"/>
                    </a:cubicBezTo>
                    <a:cubicBezTo>
                      <a:pt x="8" y="45"/>
                      <a:pt x="0" y="38"/>
                      <a:pt x="1" y="30"/>
                    </a:cubicBezTo>
                    <a:cubicBezTo>
                      <a:pt x="1" y="29"/>
                      <a:pt x="1" y="29"/>
                      <a:pt x="1" y="29"/>
                    </a:cubicBezTo>
                    <a:cubicBezTo>
                      <a:pt x="10" y="31"/>
                      <a:pt x="20" y="32"/>
                      <a:pt x="29" y="32"/>
                    </a:cubicBezTo>
                    <a:close/>
                  </a:path>
                </a:pathLst>
              </a:custGeom>
              <a:solidFill>
                <a:srgbClr val="E840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38" name="Freeform 211">
                <a:extLst>
                  <a:ext uri="{FF2B5EF4-FFF2-40B4-BE49-F238E27FC236}">
                    <a16:creationId xmlns:a16="http://schemas.microsoft.com/office/drawing/2014/main" id="{4FEDEFCE-5EF5-4458-9E51-78E20B92D086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711" y="3004"/>
                <a:ext cx="971" cy="586"/>
              </a:xfrm>
              <a:custGeom>
                <a:avLst/>
                <a:gdLst>
                  <a:gd name="T0" fmla="*/ 7 w 916"/>
                  <a:gd name="T1" fmla="*/ 338 h 553"/>
                  <a:gd name="T2" fmla="*/ 57 w 916"/>
                  <a:gd name="T3" fmla="*/ 282 h 553"/>
                  <a:gd name="T4" fmla="*/ 112 w 916"/>
                  <a:gd name="T5" fmla="*/ 261 h 553"/>
                  <a:gd name="T6" fmla="*/ 123 w 916"/>
                  <a:gd name="T7" fmla="*/ 260 h 553"/>
                  <a:gd name="T8" fmla="*/ 150 w 916"/>
                  <a:gd name="T9" fmla="*/ 245 h 553"/>
                  <a:gd name="T10" fmla="*/ 189 w 916"/>
                  <a:gd name="T11" fmla="*/ 195 h 553"/>
                  <a:gd name="T12" fmla="*/ 230 w 916"/>
                  <a:gd name="T13" fmla="*/ 144 h 553"/>
                  <a:gd name="T14" fmla="*/ 238 w 916"/>
                  <a:gd name="T15" fmla="*/ 133 h 553"/>
                  <a:gd name="T16" fmla="*/ 218 w 916"/>
                  <a:gd name="T17" fmla="*/ 132 h 553"/>
                  <a:gd name="T18" fmla="*/ 213 w 916"/>
                  <a:gd name="T19" fmla="*/ 130 h 553"/>
                  <a:gd name="T20" fmla="*/ 225 w 916"/>
                  <a:gd name="T21" fmla="*/ 113 h 553"/>
                  <a:gd name="T22" fmla="*/ 242 w 916"/>
                  <a:gd name="T23" fmla="*/ 93 h 553"/>
                  <a:gd name="T24" fmla="*/ 266 w 916"/>
                  <a:gd name="T25" fmla="*/ 114 h 553"/>
                  <a:gd name="T26" fmla="*/ 303 w 916"/>
                  <a:gd name="T27" fmla="*/ 130 h 553"/>
                  <a:gd name="T28" fmla="*/ 318 w 916"/>
                  <a:gd name="T29" fmla="*/ 149 h 553"/>
                  <a:gd name="T30" fmla="*/ 381 w 916"/>
                  <a:gd name="T31" fmla="*/ 152 h 553"/>
                  <a:gd name="T32" fmla="*/ 436 w 916"/>
                  <a:gd name="T33" fmla="*/ 135 h 553"/>
                  <a:gd name="T34" fmla="*/ 480 w 916"/>
                  <a:gd name="T35" fmla="*/ 105 h 553"/>
                  <a:gd name="T36" fmla="*/ 494 w 916"/>
                  <a:gd name="T37" fmla="*/ 86 h 553"/>
                  <a:gd name="T38" fmla="*/ 524 w 916"/>
                  <a:gd name="T39" fmla="*/ 42 h 553"/>
                  <a:gd name="T40" fmla="*/ 536 w 916"/>
                  <a:gd name="T41" fmla="*/ 43 h 553"/>
                  <a:gd name="T42" fmla="*/ 586 w 916"/>
                  <a:gd name="T43" fmla="*/ 38 h 553"/>
                  <a:gd name="T44" fmla="*/ 606 w 916"/>
                  <a:gd name="T45" fmla="*/ 35 h 553"/>
                  <a:gd name="T46" fmla="*/ 661 w 916"/>
                  <a:gd name="T47" fmla="*/ 23 h 553"/>
                  <a:gd name="T48" fmla="*/ 723 w 916"/>
                  <a:gd name="T49" fmla="*/ 12 h 553"/>
                  <a:gd name="T50" fmla="*/ 781 w 916"/>
                  <a:gd name="T51" fmla="*/ 3 h 553"/>
                  <a:gd name="T52" fmla="*/ 800 w 916"/>
                  <a:gd name="T53" fmla="*/ 3 h 553"/>
                  <a:gd name="T54" fmla="*/ 868 w 916"/>
                  <a:gd name="T55" fmla="*/ 20 h 553"/>
                  <a:gd name="T56" fmla="*/ 909 w 916"/>
                  <a:gd name="T57" fmla="*/ 75 h 553"/>
                  <a:gd name="T58" fmla="*/ 912 w 916"/>
                  <a:gd name="T59" fmla="*/ 95 h 553"/>
                  <a:gd name="T60" fmla="*/ 906 w 916"/>
                  <a:gd name="T61" fmla="*/ 172 h 553"/>
                  <a:gd name="T62" fmla="*/ 875 w 916"/>
                  <a:gd name="T63" fmla="*/ 227 h 553"/>
                  <a:gd name="T64" fmla="*/ 810 w 916"/>
                  <a:gd name="T65" fmla="*/ 314 h 553"/>
                  <a:gd name="T66" fmla="*/ 755 w 916"/>
                  <a:gd name="T67" fmla="*/ 392 h 553"/>
                  <a:gd name="T68" fmla="*/ 707 w 916"/>
                  <a:gd name="T69" fmla="*/ 460 h 553"/>
                  <a:gd name="T70" fmla="*/ 669 w 916"/>
                  <a:gd name="T71" fmla="*/ 501 h 553"/>
                  <a:gd name="T72" fmla="*/ 659 w 916"/>
                  <a:gd name="T73" fmla="*/ 514 h 553"/>
                  <a:gd name="T74" fmla="*/ 638 w 916"/>
                  <a:gd name="T75" fmla="*/ 525 h 553"/>
                  <a:gd name="T76" fmla="*/ 634 w 916"/>
                  <a:gd name="T77" fmla="*/ 528 h 553"/>
                  <a:gd name="T78" fmla="*/ 564 w 916"/>
                  <a:gd name="T79" fmla="*/ 534 h 553"/>
                  <a:gd name="T80" fmla="*/ 497 w 916"/>
                  <a:gd name="T81" fmla="*/ 546 h 553"/>
                  <a:gd name="T82" fmla="*/ 480 w 916"/>
                  <a:gd name="T83" fmla="*/ 549 h 553"/>
                  <a:gd name="T84" fmla="*/ 478 w 916"/>
                  <a:gd name="T85" fmla="*/ 553 h 553"/>
                  <a:gd name="T86" fmla="*/ 445 w 916"/>
                  <a:gd name="T87" fmla="*/ 494 h 553"/>
                  <a:gd name="T88" fmla="*/ 441 w 916"/>
                  <a:gd name="T89" fmla="*/ 466 h 553"/>
                  <a:gd name="T90" fmla="*/ 445 w 916"/>
                  <a:gd name="T91" fmla="*/ 370 h 553"/>
                  <a:gd name="T92" fmla="*/ 433 w 916"/>
                  <a:gd name="T93" fmla="*/ 329 h 553"/>
                  <a:gd name="T94" fmla="*/ 421 w 916"/>
                  <a:gd name="T95" fmla="*/ 328 h 553"/>
                  <a:gd name="T96" fmla="*/ 328 w 916"/>
                  <a:gd name="T97" fmla="*/ 325 h 553"/>
                  <a:gd name="T98" fmla="*/ 207 w 916"/>
                  <a:gd name="T99" fmla="*/ 324 h 553"/>
                  <a:gd name="T100" fmla="*/ 96 w 916"/>
                  <a:gd name="T101" fmla="*/ 324 h 553"/>
                  <a:gd name="T102" fmla="*/ 63 w 916"/>
                  <a:gd name="T103" fmla="*/ 352 h 553"/>
                  <a:gd name="T104" fmla="*/ 47 w 916"/>
                  <a:gd name="T105" fmla="*/ 349 h 553"/>
                  <a:gd name="T106" fmla="*/ 8 w 916"/>
                  <a:gd name="T107" fmla="*/ 349 h 5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916" h="553">
                    <a:moveTo>
                      <a:pt x="0" y="346"/>
                    </a:moveTo>
                    <a:cubicBezTo>
                      <a:pt x="2" y="343"/>
                      <a:pt x="4" y="341"/>
                      <a:pt x="7" y="338"/>
                    </a:cubicBezTo>
                    <a:cubicBezTo>
                      <a:pt x="14" y="330"/>
                      <a:pt x="22" y="322"/>
                      <a:pt x="29" y="314"/>
                    </a:cubicBezTo>
                    <a:cubicBezTo>
                      <a:pt x="39" y="304"/>
                      <a:pt x="47" y="294"/>
                      <a:pt x="57" y="282"/>
                    </a:cubicBezTo>
                    <a:cubicBezTo>
                      <a:pt x="64" y="274"/>
                      <a:pt x="70" y="262"/>
                      <a:pt x="82" y="260"/>
                    </a:cubicBezTo>
                    <a:cubicBezTo>
                      <a:pt x="91" y="258"/>
                      <a:pt x="102" y="260"/>
                      <a:pt x="112" y="261"/>
                    </a:cubicBezTo>
                    <a:cubicBezTo>
                      <a:pt x="112" y="261"/>
                      <a:pt x="112" y="261"/>
                      <a:pt x="112" y="261"/>
                    </a:cubicBezTo>
                    <a:cubicBezTo>
                      <a:pt x="115" y="260"/>
                      <a:pt x="119" y="260"/>
                      <a:pt x="123" y="260"/>
                    </a:cubicBezTo>
                    <a:cubicBezTo>
                      <a:pt x="126" y="260"/>
                      <a:pt x="129" y="260"/>
                      <a:pt x="132" y="259"/>
                    </a:cubicBezTo>
                    <a:cubicBezTo>
                      <a:pt x="138" y="256"/>
                      <a:pt x="145" y="251"/>
                      <a:pt x="150" y="245"/>
                    </a:cubicBezTo>
                    <a:cubicBezTo>
                      <a:pt x="157" y="237"/>
                      <a:pt x="163" y="229"/>
                      <a:pt x="169" y="222"/>
                    </a:cubicBezTo>
                    <a:cubicBezTo>
                      <a:pt x="174" y="213"/>
                      <a:pt x="183" y="204"/>
                      <a:pt x="189" y="195"/>
                    </a:cubicBezTo>
                    <a:cubicBezTo>
                      <a:pt x="195" y="186"/>
                      <a:pt x="202" y="176"/>
                      <a:pt x="211" y="166"/>
                    </a:cubicBezTo>
                    <a:cubicBezTo>
                      <a:pt x="217" y="158"/>
                      <a:pt x="224" y="152"/>
                      <a:pt x="230" y="144"/>
                    </a:cubicBezTo>
                    <a:cubicBezTo>
                      <a:pt x="231" y="144"/>
                      <a:pt x="231" y="143"/>
                      <a:pt x="232" y="143"/>
                    </a:cubicBezTo>
                    <a:cubicBezTo>
                      <a:pt x="234" y="140"/>
                      <a:pt x="238" y="136"/>
                      <a:pt x="238" y="133"/>
                    </a:cubicBezTo>
                    <a:cubicBezTo>
                      <a:pt x="237" y="130"/>
                      <a:pt x="236" y="132"/>
                      <a:pt x="233" y="133"/>
                    </a:cubicBezTo>
                    <a:cubicBezTo>
                      <a:pt x="229" y="132"/>
                      <a:pt x="224" y="132"/>
                      <a:pt x="218" y="132"/>
                    </a:cubicBezTo>
                    <a:cubicBezTo>
                      <a:pt x="215" y="132"/>
                      <a:pt x="213" y="132"/>
                      <a:pt x="211" y="131"/>
                    </a:cubicBezTo>
                    <a:cubicBezTo>
                      <a:pt x="211" y="131"/>
                      <a:pt x="212" y="130"/>
                      <a:pt x="213" y="130"/>
                    </a:cubicBezTo>
                    <a:cubicBezTo>
                      <a:pt x="214" y="128"/>
                      <a:pt x="214" y="128"/>
                      <a:pt x="214" y="128"/>
                    </a:cubicBezTo>
                    <a:cubicBezTo>
                      <a:pt x="217" y="123"/>
                      <a:pt x="221" y="119"/>
                      <a:pt x="225" y="113"/>
                    </a:cubicBezTo>
                    <a:cubicBezTo>
                      <a:pt x="229" y="107"/>
                      <a:pt x="235" y="100"/>
                      <a:pt x="240" y="95"/>
                    </a:cubicBezTo>
                    <a:cubicBezTo>
                      <a:pt x="242" y="93"/>
                      <a:pt x="242" y="93"/>
                      <a:pt x="242" y="93"/>
                    </a:cubicBezTo>
                    <a:cubicBezTo>
                      <a:pt x="248" y="100"/>
                      <a:pt x="254" y="106"/>
                      <a:pt x="261" y="112"/>
                    </a:cubicBezTo>
                    <a:cubicBezTo>
                      <a:pt x="266" y="114"/>
                      <a:pt x="266" y="114"/>
                      <a:pt x="266" y="114"/>
                    </a:cubicBezTo>
                    <a:cubicBezTo>
                      <a:pt x="278" y="121"/>
                      <a:pt x="290" y="127"/>
                      <a:pt x="303" y="130"/>
                    </a:cubicBezTo>
                    <a:cubicBezTo>
                      <a:pt x="303" y="130"/>
                      <a:pt x="303" y="130"/>
                      <a:pt x="303" y="130"/>
                    </a:cubicBezTo>
                    <a:cubicBezTo>
                      <a:pt x="303" y="131"/>
                      <a:pt x="303" y="131"/>
                      <a:pt x="303" y="131"/>
                    </a:cubicBezTo>
                    <a:cubicBezTo>
                      <a:pt x="302" y="139"/>
                      <a:pt x="310" y="146"/>
                      <a:pt x="318" y="149"/>
                    </a:cubicBezTo>
                    <a:cubicBezTo>
                      <a:pt x="327" y="153"/>
                      <a:pt x="338" y="153"/>
                      <a:pt x="349" y="153"/>
                    </a:cubicBezTo>
                    <a:cubicBezTo>
                      <a:pt x="360" y="154"/>
                      <a:pt x="370" y="153"/>
                      <a:pt x="381" y="152"/>
                    </a:cubicBezTo>
                    <a:cubicBezTo>
                      <a:pt x="393" y="150"/>
                      <a:pt x="404" y="144"/>
                      <a:pt x="414" y="142"/>
                    </a:cubicBezTo>
                    <a:cubicBezTo>
                      <a:pt x="422" y="140"/>
                      <a:pt x="429" y="137"/>
                      <a:pt x="436" y="135"/>
                    </a:cubicBezTo>
                    <a:cubicBezTo>
                      <a:pt x="446" y="132"/>
                      <a:pt x="456" y="128"/>
                      <a:pt x="464" y="123"/>
                    </a:cubicBezTo>
                    <a:cubicBezTo>
                      <a:pt x="471" y="120"/>
                      <a:pt x="481" y="116"/>
                      <a:pt x="480" y="105"/>
                    </a:cubicBezTo>
                    <a:cubicBezTo>
                      <a:pt x="479" y="103"/>
                      <a:pt x="478" y="102"/>
                      <a:pt x="476" y="101"/>
                    </a:cubicBezTo>
                    <a:cubicBezTo>
                      <a:pt x="483" y="97"/>
                      <a:pt x="489" y="92"/>
                      <a:pt x="494" y="86"/>
                    </a:cubicBezTo>
                    <a:cubicBezTo>
                      <a:pt x="501" y="78"/>
                      <a:pt x="510" y="71"/>
                      <a:pt x="515" y="62"/>
                    </a:cubicBezTo>
                    <a:cubicBezTo>
                      <a:pt x="520" y="56"/>
                      <a:pt x="523" y="49"/>
                      <a:pt x="524" y="42"/>
                    </a:cubicBezTo>
                    <a:cubicBezTo>
                      <a:pt x="526" y="42"/>
                      <a:pt x="526" y="42"/>
                      <a:pt x="526" y="42"/>
                    </a:cubicBezTo>
                    <a:cubicBezTo>
                      <a:pt x="529" y="43"/>
                      <a:pt x="532" y="42"/>
                      <a:pt x="536" y="43"/>
                    </a:cubicBezTo>
                    <a:cubicBezTo>
                      <a:pt x="540" y="42"/>
                      <a:pt x="545" y="42"/>
                      <a:pt x="551" y="41"/>
                    </a:cubicBezTo>
                    <a:cubicBezTo>
                      <a:pt x="563" y="41"/>
                      <a:pt x="574" y="40"/>
                      <a:pt x="586" y="38"/>
                    </a:cubicBezTo>
                    <a:cubicBezTo>
                      <a:pt x="591" y="37"/>
                      <a:pt x="596" y="37"/>
                      <a:pt x="602" y="36"/>
                    </a:cubicBezTo>
                    <a:cubicBezTo>
                      <a:pt x="604" y="35"/>
                      <a:pt x="605" y="35"/>
                      <a:pt x="606" y="35"/>
                    </a:cubicBezTo>
                    <a:cubicBezTo>
                      <a:pt x="611" y="33"/>
                      <a:pt x="616" y="32"/>
                      <a:pt x="621" y="31"/>
                    </a:cubicBezTo>
                    <a:cubicBezTo>
                      <a:pt x="634" y="28"/>
                      <a:pt x="648" y="26"/>
                      <a:pt x="661" y="23"/>
                    </a:cubicBezTo>
                    <a:cubicBezTo>
                      <a:pt x="671" y="20"/>
                      <a:pt x="683" y="17"/>
                      <a:pt x="693" y="16"/>
                    </a:cubicBezTo>
                    <a:cubicBezTo>
                      <a:pt x="704" y="13"/>
                      <a:pt x="713" y="14"/>
                      <a:pt x="723" y="12"/>
                    </a:cubicBezTo>
                    <a:cubicBezTo>
                      <a:pt x="740" y="10"/>
                      <a:pt x="757" y="5"/>
                      <a:pt x="775" y="3"/>
                    </a:cubicBezTo>
                    <a:cubicBezTo>
                      <a:pt x="777" y="3"/>
                      <a:pt x="779" y="3"/>
                      <a:pt x="781" y="3"/>
                    </a:cubicBezTo>
                    <a:cubicBezTo>
                      <a:pt x="781" y="2"/>
                      <a:pt x="781" y="2"/>
                      <a:pt x="781" y="2"/>
                    </a:cubicBezTo>
                    <a:cubicBezTo>
                      <a:pt x="789" y="0"/>
                      <a:pt x="794" y="3"/>
                      <a:pt x="800" y="3"/>
                    </a:cubicBezTo>
                    <a:cubicBezTo>
                      <a:pt x="807" y="5"/>
                      <a:pt x="814" y="6"/>
                      <a:pt x="820" y="8"/>
                    </a:cubicBezTo>
                    <a:cubicBezTo>
                      <a:pt x="835" y="12"/>
                      <a:pt x="852" y="15"/>
                      <a:pt x="868" y="20"/>
                    </a:cubicBezTo>
                    <a:cubicBezTo>
                      <a:pt x="883" y="24"/>
                      <a:pt x="893" y="31"/>
                      <a:pt x="899" y="45"/>
                    </a:cubicBezTo>
                    <a:cubicBezTo>
                      <a:pt x="903" y="55"/>
                      <a:pt x="906" y="65"/>
                      <a:pt x="909" y="75"/>
                    </a:cubicBezTo>
                    <a:cubicBezTo>
                      <a:pt x="906" y="76"/>
                      <a:pt x="906" y="76"/>
                      <a:pt x="906" y="76"/>
                    </a:cubicBezTo>
                    <a:cubicBezTo>
                      <a:pt x="908" y="82"/>
                      <a:pt x="910" y="89"/>
                      <a:pt x="912" y="95"/>
                    </a:cubicBezTo>
                    <a:cubicBezTo>
                      <a:pt x="915" y="108"/>
                      <a:pt x="916" y="122"/>
                      <a:pt x="914" y="136"/>
                    </a:cubicBezTo>
                    <a:cubicBezTo>
                      <a:pt x="913" y="149"/>
                      <a:pt x="910" y="162"/>
                      <a:pt x="906" y="172"/>
                    </a:cubicBezTo>
                    <a:cubicBezTo>
                      <a:pt x="901" y="188"/>
                      <a:pt x="893" y="199"/>
                      <a:pt x="885" y="212"/>
                    </a:cubicBezTo>
                    <a:cubicBezTo>
                      <a:pt x="882" y="217"/>
                      <a:pt x="879" y="222"/>
                      <a:pt x="875" y="227"/>
                    </a:cubicBezTo>
                    <a:cubicBezTo>
                      <a:pt x="860" y="249"/>
                      <a:pt x="845" y="271"/>
                      <a:pt x="829" y="291"/>
                    </a:cubicBezTo>
                    <a:cubicBezTo>
                      <a:pt x="823" y="299"/>
                      <a:pt x="816" y="306"/>
                      <a:pt x="810" y="314"/>
                    </a:cubicBezTo>
                    <a:cubicBezTo>
                      <a:pt x="796" y="333"/>
                      <a:pt x="782" y="351"/>
                      <a:pt x="769" y="370"/>
                    </a:cubicBezTo>
                    <a:cubicBezTo>
                      <a:pt x="765" y="377"/>
                      <a:pt x="759" y="385"/>
                      <a:pt x="755" y="392"/>
                    </a:cubicBezTo>
                    <a:cubicBezTo>
                      <a:pt x="748" y="403"/>
                      <a:pt x="740" y="413"/>
                      <a:pt x="733" y="422"/>
                    </a:cubicBezTo>
                    <a:cubicBezTo>
                      <a:pt x="723" y="434"/>
                      <a:pt x="716" y="447"/>
                      <a:pt x="707" y="460"/>
                    </a:cubicBezTo>
                    <a:cubicBezTo>
                      <a:pt x="696" y="475"/>
                      <a:pt x="684" y="489"/>
                      <a:pt x="670" y="501"/>
                    </a:cubicBezTo>
                    <a:cubicBezTo>
                      <a:pt x="669" y="501"/>
                      <a:pt x="669" y="501"/>
                      <a:pt x="669" y="501"/>
                    </a:cubicBezTo>
                    <a:cubicBezTo>
                      <a:pt x="668" y="502"/>
                      <a:pt x="668" y="504"/>
                      <a:pt x="667" y="505"/>
                    </a:cubicBezTo>
                    <a:cubicBezTo>
                      <a:pt x="664" y="509"/>
                      <a:pt x="662" y="511"/>
                      <a:pt x="659" y="514"/>
                    </a:cubicBezTo>
                    <a:cubicBezTo>
                      <a:pt x="656" y="516"/>
                      <a:pt x="654" y="517"/>
                      <a:pt x="651" y="519"/>
                    </a:cubicBezTo>
                    <a:cubicBezTo>
                      <a:pt x="648" y="523"/>
                      <a:pt x="643" y="524"/>
                      <a:pt x="638" y="525"/>
                    </a:cubicBezTo>
                    <a:cubicBezTo>
                      <a:pt x="636" y="526"/>
                      <a:pt x="635" y="526"/>
                      <a:pt x="633" y="527"/>
                    </a:cubicBezTo>
                    <a:cubicBezTo>
                      <a:pt x="634" y="528"/>
                      <a:pt x="634" y="528"/>
                      <a:pt x="634" y="528"/>
                    </a:cubicBezTo>
                    <a:cubicBezTo>
                      <a:pt x="627" y="534"/>
                      <a:pt x="613" y="533"/>
                      <a:pt x="605" y="533"/>
                    </a:cubicBezTo>
                    <a:cubicBezTo>
                      <a:pt x="591" y="532"/>
                      <a:pt x="577" y="533"/>
                      <a:pt x="564" y="534"/>
                    </a:cubicBezTo>
                    <a:cubicBezTo>
                      <a:pt x="546" y="537"/>
                      <a:pt x="530" y="541"/>
                      <a:pt x="513" y="544"/>
                    </a:cubicBezTo>
                    <a:cubicBezTo>
                      <a:pt x="507" y="545"/>
                      <a:pt x="503" y="545"/>
                      <a:pt x="497" y="546"/>
                    </a:cubicBezTo>
                    <a:cubicBezTo>
                      <a:pt x="492" y="548"/>
                      <a:pt x="490" y="548"/>
                      <a:pt x="485" y="549"/>
                    </a:cubicBezTo>
                    <a:cubicBezTo>
                      <a:pt x="484" y="550"/>
                      <a:pt x="481" y="549"/>
                      <a:pt x="480" y="549"/>
                    </a:cubicBezTo>
                    <a:cubicBezTo>
                      <a:pt x="480" y="550"/>
                      <a:pt x="480" y="550"/>
                      <a:pt x="481" y="551"/>
                    </a:cubicBezTo>
                    <a:cubicBezTo>
                      <a:pt x="478" y="553"/>
                      <a:pt x="478" y="553"/>
                      <a:pt x="478" y="553"/>
                    </a:cubicBezTo>
                    <a:cubicBezTo>
                      <a:pt x="462" y="538"/>
                      <a:pt x="453" y="519"/>
                      <a:pt x="446" y="500"/>
                    </a:cubicBezTo>
                    <a:cubicBezTo>
                      <a:pt x="446" y="498"/>
                      <a:pt x="446" y="496"/>
                      <a:pt x="445" y="494"/>
                    </a:cubicBezTo>
                    <a:cubicBezTo>
                      <a:pt x="445" y="493"/>
                      <a:pt x="445" y="492"/>
                      <a:pt x="444" y="490"/>
                    </a:cubicBezTo>
                    <a:cubicBezTo>
                      <a:pt x="443" y="482"/>
                      <a:pt x="442" y="473"/>
                      <a:pt x="441" y="466"/>
                    </a:cubicBezTo>
                    <a:cubicBezTo>
                      <a:pt x="438" y="453"/>
                      <a:pt x="436" y="439"/>
                      <a:pt x="437" y="426"/>
                    </a:cubicBezTo>
                    <a:cubicBezTo>
                      <a:pt x="437" y="406"/>
                      <a:pt x="439" y="389"/>
                      <a:pt x="445" y="370"/>
                    </a:cubicBezTo>
                    <a:cubicBezTo>
                      <a:pt x="449" y="360"/>
                      <a:pt x="459" y="339"/>
                      <a:pt x="449" y="330"/>
                    </a:cubicBezTo>
                    <a:cubicBezTo>
                      <a:pt x="433" y="329"/>
                      <a:pt x="433" y="329"/>
                      <a:pt x="433" y="329"/>
                    </a:cubicBezTo>
                    <a:cubicBezTo>
                      <a:pt x="431" y="329"/>
                      <a:pt x="429" y="329"/>
                      <a:pt x="426" y="329"/>
                    </a:cubicBezTo>
                    <a:cubicBezTo>
                      <a:pt x="424" y="329"/>
                      <a:pt x="422" y="328"/>
                      <a:pt x="421" y="328"/>
                    </a:cubicBezTo>
                    <a:cubicBezTo>
                      <a:pt x="406" y="327"/>
                      <a:pt x="394" y="327"/>
                      <a:pt x="380" y="326"/>
                    </a:cubicBezTo>
                    <a:cubicBezTo>
                      <a:pt x="364" y="324"/>
                      <a:pt x="345" y="325"/>
                      <a:pt x="328" y="325"/>
                    </a:cubicBezTo>
                    <a:cubicBezTo>
                      <a:pt x="308" y="325"/>
                      <a:pt x="288" y="325"/>
                      <a:pt x="268" y="326"/>
                    </a:cubicBezTo>
                    <a:cubicBezTo>
                      <a:pt x="247" y="325"/>
                      <a:pt x="227" y="324"/>
                      <a:pt x="207" y="324"/>
                    </a:cubicBezTo>
                    <a:cubicBezTo>
                      <a:pt x="190" y="324"/>
                      <a:pt x="171" y="324"/>
                      <a:pt x="154" y="323"/>
                    </a:cubicBezTo>
                    <a:cubicBezTo>
                      <a:pt x="135" y="323"/>
                      <a:pt x="115" y="324"/>
                      <a:pt x="96" y="324"/>
                    </a:cubicBezTo>
                    <a:cubicBezTo>
                      <a:pt x="95" y="323"/>
                      <a:pt x="95" y="323"/>
                      <a:pt x="95" y="323"/>
                    </a:cubicBezTo>
                    <a:cubicBezTo>
                      <a:pt x="85" y="333"/>
                      <a:pt x="73" y="342"/>
                      <a:pt x="63" y="352"/>
                    </a:cubicBezTo>
                    <a:cubicBezTo>
                      <a:pt x="61" y="355"/>
                      <a:pt x="58" y="357"/>
                      <a:pt x="56" y="360"/>
                    </a:cubicBezTo>
                    <a:cubicBezTo>
                      <a:pt x="47" y="349"/>
                      <a:pt x="47" y="349"/>
                      <a:pt x="47" y="349"/>
                    </a:cubicBezTo>
                    <a:cubicBezTo>
                      <a:pt x="43" y="349"/>
                      <a:pt x="38" y="348"/>
                      <a:pt x="34" y="348"/>
                    </a:cubicBezTo>
                    <a:cubicBezTo>
                      <a:pt x="25" y="348"/>
                      <a:pt x="17" y="347"/>
                      <a:pt x="8" y="349"/>
                    </a:cubicBezTo>
                    <a:lnTo>
                      <a:pt x="0" y="346"/>
                    </a:lnTo>
                    <a:close/>
                  </a:path>
                </a:pathLst>
              </a:custGeom>
              <a:solidFill>
                <a:srgbClr val="3C3C3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39" name="Freeform 212">
                <a:extLst>
                  <a:ext uri="{FF2B5EF4-FFF2-40B4-BE49-F238E27FC236}">
                    <a16:creationId xmlns:a16="http://schemas.microsoft.com/office/drawing/2014/main" id="{B3604891-E65F-4275-BB24-DC1C8C884BD9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780" y="2530"/>
                <a:ext cx="84" cy="223"/>
              </a:xfrm>
              <a:custGeom>
                <a:avLst/>
                <a:gdLst>
                  <a:gd name="T0" fmla="*/ 20 w 79"/>
                  <a:gd name="T1" fmla="*/ 26 h 211"/>
                  <a:gd name="T2" fmla="*/ 0 w 79"/>
                  <a:gd name="T3" fmla="*/ 0 h 211"/>
                  <a:gd name="T4" fmla="*/ 17 w 79"/>
                  <a:gd name="T5" fmla="*/ 5 h 211"/>
                  <a:gd name="T6" fmla="*/ 50 w 79"/>
                  <a:gd name="T7" fmla="*/ 19 h 211"/>
                  <a:gd name="T8" fmla="*/ 66 w 79"/>
                  <a:gd name="T9" fmla="*/ 49 h 211"/>
                  <a:gd name="T10" fmla="*/ 77 w 79"/>
                  <a:gd name="T11" fmla="*/ 130 h 211"/>
                  <a:gd name="T12" fmla="*/ 74 w 79"/>
                  <a:gd name="T13" fmla="*/ 210 h 211"/>
                  <a:gd name="T14" fmla="*/ 56 w 79"/>
                  <a:gd name="T15" fmla="*/ 211 h 211"/>
                  <a:gd name="T16" fmla="*/ 53 w 79"/>
                  <a:gd name="T17" fmla="*/ 164 h 211"/>
                  <a:gd name="T18" fmla="*/ 41 w 79"/>
                  <a:gd name="T19" fmla="*/ 60 h 211"/>
                  <a:gd name="T20" fmla="*/ 20 w 79"/>
                  <a:gd name="T21" fmla="*/ 26 h 2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79" h="211">
                    <a:moveTo>
                      <a:pt x="20" y="26"/>
                    </a:moveTo>
                    <a:cubicBezTo>
                      <a:pt x="14" y="19"/>
                      <a:pt x="2" y="11"/>
                      <a:pt x="0" y="0"/>
                    </a:cubicBezTo>
                    <a:cubicBezTo>
                      <a:pt x="6" y="1"/>
                      <a:pt x="10" y="2"/>
                      <a:pt x="17" y="5"/>
                    </a:cubicBezTo>
                    <a:cubicBezTo>
                      <a:pt x="27" y="9"/>
                      <a:pt x="41" y="10"/>
                      <a:pt x="50" y="19"/>
                    </a:cubicBezTo>
                    <a:cubicBezTo>
                      <a:pt x="57" y="28"/>
                      <a:pt x="62" y="39"/>
                      <a:pt x="66" y="49"/>
                    </a:cubicBezTo>
                    <a:cubicBezTo>
                      <a:pt x="79" y="73"/>
                      <a:pt x="77" y="102"/>
                      <a:pt x="77" y="130"/>
                    </a:cubicBezTo>
                    <a:cubicBezTo>
                      <a:pt x="76" y="156"/>
                      <a:pt x="74" y="183"/>
                      <a:pt x="74" y="210"/>
                    </a:cubicBezTo>
                    <a:cubicBezTo>
                      <a:pt x="56" y="211"/>
                      <a:pt x="56" y="211"/>
                      <a:pt x="56" y="211"/>
                    </a:cubicBezTo>
                    <a:cubicBezTo>
                      <a:pt x="55" y="195"/>
                      <a:pt x="54" y="179"/>
                      <a:pt x="53" y="164"/>
                    </a:cubicBezTo>
                    <a:cubicBezTo>
                      <a:pt x="53" y="130"/>
                      <a:pt x="52" y="94"/>
                      <a:pt x="41" y="60"/>
                    </a:cubicBezTo>
                    <a:cubicBezTo>
                      <a:pt x="38" y="46"/>
                      <a:pt x="29" y="36"/>
                      <a:pt x="20" y="26"/>
                    </a:cubicBezTo>
                    <a:close/>
                  </a:path>
                </a:pathLst>
              </a:custGeom>
              <a:solidFill>
                <a:srgbClr val="21AAD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40" name="Freeform 213">
                <a:extLst>
                  <a:ext uri="{FF2B5EF4-FFF2-40B4-BE49-F238E27FC236}">
                    <a16:creationId xmlns:a16="http://schemas.microsoft.com/office/drawing/2014/main" id="{4F0AFDB1-3E0C-4FB9-A34C-3B17D862DFCE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761" y="2156"/>
                <a:ext cx="506" cy="990"/>
              </a:xfrm>
              <a:custGeom>
                <a:avLst/>
                <a:gdLst>
                  <a:gd name="T0" fmla="*/ 23 w 477"/>
                  <a:gd name="T1" fmla="*/ 260 h 935"/>
                  <a:gd name="T2" fmla="*/ 83 w 477"/>
                  <a:gd name="T3" fmla="*/ 178 h 935"/>
                  <a:gd name="T4" fmla="*/ 197 w 477"/>
                  <a:gd name="T5" fmla="*/ 105 h 935"/>
                  <a:gd name="T6" fmla="*/ 236 w 477"/>
                  <a:gd name="T7" fmla="*/ 76 h 935"/>
                  <a:gd name="T8" fmla="*/ 306 w 477"/>
                  <a:gd name="T9" fmla="*/ 20 h 935"/>
                  <a:gd name="T10" fmla="*/ 339 w 477"/>
                  <a:gd name="T11" fmla="*/ 6 h 935"/>
                  <a:gd name="T12" fmla="*/ 368 w 477"/>
                  <a:gd name="T13" fmla="*/ 44 h 935"/>
                  <a:gd name="T14" fmla="*/ 361 w 477"/>
                  <a:gd name="T15" fmla="*/ 55 h 935"/>
                  <a:gd name="T16" fmla="*/ 325 w 477"/>
                  <a:gd name="T17" fmla="*/ 85 h 935"/>
                  <a:gd name="T18" fmla="*/ 269 w 477"/>
                  <a:gd name="T19" fmla="*/ 121 h 935"/>
                  <a:gd name="T20" fmla="*/ 259 w 477"/>
                  <a:gd name="T21" fmla="*/ 155 h 935"/>
                  <a:gd name="T22" fmla="*/ 268 w 477"/>
                  <a:gd name="T23" fmla="*/ 249 h 935"/>
                  <a:gd name="T24" fmla="*/ 317 w 477"/>
                  <a:gd name="T25" fmla="*/ 325 h 935"/>
                  <a:gd name="T26" fmla="*/ 343 w 477"/>
                  <a:gd name="T27" fmla="*/ 341 h 935"/>
                  <a:gd name="T28" fmla="*/ 369 w 477"/>
                  <a:gd name="T29" fmla="*/ 315 h 935"/>
                  <a:gd name="T30" fmla="*/ 383 w 477"/>
                  <a:gd name="T31" fmla="*/ 296 h 935"/>
                  <a:gd name="T32" fmla="*/ 392 w 477"/>
                  <a:gd name="T33" fmla="*/ 292 h 935"/>
                  <a:gd name="T34" fmla="*/ 407 w 477"/>
                  <a:gd name="T35" fmla="*/ 308 h 935"/>
                  <a:gd name="T36" fmla="*/ 406 w 477"/>
                  <a:gd name="T37" fmla="*/ 310 h 935"/>
                  <a:gd name="T38" fmla="*/ 408 w 477"/>
                  <a:gd name="T39" fmla="*/ 310 h 935"/>
                  <a:gd name="T40" fmla="*/ 403 w 477"/>
                  <a:gd name="T41" fmla="*/ 347 h 935"/>
                  <a:gd name="T42" fmla="*/ 362 w 477"/>
                  <a:gd name="T43" fmla="*/ 381 h 935"/>
                  <a:gd name="T44" fmla="*/ 348 w 477"/>
                  <a:gd name="T45" fmla="*/ 382 h 935"/>
                  <a:gd name="T46" fmla="*/ 260 w 477"/>
                  <a:gd name="T47" fmla="*/ 459 h 935"/>
                  <a:gd name="T48" fmla="*/ 296 w 477"/>
                  <a:gd name="T49" fmla="*/ 516 h 935"/>
                  <a:gd name="T50" fmla="*/ 341 w 477"/>
                  <a:gd name="T51" fmla="*/ 514 h 935"/>
                  <a:gd name="T52" fmla="*/ 362 w 477"/>
                  <a:gd name="T53" fmla="*/ 498 h 935"/>
                  <a:gd name="T54" fmla="*/ 379 w 477"/>
                  <a:gd name="T55" fmla="*/ 472 h 935"/>
                  <a:gd name="T56" fmla="*/ 387 w 477"/>
                  <a:gd name="T57" fmla="*/ 488 h 935"/>
                  <a:gd name="T58" fmla="*/ 393 w 477"/>
                  <a:gd name="T59" fmla="*/ 505 h 935"/>
                  <a:gd name="T60" fmla="*/ 378 w 477"/>
                  <a:gd name="T61" fmla="*/ 527 h 935"/>
                  <a:gd name="T62" fmla="*/ 338 w 477"/>
                  <a:gd name="T63" fmla="*/ 554 h 935"/>
                  <a:gd name="T64" fmla="*/ 292 w 477"/>
                  <a:gd name="T65" fmla="*/ 567 h 935"/>
                  <a:gd name="T66" fmla="*/ 285 w 477"/>
                  <a:gd name="T67" fmla="*/ 656 h 935"/>
                  <a:gd name="T68" fmla="*/ 298 w 477"/>
                  <a:gd name="T69" fmla="*/ 685 h 935"/>
                  <a:gd name="T70" fmla="*/ 348 w 477"/>
                  <a:gd name="T71" fmla="*/ 705 h 935"/>
                  <a:gd name="T72" fmla="*/ 357 w 477"/>
                  <a:gd name="T73" fmla="*/ 691 h 935"/>
                  <a:gd name="T74" fmla="*/ 402 w 477"/>
                  <a:gd name="T75" fmla="*/ 649 h 935"/>
                  <a:gd name="T76" fmla="*/ 406 w 477"/>
                  <a:gd name="T77" fmla="*/ 644 h 935"/>
                  <a:gd name="T78" fmla="*/ 417 w 477"/>
                  <a:gd name="T79" fmla="*/ 652 h 935"/>
                  <a:gd name="T80" fmla="*/ 414 w 477"/>
                  <a:gd name="T81" fmla="*/ 688 h 935"/>
                  <a:gd name="T82" fmla="*/ 355 w 477"/>
                  <a:gd name="T83" fmla="*/ 725 h 935"/>
                  <a:gd name="T84" fmla="*/ 337 w 477"/>
                  <a:gd name="T85" fmla="*/ 820 h 935"/>
                  <a:gd name="T86" fmla="*/ 433 w 477"/>
                  <a:gd name="T87" fmla="*/ 839 h 935"/>
                  <a:gd name="T88" fmla="*/ 459 w 477"/>
                  <a:gd name="T89" fmla="*/ 808 h 935"/>
                  <a:gd name="T90" fmla="*/ 469 w 477"/>
                  <a:gd name="T91" fmla="*/ 815 h 935"/>
                  <a:gd name="T92" fmla="*/ 471 w 477"/>
                  <a:gd name="T93" fmla="*/ 817 h 935"/>
                  <a:gd name="T94" fmla="*/ 477 w 477"/>
                  <a:gd name="T95" fmla="*/ 843 h 935"/>
                  <a:gd name="T96" fmla="*/ 447 w 477"/>
                  <a:gd name="T97" fmla="*/ 887 h 935"/>
                  <a:gd name="T98" fmla="*/ 415 w 477"/>
                  <a:gd name="T99" fmla="*/ 909 h 935"/>
                  <a:gd name="T100" fmla="*/ 284 w 477"/>
                  <a:gd name="T101" fmla="*/ 934 h 935"/>
                  <a:gd name="T102" fmla="*/ 256 w 477"/>
                  <a:gd name="T103" fmla="*/ 931 h 935"/>
                  <a:gd name="T104" fmla="*/ 214 w 477"/>
                  <a:gd name="T105" fmla="*/ 913 h 935"/>
                  <a:gd name="T106" fmla="*/ 169 w 477"/>
                  <a:gd name="T107" fmla="*/ 862 h 935"/>
                  <a:gd name="T108" fmla="*/ 109 w 477"/>
                  <a:gd name="T109" fmla="*/ 728 h 935"/>
                  <a:gd name="T110" fmla="*/ 88 w 477"/>
                  <a:gd name="T111" fmla="*/ 651 h 935"/>
                  <a:gd name="T112" fmla="*/ 74 w 477"/>
                  <a:gd name="T113" fmla="*/ 564 h 935"/>
                  <a:gd name="T114" fmla="*/ 95 w 477"/>
                  <a:gd name="T115" fmla="*/ 483 h 935"/>
                  <a:gd name="T116" fmla="*/ 68 w 477"/>
                  <a:gd name="T117" fmla="*/ 372 h 935"/>
                  <a:gd name="T118" fmla="*/ 18 w 477"/>
                  <a:gd name="T119" fmla="*/ 353 h 935"/>
                  <a:gd name="T120" fmla="*/ 3 w 477"/>
                  <a:gd name="T121" fmla="*/ 349 h 935"/>
                  <a:gd name="T122" fmla="*/ 20 w 477"/>
                  <a:gd name="T123" fmla="*/ 267 h 9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477" h="935">
                    <a:moveTo>
                      <a:pt x="20" y="267"/>
                    </a:moveTo>
                    <a:cubicBezTo>
                      <a:pt x="21" y="265"/>
                      <a:pt x="22" y="263"/>
                      <a:pt x="23" y="260"/>
                    </a:cubicBezTo>
                    <a:cubicBezTo>
                      <a:pt x="29" y="240"/>
                      <a:pt x="31" y="213"/>
                      <a:pt x="49" y="199"/>
                    </a:cubicBezTo>
                    <a:cubicBezTo>
                      <a:pt x="60" y="192"/>
                      <a:pt x="72" y="184"/>
                      <a:pt x="83" y="178"/>
                    </a:cubicBezTo>
                    <a:cubicBezTo>
                      <a:pt x="98" y="169"/>
                      <a:pt x="112" y="157"/>
                      <a:pt x="126" y="147"/>
                    </a:cubicBezTo>
                    <a:cubicBezTo>
                      <a:pt x="149" y="134"/>
                      <a:pt x="174" y="120"/>
                      <a:pt x="197" y="105"/>
                    </a:cubicBezTo>
                    <a:cubicBezTo>
                      <a:pt x="205" y="99"/>
                      <a:pt x="214" y="92"/>
                      <a:pt x="223" y="86"/>
                    </a:cubicBezTo>
                    <a:cubicBezTo>
                      <a:pt x="227" y="83"/>
                      <a:pt x="232" y="80"/>
                      <a:pt x="236" y="76"/>
                    </a:cubicBezTo>
                    <a:cubicBezTo>
                      <a:pt x="258" y="63"/>
                      <a:pt x="277" y="45"/>
                      <a:pt x="297" y="28"/>
                    </a:cubicBezTo>
                    <a:cubicBezTo>
                      <a:pt x="300" y="25"/>
                      <a:pt x="303" y="23"/>
                      <a:pt x="306" y="20"/>
                    </a:cubicBezTo>
                    <a:cubicBezTo>
                      <a:pt x="312" y="14"/>
                      <a:pt x="318" y="8"/>
                      <a:pt x="326" y="3"/>
                    </a:cubicBezTo>
                    <a:cubicBezTo>
                      <a:pt x="332" y="0"/>
                      <a:pt x="335" y="2"/>
                      <a:pt x="339" y="6"/>
                    </a:cubicBezTo>
                    <a:cubicBezTo>
                      <a:pt x="347" y="13"/>
                      <a:pt x="354" y="22"/>
                      <a:pt x="361" y="30"/>
                    </a:cubicBezTo>
                    <a:cubicBezTo>
                      <a:pt x="364" y="34"/>
                      <a:pt x="368" y="39"/>
                      <a:pt x="368" y="44"/>
                    </a:cubicBezTo>
                    <a:cubicBezTo>
                      <a:pt x="368" y="44"/>
                      <a:pt x="368" y="44"/>
                      <a:pt x="368" y="44"/>
                    </a:cubicBezTo>
                    <a:cubicBezTo>
                      <a:pt x="366" y="47"/>
                      <a:pt x="364" y="51"/>
                      <a:pt x="361" y="55"/>
                    </a:cubicBezTo>
                    <a:cubicBezTo>
                      <a:pt x="356" y="59"/>
                      <a:pt x="351" y="63"/>
                      <a:pt x="346" y="69"/>
                    </a:cubicBezTo>
                    <a:cubicBezTo>
                      <a:pt x="340" y="75"/>
                      <a:pt x="333" y="80"/>
                      <a:pt x="325" y="85"/>
                    </a:cubicBezTo>
                    <a:cubicBezTo>
                      <a:pt x="321" y="88"/>
                      <a:pt x="317" y="91"/>
                      <a:pt x="312" y="94"/>
                    </a:cubicBezTo>
                    <a:cubicBezTo>
                      <a:pt x="298" y="103"/>
                      <a:pt x="284" y="112"/>
                      <a:pt x="269" y="121"/>
                    </a:cubicBezTo>
                    <a:cubicBezTo>
                      <a:pt x="272" y="125"/>
                      <a:pt x="272" y="125"/>
                      <a:pt x="272" y="125"/>
                    </a:cubicBezTo>
                    <a:cubicBezTo>
                      <a:pt x="266" y="134"/>
                      <a:pt x="262" y="144"/>
                      <a:pt x="259" y="155"/>
                    </a:cubicBezTo>
                    <a:cubicBezTo>
                      <a:pt x="255" y="163"/>
                      <a:pt x="251" y="175"/>
                      <a:pt x="251" y="186"/>
                    </a:cubicBezTo>
                    <a:cubicBezTo>
                      <a:pt x="253" y="207"/>
                      <a:pt x="260" y="229"/>
                      <a:pt x="268" y="249"/>
                    </a:cubicBezTo>
                    <a:cubicBezTo>
                      <a:pt x="276" y="267"/>
                      <a:pt x="285" y="285"/>
                      <a:pt x="295" y="301"/>
                    </a:cubicBezTo>
                    <a:cubicBezTo>
                      <a:pt x="302" y="310"/>
                      <a:pt x="309" y="318"/>
                      <a:pt x="317" y="325"/>
                    </a:cubicBezTo>
                    <a:cubicBezTo>
                      <a:pt x="321" y="330"/>
                      <a:pt x="327" y="333"/>
                      <a:pt x="332" y="337"/>
                    </a:cubicBezTo>
                    <a:cubicBezTo>
                      <a:pt x="335" y="339"/>
                      <a:pt x="339" y="340"/>
                      <a:pt x="343" y="341"/>
                    </a:cubicBezTo>
                    <a:cubicBezTo>
                      <a:pt x="348" y="338"/>
                      <a:pt x="352" y="333"/>
                      <a:pt x="355" y="329"/>
                    </a:cubicBezTo>
                    <a:cubicBezTo>
                      <a:pt x="359" y="325"/>
                      <a:pt x="364" y="321"/>
                      <a:pt x="369" y="315"/>
                    </a:cubicBezTo>
                    <a:cubicBezTo>
                      <a:pt x="373" y="309"/>
                      <a:pt x="380" y="304"/>
                      <a:pt x="384" y="297"/>
                    </a:cubicBezTo>
                    <a:cubicBezTo>
                      <a:pt x="383" y="296"/>
                      <a:pt x="383" y="296"/>
                      <a:pt x="383" y="296"/>
                    </a:cubicBezTo>
                    <a:cubicBezTo>
                      <a:pt x="386" y="294"/>
                      <a:pt x="388" y="292"/>
                      <a:pt x="391" y="290"/>
                    </a:cubicBezTo>
                    <a:cubicBezTo>
                      <a:pt x="392" y="292"/>
                      <a:pt x="392" y="292"/>
                      <a:pt x="392" y="292"/>
                    </a:cubicBezTo>
                    <a:cubicBezTo>
                      <a:pt x="396" y="296"/>
                      <a:pt x="407" y="301"/>
                      <a:pt x="407" y="307"/>
                    </a:cubicBezTo>
                    <a:cubicBezTo>
                      <a:pt x="407" y="308"/>
                      <a:pt x="407" y="308"/>
                      <a:pt x="407" y="308"/>
                    </a:cubicBezTo>
                    <a:cubicBezTo>
                      <a:pt x="407" y="308"/>
                      <a:pt x="406" y="308"/>
                      <a:pt x="406" y="309"/>
                    </a:cubicBezTo>
                    <a:cubicBezTo>
                      <a:pt x="406" y="310"/>
                      <a:pt x="406" y="310"/>
                      <a:pt x="406" y="310"/>
                    </a:cubicBezTo>
                    <a:cubicBezTo>
                      <a:pt x="407" y="309"/>
                      <a:pt x="407" y="309"/>
                      <a:pt x="407" y="308"/>
                    </a:cubicBezTo>
                    <a:cubicBezTo>
                      <a:pt x="407" y="308"/>
                      <a:pt x="408" y="309"/>
                      <a:pt x="408" y="310"/>
                    </a:cubicBezTo>
                    <a:cubicBezTo>
                      <a:pt x="409" y="314"/>
                      <a:pt x="409" y="320"/>
                      <a:pt x="409" y="325"/>
                    </a:cubicBezTo>
                    <a:cubicBezTo>
                      <a:pt x="409" y="334"/>
                      <a:pt x="411" y="342"/>
                      <a:pt x="403" y="347"/>
                    </a:cubicBezTo>
                    <a:cubicBezTo>
                      <a:pt x="392" y="354"/>
                      <a:pt x="383" y="361"/>
                      <a:pt x="375" y="371"/>
                    </a:cubicBezTo>
                    <a:cubicBezTo>
                      <a:pt x="370" y="376"/>
                      <a:pt x="366" y="380"/>
                      <a:pt x="362" y="381"/>
                    </a:cubicBezTo>
                    <a:cubicBezTo>
                      <a:pt x="361" y="382"/>
                      <a:pt x="359" y="382"/>
                      <a:pt x="358" y="382"/>
                    </a:cubicBezTo>
                    <a:cubicBezTo>
                      <a:pt x="355" y="383"/>
                      <a:pt x="352" y="383"/>
                      <a:pt x="348" y="382"/>
                    </a:cubicBezTo>
                    <a:cubicBezTo>
                      <a:pt x="327" y="378"/>
                      <a:pt x="301" y="369"/>
                      <a:pt x="280" y="384"/>
                    </a:cubicBezTo>
                    <a:cubicBezTo>
                      <a:pt x="258" y="400"/>
                      <a:pt x="258" y="433"/>
                      <a:pt x="260" y="459"/>
                    </a:cubicBezTo>
                    <a:cubicBezTo>
                      <a:pt x="261" y="466"/>
                      <a:pt x="261" y="475"/>
                      <a:pt x="264" y="484"/>
                    </a:cubicBezTo>
                    <a:cubicBezTo>
                      <a:pt x="268" y="500"/>
                      <a:pt x="281" y="509"/>
                      <a:pt x="296" y="516"/>
                    </a:cubicBezTo>
                    <a:cubicBezTo>
                      <a:pt x="296" y="517"/>
                      <a:pt x="296" y="517"/>
                      <a:pt x="296" y="517"/>
                    </a:cubicBezTo>
                    <a:cubicBezTo>
                      <a:pt x="311" y="523"/>
                      <a:pt x="326" y="522"/>
                      <a:pt x="341" y="514"/>
                    </a:cubicBezTo>
                    <a:cubicBezTo>
                      <a:pt x="349" y="511"/>
                      <a:pt x="356" y="505"/>
                      <a:pt x="362" y="498"/>
                    </a:cubicBezTo>
                    <a:cubicBezTo>
                      <a:pt x="362" y="498"/>
                      <a:pt x="362" y="498"/>
                      <a:pt x="362" y="498"/>
                    </a:cubicBezTo>
                    <a:cubicBezTo>
                      <a:pt x="368" y="492"/>
                      <a:pt x="376" y="485"/>
                      <a:pt x="378" y="477"/>
                    </a:cubicBezTo>
                    <a:cubicBezTo>
                      <a:pt x="379" y="476"/>
                      <a:pt x="379" y="474"/>
                      <a:pt x="379" y="472"/>
                    </a:cubicBezTo>
                    <a:cubicBezTo>
                      <a:pt x="380" y="475"/>
                      <a:pt x="383" y="475"/>
                      <a:pt x="385" y="480"/>
                    </a:cubicBezTo>
                    <a:cubicBezTo>
                      <a:pt x="387" y="482"/>
                      <a:pt x="387" y="485"/>
                      <a:pt x="387" y="488"/>
                    </a:cubicBezTo>
                    <a:cubicBezTo>
                      <a:pt x="389" y="488"/>
                      <a:pt x="389" y="488"/>
                      <a:pt x="389" y="488"/>
                    </a:cubicBezTo>
                    <a:cubicBezTo>
                      <a:pt x="389" y="493"/>
                      <a:pt x="393" y="499"/>
                      <a:pt x="393" y="505"/>
                    </a:cubicBezTo>
                    <a:cubicBezTo>
                      <a:pt x="393" y="512"/>
                      <a:pt x="387" y="517"/>
                      <a:pt x="383" y="521"/>
                    </a:cubicBezTo>
                    <a:cubicBezTo>
                      <a:pt x="381" y="523"/>
                      <a:pt x="380" y="525"/>
                      <a:pt x="378" y="527"/>
                    </a:cubicBezTo>
                    <a:cubicBezTo>
                      <a:pt x="373" y="534"/>
                      <a:pt x="367" y="540"/>
                      <a:pt x="359" y="544"/>
                    </a:cubicBezTo>
                    <a:cubicBezTo>
                      <a:pt x="353" y="549"/>
                      <a:pt x="345" y="551"/>
                      <a:pt x="338" y="554"/>
                    </a:cubicBezTo>
                    <a:cubicBezTo>
                      <a:pt x="330" y="558"/>
                      <a:pt x="321" y="558"/>
                      <a:pt x="312" y="562"/>
                    </a:cubicBezTo>
                    <a:cubicBezTo>
                      <a:pt x="307" y="563"/>
                      <a:pt x="298" y="566"/>
                      <a:pt x="292" y="567"/>
                    </a:cubicBezTo>
                    <a:cubicBezTo>
                      <a:pt x="279" y="570"/>
                      <a:pt x="278" y="585"/>
                      <a:pt x="274" y="595"/>
                    </a:cubicBezTo>
                    <a:cubicBezTo>
                      <a:pt x="268" y="615"/>
                      <a:pt x="278" y="637"/>
                      <a:pt x="285" y="656"/>
                    </a:cubicBezTo>
                    <a:cubicBezTo>
                      <a:pt x="283" y="657"/>
                      <a:pt x="283" y="657"/>
                      <a:pt x="283" y="657"/>
                    </a:cubicBezTo>
                    <a:cubicBezTo>
                      <a:pt x="288" y="666"/>
                      <a:pt x="293" y="676"/>
                      <a:pt x="298" y="685"/>
                    </a:cubicBezTo>
                    <a:cubicBezTo>
                      <a:pt x="303" y="693"/>
                      <a:pt x="312" y="703"/>
                      <a:pt x="322" y="707"/>
                    </a:cubicBezTo>
                    <a:cubicBezTo>
                      <a:pt x="331" y="710"/>
                      <a:pt x="340" y="707"/>
                      <a:pt x="348" y="705"/>
                    </a:cubicBezTo>
                    <a:cubicBezTo>
                      <a:pt x="346" y="693"/>
                      <a:pt x="346" y="693"/>
                      <a:pt x="346" y="693"/>
                    </a:cubicBezTo>
                    <a:cubicBezTo>
                      <a:pt x="350" y="692"/>
                      <a:pt x="354" y="691"/>
                      <a:pt x="357" y="691"/>
                    </a:cubicBezTo>
                    <a:cubicBezTo>
                      <a:pt x="364" y="689"/>
                      <a:pt x="374" y="685"/>
                      <a:pt x="379" y="680"/>
                    </a:cubicBezTo>
                    <a:cubicBezTo>
                      <a:pt x="388" y="671"/>
                      <a:pt x="397" y="661"/>
                      <a:pt x="402" y="649"/>
                    </a:cubicBezTo>
                    <a:cubicBezTo>
                      <a:pt x="402" y="648"/>
                      <a:pt x="403" y="646"/>
                      <a:pt x="403" y="645"/>
                    </a:cubicBezTo>
                    <a:cubicBezTo>
                      <a:pt x="406" y="644"/>
                      <a:pt x="406" y="644"/>
                      <a:pt x="406" y="644"/>
                    </a:cubicBezTo>
                    <a:cubicBezTo>
                      <a:pt x="408" y="647"/>
                      <a:pt x="415" y="648"/>
                      <a:pt x="416" y="653"/>
                    </a:cubicBezTo>
                    <a:cubicBezTo>
                      <a:pt x="417" y="652"/>
                      <a:pt x="417" y="652"/>
                      <a:pt x="417" y="652"/>
                    </a:cubicBezTo>
                    <a:cubicBezTo>
                      <a:pt x="420" y="662"/>
                      <a:pt x="422" y="672"/>
                      <a:pt x="417" y="682"/>
                    </a:cubicBezTo>
                    <a:cubicBezTo>
                      <a:pt x="416" y="684"/>
                      <a:pt x="415" y="686"/>
                      <a:pt x="414" y="688"/>
                    </a:cubicBezTo>
                    <a:cubicBezTo>
                      <a:pt x="408" y="696"/>
                      <a:pt x="400" y="704"/>
                      <a:pt x="393" y="710"/>
                    </a:cubicBezTo>
                    <a:cubicBezTo>
                      <a:pt x="381" y="719"/>
                      <a:pt x="368" y="721"/>
                      <a:pt x="355" y="725"/>
                    </a:cubicBezTo>
                    <a:cubicBezTo>
                      <a:pt x="342" y="729"/>
                      <a:pt x="327" y="734"/>
                      <a:pt x="322" y="748"/>
                    </a:cubicBezTo>
                    <a:cubicBezTo>
                      <a:pt x="312" y="772"/>
                      <a:pt x="325" y="799"/>
                      <a:pt x="337" y="820"/>
                    </a:cubicBezTo>
                    <a:cubicBezTo>
                      <a:pt x="348" y="842"/>
                      <a:pt x="371" y="869"/>
                      <a:pt x="398" y="860"/>
                    </a:cubicBezTo>
                    <a:cubicBezTo>
                      <a:pt x="411" y="856"/>
                      <a:pt x="423" y="848"/>
                      <a:pt x="433" y="839"/>
                    </a:cubicBezTo>
                    <a:cubicBezTo>
                      <a:pt x="437" y="836"/>
                      <a:pt x="440" y="833"/>
                      <a:pt x="443" y="830"/>
                    </a:cubicBezTo>
                    <a:cubicBezTo>
                      <a:pt x="449" y="824"/>
                      <a:pt x="454" y="817"/>
                      <a:pt x="459" y="808"/>
                    </a:cubicBezTo>
                    <a:cubicBezTo>
                      <a:pt x="468" y="808"/>
                      <a:pt x="468" y="808"/>
                      <a:pt x="468" y="808"/>
                    </a:cubicBezTo>
                    <a:cubicBezTo>
                      <a:pt x="469" y="809"/>
                      <a:pt x="470" y="811"/>
                      <a:pt x="469" y="815"/>
                    </a:cubicBezTo>
                    <a:cubicBezTo>
                      <a:pt x="468" y="816"/>
                      <a:pt x="468" y="816"/>
                      <a:pt x="468" y="816"/>
                    </a:cubicBezTo>
                    <a:cubicBezTo>
                      <a:pt x="471" y="817"/>
                      <a:pt x="471" y="817"/>
                      <a:pt x="471" y="817"/>
                    </a:cubicBezTo>
                    <a:cubicBezTo>
                      <a:pt x="471" y="822"/>
                      <a:pt x="475" y="826"/>
                      <a:pt x="476" y="830"/>
                    </a:cubicBezTo>
                    <a:cubicBezTo>
                      <a:pt x="477" y="834"/>
                      <a:pt x="477" y="839"/>
                      <a:pt x="477" y="843"/>
                    </a:cubicBezTo>
                    <a:cubicBezTo>
                      <a:pt x="476" y="850"/>
                      <a:pt x="473" y="857"/>
                      <a:pt x="468" y="863"/>
                    </a:cubicBezTo>
                    <a:cubicBezTo>
                      <a:pt x="463" y="872"/>
                      <a:pt x="454" y="879"/>
                      <a:pt x="447" y="887"/>
                    </a:cubicBezTo>
                    <a:cubicBezTo>
                      <a:pt x="442" y="893"/>
                      <a:pt x="436" y="898"/>
                      <a:pt x="429" y="902"/>
                    </a:cubicBezTo>
                    <a:cubicBezTo>
                      <a:pt x="425" y="905"/>
                      <a:pt x="420" y="907"/>
                      <a:pt x="415" y="909"/>
                    </a:cubicBezTo>
                    <a:cubicBezTo>
                      <a:pt x="398" y="915"/>
                      <a:pt x="379" y="923"/>
                      <a:pt x="361" y="925"/>
                    </a:cubicBezTo>
                    <a:cubicBezTo>
                      <a:pt x="336" y="930"/>
                      <a:pt x="311" y="935"/>
                      <a:pt x="284" y="934"/>
                    </a:cubicBezTo>
                    <a:cubicBezTo>
                      <a:pt x="275" y="934"/>
                      <a:pt x="265" y="933"/>
                      <a:pt x="256" y="931"/>
                    </a:cubicBezTo>
                    <a:cubicBezTo>
                      <a:pt x="256" y="931"/>
                      <a:pt x="256" y="931"/>
                      <a:pt x="256" y="931"/>
                    </a:cubicBezTo>
                    <a:cubicBezTo>
                      <a:pt x="243" y="928"/>
                      <a:pt x="231" y="922"/>
                      <a:pt x="219" y="915"/>
                    </a:cubicBezTo>
                    <a:cubicBezTo>
                      <a:pt x="214" y="913"/>
                      <a:pt x="214" y="913"/>
                      <a:pt x="214" y="913"/>
                    </a:cubicBezTo>
                    <a:cubicBezTo>
                      <a:pt x="207" y="907"/>
                      <a:pt x="201" y="901"/>
                      <a:pt x="195" y="894"/>
                    </a:cubicBezTo>
                    <a:cubicBezTo>
                      <a:pt x="185" y="884"/>
                      <a:pt x="177" y="873"/>
                      <a:pt x="169" y="862"/>
                    </a:cubicBezTo>
                    <a:cubicBezTo>
                      <a:pt x="152" y="841"/>
                      <a:pt x="142" y="817"/>
                      <a:pt x="133" y="793"/>
                    </a:cubicBezTo>
                    <a:cubicBezTo>
                      <a:pt x="124" y="771"/>
                      <a:pt x="116" y="749"/>
                      <a:pt x="109" y="728"/>
                    </a:cubicBezTo>
                    <a:cubicBezTo>
                      <a:pt x="103" y="711"/>
                      <a:pt x="97" y="695"/>
                      <a:pt x="93" y="679"/>
                    </a:cubicBezTo>
                    <a:cubicBezTo>
                      <a:pt x="91" y="670"/>
                      <a:pt x="90" y="660"/>
                      <a:pt x="88" y="651"/>
                    </a:cubicBezTo>
                    <a:cubicBezTo>
                      <a:pt x="85" y="633"/>
                      <a:pt x="81" y="612"/>
                      <a:pt x="78" y="594"/>
                    </a:cubicBezTo>
                    <a:cubicBezTo>
                      <a:pt x="76" y="584"/>
                      <a:pt x="75" y="574"/>
                      <a:pt x="74" y="564"/>
                    </a:cubicBezTo>
                    <a:cubicBezTo>
                      <a:pt x="92" y="563"/>
                      <a:pt x="92" y="563"/>
                      <a:pt x="92" y="563"/>
                    </a:cubicBezTo>
                    <a:cubicBezTo>
                      <a:pt x="92" y="536"/>
                      <a:pt x="94" y="509"/>
                      <a:pt x="95" y="483"/>
                    </a:cubicBezTo>
                    <a:cubicBezTo>
                      <a:pt x="95" y="455"/>
                      <a:pt x="97" y="426"/>
                      <a:pt x="84" y="402"/>
                    </a:cubicBezTo>
                    <a:cubicBezTo>
                      <a:pt x="80" y="392"/>
                      <a:pt x="75" y="381"/>
                      <a:pt x="68" y="372"/>
                    </a:cubicBezTo>
                    <a:cubicBezTo>
                      <a:pt x="59" y="363"/>
                      <a:pt x="45" y="362"/>
                      <a:pt x="35" y="358"/>
                    </a:cubicBezTo>
                    <a:cubicBezTo>
                      <a:pt x="28" y="355"/>
                      <a:pt x="24" y="354"/>
                      <a:pt x="18" y="353"/>
                    </a:cubicBezTo>
                    <a:cubicBezTo>
                      <a:pt x="17" y="353"/>
                      <a:pt x="17" y="353"/>
                      <a:pt x="17" y="353"/>
                    </a:cubicBezTo>
                    <a:cubicBezTo>
                      <a:pt x="12" y="353"/>
                      <a:pt x="7" y="353"/>
                      <a:pt x="3" y="349"/>
                    </a:cubicBezTo>
                    <a:cubicBezTo>
                      <a:pt x="0" y="344"/>
                      <a:pt x="1" y="341"/>
                      <a:pt x="2" y="336"/>
                    </a:cubicBezTo>
                    <a:cubicBezTo>
                      <a:pt x="6" y="312"/>
                      <a:pt x="12" y="290"/>
                      <a:pt x="20" y="267"/>
                    </a:cubicBezTo>
                    <a:close/>
                  </a:path>
                </a:pathLst>
              </a:custGeom>
              <a:solidFill>
                <a:srgbClr val="21AAD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41" name="Freeform 214">
                <a:extLst>
                  <a:ext uri="{FF2B5EF4-FFF2-40B4-BE49-F238E27FC236}">
                    <a16:creationId xmlns:a16="http://schemas.microsoft.com/office/drawing/2014/main" id="{DA599943-5508-4238-AEDD-2EE3971D5C48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7172" y="2914"/>
                <a:ext cx="85" cy="121"/>
              </a:xfrm>
              <a:custGeom>
                <a:avLst/>
                <a:gdLst>
                  <a:gd name="T0" fmla="*/ 35 w 80"/>
                  <a:gd name="T1" fmla="*/ 90 h 114"/>
                  <a:gd name="T2" fmla="*/ 21 w 80"/>
                  <a:gd name="T3" fmla="*/ 70 h 114"/>
                  <a:gd name="T4" fmla="*/ 6 w 80"/>
                  <a:gd name="T5" fmla="*/ 21 h 114"/>
                  <a:gd name="T6" fmla="*/ 0 w 80"/>
                  <a:gd name="T7" fmla="*/ 20 h 114"/>
                  <a:gd name="T8" fmla="*/ 8 w 80"/>
                  <a:gd name="T9" fmla="*/ 13 h 114"/>
                  <a:gd name="T10" fmla="*/ 24 w 80"/>
                  <a:gd name="T11" fmla="*/ 0 h 114"/>
                  <a:gd name="T12" fmla="*/ 39 w 80"/>
                  <a:gd name="T13" fmla="*/ 50 h 114"/>
                  <a:gd name="T14" fmla="*/ 58 w 80"/>
                  <a:gd name="T15" fmla="*/ 70 h 114"/>
                  <a:gd name="T16" fmla="*/ 64 w 80"/>
                  <a:gd name="T17" fmla="*/ 82 h 114"/>
                  <a:gd name="T18" fmla="*/ 64 w 80"/>
                  <a:gd name="T19" fmla="*/ 82 h 114"/>
                  <a:gd name="T20" fmla="*/ 66 w 80"/>
                  <a:gd name="T21" fmla="*/ 82 h 114"/>
                  <a:gd name="T22" fmla="*/ 74 w 80"/>
                  <a:gd name="T23" fmla="*/ 88 h 114"/>
                  <a:gd name="T24" fmla="*/ 80 w 80"/>
                  <a:gd name="T25" fmla="*/ 92 h 114"/>
                  <a:gd name="T26" fmla="*/ 71 w 80"/>
                  <a:gd name="T27" fmla="*/ 92 h 114"/>
                  <a:gd name="T28" fmla="*/ 55 w 80"/>
                  <a:gd name="T29" fmla="*/ 114 h 114"/>
                  <a:gd name="T30" fmla="*/ 51 w 80"/>
                  <a:gd name="T31" fmla="*/ 114 h 114"/>
                  <a:gd name="T32" fmla="*/ 43 w 80"/>
                  <a:gd name="T33" fmla="*/ 99 h 114"/>
                  <a:gd name="T34" fmla="*/ 42 w 80"/>
                  <a:gd name="T35" fmla="*/ 98 h 114"/>
                  <a:gd name="T36" fmla="*/ 41 w 80"/>
                  <a:gd name="T37" fmla="*/ 96 h 114"/>
                  <a:gd name="T38" fmla="*/ 35 w 80"/>
                  <a:gd name="T39" fmla="*/ 90 h 1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80" h="114">
                    <a:moveTo>
                      <a:pt x="35" y="90"/>
                    </a:moveTo>
                    <a:cubicBezTo>
                      <a:pt x="30" y="83"/>
                      <a:pt x="24" y="77"/>
                      <a:pt x="21" y="70"/>
                    </a:cubicBezTo>
                    <a:cubicBezTo>
                      <a:pt x="11" y="56"/>
                      <a:pt x="5" y="39"/>
                      <a:pt x="6" y="21"/>
                    </a:cubicBezTo>
                    <a:cubicBezTo>
                      <a:pt x="0" y="20"/>
                      <a:pt x="0" y="20"/>
                      <a:pt x="0" y="20"/>
                    </a:cubicBezTo>
                    <a:cubicBezTo>
                      <a:pt x="2" y="18"/>
                      <a:pt x="5" y="15"/>
                      <a:pt x="8" y="13"/>
                    </a:cubicBezTo>
                    <a:cubicBezTo>
                      <a:pt x="14" y="9"/>
                      <a:pt x="20" y="5"/>
                      <a:pt x="24" y="0"/>
                    </a:cubicBezTo>
                    <a:cubicBezTo>
                      <a:pt x="22" y="18"/>
                      <a:pt x="30" y="37"/>
                      <a:pt x="39" y="50"/>
                    </a:cubicBezTo>
                    <a:cubicBezTo>
                      <a:pt x="44" y="58"/>
                      <a:pt x="51" y="64"/>
                      <a:pt x="58" y="70"/>
                    </a:cubicBezTo>
                    <a:cubicBezTo>
                      <a:pt x="61" y="73"/>
                      <a:pt x="64" y="78"/>
                      <a:pt x="64" y="82"/>
                    </a:cubicBezTo>
                    <a:cubicBezTo>
                      <a:pt x="64" y="82"/>
                      <a:pt x="64" y="82"/>
                      <a:pt x="64" y="82"/>
                    </a:cubicBezTo>
                    <a:cubicBezTo>
                      <a:pt x="66" y="82"/>
                      <a:pt x="66" y="82"/>
                      <a:pt x="66" y="82"/>
                    </a:cubicBezTo>
                    <a:cubicBezTo>
                      <a:pt x="69" y="82"/>
                      <a:pt x="73" y="85"/>
                      <a:pt x="74" y="88"/>
                    </a:cubicBezTo>
                    <a:cubicBezTo>
                      <a:pt x="77" y="89"/>
                      <a:pt x="79" y="90"/>
                      <a:pt x="80" y="92"/>
                    </a:cubicBezTo>
                    <a:cubicBezTo>
                      <a:pt x="71" y="92"/>
                      <a:pt x="71" y="92"/>
                      <a:pt x="71" y="92"/>
                    </a:cubicBezTo>
                    <a:cubicBezTo>
                      <a:pt x="66" y="101"/>
                      <a:pt x="61" y="108"/>
                      <a:pt x="55" y="114"/>
                    </a:cubicBezTo>
                    <a:cubicBezTo>
                      <a:pt x="51" y="114"/>
                      <a:pt x="51" y="114"/>
                      <a:pt x="51" y="114"/>
                    </a:cubicBezTo>
                    <a:cubicBezTo>
                      <a:pt x="48" y="109"/>
                      <a:pt x="47" y="103"/>
                      <a:pt x="43" y="99"/>
                    </a:cubicBezTo>
                    <a:cubicBezTo>
                      <a:pt x="43" y="99"/>
                      <a:pt x="42" y="98"/>
                      <a:pt x="42" y="98"/>
                    </a:cubicBezTo>
                    <a:cubicBezTo>
                      <a:pt x="41" y="96"/>
                      <a:pt x="41" y="96"/>
                      <a:pt x="41" y="96"/>
                    </a:cubicBezTo>
                    <a:cubicBezTo>
                      <a:pt x="39" y="94"/>
                      <a:pt x="37" y="93"/>
                      <a:pt x="35" y="90"/>
                    </a:cubicBezTo>
                    <a:close/>
                  </a:path>
                </a:pathLst>
              </a:custGeom>
              <a:solidFill>
                <a:srgbClr val="E840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42" name="Freeform 215">
                <a:extLst>
                  <a:ext uri="{FF2B5EF4-FFF2-40B4-BE49-F238E27FC236}">
                    <a16:creationId xmlns:a16="http://schemas.microsoft.com/office/drawing/2014/main" id="{15552D6C-71BB-4753-B6FC-ADB20E72CF1C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7092" y="2885"/>
                <a:ext cx="139" cy="191"/>
              </a:xfrm>
              <a:custGeom>
                <a:avLst/>
                <a:gdLst>
                  <a:gd name="T0" fmla="*/ 86 w 131"/>
                  <a:gd name="T1" fmla="*/ 172 h 181"/>
                  <a:gd name="T2" fmla="*/ 25 w 131"/>
                  <a:gd name="T3" fmla="*/ 132 h 181"/>
                  <a:gd name="T4" fmla="*/ 10 w 131"/>
                  <a:gd name="T5" fmla="*/ 60 h 181"/>
                  <a:gd name="T6" fmla="*/ 43 w 131"/>
                  <a:gd name="T7" fmla="*/ 37 h 181"/>
                  <a:gd name="T8" fmla="*/ 81 w 131"/>
                  <a:gd name="T9" fmla="*/ 22 h 181"/>
                  <a:gd name="T10" fmla="*/ 102 w 131"/>
                  <a:gd name="T11" fmla="*/ 0 h 181"/>
                  <a:gd name="T12" fmla="*/ 103 w 131"/>
                  <a:gd name="T13" fmla="*/ 22 h 181"/>
                  <a:gd name="T14" fmla="*/ 100 w 131"/>
                  <a:gd name="T15" fmla="*/ 28 h 181"/>
                  <a:gd name="T16" fmla="*/ 84 w 131"/>
                  <a:gd name="T17" fmla="*/ 41 h 181"/>
                  <a:gd name="T18" fmla="*/ 76 w 131"/>
                  <a:gd name="T19" fmla="*/ 48 h 181"/>
                  <a:gd name="T20" fmla="*/ 82 w 131"/>
                  <a:gd name="T21" fmla="*/ 49 h 181"/>
                  <a:gd name="T22" fmla="*/ 97 w 131"/>
                  <a:gd name="T23" fmla="*/ 98 h 181"/>
                  <a:gd name="T24" fmla="*/ 111 w 131"/>
                  <a:gd name="T25" fmla="*/ 118 h 181"/>
                  <a:gd name="T26" fmla="*/ 117 w 131"/>
                  <a:gd name="T27" fmla="*/ 124 h 181"/>
                  <a:gd name="T28" fmla="*/ 118 w 131"/>
                  <a:gd name="T29" fmla="*/ 126 h 181"/>
                  <a:gd name="T30" fmla="*/ 119 w 131"/>
                  <a:gd name="T31" fmla="*/ 127 h 181"/>
                  <a:gd name="T32" fmla="*/ 127 w 131"/>
                  <a:gd name="T33" fmla="*/ 142 h 181"/>
                  <a:gd name="T34" fmla="*/ 131 w 131"/>
                  <a:gd name="T35" fmla="*/ 142 h 181"/>
                  <a:gd name="T36" fmla="*/ 121 w 131"/>
                  <a:gd name="T37" fmla="*/ 151 h 181"/>
                  <a:gd name="T38" fmla="*/ 86 w 131"/>
                  <a:gd name="T39" fmla="*/ 172 h 1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131" h="181">
                    <a:moveTo>
                      <a:pt x="86" y="172"/>
                    </a:moveTo>
                    <a:cubicBezTo>
                      <a:pt x="59" y="181"/>
                      <a:pt x="36" y="154"/>
                      <a:pt x="25" y="132"/>
                    </a:cubicBezTo>
                    <a:cubicBezTo>
                      <a:pt x="13" y="111"/>
                      <a:pt x="0" y="84"/>
                      <a:pt x="10" y="60"/>
                    </a:cubicBezTo>
                    <a:cubicBezTo>
                      <a:pt x="15" y="46"/>
                      <a:pt x="30" y="41"/>
                      <a:pt x="43" y="37"/>
                    </a:cubicBezTo>
                    <a:cubicBezTo>
                      <a:pt x="56" y="33"/>
                      <a:pt x="69" y="31"/>
                      <a:pt x="81" y="22"/>
                    </a:cubicBezTo>
                    <a:cubicBezTo>
                      <a:pt x="88" y="16"/>
                      <a:pt x="96" y="8"/>
                      <a:pt x="102" y="0"/>
                    </a:cubicBezTo>
                    <a:cubicBezTo>
                      <a:pt x="104" y="7"/>
                      <a:pt x="105" y="14"/>
                      <a:pt x="103" y="22"/>
                    </a:cubicBezTo>
                    <a:cubicBezTo>
                      <a:pt x="102" y="24"/>
                      <a:pt x="101" y="26"/>
                      <a:pt x="100" y="28"/>
                    </a:cubicBezTo>
                    <a:cubicBezTo>
                      <a:pt x="96" y="33"/>
                      <a:pt x="90" y="37"/>
                      <a:pt x="84" y="41"/>
                    </a:cubicBezTo>
                    <a:cubicBezTo>
                      <a:pt x="81" y="43"/>
                      <a:pt x="78" y="46"/>
                      <a:pt x="76" y="48"/>
                    </a:cubicBezTo>
                    <a:cubicBezTo>
                      <a:pt x="82" y="49"/>
                      <a:pt x="82" y="49"/>
                      <a:pt x="82" y="49"/>
                    </a:cubicBezTo>
                    <a:cubicBezTo>
                      <a:pt x="81" y="67"/>
                      <a:pt x="87" y="84"/>
                      <a:pt x="97" y="98"/>
                    </a:cubicBezTo>
                    <a:cubicBezTo>
                      <a:pt x="100" y="105"/>
                      <a:pt x="106" y="111"/>
                      <a:pt x="111" y="118"/>
                    </a:cubicBezTo>
                    <a:cubicBezTo>
                      <a:pt x="113" y="121"/>
                      <a:pt x="115" y="122"/>
                      <a:pt x="117" y="124"/>
                    </a:cubicBezTo>
                    <a:cubicBezTo>
                      <a:pt x="118" y="126"/>
                      <a:pt x="118" y="126"/>
                      <a:pt x="118" y="126"/>
                    </a:cubicBezTo>
                    <a:cubicBezTo>
                      <a:pt x="118" y="126"/>
                      <a:pt x="119" y="127"/>
                      <a:pt x="119" y="127"/>
                    </a:cubicBezTo>
                    <a:cubicBezTo>
                      <a:pt x="123" y="131"/>
                      <a:pt x="124" y="137"/>
                      <a:pt x="127" y="142"/>
                    </a:cubicBezTo>
                    <a:cubicBezTo>
                      <a:pt x="131" y="142"/>
                      <a:pt x="131" y="142"/>
                      <a:pt x="131" y="142"/>
                    </a:cubicBezTo>
                    <a:cubicBezTo>
                      <a:pt x="128" y="145"/>
                      <a:pt x="125" y="148"/>
                      <a:pt x="121" y="151"/>
                    </a:cubicBezTo>
                    <a:cubicBezTo>
                      <a:pt x="111" y="160"/>
                      <a:pt x="99" y="168"/>
                      <a:pt x="86" y="172"/>
                    </a:cubicBezTo>
                    <a:close/>
                  </a:path>
                </a:pathLst>
              </a:custGeom>
              <a:solidFill>
                <a:srgbClr val="E840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43" name="Freeform 216">
                <a:extLst>
                  <a:ext uri="{FF2B5EF4-FFF2-40B4-BE49-F238E27FC236}">
                    <a16:creationId xmlns:a16="http://schemas.microsoft.com/office/drawing/2014/main" id="{A7BE3BD0-3C99-4AA6-8ECB-BEB085A88C32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7123" y="2560"/>
                <a:ext cx="40" cy="124"/>
              </a:xfrm>
              <a:custGeom>
                <a:avLst/>
                <a:gdLst>
                  <a:gd name="T0" fmla="*/ 0 w 38"/>
                  <a:gd name="T1" fmla="*/ 54 h 117"/>
                  <a:gd name="T2" fmla="*/ 9 w 38"/>
                  <a:gd name="T3" fmla="*/ 21 h 117"/>
                  <a:gd name="T4" fmla="*/ 17 w 38"/>
                  <a:gd name="T5" fmla="*/ 3 h 117"/>
                  <a:gd name="T6" fmla="*/ 17 w 38"/>
                  <a:gd name="T7" fmla="*/ 1 h 117"/>
                  <a:gd name="T8" fmla="*/ 21 w 38"/>
                  <a:gd name="T9" fmla="*/ 0 h 117"/>
                  <a:gd name="T10" fmla="*/ 21 w 38"/>
                  <a:gd name="T11" fmla="*/ 1 h 117"/>
                  <a:gd name="T12" fmla="*/ 22 w 38"/>
                  <a:gd name="T13" fmla="*/ 47 h 117"/>
                  <a:gd name="T14" fmla="*/ 31 w 38"/>
                  <a:gd name="T15" fmla="*/ 70 h 117"/>
                  <a:gd name="T16" fmla="*/ 38 w 38"/>
                  <a:gd name="T17" fmla="*/ 91 h 117"/>
                  <a:gd name="T18" fmla="*/ 37 w 38"/>
                  <a:gd name="T19" fmla="*/ 96 h 117"/>
                  <a:gd name="T20" fmla="*/ 21 w 38"/>
                  <a:gd name="T21" fmla="*/ 117 h 117"/>
                  <a:gd name="T22" fmla="*/ 20 w 38"/>
                  <a:gd name="T23" fmla="*/ 116 h 117"/>
                  <a:gd name="T24" fmla="*/ 8 w 38"/>
                  <a:gd name="T25" fmla="*/ 83 h 117"/>
                  <a:gd name="T26" fmla="*/ 0 w 38"/>
                  <a:gd name="T27" fmla="*/ 54 h 1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38" h="117">
                    <a:moveTo>
                      <a:pt x="0" y="54"/>
                    </a:moveTo>
                    <a:cubicBezTo>
                      <a:pt x="1" y="43"/>
                      <a:pt x="4" y="32"/>
                      <a:pt x="9" y="21"/>
                    </a:cubicBezTo>
                    <a:cubicBezTo>
                      <a:pt x="12" y="15"/>
                      <a:pt x="16" y="10"/>
                      <a:pt x="17" y="3"/>
                    </a:cubicBezTo>
                    <a:cubicBezTo>
                      <a:pt x="17" y="1"/>
                      <a:pt x="17" y="1"/>
                      <a:pt x="17" y="1"/>
                    </a:cubicBezTo>
                    <a:cubicBezTo>
                      <a:pt x="18" y="1"/>
                      <a:pt x="20" y="1"/>
                      <a:pt x="21" y="0"/>
                    </a:cubicBezTo>
                    <a:cubicBezTo>
                      <a:pt x="21" y="1"/>
                      <a:pt x="21" y="1"/>
                      <a:pt x="21" y="1"/>
                    </a:cubicBezTo>
                    <a:cubicBezTo>
                      <a:pt x="20" y="17"/>
                      <a:pt x="18" y="33"/>
                      <a:pt x="22" y="47"/>
                    </a:cubicBezTo>
                    <a:cubicBezTo>
                      <a:pt x="24" y="56"/>
                      <a:pt x="27" y="63"/>
                      <a:pt x="31" y="70"/>
                    </a:cubicBezTo>
                    <a:cubicBezTo>
                      <a:pt x="34" y="77"/>
                      <a:pt x="38" y="84"/>
                      <a:pt x="38" y="91"/>
                    </a:cubicBezTo>
                    <a:cubicBezTo>
                      <a:pt x="38" y="93"/>
                      <a:pt x="38" y="95"/>
                      <a:pt x="37" y="96"/>
                    </a:cubicBezTo>
                    <a:cubicBezTo>
                      <a:pt x="35" y="104"/>
                      <a:pt x="27" y="111"/>
                      <a:pt x="21" y="117"/>
                    </a:cubicBezTo>
                    <a:cubicBezTo>
                      <a:pt x="20" y="116"/>
                      <a:pt x="20" y="116"/>
                      <a:pt x="20" y="116"/>
                    </a:cubicBezTo>
                    <a:cubicBezTo>
                      <a:pt x="24" y="106"/>
                      <a:pt x="11" y="92"/>
                      <a:pt x="8" y="83"/>
                    </a:cubicBezTo>
                    <a:cubicBezTo>
                      <a:pt x="2" y="75"/>
                      <a:pt x="0" y="64"/>
                      <a:pt x="0" y="54"/>
                    </a:cubicBezTo>
                    <a:close/>
                  </a:path>
                </a:pathLst>
              </a:custGeom>
              <a:solidFill>
                <a:srgbClr val="E840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44" name="Freeform 217">
                <a:extLst>
                  <a:ext uri="{FF2B5EF4-FFF2-40B4-BE49-F238E27FC236}">
                    <a16:creationId xmlns:a16="http://schemas.microsoft.com/office/drawing/2014/main" id="{DDD62327-3E32-4A00-ACE5-CB60AD3E1E7F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7045" y="2714"/>
                <a:ext cx="143" cy="194"/>
              </a:xfrm>
              <a:custGeom>
                <a:avLst/>
                <a:gdLst>
                  <a:gd name="T0" fmla="*/ 30 w 135"/>
                  <a:gd name="T1" fmla="*/ 158 h 183"/>
                  <a:gd name="T2" fmla="*/ 15 w 135"/>
                  <a:gd name="T3" fmla="*/ 130 h 183"/>
                  <a:gd name="T4" fmla="*/ 17 w 135"/>
                  <a:gd name="T5" fmla="*/ 129 h 183"/>
                  <a:gd name="T6" fmla="*/ 6 w 135"/>
                  <a:gd name="T7" fmla="*/ 68 h 183"/>
                  <a:gd name="T8" fmla="*/ 24 w 135"/>
                  <a:gd name="T9" fmla="*/ 40 h 183"/>
                  <a:gd name="T10" fmla="*/ 44 w 135"/>
                  <a:gd name="T11" fmla="*/ 35 h 183"/>
                  <a:gd name="T12" fmla="*/ 70 w 135"/>
                  <a:gd name="T13" fmla="*/ 27 h 183"/>
                  <a:gd name="T14" fmla="*/ 91 w 135"/>
                  <a:gd name="T15" fmla="*/ 17 h 183"/>
                  <a:gd name="T16" fmla="*/ 110 w 135"/>
                  <a:gd name="T17" fmla="*/ 0 h 183"/>
                  <a:gd name="T18" fmla="*/ 109 w 135"/>
                  <a:gd name="T19" fmla="*/ 9 h 183"/>
                  <a:gd name="T20" fmla="*/ 109 w 135"/>
                  <a:gd name="T21" fmla="*/ 10 h 183"/>
                  <a:gd name="T22" fmla="*/ 108 w 135"/>
                  <a:gd name="T23" fmla="*/ 17 h 183"/>
                  <a:gd name="T24" fmla="*/ 105 w 135"/>
                  <a:gd name="T25" fmla="*/ 34 h 183"/>
                  <a:gd name="T26" fmla="*/ 114 w 135"/>
                  <a:gd name="T27" fmla="*/ 72 h 183"/>
                  <a:gd name="T28" fmla="*/ 124 w 135"/>
                  <a:gd name="T29" fmla="*/ 88 h 183"/>
                  <a:gd name="T30" fmla="*/ 132 w 135"/>
                  <a:gd name="T31" fmla="*/ 99 h 183"/>
                  <a:gd name="T32" fmla="*/ 133 w 135"/>
                  <a:gd name="T33" fmla="*/ 122 h 183"/>
                  <a:gd name="T34" fmla="*/ 134 w 135"/>
                  <a:gd name="T35" fmla="*/ 122 h 183"/>
                  <a:gd name="T36" fmla="*/ 111 w 135"/>
                  <a:gd name="T37" fmla="*/ 153 h 183"/>
                  <a:gd name="T38" fmla="*/ 89 w 135"/>
                  <a:gd name="T39" fmla="*/ 164 h 183"/>
                  <a:gd name="T40" fmla="*/ 78 w 135"/>
                  <a:gd name="T41" fmla="*/ 166 h 183"/>
                  <a:gd name="T42" fmla="*/ 80 w 135"/>
                  <a:gd name="T43" fmla="*/ 178 h 183"/>
                  <a:gd name="T44" fmla="*/ 54 w 135"/>
                  <a:gd name="T45" fmla="*/ 180 h 183"/>
                  <a:gd name="T46" fmla="*/ 30 w 135"/>
                  <a:gd name="T47" fmla="*/ 158 h 1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135" h="183">
                    <a:moveTo>
                      <a:pt x="30" y="158"/>
                    </a:moveTo>
                    <a:cubicBezTo>
                      <a:pt x="25" y="149"/>
                      <a:pt x="20" y="139"/>
                      <a:pt x="15" y="130"/>
                    </a:cubicBezTo>
                    <a:cubicBezTo>
                      <a:pt x="17" y="129"/>
                      <a:pt x="17" y="129"/>
                      <a:pt x="17" y="129"/>
                    </a:cubicBezTo>
                    <a:cubicBezTo>
                      <a:pt x="10" y="110"/>
                      <a:pt x="0" y="88"/>
                      <a:pt x="6" y="68"/>
                    </a:cubicBezTo>
                    <a:cubicBezTo>
                      <a:pt x="10" y="58"/>
                      <a:pt x="11" y="43"/>
                      <a:pt x="24" y="40"/>
                    </a:cubicBezTo>
                    <a:cubicBezTo>
                      <a:pt x="30" y="39"/>
                      <a:pt x="39" y="36"/>
                      <a:pt x="44" y="35"/>
                    </a:cubicBezTo>
                    <a:cubicBezTo>
                      <a:pt x="53" y="31"/>
                      <a:pt x="62" y="31"/>
                      <a:pt x="70" y="27"/>
                    </a:cubicBezTo>
                    <a:cubicBezTo>
                      <a:pt x="77" y="24"/>
                      <a:pt x="85" y="22"/>
                      <a:pt x="91" y="17"/>
                    </a:cubicBezTo>
                    <a:cubicBezTo>
                      <a:pt x="99" y="13"/>
                      <a:pt x="105" y="7"/>
                      <a:pt x="110" y="0"/>
                    </a:cubicBezTo>
                    <a:cubicBezTo>
                      <a:pt x="111" y="3"/>
                      <a:pt x="110" y="6"/>
                      <a:pt x="109" y="9"/>
                    </a:cubicBezTo>
                    <a:cubicBezTo>
                      <a:pt x="109" y="10"/>
                      <a:pt x="109" y="10"/>
                      <a:pt x="109" y="10"/>
                    </a:cubicBezTo>
                    <a:cubicBezTo>
                      <a:pt x="109" y="12"/>
                      <a:pt x="108" y="15"/>
                      <a:pt x="108" y="17"/>
                    </a:cubicBezTo>
                    <a:cubicBezTo>
                      <a:pt x="107" y="23"/>
                      <a:pt x="105" y="28"/>
                      <a:pt x="105" y="34"/>
                    </a:cubicBezTo>
                    <a:cubicBezTo>
                      <a:pt x="104" y="48"/>
                      <a:pt x="108" y="59"/>
                      <a:pt x="114" y="72"/>
                    </a:cubicBezTo>
                    <a:cubicBezTo>
                      <a:pt x="117" y="77"/>
                      <a:pt x="120" y="83"/>
                      <a:pt x="124" y="88"/>
                    </a:cubicBezTo>
                    <a:cubicBezTo>
                      <a:pt x="127" y="92"/>
                      <a:pt x="131" y="94"/>
                      <a:pt x="132" y="99"/>
                    </a:cubicBezTo>
                    <a:cubicBezTo>
                      <a:pt x="135" y="105"/>
                      <a:pt x="134" y="113"/>
                      <a:pt x="133" y="122"/>
                    </a:cubicBezTo>
                    <a:cubicBezTo>
                      <a:pt x="134" y="122"/>
                      <a:pt x="134" y="122"/>
                      <a:pt x="134" y="122"/>
                    </a:cubicBezTo>
                    <a:cubicBezTo>
                      <a:pt x="129" y="134"/>
                      <a:pt x="120" y="144"/>
                      <a:pt x="111" y="153"/>
                    </a:cubicBezTo>
                    <a:cubicBezTo>
                      <a:pt x="106" y="158"/>
                      <a:pt x="96" y="162"/>
                      <a:pt x="89" y="164"/>
                    </a:cubicBezTo>
                    <a:cubicBezTo>
                      <a:pt x="86" y="164"/>
                      <a:pt x="82" y="165"/>
                      <a:pt x="78" y="166"/>
                    </a:cubicBezTo>
                    <a:cubicBezTo>
                      <a:pt x="80" y="178"/>
                      <a:pt x="80" y="178"/>
                      <a:pt x="80" y="178"/>
                    </a:cubicBezTo>
                    <a:cubicBezTo>
                      <a:pt x="72" y="180"/>
                      <a:pt x="63" y="183"/>
                      <a:pt x="54" y="180"/>
                    </a:cubicBezTo>
                    <a:cubicBezTo>
                      <a:pt x="44" y="176"/>
                      <a:pt x="35" y="166"/>
                      <a:pt x="30" y="158"/>
                    </a:cubicBezTo>
                    <a:close/>
                  </a:path>
                </a:pathLst>
              </a:custGeom>
              <a:solidFill>
                <a:srgbClr val="E840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45" name="Freeform 218">
                <a:extLst>
                  <a:ext uri="{FF2B5EF4-FFF2-40B4-BE49-F238E27FC236}">
                    <a16:creationId xmlns:a16="http://schemas.microsoft.com/office/drawing/2014/main" id="{8F847ACB-36E6-430D-B2A0-975A21F97A04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7035" y="2547"/>
                <a:ext cx="113" cy="163"/>
              </a:xfrm>
              <a:custGeom>
                <a:avLst/>
                <a:gdLst>
                  <a:gd name="T0" fmla="*/ 38 w 107"/>
                  <a:gd name="T1" fmla="*/ 147 h 154"/>
                  <a:gd name="T2" fmla="*/ 6 w 107"/>
                  <a:gd name="T3" fmla="*/ 115 h 154"/>
                  <a:gd name="T4" fmla="*/ 2 w 107"/>
                  <a:gd name="T5" fmla="*/ 90 h 154"/>
                  <a:gd name="T6" fmla="*/ 22 w 107"/>
                  <a:gd name="T7" fmla="*/ 15 h 154"/>
                  <a:gd name="T8" fmla="*/ 90 w 107"/>
                  <a:gd name="T9" fmla="*/ 13 h 154"/>
                  <a:gd name="T10" fmla="*/ 100 w 107"/>
                  <a:gd name="T11" fmla="*/ 13 h 154"/>
                  <a:gd name="T12" fmla="*/ 100 w 107"/>
                  <a:gd name="T13" fmla="*/ 15 h 154"/>
                  <a:gd name="T14" fmla="*/ 92 w 107"/>
                  <a:gd name="T15" fmla="*/ 33 h 154"/>
                  <a:gd name="T16" fmla="*/ 83 w 107"/>
                  <a:gd name="T17" fmla="*/ 66 h 154"/>
                  <a:gd name="T18" fmla="*/ 91 w 107"/>
                  <a:gd name="T19" fmla="*/ 95 h 154"/>
                  <a:gd name="T20" fmla="*/ 103 w 107"/>
                  <a:gd name="T21" fmla="*/ 128 h 154"/>
                  <a:gd name="T22" fmla="*/ 104 w 107"/>
                  <a:gd name="T23" fmla="*/ 129 h 154"/>
                  <a:gd name="T24" fmla="*/ 104 w 107"/>
                  <a:gd name="T25" fmla="*/ 129 h 154"/>
                  <a:gd name="T26" fmla="*/ 83 w 107"/>
                  <a:gd name="T27" fmla="*/ 145 h 154"/>
                  <a:gd name="T28" fmla="*/ 38 w 107"/>
                  <a:gd name="T29" fmla="*/ 148 h 154"/>
                  <a:gd name="T30" fmla="*/ 38 w 107"/>
                  <a:gd name="T31" fmla="*/ 147 h 1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107" h="154">
                    <a:moveTo>
                      <a:pt x="38" y="147"/>
                    </a:moveTo>
                    <a:cubicBezTo>
                      <a:pt x="23" y="140"/>
                      <a:pt x="10" y="131"/>
                      <a:pt x="6" y="115"/>
                    </a:cubicBezTo>
                    <a:cubicBezTo>
                      <a:pt x="3" y="106"/>
                      <a:pt x="3" y="97"/>
                      <a:pt x="2" y="90"/>
                    </a:cubicBezTo>
                    <a:cubicBezTo>
                      <a:pt x="0" y="64"/>
                      <a:pt x="0" y="31"/>
                      <a:pt x="22" y="15"/>
                    </a:cubicBezTo>
                    <a:cubicBezTo>
                      <a:pt x="43" y="0"/>
                      <a:pt x="69" y="9"/>
                      <a:pt x="90" y="13"/>
                    </a:cubicBezTo>
                    <a:cubicBezTo>
                      <a:pt x="94" y="14"/>
                      <a:pt x="97" y="14"/>
                      <a:pt x="100" y="13"/>
                    </a:cubicBezTo>
                    <a:cubicBezTo>
                      <a:pt x="100" y="15"/>
                      <a:pt x="100" y="15"/>
                      <a:pt x="100" y="15"/>
                    </a:cubicBezTo>
                    <a:cubicBezTo>
                      <a:pt x="99" y="22"/>
                      <a:pt x="95" y="27"/>
                      <a:pt x="92" y="33"/>
                    </a:cubicBezTo>
                    <a:cubicBezTo>
                      <a:pt x="87" y="44"/>
                      <a:pt x="84" y="55"/>
                      <a:pt x="83" y="66"/>
                    </a:cubicBezTo>
                    <a:cubicBezTo>
                      <a:pt x="83" y="76"/>
                      <a:pt x="85" y="87"/>
                      <a:pt x="91" y="95"/>
                    </a:cubicBezTo>
                    <a:cubicBezTo>
                      <a:pt x="94" y="104"/>
                      <a:pt x="107" y="118"/>
                      <a:pt x="103" y="128"/>
                    </a:cubicBezTo>
                    <a:cubicBezTo>
                      <a:pt x="104" y="129"/>
                      <a:pt x="104" y="129"/>
                      <a:pt x="104" y="129"/>
                    </a:cubicBezTo>
                    <a:cubicBezTo>
                      <a:pt x="104" y="129"/>
                      <a:pt x="104" y="129"/>
                      <a:pt x="104" y="129"/>
                    </a:cubicBezTo>
                    <a:cubicBezTo>
                      <a:pt x="98" y="136"/>
                      <a:pt x="91" y="142"/>
                      <a:pt x="83" y="145"/>
                    </a:cubicBezTo>
                    <a:cubicBezTo>
                      <a:pt x="68" y="153"/>
                      <a:pt x="53" y="154"/>
                      <a:pt x="38" y="148"/>
                    </a:cubicBezTo>
                    <a:lnTo>
                      <a:pt x="38" y="147"/>
                    </a:lnTo>
                    <a:close/>
                  </a:path>
                </a:pathLst>
              </a:custGeom>
              <a:solidFill>
                <a:srgbClr val="E840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46" name="Freeform 219">
                <a:extLst>
                  <a:ext uri="{FF2B5EF4-FFF2-40B4-BE49-F238E27FC236}">
                    <a16:creationId xmlns:a16="http://schemas.microsoft.com/office/drawing/2014/main" id="{AA665479-A807-496D-9722-D484AB21B15D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7027" y="2256"/>
                <a:ext cx="186" cy="261"/>
              </a:xfrm>
              <a:custGeom>
                <a:avLst/>
                <a:gdLst>
                  <a:gd name="T0" fmla="*/ 18 w 175"/>
                  <a:gd name="T1" fmla="*/ 27 h 247"/>
                  <a:gd name="T2" fmla="*/ 61 w 175"/>
                  <a:gd name="T3" fmla="*/ 0 h 247"/>
                  <a:gd name="T4" fmla="*/ 63 w 175"/>
                  <a:gd name="T5" fmla="*/ 3 h 247"/>
                  <a:gd name="T6" fmla="*/ 65 w 175"/>
                  <a:gd name="T7" fmla="*/ 18 h 247"/>
                  <a:gd name="T8" fmla="*/ 76 w 175"/>
                  <a:gd name="T9" fmla="*/ 48 h 247"/>
                  <a:gd name="T10" fmla="*/ 100 w 175"/>
                  <a:gd name="T11" fmla="*/ 94 h 247"/>
                  <a:gd name="T12" fmla="*/ 123 w 175"/>
                  <a:gd name="T13" fmla="*/ 125 h 247"/>
                  <a:gd name="T14" fmla="*/ 136 w 175"/>
                  <a:gd name="T15" fmla="*/ 140 h 247"/>
                  <a:gd name="T16" fmla="*/ 150 w 175"/>
                  <a:gd name="T17" fmla="*/ 150 h 247"/>
                  <a:gd name="T18" fmla="*/ 150 w 175"/>
                  <a:gd name="T19" fmla="*/ 152 h 247"/>
                  <a:gd name="T20" fmla="*/ 158 w 175"/>
                  <a:gd name="T21" fmla="*/ 152 h 247"/>
                  <a:gd name="T22" fmla="*/ 175 w 175"/>
                  <a:gd name="T23" fmla="*/ 163 h 247"/>
                  <a:gd name="T24" fmla="*/ 173 w 175"/>
                  <a:gd name="T25" fmla="*/ 164 h 247"/>
                  <a:gd name="T26" fmla="*/ 140 w 175"/>
                  <a:gd name="T27" fmla="*/ 196 h 247"/>
                  <a:gd name="T28" fmla="*/ 132 w 175"/>
                  <a:gd name="T29" fmla="*/ 202 h 247"/>
                  <a:gd name="T30" fmla="*/ 133 w 175"/>
                  <a:gd name="T31" fmla="*/ 203 h 247"/>
                  <a:gd name="T32" fmla="*/ 118 w 175"/>
                  <a:gd name="T33" fmla="*/ 221 h 247"/>
                  <a:gd name="T34" fmla="*/ 104 w 175"/>
                  <a:gd name="T35" fmla="*/ 235 h 247"/>
                  <a:gd name="T36" fmla="*/ 92 w 175"/>
                  <a:gd name="T37" fmla="*/ 247 h 247"/>
                  <a:gd name="T38" fmla="*/ 81 w 175"/>
                  <a:gd name="T39" fmla="*/ 243 h 247"/>
                  <a:gd name="T40" fmla="*/ 66 w 175"/>
                  <a:gd name="T41" fmla="*/ 231 h 247"/>
                  <a:gd name="T42" fmla="*/ 44 w 175"/>
                  <a:gd name="T43" fmla="*/ 207 h 247"/>
                  <a:gd name="T44" fmla="*/ 17 w 175"/>
                  <a:gd name="T45" fmla="*/ 155 h 247"/>
                  <a:gd name="T46" fmla="*/ 0 w 175"/>
                  <a:gd name="T47" fmla="*/ 92 h 247"/>
                  <a:gd name="T48" fmla="*/ 8 w 175"/>
                  <a:gd name="T49" fmla="*/ 61 h 247"/>
                  <a:gd name="T50" fmla="*/ 21 w 175"/>
                  <a:gd name="T51" fmla="*/ 31 h 247"/>
                  <a:gd name="T52" fmla="*/ 18 w 175"/>
                  <a:gd name="T53" fmla="*/ 27 h 2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175" h="247">
                    <a:moveTo>
                      <a:pt x="18" y="27"/>
                    </a:moveTo>
                    <a:cubicBezTo>
                      <a:pt x="33" y="18"/>
                      <a:pt x="47" y="9"/>
                      <a:pt x="61" y="0"/>
                    </a:cubicBezTo>
                    <a:cubicBezTo>
                      <a:pt x="63" y="3"/>
                      <a:pt x="63" y="3"/>
                      <a:pt x="63" y="3"/>
                    </a:cubicBezTo>
                    <a:cubicBezTo>
                      <a:pt x="61" y="7"/>
                      <a:pt x="65" y="15"/>
                      <a:pt x="65" y="18"/>
                    </a:cubicBezTo>
                    <a:cubicBezTo>
                      <a:pt x="68" y="28"/>
                      <a:pt x="72" y="38"/>
                      <a:pt x="76" y="48"/>
                    </a:cubicBezTo>
                    <a:cubicBezTo>
                      <a:pt x="83" y="64"/>
                      <a:pt x="90" y="79"/>
                      <a:pt x="100" y="94"/>
                    </a:cubicBezTo>
                    <a:cubicBezTo>
                      <a:pt x="107" y="104"/>
                      <a:pt x="116" y="116"/>
                      <a:pt x="123" y="125"/>
                    </a:cubicBezTo>
                    <a:cubicBezTo>
                      <a:pt x="128" y="130"/>
                      <a:pt x="132" y="135"/>
                      <a:pt x="136" y="140"/>
                    </a:cubicBezTo>
                    <a:cubicBezTo>
                      <a:pt x="140" y="144"/>
                      <a:pt x="146" y="149"/>
                      <a:pt x="150" y="150"/>
                    </a:cubicBezTo>
                    <a:cubicBezTo>
                      <a:pt x="150" y="152"/>
                      <a:pt x="150" y="152"/>
                      <a:pt x="150" y="152"/>
                    </a:cubicBezTo>
                    <a:cubicBezTo>
                      <a:pt x="151" y="154"/>
                      <a:pt x="155" y="151"/>
                      <a:pt x="158" y="152"/>
                    </a:cubicBezTo>
                    <a:cubicBezTo>
                      <a:pt x="164" y="152"/>
                      <a:pt x="171" y="156"/>
                      <a:pt x="175" y="163"/>
                    </a:cubicBezTo>
                    <a:cubicBezTo>
                      <a:pt x="173" y="164"/>
                      <a:pt x="173" y="164"/>
                      <a:pt x="173" y="164"/>
                    </a:cubicBezTo>
                    <a:cubicBezTo>
                      <a:pt x="165" y="177"/>
                      <a:pt x="152" y="187"/>
                      <a:pt x="140" y="196"/>
                    </a:cubicBezTo>
                    <a:cubicBezTo>
                      <a:pt x="137" y="198"/>
                      <a:pt x="135" y="200"/>
                      <a:pt x="132" y="202"/>
                    </a:cubicBezTo>
                    <a:cubicBezTo>
                      <a:pt x="133" y="203"/>
                      <a:pt x="133" y="203"/>
                      <a:pt x="133" y="203"/>
                    </a:cubicBezTo>
                    <a:cubicBezTo>
                      <a:pt x="129" y="210"/>
                      <a:pt x="122" y="215"/>
                      <a:pt x="118" y="221"/>
                    </a:cubicBezTo>
                    <a:cubicBezTo>
                      <a:pt x="113" y="227"/>
                      <a:pt x="108" y="231"/>
                      <a:pt x="104" y="235"/>
                    </a:cubicBezTo>
                    <a:cubicBezTo>
                      <a:pt x="101" y="239"/>
                      <a:pt x="97" y="244"/>
                      <a:pt x="92" y="247"/>
                    </a:cubicBezTo>
                    <a:cubicBezTo>
                      <a:pt x="88" y="246"/>
                      <a:pt x="84" y="245"/>
                      <a:pt x="81" y="243"/>
                    </a:cubicBezTo>
                    <a:cubicBezTo>
                      <a:pt x="76" y="239"/>
                      <a:pt x="70" y="236"/>
                      <a:pt x="66" y="231"/>
                    </a:cubicBezTo>
                    <a:cubicBezTo>
                      <a:pt x="58" y="224"/>
                      <a:pt x="51" y="216"/>
                      <a:pt x="44" y="207"/>
                    </a:cubicBezTo>
                    <a:cubicBezTo>
                      <a:pt x="34" y="191"/>
                      <a:pt x="25" y="173"/>
                      <a:pt x="17" y="155"/>
                    </a:cubicBezTo>
                    <a:cubicBezTo>
                      <a:pt x="9" y="135"/>
                      <a:pt x="2" y="113"/>
                      <a:pt x="0" y="92"/>
                    </a:cubicBezTo>
                    <a:cubicBezTo>
                      <a:pt x="0" y="81"/>
                      <a:pt x="4" y="69"/>
                      <a:pt x="8" y="61"/>
                    </a:cubicBezTo>
                    <a:cubicBezTo>
                      <a:pt x="11" y="50"/>
                      <a:pt x="15" y="40"/>
                      <a:pt x="21" y="31"/>
                    </a:cubicBezTo>
                    <a:lnTo>
                      <a:pt x="18" y="27"/>
                    </a:lnTo>
                    <a:close/>
                  </a:path>
                </a:pathLst>
              </a:custGeom>
              <a:solidFill>
                <a:srgbClr val="E840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47" name="Freeform 220">
                <a:extLst>
                  <a:ext uri="{FF2B5EF4-FFF2-40B4-BE49-F238E27FC236}">
                    <a16:creationId xmlns:a16="http://schemas.microsoft.com/office/drawing/2014/main" id="{2BD969B1-EFD6-43E1-B219-40F54B7C53BD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765" y="2208"/>
                <a:ext cx="233" cy="231"/>
              </a:xfrm>
              <a:custGeom>
                <a:avLst/>
                <a:gdLst>
                  <a:gd name="T0" fmla="*/ 1 w 219"/>
                  <a:gd name="T1" fmla="*/ 197 h 218"/>
                  <a:gd name="T2" fmla="*/ 15 w 219"/>
                  <a:gd name="T3" fmla="*/ 153 h 218"/>
                  <a:gd name="T4" fmla="*/ 25 w 219"/>
                  <a:gd name="T5" fmla="*/ 123 h 218"/>
                  <a:gd name="T6" fmla="*/ 60 w 219"/>
                  <a:gd name="T7" fmla="*/ 97 h 218"/>
                  <a:gd name="T8" fmla="*/ 63 w 219"/>
                  <a:gd name="T9" fmla="*/ 95 h 218"/>
                  <a:gd name="T10" fmla="*/ 133 w 219"/>
                  <a:gd name="T11" fmla="*/ 43 h 218"/>
                  <a:gd name="T12" fmla="*/ 164 w 219"/>
                  <a:gd name="T13" fmla="*/ 18 h 218"/>
                  <a:gd name="T14" fmla="*/ 194 w 219"/>
                  <a:gd name="T15" fmla="*/ 0 h 218"/>
                  <a:gd name="T16" fmla="*/ 196 w 219"/>
                  <a:gd name="T17" fmla="*/ 0 h 218"/>
                  <a:gd name="T18" fmla="*/ 196 w 219"/>
                  <a:gd name="T19" fmla="*/ 7 h 218"/>
                  <a:gd name="T20" fmla="*/ 212 w 219"/>
                  <a:gd name="T21" fmla="*/ 26 h 218"/>
                  <a:gd name="T22" fmla="*/ 219 w 219"/>
                  <a:gd name="T23" fmla="*/ 37 h 218"/>
                  <a:gd name="T24" fmla="*/ 193 w 219"/>
                  <a:gd name="T25" fmla="*/ 56 h 218"/>
                  <a:gd name="T26" fmla="*/ 122 w 219"/>
                  <a:gd name="T27" fmla="*/ 98 h 218"/>
                  <a:gd name="T28" fmla="*/ 79 w 219"/>
                  <a:gd name="T29" fmla="*/ 129 h 218"/>
                  <a:gd name="T30" fmla="*/ 45 w 219"/>
                  <a:gd name="T31" fmla="*/ 150 h 218"/>
                  <a:gd name="T32" fmla="*/ 19 w 219"/>
                  <a:gd name="T33" fmla="*/ 211 h 218"/>
                  <a:gd name="T34" fmla="*/ 16 w 219"/>
                  <a:gd name="T35" fmla="*/ 218 h 218"/>
                  <a:gd name="T36" fmla="*/ 5 w 219"/>
                  <a:gd name="T37" fmla="*/ 212 h 218"/>
                  <a:gd name="T38" fmla="*/ 1 w 219"/>
                  <a:gd name="T39" fmla="*/ 197 h 2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219" h="218">
                    <a:moveTo>
                      <a:pt x="1" y="197"/>
                    </a:moveTo>
                    <a:cubicBezTo>
                      <a:pt x="4" y="182"/>
                      <a:pt x="10" y="168"/>
                      <a:pt x="15" y="153"/>
                    </a:cubicBezTo>
                    <a:cubicBezTo>
                      <a:pt x="17" y="143"/>
                      <a:pt x="21" y="132"/>
                      <a:pt x="25" y="123"/>
                    </a:cubicBezTo>
                    <a:cubicBezTo>
                      <a:pt x="32" y="110"/>
                      <a:pt x="48" y="105"/>
                      <a:pt x="60" y="97"/>
                    </a:cubicBezTo>
                    <a:cubicBezTo>
                      <a:pt x="61" y="96"/>
                      <a:pt x="62" y="96"/>
                      <a:pt x="63" y="95"/>
                    </a:cubicBezTo>
                    <a:cubicBezTo>
                      <a:pt x="88" y="80"/>
                      <a:pt x="111" y="62"/>
                      <a:pt x="133" y="43"/>
                    </a:cubicBezTo>
                    <a:cubicBezTo>
                      <a:pt x="144" y="35"/>
                      <a:pt x="154" y="25"/>
                      <a:pt x="164" y="18"/>
                    </a:cubicBezTo>
                    <a:cubicBezTo>
                      <a:pt x="174" y="11"/>
                      <a:pt x="182" y="1"/>
                      <a:pt x="194" y="0"/>
                    </a:cubicBezTo>
                    <a:cubicBezTo>
                      <a:pt x="195" y="0"/>
                      <a:pt x="195" y="0"/>
                      <a:pt x="196" y="0"/>
                    </a:cubicBezTo>
                    <a:cubicBezTo>
                      <a:pt x="196" y="7"/>
                      <a:pt x="196" y="7"/>
                      <a:pt x="196" y="7"/>
                    </a:cubicBezTo>
                    <a:cubicBezTo>
                      <a:pt x="199" y="14"/>
                      <a:pt x="207" y="20"/>
                      <a:pt x="212" y="26"/>
                    </a:cubicBezTo>
                    <a:cubicBezTo>
                      <a:pt x="214" y="29"/>
                      <a:pt x="215" y="35"/>
                      <a:pt x="219" y="37"/>
                    </a:cubicBezTo>
                    <a:cubicBezTo>
                      <a:pt x="210" y="43"/>
                      <a:pt x="201" y="50"/>
                      <a:pt x="193" y="56"/>
                    </a:cubicBezTo>
                    <a:cubicBezTo>
                      <a:pt x="170" y="71"/>
                      <a:pt x="145" y="85"/>
                      <a:pt x="122" y="98"/>
                    </a:cubicBezTo>
                    <a:cubicBezTo>
                      <a:pt x="108" y="108"/>
                      <a:pt x="94" y="120"/>
                      <a:pt x="79" y="129"/>
                    </a:cubicBezTo>
                    <a:cubicBezTo>
                      <a:pt x="68" y="135"/>
                      <a:pt x="56" y="143"/>
                      <a:pt x="45" y="150"/>
                    </a:cubicBezTo>
                    <a:cubicBezTo>
                      <a:pt x="27" y="164"/>
                      <a:pt x="25" y="191"/>
                      <a:pt x="19" y="211"/>
                    </a:cubicBezTo>
                    <a:cubicBezTo>
                      <a:pt x="18" y="214"/>
                      <a:pt x="17" y="216"/>
                      <a:pt x="16" y="218"/>
                    </a:cubicBezTo>
                    <a:cubicBezTo>
                      <a:pt x="13" y="217"/>
                      <a:pt x="8" y="215"/>
                      <a:pt x="5" y="212"/>
                    </a:cubicBezTo>
                    <a:cubicBezTo>
                      <a:pt x="1" y="208"/>
                      <a:pt x="0" y="204"/>
                      <a:pt x="1" y="197"/>
                    </a:cubicBezTo>
                    <a:close/>
                  </a:path>
                </a:pathLst>
              </a:custGeom>
              <a:solidFill>
                <a:srgbClr val="E840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48" name="Freeform 221">
                <a:extLst>
                  <a:ext uri="{FF2B5EF4-FFF2-40B4-BE49-F238E27FC236}">
                    <a16:creationId xmlns:a16="http://schemas.microsoft.com/office/drawing/2014/main" id="{5DAE6D48-58D3-4BFB-9479-379A3142341C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831" y="2152"/>
                <a:ext cx="245" cy="157"/>
              </a:xfrm>
              <a:custGeom>
                <a:avLst/>
                <a:gdLst>
                  <a:gd name="T0" fmla="*/ 0 w 231"/>
                  <a:gd name="T1" fmla="*/ 146 h 148"/>
                  <a:gd name="T2" fmla="*/ 29 w 231"/>
                  <a:gd name="T3" fmla="*/ 113 h 148"/>
                  <a:gd name="T4" fmla="*/ 82 w 231"/>
                  <a:gd name="T5" fmla="*/ 78 h 148"/>
                  <a:gd name="T6" fmla="*/ 132 w 231"/>
                  <a:gd name="T7" fmla="*/ 39 h 148"/>
                  <a:gd name="T8" fmla="*/ 153 w 231"/>
                  <a:gd name="T9" fmla="*/ 23 h 148"/>
                  <a:gd name="T10" fmla="*/ 176 w 231"/>
                  <a:gd name="T11" fmla="*/ 6 h 148"/>
                  <a:gd name="T12" fmla="*/ 203 w 231"/>
                  <a:gd name="T13" fmla="*/ 6 h 148"/>
                  <a:gd name="T14" fmla="*/ 222 w 231"/>
                  <a:gd name="T15" fmla="*/ 21 h 148"/>
                  <a:gd name="T16" fmla="*/ 229 w 231"/>
                  <a:gd name="T17" fmla="*/ 30 h 148"/>
                  <a:gd name="T18" fmla="*/ 231 w 231"/>
                  <a:gd name="T19" fmla="*/ 32 h 148"/>
                  <a:gd name="T20" fmla="*/ 170 w 231"/>
                  <a:gd name="T21" fmla="*/ 80 h 148"/>
                  <a:gd name="T22" fmla="*/ 157 w 231"/>
                  <a:gd name="T23" fmla="*/ 90 h 148"/>
                  <a:gd name="T24" fmla="*/ 150 w 231"/>
                  <a:gd name="T25" fmla="*/ 79 h 148"/>
                  <a:gd name="T26" fmla="*/ 134 w 231"/>
                  <a:gd name="T27" fmla="*/ 60 h 148"/>
                  <a:gd name="T28" fmla="*/ 134 w 231"/>
                  <a:gd name="T29" fmla="*/ 53 h 148"/>
                  <a:gd name="T30" fmla="*/ 132 w 231"/>
                  <a:gd name="T31" fmla="*/ 53 h 148"/>
                  <a:gd name="T32" fmla="*/ 102 w 231"/>
                  <a:gd name="T33" fmla="*/ 71 h 148"/>
                  <a:gd name="T34" fmla="*/ 71 w 231"/>
                  <a:gd name="T35" fmla="*/ 96 h 148"/>
                  <a:gd name="T36" fmla="*/ 1 w 231"/>
                  <a:gd name="T37" fmla="*/ 148 h 148"/>
                  <a:gd name="T38" fmla="*/ 0 w 231"/>
                  <a:gd name="T39" fmla="*/ 146 h 1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231" h="148">
                    <a:moveTo>
                      <a:pt x="0" y="146"/>
                    </a:moveTo>
                    <a:cubicBezTo>
                      <a:pt x="12" y="136"/>
                      <a:pt x="16" y="121"/>
                      <a:pt x="29" y="113"/>
                    </a:cubicBezTo>
                    <a:cubicBezTo>
                      <a:pt x="48" y="100"/>
                      <a:pt x="65" y="90"/>
                      <a:pt x="82" y="78"/>
                    </a:cubicBezTo>
                    <a:cubicBezTo>
                      <a:pt x="100" y="65"/>
                      <a:pt x="116" y="52"/>
                      <a:pt x="132" y="39"/>
                    </a:cubicBezTo>
                    <a:cubicBezTo>
                      <a:pt x="140" y="34"/>
                      <a:pt x="146" y="29"/>
                      <a:pt x="153" y="23"/>
                    </a:cubicBezTo>
                    <a:cubicBezTo>
                      <a:pt x="160" y="16"/>
                      <a:pt x="166" y="10"/>
                      <a:pt x="176" y="6"/>
                    </a:cubicBezTo>
                    <a:cubicBezTo>
                      <a:pt x="186" y="2"/>
                      <a:pt x="193" y="0"/>
                      <a:pt x="203" y="6"/>
                    </a:cubicBezTo>
                    <a:cubicBezTo>
                      <a:pt x="210" y="10"/>
                      <a:pt x="216" y="16"/>
                      <a:pt x="222" y="21"/>
                    </a:cubicBezTo>
                    <a:cubicBezTo>
                      <a:pt x="224" y="23"/>
                      <a:pt x="228" y="27"/>
                      <a:pt x="229" y="30"/>
                    </a:cubicBezTo>
                    <a:cubicBezTo>
                      <a:pt x="231" y="32"/>
                      <a:pt x="231" y="32"/>
                      <a:pt x="231" y="32"/>
                    </a:cubicBezTo>
                    <a:cubicBezTo>
                      <a:pt x="211" y="49"/>
                      <a:pt x="192" y="67"/>
                      <a:pt x="170" y="80"/>
                    </a:cubicBezTo>
                    <a:cubicBezTo>
                      <a:pt x="166" y="84"/>
                      <a:pt x="161" y="87"/>
                      <a:pt x="157" y="90"/>
                    </a:cubicBezTo>
                    <a:cubicBezTo>
                      <a:pt x="153" y="88"/>
                      <a:pt x="152" y="82"/>
                      <a:pt x="150" y="79"/>
                    </a:cubicBezTo>
                    <a:cubicBezTo>
                      <a:pt x="145" y="73"/>
                      <a:pt x="137" y="67"/>
                      <a:pt x="134" y="60"/>
                    </a:cubicBezTo>
                    <a:cubicBezTo>
                      <a:pt x="134" y="53"/>
                      <a:pt x="134" y="53"/>
                      <a:pt x="134" y="53"/>
                    </a:cubicBezTo>
                    <a:cubicBezTo>
                      <a:pt x="133" y="53"/>
                      <a:pt x="133" y="53"/>
                      <a:pt x="132" y="53"/>
                    </a:cubicBezTo>
                    <a:cubicBezTo>
                      <a:pt x="120" y="54"/>
                      <a:pt x="112" y="64"/>
                      <a:pt x="102" y="71"/>
                    </a:cubicBezTo>
                    <a:cubicBezTo>
                      <a:pt x="92" y="78"/>
                      <a:pt x="82" y="88"/>
                      <a:pt x="71" y="96"/>
                    </a:cubicBezTo>
                    <a:cubicBezTo>
                      <a:pt x="49" y="115"/>
                      <a:pt x="26" y="133"/>
                      <a:pt x="1" y="148"/>
                    </a:cubicBezTo>
                    <a:lnTo>
                      <a:pt x="0" y="146"/>
                    </a:lnTo>
                    <a:close/>
                  </a:path>
                </a:pathLst>
              </a:custGeom>
              <a:solidFill>
                <a:srgbClr val="E840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49" name="Freeform 222">
                <a:extLst>
                  <a:ext uri="{FF2B5EF4-FFF2-40B4-BE49-F238E27FC236}">
                    <a16:creationId xmlns:a16="http://schemas.microsoft.com/office/drawing/2014/main" id="{0262420D-3D1E-4DF7-AE5E-98CFA331CBC2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7094" y="2890"/>
                <a:ext cx="46" cy="14"/>
              </a:xfrm>
              <a:custGeom>
                <a:avLst/>
                <a:gdLst>
                  <a:gd name="T0" fmla="*/ 38 w 43"/>
                  <a:gd name="T1" fmla="*/ 2 h 13"/>
                  <a:gd name="T2" fmla="*/ 32 w 43"/>
                  <a:gd name="T3" fmla="*/ 1 h 13"/>
                  <a:gd name="T4" fmla="*/ 27 w 43"/>
                  <a:gd name="T5" fmla="*/ 2 h 13"/>
                  <a:gd name="T6" fmla="*/ 9 w 43"/>
                  <a:gd name="T7" fmla="*/ 3 h 13"/>
                  <a:gd name="T8" fmla="*/ 7 w 43"/>
                  <a:gd name="T9" fmla="*/ 13 h 13"/>
                  <a:gd name="T10" fmla="*/ 28 w 43"/>
                  <a:gd name="T11" fmla="*/ 11 h 13"/>
                  <a:gd name="T12" fmla="*/ 42 w 43"/>
                  <a:gd name="T13" fmla="*/ 6 h 13"/>
                  <a:gd name="T14" fmla="*/ 38 w 43"/>
                  <a:gd name="T15" fmla="*/ 2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43" h="13">
                    <a:moveTo>
                      <a:pt x="38" y="2"/>
                    </a:moveTo>
                    <a:cubicBezTo>
                      <a:pt x="37" y="3"/>
                      <a:pt x="33" y="1"/>
                      <a:pt x="32" y="1"/>
                    </a:cubicBezTo>
                    <a:cubicBezTo>
                      <a:pt x="30" y="1"/>
                      <a:pt x="28" y="2"/>
                      <a:pt x="27" y="2"/>
                    </a:cubicBezTo>
                    <a:cubicBezTo>
                      <a:pt x="20" y="4"/>
                      <a:pt x="16" y="5"/>
                      <a:pt x="9" y="3"/>
                    </a:cubicBezTo>
                    <a:cubicBezTo>
                      <a:pt x="2" y="1"/>
                      <a:pt x="0" y="13"/>
                      <a:pt x="7" y="13"/>
                    </a:cubicBezTo>
                    <a:cubicBezTo>
                      <a:pt x="15" y="13"/>
                      <a:pt x="21" y="13"/>
                      <a:pt x="28" y="11"/>
                    </a:cubicBezTo>
                    <a:cubicBezTo>
                      <a:pt x="33" y="9"/>
                      <a:pt x="38" y="10"/>
                      <a:pt x="42" y="6"/>
                    </a:cubicBezTo>
                    <a:cubicBezTo>
                      <a:pt x="43" y="4"/>
                      <a:pt x="41" y="0"/>
                      <a:pt x="38" y="2"/>
                    </a:cubicBezTo>
                    <a:close/>
                  </a:path>
                </a:pathLst>
              </a:custGeom>
              <a:solidFill>
                <a:srgbClr val="21AAD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50" name="Freeform 223">
                <a:extLst>
                  <a:ext uri="{FF2B5EF4-FFF2-40B4-BE49-F238E27FC236}">
                    <a16:creationId xmlns:a16="http://schemas.microsoft.com/office/drawing/2014/main" id="{4C36E94A-8F55-4B46-83C9-68614641D63A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828" y="2207"/>
                <a:ext cx="318" cy="268"/>
              </a:xfrm>
              <a:custGeom>
                <a:avLst/>
                <a:gdLst>
                  <a:gd name="T0" fmla="*/ 297 w 300"/>
                  <a:gd name="T1" fmla="*/ 1 h 253"/>
                  <a:gd name="T2" fmla="*/ 251 w 300"/>
                  <a:gd name="T3" fmla="*/ 43 h 253"/>
                  <a:gd name="T4" fmla="*/ 207 w 300"/>
                  <a:gd name="T5" fmla="*/ 71 h 253"/>
                  <a:gd name="T6" fmla="*/ 121 w 300"/>
                  <a:gd name="T7" fmla="*/ 128 h 253"/>
                  <a:gd name="T8" fmla="*/ 48 w 300"/>
                  <a:gd name="T9" fmla="*/ 181 h 253"/>
                  <a:gd name="T10" fmla="*/ 1 w 300"/>
                  <a:gd name="T11" fmla="*/ 248 h 253"/>
                  <a:gd name="T12" fmla="*/ 7 w 300"/>
                  <a:gd name="T13" fmla="*/ 249 h 253"/>
                  <a:gd name="T14" fmla="*/ 37 w 300"/>
                  <a:gd name="T15" fmla="*/ 200 h 253"/>
                  <a:gd name="T16" fmla="*/ 73 w 300"/>
                  <a:gd name="T17" fmla="*/ 174 h 253"/>
                  <a:gd name="T18" fmla="*/ 145 w 300"/>
                  <a:gd name="T19" fmla="*/ 121 h 253"/>
                  <a:gd name="T20" fmla="*/ 231 w 300"/>
                  <a:gd name="T21" fmla="*/ 65 h 253"/>
                  <a:gd name="T22" fmla="*/ 299 w 300"/>
                  <a:gd name="T23" fmla="*/ 3 h 253"/>
                  <a:gd name="T24" fmla="*/ 297 w 300"/>
                  <a:gd name="T25" fmla="*/ 1 h 2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300" h="253">
                    <a:moveTo>
                      <a:pt x="297" y="1"/>
                    </a:moveTo>
                    <a:cubicBezTo>
                      <a:pt x="282" y="17"/>
                      <a:pt x="270" y="31"/>
                      <a:pt x="251" y="43"/>
                    </a:cubicBezTo>
                    <a:cubicBezTo>
                      <a:pt x="237" y="53"/>
                      <a:pt x="222" y="62"/>
                      <a:pt x="207" y="71"/>
                    </a:cubicBezTo>
                    <a:cubicBezTo>
                      <a:pt x="179" y="90"/>
                      <a:pt x="150" y="109"/>
                      <a:pt x="121" y="128"/>
                    </a:cubicBezTo>
                    <a:cubicBezTo>
                      <a:pt x="97" y="145"/>
                      <a:pt x="73" y="164"/>
                      <a:pt x="48" y="181"/>
                    </a:cubicBezTo>
                    <a:cubicBezTo>
                      <a:pt x="25" y="197"/>
                      <a:pt x="9" y="221"/>
                      <a:pt x="1" y="248"/>
                    </a:cubicBezTo>
                    <a:cubicBezTo>
                      <a:pt x="0" y="252"/>
                      <a:pt x="6" y="253"/>
                      <a:pt x="7" y="249"/>
                    </a:cubicBezTo>
                    <a:cubicBezTo>
                      <a:pt x="13" y="230"/>
                      <a:pt x="23" y="214"/>
                      <a:pt x="37" y="200"/>
                    </a:cubicBezTo>
                    <a:cubicBezTo>
                      <a:pt x="48" y="189"/>
                      <a:pt x="61" y="183"/>
                      <a:pt x="73" y="174"/>
                    </a:cubicBezTo>
                    <a:cubicBezTo>
                      <a:pt x="98" y="156"/>
                      <a:pt x="121" y="138"/>
                      <a:pt x="145" y="121"/>
                    </a:cubicBezTo>
                    <a:cubicBezTo>
                      <a:pt x="174" y="102"/>
                      <a:pt x="202" y="84"/>
                      <a:pt x="231" y="65"/>
                    </a:cubicBezTo>
                    <a:cubicBezTo>
                      <a:pt x="257" y="49"/>
                      <a:pt x="283" y="30"/>
                      <a:pt x="299" y="3"/>
                    </a:cubicBezTo>
                    <a:cubicBezTo>
                      <a:pt x="300" y="2"/>
                      <a:pt x="298" y="0"/>
                      <a:pt x="297" y="1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51" name="Freeform 224">
                <a:extLst>
                  <a:ext uri="{FF2B5EF4-FFF2-40B4-BE49-F238E27FC236}">
                    <a16:creationId xmlns:a16="http://schemas.microsoft.com/office/drawing/2014/main" id="{ED91497F-B66C-45A2-963D-321F158D2747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749" y="2157"/>
                <a:ext cx="394" cy="373"/>
              </a:xfrm>
              <a:custGeom>
                <a:avLst/>
                <a:gdLst>
                  <a:gd name="T0" fmla="*/ 372 w 372"/>
                  <a:gd name="T1" fmla="*/ 52 h 352"/>
                  <a:gd name="T2" fmla="*/ 342 w 372"/>
                  <a:gd name="T3" fmla="*/ 10 h 352"/>
                  <a:gd name="T4" fmla="*/ 302 w 372"/>
                  <a:gd name="T5" fmla="*/ 30 h 352"/>
                  <a:gd name="T6" fmla="*/ 172 w 372"/>
                  <a:gd name="T7" fmla="*/ 126 h 352"/>
                  <a:gd name="T8" fmla="*/ 102 w 372"/>
                  <a:gd name="T9" fmla="*/ 170 h 352"/>
                  <a:gd name="T10" fmla="*/ 42 w 372"/>
                  <a:gd name="T11" fmla="*/ 212 h 352"/>
                  <a:gd name="T12" fmla="*/ 23 w 372"/>
                  <a:gd name="T13" fmla="*/ 262 h 352"/>
                  <a:gd name="T14" fmla="*/ 1 w 372"/>
                  <a:gd name="T15" fmla="*/ 346 h 352"/>
                  <a:gd name="T16" fmla="*/ 9 w 372"/>
                  <a:gd name="T17" fmla="*/ 348 h 352"/>
                  <a:gd name="T18" fmla="*/ 25 w 372"/>
                  <a:gd name="T19" fmla="*/ 283 h 352"/>
                  <a:gd name="T20" fmla="*/ 40 w 372"/>
                  <a:gd name="T21" fmla="*/ 232 h 352"/>
                  <a:gd name="T22" fmla="*/ 88 w 372"/>
                  <a:gd name="T23" fmla="*/ 190 h 352"/>
                  <a:gd name="T24" fmla="*/ 150 w 372"/>
                  <a:gd name="T25" fmla="*/ 148 h 352"/>
                  <a:gd name="T26" fmla="*/ 253 w 372"/>
                  <a:gd name="T27" fmla="*/ 80 h 352"/>
                  <a:gd name="T28" fmla="*/ 306 w 372"/>
                  <a:gd name="T29" fmla="*/ 35 h 352"/>
                  <a:gd name="T30" fmla="*/ 349 w 372"/>
                  <a:gd name="T31" fmla="*/ 25 h 352"/>
                  <a:gd name="T32" fmla="*/ 369 w 372"/>
                  <a:gd name="T33" fmla="*/ 52 h 352"/>
                  <a:gd name="T34" fmla="*/ 372 w 372"/>
                  <a:gd name="T35" fmla="*/ 52 h 3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372" h="352">
                    <a:moveTo>
                      <a:pt x="372" y="52"/>
                    </a:moveTo>
                    <a:cubicBezTo>
                      <a:pt x="371" y="37"/>
                      <a:pt x="354" y="17"/>
                      <a:pt x="342" y="10"/>
                    </a:cubicBezTo>
                    <a:cubicBezTo>
                      <a:pt x="327" y="0"/>
                      <a:pt x="312" y="21"/>
                      <a:pt x="302" y="30"/>
                    </a:cubicBezTo>
                    <a:cubicBezTo>
                      <a:pt x="261" y="65"/>
                      <a:pt x="218" y="98"/>
                      <a:pt x="172" y="126"/>
                    </a:cubicBezTo>
                    <a:cubicBezTo>
                      <a:pt x="148" y="140"/>
                      <a:pt x="125" y="154"/>
                      <a:pt x="102" y="170"/>
                    </a:cubicBezTo>
                    <a:cubicBezTo>
                      <a:pt x="84" y="184"/>
                      <a:pt x="56" y="194"/>
                      <a:pt x="42" y="212"/>
                    </a:cubicBezTo>
                    <a:cubicBezTo>
                      <a:pt x="30" y="227"/>
                      <a:pt x="28" y="245"/>
                      <a:pt x="23" y="262"/>
                    </a:cubicBezTo>
                    <a:cubicBezTo>
                      <a:pt x="15" y="290"/>
                      <a:pt x="4" y="317"/>
                      <a:pt x="1" y="346"/>
                    </a:cubicBezTo>
                    <a:cubicBezTo>
                      <a:pt x="0" y="351"/>
                      <a:pt x="8" y="352"/>
                      <a:pt x="9" y="348"/>
                    </a:cubicBezTo>
                    <a:cubicBezTo>
                      <a:pt x="13" y="326"/>
                      <a:pt x="18" y="304"/>
                      <a:pt x="25" y="283"/>
                    </a:cubicBezTo>
                    <a:cubicBezTo>
                      <a:pt x="31" y="266"/>
                      <a:pt x="33" y="248"/>
                      <a:pt x="40" y="232"/>
                    </a:cubicBezTo>
                    <a:cubicBezTo>
                      <a:pt x="49" y="210"/>
                      <a:pt x="69" y="202"/>
                      <a:pt x="88" y="190"/>
                    </a:cubicBezTo>
                    <a:cubicBezTo>
                      <a:pt x="109" y="176"/>
                      <a:pt x="128" y="160"/>
                      <a:pt x="150" y="148"/>
                    </a:cubicBezTo>
                    <a:cubicBezTo>
                      <a:pt x="186" y="127"/>
                      <a:pt x="219" y="104"/>
                      <a:pt x="253" y="80"/>
                    </a:cubicBezTo>
                    <a:cubicBezTo>
                      <a:pt x="272" y="67"/>
                      <a:pt x="289" y="51"/>
                      <a:pt x="306" y="35"/>
                    </a:cubicBezTo>
                    <a:cubicBezTo>
                      <a:pt x="318" y="24"/>
                      <a:pt x="332" y="9"/>
                      <a:pt x="349" y="25"/>
                    </a:cubicBezTo>
                    <a:cubicBezTo>
                      <a:pt x="357" y="32"/>
                      <a:pt x="366" y="42"/>
                      <a:pt x="369" y="52"/>
                    </a:cubicBezTo>
                    <a:cubicBezTo>
                      <a:pt x="369" y="54"/>
                      <a:pt x="372" y="54"/>
                      <a:pt x="372" y="52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52" name="Freeform 225">
                <a:extLst>
                  <a:ext uri="{FF2B5EF4-FFF2-40B4-BE49-F238E27FC236}">
                    <a16:creationId xmlns:a16="http://schemas.microsoft.com/office/drawing/2014/main" id="{6A3464A1-D2D9-45DC-874C-C816B7CC6438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962" y="2222"/>
                <a:ext cx="28" cy="37"/>
              </a:xfrm>
              <a:custGeom>
                <a:avLst/>
                <a:gdLst>
                  <a:gd name="T0" fmla="*/ 26 w 27"/>
                  <a:gd name="T1" fmla="*/ 32 h 35"/>
                  <a:gd name="T2" fmla="*/ 21 w 27"/>
                  <a:gd name="T3" fmla="*/ 24 h 35"/>
                  <a:gd name="T4" fmla="*/ 16 w 27"/>
                  <a:gd name="T5" fmla="*/ 17 h 35"/>
                  <a:gd name="T6" fmla="*/ 3 w 27"/>
                  <a:gd name="T7" fmla="*/ 2 h 35"/>
                  <a:gd name="T8" fmla="*/ 0 w 27"/>
                  <a:gd name="T9" fmla="*/ 4 h 35"/>
                  <a:gd name="T10" fmla="*/ 13 w 27"/>
                  <a:gd name="T11" fmla="*/ 20 h 35"/>
                  <a:gd name="T12" fmla="*/ 24 w 27"/>
                  <a:gd name="T13" fmla="*/ 34 h 35"/>
                  <a:gd name="T14" fmla="*/ 26 w 27"/>
                  <a:gd name="T15" fmla="*/ 32 h 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7" h="35">
                    <a:moveTo>
                      <a:pt x="26" y="32"/>
                    </a:moveTo>
                    <a:cubicBezTo>
                      <a:pt x="23" y="30"/>
                      <a:pt x="23" y="27"/>
                      <a:pt x="21" y="24"/>
                    </a:cubicBezTo>
                    <a:cubicBezTo>
                      <a:pt x="20" y="21"/>
                      <a:pt x="18" y="19"/>
                      <a:pt x="16" y="17"/>
                    </a:cubicBezTo>
                    <a:cubicBezTo>
                      <a:pt x="12" y="12"/>
                      <a:pt x="8" y="6"/>
                      <a:pt x="3" y="2"/>
                    </a:cubicBezTo>
                    <a:cubicBezTo>
                      <a:pt x="2" y="0"/>
                      <a:pt x="0" y="2"/>
                      <a:pt x="0" y="4"/>
                    </a:cubicBezTo>
                    <a:cubicBezTo>
                      <a:pt x="1" y="10"/>
                      <a:pt x="8" y="15"/>
                      <a:pt x="13" y="20"/>
                    </a:cubicBezTo>
                    <a:cubicBezTo>
                      <a:pt x="17" y="25"/>
                      <a:pt x="19" y="31"/>
                      <a:pt x="24" y="34"/>
                    </a:cubicBezTo>
                    <a:cubicBezTo>
                      <a:pt x="26" y="35"/>
                      <a:pt x="27" y="33"/>
                      <a:pt x="26" y="32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53" name="Freeform 226">
                <a:extLst>
                  <a:ext uri="{FF2B5EF4-FFF2-40B4-BE49-F238E27FC236}">
                    <a16:creationId xmlns:a16="http://schemas.microsoft.com/office/drawing/2014/main" id="{9C0081B1-F63B-4545-8C40-6ECFE4F834DE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736" y="2173"/>
                <a:ext cx="287" cy="282"/>
              </a:xfrm>
              <a:custGeom>
                <a:avLst/>
                <a:gdLst>
                  <a:gd name="T0" fmla="*/ 259 w 271"/>
                  <a:gd name="T1" fmla="*/ 2 h 266"/>
                  <a:gd name="T2" fmla="*/ 227 w 271"/>
                  <a:gd name="T3" fmla="*/ 40 h 266"/>
                  <a:gd name="T4" fmla="*/ 206 w 271"/>
                  <a:gd name="T5" fmla="*/ 41 h 266"/>
                  <a:gd name="T6" fmla="*/ 172 w 271"/>
                  <a:gd name="T7" fmla="*/ 67 h 266"/>
                  <a:gd name="T8" fmla="*/ 75 w 271"/>
                  <a:gd name="T9" fmla="*/ 138 h 266"/>
                  <a:gd name="T10" fmla="*/ 42 w 271"/>
                  <a:gd name="T11" fmla="*/ 163 h 266"/>
                  <a:gd name="T12" fmla="*/ 32 w 271"/>
                  <a:gd name="T13" fmla="*/ 189 h 266"/>
                  <a:gd name="T14" fmla="*/ 35 w 271"/>
                  <a:gd name="T15" fmla="*/ 265 h 266"/>
                  <a:gd name="T16" fmla="*/ 39 w 271"/>
                  <a:gd name="T17" fmla="*/ 258 h 266"/>
                  <a:gd name="T18" fmla="*/ 27 w 271"/>
                  <a:gd name="T19" fmla="*/ 228 h 266"/>
                  <a:gd name="T20" fmla="*/ 35 w 271"/>
                  <a:gd name="T21" fmla="*/ 203 h 266"/>
                  <a:gd name="T22" fmla="*/ 56 w 271"/>
                  <a:gd name="T23" fmla="*/ 155 h 266"/>
                  <a:gd name="T24" fmla="*/ 98 w 271"/>
                  <a:gd name="T25" fmla="*/ 129 h 266"/>
                  <a:gd name="T26" fmla="*/ 146 w 271"/>
                  <a:gd name="T27" fmla="*/ 93 h 266"/>
                  <a:gd name="T28" fmla="*/ 185 w 271"/>
                  <a:gd name="T29" fmla="*/ 62 h 266"/>
                  <a:gd name="T30" fmla="*/ 212 w 271"/>
                  <a:gd name="T31" fmla="*/ 45 h 266"/>
                  <a:gd name="T32" fmla="*/ 238 w 271"/>
                  <a:gd name="T33" fmla="*/ 42 h 266"/>
                  <a:gd name="T34" fmla="*/ 262 w 271"/>
                  <a:gd name="T35" fmla="*/ 1 h 266"/>
                  <a:gd name="T36" fmla="*/ 259 w 271"/>
                  <a:gd name="T37" fmla="*/ 2 h 2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271" h="266">
                    <a:moveTo>
                      <a:pt x="259" y="2"/>
                    </a:moveTo>
                    <a:cubicBezTo>
                      <a:pt x="266" y="24"/>
                      <a:pt x="246" y="38"/>
                      <a:pt x="227" y="40"/>
                    </a:cubicBezTo>
                    <a:cubicBezTo>
                      <a:pt x="220" y="40"/>
                      <a:pt x="213" y="39"/>
                      <a:pt x="206" y="41"/>
                    </a:cubicBezTo>
                    <a:cubicBezTo>
                      <a:pt x="194" y="46"/>
                      <a:pt x="182" y="58"/>
                      <a:pt x="172" y="67"/>
                    </a:cubicBezTo>
                    <a:cubicBezTo>
                      <a:pt x="141" y="92"/>
                      <a:pt x="110" y="118"/>
                      <a:pt x="75" y="138"/>
                    </a:cubicBezTo>
                    <a:cubicBezTo>
                      <a:pt x="63" y="146"/>
                      <a:pt x="50" y="151"/>
                      <a:pt x="42" y="163"/>
                    </a:cubicBezTo>
                    <a:cubicBezTo>
                      <a:pt x="37" y="171"/>
                      <a:pt x="34" y="180"/>
                      <a:pt x="32" y="189"/>
                    </a:cubicBezTo>
                    <a:cubicBezTo>
                      <a:pt x="24" y="214"/>
                      <a:pt x="0" y="252"/>
                      <a:pt x="35" y="265"/>
                    </a:cubicBezTo>
                    <a:cubicBezTo>
                      <a:pt x="39" y="266"/>
                      <a:pt x="42" y="261"/>
                      <a:pt x="39" y="258"/>
                    </a:cubicBezTo>
                    <a:cubicBezTo>
                      <a:pt x="27" y="250"/>
                      <a:pt x="22" y="243"/>
                      <a:pt x="27" y="228"/>
                    </a:cubicBezTo>
                    <a:cubicBezTo>
                      <a:pt x="29" y="220"/>
                      <a:pt x="32" y="211"/>
                      <a:pt x="35" y="203"/>
                    </a:cubicBezTo>
                    <a:cubicBezTo>
                      <a:pt x="41" y="187"/>
                      <a:pt x="41" y="166"/>
                      <a:pt x="56" y="155"/>
                    </a:cubicBezTo>
                    <a:cubicBezTo>
                      <a:pt x="69" y="145"/>
                      <a:pt x="84" y="138"/>
                      <a:pt x="98" y="129"/>
                    </a:cubicBezTo>
                    <a:cubicBezTo>
                      <a:pt x="114" y="118"/>
                      <a:pt x="130" y="106"/>
                      <a:pt x="146" y="93"/>
                    </a:cubicBezTo>
                    <a:cubicBezTo>
                      <a:pt x="158" y="83"/>
                      <a:pt x="172" y="72"/>
                      <a:pt x="185" y="62"/>
                    </a:cubicBezTo>
                    <a:cubicBezTo>
                      <a:pt x="193" y="54"/>
                      <a:pt x="200" y="48"/>
                      <a:pt x="212" y="45"/>
                    </a:cubicBezTo>
                    <a:cubicBezTo>
                      <a:pt x="221" y="44"/>
                      <a:pt x="229" y="44"/>
                      <a:pt x="238" y="42"/>
                    </a:cubicBezTo>
                    <a:cubicBezTo>
                      <a:pt x="256" y="36"/>
                      <a:pt x="271" y="20"/>
                      <a:pt x="262" y="1"/>
                    </a:cubicBezTo>
                    <a:cubicBezTo>
                      <a:pt x="261" y="0"/>
                      <a:pt x="259" y="1"/>
                      <a:pt x="259" y="2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54" name="Freeform 227">
                <a:extLst>
                  <a:ext uri="{FF2B5EF4-FFF2-40B4-BE49-F238E27FC236}">
                    <a16:creationId xmlns:a16="http://schemas.microsoft.com/office/drawing/2014/main" id="{FC6E502F-C476-41E8-BFB1-4A9B01419F2A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821" y="2161"/>
                <a:ext cx="249" cy="156"/>
              </a:xfrm>
              <a:custGeom>
                <a:avLst/>
                <a:gdLst>
                  <a:gd name="T0" fmla="*/ 2 w 235"/>
                  <a:gd name="T1" fmla="*/ 148 h 148"/>
                  <a:gd name="T2" fmla="*/ 43 w 235"/>
                  <a:gd name="T3" fmla="*/ 107 h 148"/>
                  <a:gd name="T4" fmla="*/ 93 w 235"/>
                  <a:gd name="T5" fmla="*/ 74 h 148"/>
                  <a:gd name="T6" fmla="*/ 145 w 235"/>
                  <a:gd name="T7" fmla="*/ 33 h 148"/>
                  <a:gd name="T8" fmla="*/ 178 w 235"/>
                  <a:gd name="T9" fmla="*/ 9 h 148"/>
                  <a:gd name="T10" fmla="*/ 227 w 235"/>
                  <a:gd name="T11" fmla="*/ 32 h 148"/>
                  <a:gd name="T12" fmla="*/ 233 w 235"/>
                  <a:gd name="T13" fmla="*/ 29 h 148"/>
                  <a:gd name="T14" fmla="*/ 193 w 235"/>
                  <a:gd name="T15" fmla="*/ 1 h 148"/>
                  <a:gd name="T16" fmla="*/ 132 w 235"/>
                  <a:gd name="T17" fmla="*/ 38 h 148"/>
                  <a:gd name="T18" fmla="*/ 54 w 235"/>
                  <a:gd name="T19" fmla="*/ 96 h 148"/>
                  <a:gd name="T20" fmla="*/ 20 w 235"/>
                  <a:gd name="T21" fmla="*/ 119 h 148"/>
                  <a:gd name="T22" fmla="*/ 0 w 235"/>
                  <a:gd name="T23" fmla="*/ 147 h 148"/>
                  <a:gd name="T24" fmla="*/ 2 w 235"/>
                  <a:gd name="T25" fmla="*/ 148 h 1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35" h="148">
                    <a:moveTo>
                      <a:pt x="2" y="148"/>
                    </a:moveTo>
                    <a:cubicBezTo>
                      <a:pt x="17" y="136"/>
                      <a:pt x="26" y="119"/>
                      <a:pt x="43" y="107"/>
                    </a:cubicBezTo>
                    <a:cubicBezTo>
                      <a:pt x="60" y="96"/>
                      <a:pt x="77" y="85"/>
                      <a:pt x="93" y="74"/>
                    </a:cubicBezTo>
                    <a:cubicBezTo>
                      <a:pt x="111" y="61"/>
                      <a:pt x="128" y="47"/>
                      <a:pt x="145" y="33"/>
                    </a:cubicBezTo>
                    <a:cubicBezTo>
                      <a:pt x="156" y="25"/>
                      <a:pt x="165" y="14"/>
                      <a:pt x="178" y="9"/>
                    </a:cubicBezTo>
                    <a:cubicBezTo>
                      <a:pt x="194" y="3"/>
                      <a:pt x="219" y="16"/>
                      <a:pt x="227" y="32"/>
                    </a:cubicBezTo>
                    <a:cubicBezTo>
                      <a:pt x="229" y="37"/>
                      <a:pt x="235" y="34"/>
                      <a:pt x="233" y="29"/>
                    </a:cubicBezTo>
                    <a:cubicBezTo>
                      <a:pt x="226" y="17"/>
                      <a:pt x="207" y="1"/>
                      <a:pt x="193" y="1"/>
                    </a:cubicBezTo>
                    <a:cubicBezTo>
                      <a:pt x="170" y="0"/>
                      <a:pt x="148" y="26"/>
                      <a:pt x="132" y="38"/>
                    </a:cubicBezTo>
                    <a:cubicBezTo>
                      <a:pt x="106" y="58"/>
                      <a:pt x="81" y="79"/>
                      <a:pt x="54" y="96"/>
                    </a:cubicBezTo>
                    <a:cubicBezTo>
                      <a:pt x="42" y="104"/>
                      <a:pt x="29" y="109"/>
                      <a:pt x="20" y="119"/>
                    </a:cubicBezTo>
                    <a:cubicBezTo>
                      <a:pt x="12" y="127"/>
                      <a:pt x="7" y="138"/>
                      <a:pt x="0" y="147"/>
                    </a:cubicBezTo>
                    <a:cubicBezTo>
                      <a:pt x="0" y="148"/>
                      <a:pt x="1" y="148"/>
                      <a:pt x="2" y="148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55" name="Freeform 228">
                <a:extLst>
                  <a:ext uri="{FF2B5EF4-FFF2-40B4-BE49-F238E27FC236}">
                    <a16:creationId xmlns:a16="http://schemas.microsoft.com/office/drawing/2014/main" id="{CE0E038F-2D08-49D4-B1B8-DC5F89E1761A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7058" y="2327"/>
                <a:ext cx="89" cy="123"/>
              </a:xfrm>
              <a:custGeom>
                <a:avLst/>
                <a:gdLst>
                  <a:gd name="T0" fmla="*/ 81 w 84"/>
                  <a:gd name="T1" fmla="*/ 108 h 116"/>
                  <a:gd name="T2" fmla="*/ 34 w 84"/>
                  <a:gd name="T3" fmla="*/ 61 h 116"/>
                  <a:gd name="T4" fmla="*/ 4 w 84"/>
                  <a:gd name="T5" fmla="*/ 2 h 116"/>
                  <a:gd name="T6" fmla="*/ 0 w 84"/>
                  <a:gd name="T7" fmla="*/ 3 h 116"/>
                  <a:gd name="T8" fmla="*/ 40 w 84"/>
                  <a:gd name="T9" fmla="*/ 78 h 116"/>
                  <a:gd name="T10" fmla="*/ 82 w 84"/>
                  <a:gd name="T11" fmla="*/ 111 h 116"/>
                  <a:gd name="T12" fmla="*/ 81 w 84"/>
                  <a:gd name="T13" fmla="*/ 108 h 1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4" h="116">
                    <a:moveTo>
                      <a:pt x="81" y="108"/>
                    </a:moveTo>
                    <a:cubicBezTo>
                      <a:pt x="65" y="110"/>
                      <a:pt x="42" y="73"/>
                      <a:pt x="34" y="61"/>
                    </a:cubicBezTo>
                    <a:cubicBezTo>
                      <a:pt x="20" y="43"/>
                      <a:pt x="12" y="23"/>
                      <a:pt x="4" y="2"/>
                    </a:cubicBezTo>
                    <a:cubicBezTo>
                      <a:pt x="3" y="0"/>
                      <a:pt x="0" y="0"/>
                      <a:pt x="0" y="3"/>
                    </a:cubicBezTo>
                    <a:cubicBezTo>
                      <a:pt x="5" y="31"/>
                      <a:pt x="22" y="57"/>
                      <a:pt x="40" y="78"/>
                    </a:cubicBezTo>
                    <a:cubicBezTo>
                      <a:pt x="49" y="88"/>
                      <a:pt x="66" y="116"/>
                      <a:pt x="82" y="111"/>
                    </a:cubicBezTo>
                    <a:cubicBezTo>
                      <a:pt x="84" y="111"/>
                      <a:pt x="84" y="108"/>
                      <a:pt x="81" y="108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56" name="Freeform 229">
                <a:extLst>
                  <a:ext uri="{FF2B5EF4-FFF2-40B4-BE49-F238E27FC236}">
                    <a16:creationId xmlns:a16="http://schemas.microsoft.com/office/drawing/2014/main" id="{D1274244-6D73-4646-A496-1D3EFBAFC119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7078" y="2265"/>
                <a:ext cx="105" cy="164"/>
              </a:xfrm>
              <a:custGeom>
                <a:avLst/>
                <a:gdLst>
                  <a:gd name="T0" fmla="*/ 4 w 99"/>
                  <a:gd name="T1" fmla="*/ 2 h 155"/>
                  <a:gd name="T2" fmla="*/ 10 w 99"/>
                  <a:gd name="T3" fmla="*/ 34 h 155"/>
                  <a:gd name="T4" fmla="*/ 32 w 99"/>
                  <a:gd name="T5" fmla="*/ 83 h 155"/>
                  <a:gd name="T6" fmla="*/ 63 w 99"/>
                  <a:gd name="T7" fmla="*/ 127 h 155"/>
                  <a:gd name="T8" fmla="*/ 94 w 99"/>
                  <a:gd name="T9" fmla="*/ 154 h 155"/>
                  <a:gd name="T10" fmla="*/ 96 w 99"/>
                  <a:gd name="T11" fmla="*/ 147 h 155"/>
                  <a:gd name="T12" fmla="*/ 37 w 99"/>
                  <a:gd name="T13" fmla="*/ 76 h 155"/>
                  <a:gd name="T14" fmla="*/ 8 w 99"/>
                  <a:gd name="T15" fmla="*/ 3 h 155"/>
                  <a:gd name="T16" fmla="*/ 4 w 99"/>
                  <a:gd name="T17" fmla="*/ 2 h 1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99" h="155">
                    <a:moveTo>
                      <a:pt x="4" y="2"/>
                    </a:moveTo>
                    <a:cubicBezTo>
                      <a:pt x="0" y="12"/>
                      <a:pt x="7" y="25"/>
                      <a:pt x="10" y="34"/>
                    </a:cubicBezTo>
                    <a:cubicBezTo>
                      <a:pt x="16" y="51"/>
                      <a:pt x="23" y="68"/>
                      <a:pt x="32" y="83"/>
                    </a:cubicBezTo>
                    <a:cubicBezTo>
                      <a:pt x="41" y="99"/>
                      <a:pt x="52" y="113"/>
                      <a:pt x="63" y="127"/>
                    </a:cubicBezTo>
                    <a:cubicBezTo>
                      <a:pt x="71" y="137"/>
                      <a:pt x="81" y="151"/>
                      <a:pt x="94" y="154"/>
                    </a:cubicBezTo>
                    <a:cubicBezTo>
                      <a:pt x="98" y="155"/>
                      <a:pt x="99" y="149"/>
                      <a:pt x="96" y="147"/>
                    </a:cubicBezTo>
                    <a:cubicBezTo>
                      <a:pt x="72" y="137"/>
                      <a:pt x="49" y="98"/>
                      <a:pt x="37" y="76"/>
                    </a:cubicBezTo>
                    <a:cubicBezTo>
                      <a:pt x="26" y="56"/>
                      <a:pt x="8" y="27"/>
                      <a:pt x="8" y="3"/>
                    </a:cubicBezTo>
                    <a:cubicBezTo>
                      <a:pt x="8" y="1"/>
                      <a:pt x="5" y="0"/>
                      <a:pt x="4" y="2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57" name="Freeform 230">
                <a:extLst>
                  <a:ext uri="{FF2B5EF4-FFF2-40B4-BE49-F238E27FC236}">
                    <a16:creationId xmlns:a16="http://schemas.microsoft.com/office/drawing/2014/main" id="{E3E0C93B-1F3D-4E00-80FA-B902368DA712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7151" y="2422"/>
                <a:ext cx="57" cy="62"/>
              </a:xfrm>
              <a:custGeom>
                <a:avLst/>
                <a:gdLst>
                  <a:gd name="T0" fmla="*/ 23 w 54"/>
                  <a:gd name="T1" fmla="*/ 6 h 59"/>
                  <a:gd name="T2" fmla="*/ 30 w 54"/>
                  <a:gd name="T3" fmla="*/ 7 h 59"/>
                  <a:gd name="T4" fmla="*/ 45 w 54"/>
                  <a:gd name="T5" fmla="*/ 17 h 59"/>
                  <a:gd name="T6" fmla="*/ 48 w 54"/>
                  <a:gd name="T7" fmla="*/ 12 h 59"/>
                  <a:gd name="T8" fmla="*/ 41 w 54"/>
                  <a:gd name="T9" fmla="*/ 19 h 59"/>
                  <a:gd name="T10" fmla="*/ 28 w 54"/>
                  <a:gd name="T11" fmla="*/ 32 h 59"/>
                  <a:gd name="T12" fmla="*/ 1 w 54"/>
                  <a:gd name="T13" fmla="*/ 55 h 59"/>
                  <a:gd name="T14" fmla="*/ 4 w 54"/>
                  <a:gd name="T15" fmla="*/ 58 h 59"/>
                  <a:gd name="T16" fmla="*/ 26 w 54"/>
                  <a:gd name="T17" fmla="*/ 43 h 59"/>
                  <a:gd name="T18" fmla="*/ 37 w 54"/>
                  <a:gd name="T19" fmla="*/ 33 h 59"/>
                  <a:gd name="T20" fmla="*/ 49 w 54"/>
                  <a:gd name="T21" fmla="*/ 19 h 59"/>
                  <a:gd name="T22" fmla="*/ 52 w 54"/>
                  <a:gd name="T23" fmla="*/ 14 h 59"/>
                  <a:gd name="T24" fmla="*/ 38 w 54"/>
                  <a:gd name="T25" fmla="*/ 1 h 59"/>
                  <a:gd name="T26" fmla="*/ 32 w 54"/>
                  <a:gd name="T27" fmla="*/ 1 h 59"/>
                  <a:gd name="T28" fmla="*/ 25 w 54"/>
                  <a:gd name="T29" fmla="*/ 3 h 59"/>
                  <a:gd name="T30" fmla="*/ 23 w 54"/>
                  <a:gd name="T31" fmla="*/ 6 h 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54" h="59">
                    <a:moveTo>
                      <a:pt x="23" y="6"/>
                    </a:moveTo>
                    <a:cubicBezTo>
                      <a:pt x="25" y="8"/>
                      <a:pt x="27" y="7"/>
                      <a:pt x="30" y="7"/>
                    </a:cubicBezTo>
                    <a:cubicBezTo>
                      <a:pt x="37" y="8"/>
                      <a:pt x="42" y="11"/>
                      <a:pt x="45" y="17"/>
                    </a:cubicBezTo>
                    <a:cubicBezTo>
                      <a:pt x="46" y="15"/>
                      <a:pt x="47" y="13"/>
                      <a:pt x="48" y="12"/>
                    </a:cubicBezTo>
                    <a:cubicBezTo>
                      <a:pt x="44" y="12"/>
                      <a:pt x="43" y="16"/>
                      <a:pt x="41" y="19"/>
                    </a:cubicBezTo>
                    <a:cubicBezTo>
                      <a:pt x="37" y="24"/>
                      <a:pt x="33" y="28"/>
                      <a:pt x="28" y="32"/>
                    </a:cubicBezTo>
                    <a:cubicBezTo>
                      <a:pt x="20" y="40"/>
                      <a:pt x="7" y="46"/>
                      <a:pt x="1" y="55"/>
                    </a:cubicBezTo>
                    <a:cubicBezTo>
                      <a:pt x="0" y="57"/>
                      <a:pt x="2" y="59"/>
                      <a:pt x="4" y="58"/>
                    </a:cubicBezTo>
                    <a:cubicBezTo>
                      <a:pt x="12" y="56"/>
                      <a:pt x="20" y="48"/>
                      <a:pt x="26" y="43"/>
                    </a:cubicBezTo>
                    <a:cubicBezTo>
                      <a:pt x="30" y="40"/>
                      <a:pt x="33" y="37"/>
                      <a:pt x="37" y="33"/>
                    </a:cubicBezTo>
                    <a:cubicBezTo>
                      <a:pt x="39" y="30"/>
                      <a:pt x="46" y="20"/>
                      <a:pt x="49" y="19"/>
                    </a:cubicBezTo>
                    <a:cubicBezTo>
                      <a:pt x="51" y="19"/>
                      <a:pt x="54" y="16"/>
                      <a:pt x="52" y="14"/>
                    </a:cubicBezTo>
                    <a:cubicBezTo>
                      <a:pt x="49" y="8"/>
                      <a:pt x="44" y="3"/>
                      <a:pt x="38" y="1"/>
                    </a:cubicBezTo>
                    <a:cubicBezTo>
                      <a:pt x="36" y="1"/>
                      <a:pt x="34" y="0"/>
                      <a:pt x="32" y="1"/>
                    </a:cubicBezTo>
                    <a:cubicBezTo>
                      <a:pt x="30" y="1"/>
                      <a:pt x="26" y="3"/>
                      <a:pt x="25" y="3"/>
                    </a:cubicBezTo>
                    <a:cubicBezTo>
                      <a:pt x="23" y="2"/>
                      <a:pt x="21" y="4"/>
                      <a:pt x="23" y="6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58" name="Freeform 231">
                <a:extLst>
                  <a:ext uri="{FF2B5EF4-FFF2-40B4-BE49-F238E27FC236}">
                    <a16:creationId xmlns:a16="http://schemas.microsoft.com/office/drawing/2014/main" id="{D21F997E-D07D-4170-AAEE-1F05D12AC08C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7149" y="2439"/>
                <a:ext cx="22" cy="25"/>
              </a:xfrm>
              <a:custGeom>
                <a:avLst/>
                <a:gdLst>
                  <a:gd name="T0" fmla="*/ 18 w 21"/>
                  <a:gd name="T1" fmla="*/ 1 h 24"/>
                  <a:gd name="T2" fmla="*/ 1 w 21"/>
                  <a:gd name="T3" fmla="*/ 22 h 24"/>
                  <a:gd name="T4" fmla="*/ 3 w 21"/>
                  <a:gd name="T5" fmla="*/ 23 h 24"/>
                  <a:gd name="T6" fmla="*/ 20 w 21"/>
                  <a:gd name="T7" fmla="*/ 4 h 24"/>
                  <a:gd name="T8" fmla="*/ 18 w 21"/>
                  <a:gd name="T9" fmla="*/ 1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1" h="24">
                    <a:moveTo>
                      <a:pt x="18" y="1"/>
                    </a:moveTo>
                    <a:cubicBezTo>
                      <a:pt x="12" y="8"/>
                      <a:pt x="7" y="15"/>
                      <a:pt x="1" y="22"/>
                    </a:cubicBezTo>
                    <a:cubicBezTo>
                      <a:pt x="0" y="23"/>
                      <a:pt x="2" y="24"/>
                      <a:pt x="3" y="23"/>
                    </a:cubicBezTo>
                    <a:cubicBezTo>
                      <a:pt x="10" y="19"/>
                      <a:pt x="15" y="10"/>
                      <a:pt x="20" y="4"/>
                    </a:cubicBezTo>
                    <a:cubicBezTo>
                      <a:pt x="21" y="2"/>
                      <a:pt x="19" y="0"/>
                      <a:pt x="18" y="1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59" name="Freeform 232">
                <a:extLst>
                  <a:ext uri="{FF2B5EF4-FFF2-40B4-BE49-F238E27FC236}">
                    <a16:creationId xmlns:a16="http://schemas.microsoft.com/office/drawing/2014/main" id="{821DBB82-B2E0-4E04-AAFE-530500AC3048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7122" y="2450"/>
                <a:ext cx="27" cy="19"/>
              </a:xfrm>
              <a:custGeom>
                <a:avLst/>
                <a:gdLst>
                  <a:gd name="T0" fmla="*/ 25 w 26"/>
                  <a:gd name="T1" fmla="*/ 15 h 18"/>
                  <a:gd name="T2" fmla="*/ 3 w 26"/>
                  <a:gd name="T3" fmla="*/ 1 h 18"/>
                  <a:gd name="T4" fmla="*/ 1 w 26"/>
                  <a:gd name="T5" fmla="*/ 2 h 18"/>
                  <a:gd name="T6" fmla="*/ 24 w 26"/>
                  <a:gd name="T7" fmla="*/ 17 h 18"/>
                  <a:gd name="T8" fmla="*/ 25 w 26"/>
                  <a:gd name="T9" fmla="*/ 15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6" h="18">
                    <a:moveTo>
                      <a:pt x="25" y="15"/>
                    </a:moveTo>
                    <a:cubicBezTo>
                      <a:pt x="17" y="12"/>
                      <a:pt x="9" y="7"/>
                      <a:pt x="3" y="1"/>
                    </a:cubicBezTo>
                    <a:cubicBezTo>
                      <a:pt x="2" y="0"/>
                      <a:pt x="0" y="1"/>
                      <a:pt x="1" y="2"/>
                    </a:cubicBezTo>
                    <a:cubicBezTo>
                      <a:pt x="8" y="9"/>
                      <a:pt x="15" y="14"/>
                      <a:pt x="24" y="17"/>
                    </a:cubicBezTo>
                    <a:cubicBezTo>
                      <a:pt x="25" y="18"/>
                      <a:pt x="26" y="16"/>
                      <a:pt x="25" y="15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60" name="Freeform 233">
                <a:extLst>
                  <a:ext uri="{FF2B5EF4-FFF2-40B4-BE49-F238E27FC236}">
                    <a16:creationId xmlns:a16="http://schemas.microsoft.com/office/drawing/2014/main" id="{280F5AA3-E50C-44D4-92C0-90E1AA06B2BB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7108" y="2479"/>
                <a:ext cx="53" cy="54"/>
              </a:xfrm>
              <a:custGeom>
                <a:avLst/>
                <a:gdLst>
                  <a:gd name="T0" fmla="*/ 48 w 50"/>
                  <a:gd name="T1" fmla="*/ 0 h 51"/>
                  <a:gd name="T2" fmla="*/ 25 w 50"/>
                  <a:gd name="T3" fmla="*/ 23 h 51"/>
                  <a:gd name="T4" fmla="*/ 4 w 50"/>
                  <a:gd name="T5" fmla="*/ 43 h 51"/>
                  <a:gd name="T6" fmla="*/ 8 w 50"/>
                  <a:gd name="T7" fmla="*/ 44 h 51"/>
                  <a:gd name="T8" fmla="*/ 7 w 50"/>
                  <a:gd name="T9" fmla="*/ 43 h 51"/>
                  <a:gd name="T10" fmla="*/ 2 w 50"/>
                  <a:gd name="T11" fmla="*/ 44 h 51"/>
                  <a:gd name="T12" fmla="*/ 2 w 50"/>
                  <a:gd name="T13" fmla="*/ 45 h 51"/>
                  <a:gd name="T14" fmla="*/ 8 w 50"/>
                  <a:gd name="T15" fmla="*/ 49 h 51"/>
                  <a:gd name="T16" fmla="*/ 32 w 50"/>
                  <a:gd name="T17" fmla="*/ 25 h 51"/>
                  <a:gd name="T18" fmla="*/ 49 w 50"/>
                  <a:gd name="T19" fmla="*/ 2 h 51"/>
                  <a:gd name="T20" fmla="*/ 48 w 50"/>
                  <a:gd name="T21" fmla="*/ 0 h 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50" h="51">
                    <a:moveTo>
                      <a:pt x="48" y="0"/>
                    </a:moveTo>
                    <a:cubicBezTo>
                      <a:pt x="41" y="8"/>
                      <a:pt x="32" y="15"/>
                      <a:pt x="25" y="23"/>
                    </a:cubicBezTo>
                    <a:cubicBezTo>
                      <a:pt x="18" y="29"/>
                      <a:pt x="12" y="38"/>
                      <a:pt x="4" y="43"/>
                    </a:cubicBezTo>
                    <a:cubicBezTo>
                      <a:pt x="5" y="43"/>
                      <a:pt x="7" y="43"/>
                      <a:pt x="8" y="44"/>
                    </a:cubicBezTo>
                    <a:cubicBezTo>
                      <a:pt x="8" y="43"/>
                      <a:pt x="8" y="43"/>
                      <a:pt x="7" y="43"/>
                    </a:cubicBezTo>
                    <a:cubicBezTo>
                      <a:pt x="5" y="41"/>
                      <a:pt x="3" y="42"/>
                      <a:pt x="2" y="44"/>
                    </a:cubicBezTo>
                    <a:cubicBezTo>
                      <a:pt x="2" y="45"/>
                      <a:pt x="2" y="45"/>
                      <a:pt x="2" y="45"/>
                    </a:cubicBezTo>
                    <a:cubicBezTo>
                      <a:pt x="0" y="49"/>
                      <a:pt x="5" y="51"/>
                      <a:pt x="8" y="49"/>
                    </a:cubicBezTo>
                    <a:cubicBezTo>
                      <a:pt x="17" y="43"/>
                      <a:pt x="25" y="33"/>
                      <a:pt x="32" y="25"/>
                    </a:cubicBezTo>
                    <a:cubicBezTo>
                      <a:pt x="38" y="17"/>
                      <a:pt x="45" y="10"/>
                      <a:pt x="49" y="2"/>
                    </a:cubicBezTo>
                    <a:cubicBezTo>
                      <a:pt x="50" y="1"/>
                      <a:pt x="48" y="0"/>
                      <a:pt x="48" y="0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61" name="Freeform 234">
                <a:extLst>
                  <a:ext uri="{FF2B5EF4-FFF2-40B4-BE49-F238E27FC236}">
                    <a16:creationId xmlns:a16="http://schemas.microsoft.com/office/drawing/2014/main" id="{277A7D29-DF90-43B8-B966-E9238BB495A9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7013" y="2296"/>
                <a:ext cx="111" cy="235"/>
              </a:xfrm>
              <a:custGeom>
                <a:avLst/>
                <a:gdLst>
                  <a:gd name="T0" fmla="*/ 23 w 104"/>
                  <a:gd name="T1" fmla="*/ 1 h 222"/>
                  <a:gd name="T2" fmla="*/ 2 w 104"/>
                  <a:gd name="T3" fmla="*/ 56 h 222"/>
                  <a:gd name="T4" fmla="*/ 16 w 104"/>
                  <a:gd name="T5" fmla="*/ 120 h 222"/>
                  <a:gd name="T6" fmla="*/ 100 w 104"/>
                  <a:gd name="T7" fmla="*/ 221 h 222"/>
                  <a:gd name="T8" fmla="*/ 101 w 104"/>
                  <a:gd name="T9" fmla="*/ 217 h 222"/>
                  <a:gd name="T10" fmla="*/ 25 w 104"/>
                  <a:gd name="T11" fmla="*/ 128 h 222"/>
                  <a:gd name="T12" fmla="*/ 7 w 104"/>
                  <a:gd name="T13" fmla="*/ 63 h 222"/>
                  <a:gd name="T14" fmla="*/ 26 w 104"/>
                  <a:gd name="T15" fmla="*/ 3 h 222"/>
                  <a:gd name="T16" fmla="*/ 23 w 104"/>
                  <a:gd name="T17" fmla="*/ 1 h 2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04" h="222">
                    <a:moveTo>
                      <a:pt x="23" y="1"/>
                    </a:moveTo>
                    <a:cubicBezTo>
                      <a:pt x="12" y="16"/>
                      <a:pt x="4" y="38"/>
                      <a:pt x="2" y="56"/>
                    </a:cubicBezTo>
                    <a:cubicBezTo>
                      <a:pt x="0" y="78"/>
                      <a:pt x="8" y="100"/>
                      <a:pt x="16" y="120"/>
                    </a:cubicBezTo>
                    <a:cubicBezTo>
                      <a:pt x="30" y="156"/>
                      <a:pt x="56" y="216"/>
                      <a:pt x="100" y="221"/>
                    </a:cubicBezTo>
                    <a:cubicBezTo>
                      <a:pt x="103" y="222"/>
                      <a:pt x="104" y="218"/>
                      <a:pt x="101" y="217"/>
                    </a:cubicBezTo>
                    <a:cubicBezTo>
                      <a:pt x="62" y="200"/>
                      <a:pt x="42" y="166"/>
                      <a:pt x="25" y="128"/>
                    </a:cubicBezTo>
                    <a:cubicBezTo>
                      <a:pt x="17" y="108"/>
                      <a:pt x="8" y="85"/>
                      <a:pt x="7" y="63"/>
                    </a:cubicBezTo>
                    <a:cubicBezTo>
                      <a:pt x="7" y="42"/>
                      <a:pt x="18" y="22"/>
                      <a:pt x="26" y="3"/>
                    </a:cubicBezTo>
                    <a:cubicBezTo>
                      <a:pt x="27" y="1"/>
                      <a:pt x="24" y="0"/>
                      <a:pt x="23" y="1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62" name="Freeform 235">
                <a:extLst>
                  <a:ext uri="{FF2B5EF4-FFF2-40B4-BE49-F238E27FC236}">
                    <a16:creationId xmlns:a16="http://schemas.microsoft.com/office/drawing/2014/main" id="{877176F0-05C2-4114-B4A4-BBAB8CEF756F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7152" y="2472"/>
                <a:ext cx="37" cy="55"/>
              </a:xfrm>
              <a:custGeom>
                <a:avLst/>
                <a:gdLst>
                  <a:gd name="T0" fmla="*/ 13 w 35"/>
                  <a:gd name="T1" fmla="*/ 4 h 52"/>
                  <a:gd name="T2" fmla="*/ 19 w 35"/>
                  <a:gd name="T3" fmla="*/ 10 h 52"/>
                  <a:gd name="T4" fmla="*/ 23 w 35"/>
                  <a:gd name="T5" fmla="*/ 26 h 52"/>
                  <a:gd name="T6" fmla="*/ 2 w 35"/>
                  <a:gd name="T7" fmla="*/ 48 h 52"/>
                  <a:gd name="T8" fmla="*/ 4 w 35"/>
                  <a:gd name="T9" fmla="*/ 51 h 52"/>
                  <a:gd name="T10" fmla="*/ 30 w 35"/>
                  <a:gd name="T11" fmla="*/ 22 h 52"/>
                  <a:gd name="T12" fmla="*/ 15 w 35"/>
                  <a:gd name="T13" fmla="*/ 1 h 52"/>
                  <a:gd name="T14" fmla="*/ 13 w 35"/>
                  <a:gd name="T15" fmla="*/ 4 h 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5" h="52">
                    <a:moveTo>
                      <a:pt x="13" y="4"/>
                    </a:moveTo>
                    <a:cubicBezTo>
                      <a:pt x="15" y="6"/>
                      <a:pt x="17" y="8"/>
                      <a:pt x="19" y="10"/>
                    </a:cubicBezTo>
                    <a:cubicBezTo>
                      <a:pt x="25" y="15"/>
                      <a:pt x="28" y="19"/>
                      <a:pt x="23" y="26"/>
                    </a:cubicBezTo>
                    <a:cubicBezTo>
                      <a:pt x="16" y="35"/>
                      <a:pt x="10" y="41"/>
                      <a:pt x="2" y="48"/>
                    </a:cubicBezTo>
                    <a:cubicBezTo>
                      <a:pt x="0" y="49"/>
                      <a:pt x="2" y="52"/>
                      <a:pt x="4" y="51"/>
                    </a:cubicBezTo>
                    <a:cubicBezTo>
                      <a:pt x="14" y="44"/>
                      <a:pt x="25" y="33"/>
                      <a:pt x="30" y="22"/>
                    </a:cubicBezTo>
                    <a:cubicBezTo>
                      <a:pt x="35" y="11"/>
                      <a:pt x="23" y="6"/>
                      <a:pt x="15" y="1"/>
                    </a:cubicBezTo>
                    <a:cubicBezTo>
                      <a:pt x="13" y="0"/>
                      <a:pt x="12" y="3"/>
                      <a:pt x="13" y="4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63" name="Freeform 236">
                <a:extLst>
                  <a:ext uri="{FF2B5EF4-FFF2-40B4-BE49-F238E27FC236}">
                    <a16:creationId xmlns:a16="http://schemas.microsoft.com/office/drawing/2014/main" id="{9AA41E75-3C68-4ED8-B5EA-4E906165FE9D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7078" y="2541"/>
                <a:ext cx="49" cy="15"/>
              </a:xfrm>
              <a:custGeom>
                <a:avLst/>
                <a:gdLst>
                  <a:gd name="T0" fmla="*/ 44 w 46"/>
                  <a:gd name="T1" fmla="*/ 2 h 15"/>
                  <a:gd name="T2" fmla="*/ 1 w 46"/>
                  <a:gd name="T3" fmla="*/ 0 h 15"/>
                  <a:gd name="T4" fmla="*/ 0 w 46"/>
                  <a:gd name="T5" fmla="*/ 1 h 15"/>
                  <a:gd name="T6" fmla="*/ 45 w 46"/>
                  <a:gd name="T7" fmla="*/ 3 h 15"/>
                  <a:gd name="T8" fmla="*/ 44 w 46"/>
                  <a:gd name="T9" fmla="*/ 2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6" h="15">
                    <a:moveTo>
                      <a:pt x="44" y="2"/>
                    </a:moveTo>
                    <a:cubicBezTo>
                      <a:pt x="32" y="14"/>
                      <a:pt x="13" y="5"/>
                      <a:pt x="1" y="0"/>
                    </a:cubicBezTo>
                    <a:cubicBezTo>
                      <a:pt x="0" y="0"/>
                      <a:pt x="0" y="1"/>
                      <a:pt x="0" y="1"/>
                    </a:cubicBezTo>
                    <a:cubicBezTo>
                      <a:pt x="13" y="8"/>
                      <a:pt x="33" y="15"/>
                      <a:pt x="45" y="3"/>
                    </a:cubicBezTo>
                    <a:cubicBezTo>
                      <a:pt x="46" y="2"/>
                      <a:pt x="45" y="1"/>
                      <a:pt x="44" y="2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64" name="Freeform 237">
                <a:extLst>
                  <a:ext uri="{FF2B5EF4-FFF2-40B4-BE49-F238E27FC236}">
                    <a16:creationId xmlns:a16="http://schemas.microsoft.com/office/drawing/2014/main" id="{C0C8F552-334A-4D10-A7A4-526FFF545099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988" y="2323"/>
                <a:ext cx="63" cy="183"/>
              </a:xfrm>
              <a:custGeom>
                <a:avLst/>
                <a:gdLst>
                  <a:gd name="T0" fmla="*/ 59 w 59"/>
                  <a:gd name="T1" fmla="*/ 173 h 173"/>
                  <a:gd name="T2" fmla="*/ 25 w 59"/>
                  <a:gd name="T3" fmla="*/ 99 h 173"/>
                  <a:gd name="T4" fmla="*/ 13 w 59"/>
                  <a:gd name="T5" fmla="*/ 52 h 173"/>
                  <a:gd name="T6" fmla="*/ 18 w 59"/>
                  <a:gd name="T7" fmla="*/ 4 h 173"/>
                  <a:gd name="T8" fmla="*/ 12 w 59"/>
                  <a:gd name="T9" fmla="*/ 3 h 173"/>
                  <a:gd name="T10" fmla="*/ 15 w 59"/>
                  <a:gd name="T11" fmla="*/ 89 h 173"/>
                  <a:gd name="T12" fmla="*/ 59 w 59"/>
                  <a:gd name="T13" fmla="*/ 173 h 1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59" h="173">
                    <a:moveTo>
                      <a:pt x="59" y="173"/>
                    </a:moveTo>
                    <a:cubicBezTo>
                      <a:pt x="43" y="151"/>
                      <a:pt x="33" y="125"/>
                      <a:pt x="25" y="99"/>
                    </a:cubicBezTo>
                    <a:cubicBezTo>
                      <a:pt x="21" y="84"/>
                      <a:pt x="15" y="68"/>
                      <a:pt x="13" y="52"/>
                    </a:cubicBezTo>
                    <a:cubicBezTo>
                      <a:pt x="11" y="35"/>
                      <a:pt x="16" y="21"/>
                      <a:pt x="18" y="4"/>
                    </a:cubicBezTo>
                    <a:cubicBezTo>
                      <a:pt x="18" y="1"/>
                      <a:pt x="13" y="0"/>
                      <a:pt x="12" y="3"/>
                    </a:cubicBezTo>
                    <a:cubicBezTo>
                      <a:pt x="0" y="33"/>
                      <a:pt x="6" y="59"/>
                      <a:pt x="15" y="89"/>
                    </a:cubicBezTo>
                    <a:cubicBezTo>
                      <a:pt x="24" y="119"/>
                      <a:pt x="38" y="149"/>
                      <a:pt x="59" y="173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65" name="Freeform 238">
                <a:extLst>
                  <a:ext uri="{FF2B5EF4-FFF2-40B4-BE49-F238E27FC236}">
                    <a16:creationId xmlns:a16="http://schemas.microsoft.com/office/drawing/2014/main" id="{681171A5-8048-4675-A2DD-EAA14B9BE112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7020" y="2489"/>
                <a:ext cx="171" cy="227"/>
              </a:xfrm>
              <a:custGeom>
                <a:avLst/>
                <a:gdLst>
                  <a:gd name="T0" fmla="*/ 155 w 162"/>
                  <a:gd name="T1" fmla="*/ 5 h 215"/>
                  <a:gd name="T2" fmla="*/ 152 w 162"/>
                  <a:gd name="T3" fmla="*/ 5 h 215"/>
                  <a:gd name="T4" fmla="*/ 153 w 162"/>
                  <a:gd name="T5" fmla="*/ 20 h 215"/>
                  <a:gd name="T6" fmla="*/ 143 w 162"/>
                  <a:gd name="T7" fmla="*/ 43 h 215"/>
                  <a:gd name="T8" fmla="*/ 90 w 162"/>
                  <a:gd name="T9" fmla="*/ 75 h 215"/>
                  <a:gd name="T10" fmla="*/ 16 w 162"/>
                  <a:gd name="T11" fmla="*/ 87 h 215"/>
                  <a:gd name="T12" fmla="*/ 4 w 162"/>
                  <a:gd name="T13" fmla="*/ 163 h 215"/>
                  <a:gd name="T14" fmla="*/ 42 w 162"/>
                  <a:gd name="T15" fmla="*/ 214 h 215"/>
                  <a:gd name="T16" fmla="*/ 45 w 162"/>
                  <a:gd name="T17" fmla="*/ 209 h 215"/>
                  <a:gd name="T18" fmla="*/ 20 w 162"/>
                  <a:gd name="T19" fmla="*/ 191 h 215"/>
                  <a:gd name="T20" fmla="*/ 10 w 162"/>
                  <a:gd name="T21" fmla="*/ 154 h 215"/>
                  <a:gd name="T22" fmla="*/ 11 w 162"/>
                  <a:gd name="T23" fmla="*/ 116 h 215"/>
                  <a:gd name="T24" fmla="*/ 67 w 162"/>
                  <a:gd name="T25" fmla="*/ 73 h 215"/>
                  <a:gd name="T26" fmla="*/ 105 w 162"/>
                  <a:gd name="T27" fmla="*/ 79 h 215"/>
                  <a:gd name="T28" fmla="*/ 120 w 162"/>
                  <a:gd name="T29" fmla="*/ 71 h 215"/>
                  <a:gd name="T30" fmla="*/ 152 w 162"/>
                  <a:gd name="T31" fmla="*/ 44 h 215"/>
                  <a:gd name="T32" fmla="*/ 157 w 162"/>
                  <a:gd name="T33" fmla="*/ 2 h 215"/>
                  <a:gd name="T34" fmla="*/ 152 w 162"/>
                  <a:gd name="T35" fmla="*/ 1 h 215"/>
                  <a:gd name="T36" fmla="*/ 151 w 162"/>
                  <a:gd name="T37" fmla="*/ 2 h 215"/>
                  <a:gd name="T38" fmla="*/ 151 w 162"/>
                  <a:gd name="T39" fmla="*/ 5 h 215"/>
                  <a:gd name="T40" fmla="*/ 152 w 162"/>
                  <a:gd name="T41" fmla="*/ 6 h 215"/>
                  <a:gd name="T42" fmla="*/ 155 w 162"/>
                  <a:gd name="T43" fmla="*/ 5 h 2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62" h="215">
                    <a:moveTo>
                      <a:pt x="155" y="5"/>
                    </a:moveTo>
                    <a:cubicBezTo>
                      <a:pt x="155" y="4"/>
                      <a:pt x="153" y="5"/>
                      <a:pt x="152" y="5"/>
                    </a:cubicBezTo>
                    <a:cubicBezTo>
                      <a:pt x="151" y="7"/>
                      <a:pt x="153" y="17"/>
                      <a:pt x="153" y="20"/>
                    </a:cubicBezTo>
                    <a:cubicBezTo>
                      <a:pt x="152" y="30"/>
                      <a:pt x="150" y="36"/>
                      <a:pt x="143" y="43"/>
                    </a:cubicBezTo>
                    <a:cubicBezTo>
                      <a:pt x="129" y="56"/>
                      <a:pt x="110" y="78"/>
                      <a:pt x="90" y="75"/>
                    </a:cubicBezTo>
                    <a:cubicBezTo>
                      <a:pt x="65" y="70"/>
                      <a:pt x="34" y="62"/>
                      <a:pt x="16" y="87"/>
                    </a:cubicBezTo>
                    <a:cubicBezTo>
                      <a:pt x="0" y="108"/>
                      <a:pt x="2" y="138"/>
                      <a:pt x="4" y="163"/>
                    </a:cubicBezTo>
                    <a:cubicBezTo>
                      <a:pt x="7" y="187"/>
                      <a:pt x="18" y="207"/>
                      <a:pt x="42" y="214"/>
                    </a:cubicBezTo>
                    <a:cubicBezTo>
                      <a:pt x="45" y="215"/>
                      <a:pt x="47" y="211"/>
                      <a:pt x="45" y="209"/>
                    </a:cubicBezTo>
                    <a:cubicBezTo>
                      <a:pt x="37" y="203"/>
                      <a:pt x="27" y="199"/>
                      <a:pt x="20" y="191"/>
                    </a:cubicBezTo>
                    <a:cubicBezTo>
                      <a:pt x="12" y="180"/>
                      <a:pt x="11" y="166"/>
                      <a:pt x="10" y="154"/>
                    </a:cubicBezTo>
                    <a:cubicBezTo>
                      <a:pt x="9" y="141"/>
                      <a:pt x="9" y="128"/>
                      <a:pt x="11" y="116"/>
                    </a:cubicBezTo>
                    <a:cubicBezTo>
                      <a:pt x="15" y="85"/>
                      <a:pt x="36" y="70"/>
                      <a:pt x="67" y="73"/>
                    </a:cubicBezTo>
                    <a:cubicBezTo>
                      <a:pt x="79" y="74"/>
                      <a:pt x="92" y="81"/>
                      <a:pt x="105" y="79"/>
                    </a:cubicBezTo>
                    <a:cubicBezTo>
                      <a:pt x="111" y="78"/>
                      <a:pt x="116" y="76"/>
                      <a:pt x="120" y="71"/>
                    </a:cubicBezTo>
                    <a:cubicBezTo>
                      <a:pt x="130" y="63"/>
                      <a:pt x="144" y="54"/>
                      <a:pt x="152" y="44"/>
                    </a:cubicBezTo>
                    <a:cubicBezTo>
                      <a:pt x="161" y="34"/>
                      <a:pt x="162" y="14"/>
                      <a:pt x="157" y="2"/>
                    </a:cubicBezTo>
                    <a:cubicBezTo>
                      <a:pt x="156" y="0"/>
                      <a:pt x="154" y="0"/>
                      <a:pt x="152" y="1"/>
                    </a:cubicBezTo>
                    <a:cubicBezTo>
                      <a:pt x="151" y="2"/>
                      <a:pt x="151" y="2"/>
                      <a:pt x="151" y="2"/>
                    </a:cubicBezTo>
                    <a:cubicBezTo>
                      <a:pt x="151" y="3"/>
                      <a:pt x="150" y="4"/>
                      <a:pt x="151" y="5"/>
                    </a:cubicBezTo>
                    <a:cubicBezTo>
                      <a:pt x="151" y="5"/>
                      <a:pt x="151" y="6"/>
                      <a:pt x="152" y="6"/>
                    </a:cubicBezTo>
                    <a:cubicBezTo>
                      <a:pt x="153" y="8"/>
                      <a:pt x="155" y="7"/>
                      <a:pt x="155" y="5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66" name="Freeform 239">
                <a:extLst>
                  <a:ext uri="{FF2B5EF4-FFF2-40B4-BE49-F238E27FC236}">
                    <a16:creationId xmlns:a16="http://schemas.microsoft.com/office/drawing/2014/main" id="{EB4C9B9D-C6CC-49C4-9A92-EAB4D4AE775B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7111" y="2569"/>
                <a:ext cx="30" cy="127"/>
              </a:xfrm>
              <a:custGeom>
                <a:avLst/>
                <a:gdLst>
                  <a:gd name="T0" fmla="*/ 17 w 28"/>
                  <a:gd name="T1" fmla="*/ 5 h 120"/>
                  <a:gd name="T2" fmla="*/ 1 w 28"/>
                  <a:gd name="T3" fmla="*/ 54 h 120"/>
                  <a:gd name="T4" fmla="*/ 5 w 28"/>
                  <a:gd name="T5" fmla="*/ 79 h 120"/>
                  <a:gd name="T6" fmla="*/ 20 w 28"/>
                  <a:gd name="T7" fmla="*/ 116 h 120"/>
                  <a:gd name="T8" fmla="*/ 25 w 28"/>
                  <a:gd name="T9" fmla="*/ 116 h 120"/>
                  <a:gd name="T10" fmla="*/ 11 w 28"/>
                  <a:gd name="T11" fmla="*/ 82 h 120"/>
                  <a:gd name="T12" fmla="*/ 7 w 28"/>
                  <a:gd name="T13" fmla="*/ 35 h 120"/>
                  <a:gd name="T14" fmla="*/ 21 w 28"/>
                  <a:gd name="T15" fmla="*/ 4 h 120"/>
                  <a:gd name="T16" fmla="*/ 18 w 28"/>
                  <a:gd name="T17" fmla="*/ 2 h 120"/>
                  <a:gd name="T18" fmla="*/ 17 w 28"/>
                  <a:gd name="T19" fmla="*/ 3 h 120"/>
                  <a:gd name="T20" fmla="*/ 17 w 28"/>
                  <a:gd name="T21" fmla="*/ 5 h 1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28" h="120">
                    <a:moveTo>
                      <a:pt x="17" y="5"/>
                    </a:moveTo>
                    <a:cubicBezTo>
                      <a:pt x="13" y="3"/>
                      <a:pt x="1" y="48"/>
                      <a:pt x="1" y="54"/>
                    </a:cubicBezTo>
                    <a:cubicBezTo>
                      <a:pt x="0" y="63"/>
                      <a:pt x="2" y="71"/>
                      <a:pt x="5" y="79"/>
                    </a:cubicBezTo>
                    <a:cubicBezTo>
                      <a:pt x="10" y="91"/>
                      <a:pt x="21" y="102"/>
                      <a:pt x="20" y="116"/>
                    </a:cubicBezTo>
                    <a:cubicBezTo>
                      <a:pt x="19" y="119"/>
                      <a:pt x="24" y="120"/>
                      <a:pt x="25" y="116"/>
                    </a:cubicBezTo>
                    <a:cubicBezTo>
                      <a:pt x="28" y="103"/>
                      <a:pt x="17" y="93"/>
                      <a:pt x="11" y="82"/>
                    </a:cubicBezTo>
                    <a:cubicBezTo>
                      <a:pt x="3" y="67"/>
                      <a:pt x="2" y="51"/>
                      <a:pt x="7" y="35"/>
                    </a:cubicBezTo>
                    <a:cubicBezTo>
                      <a:pt x="11" y="23"/>
                      <a:pt x="18" y="15"/>
                      <a:pt x="21" y="4"/>
                    </a:cubicBezTo>
                    <a:cubicBezTo>
                      <a:pt x="22" y="2"/>
                      <a:pt x="19" y="0"/>
                      <a:pt x="18" y="2"/>
                    </a:cubicBezTo>
                    <a:cubicBezTo>
                      <a:pt x="17" y="2"/>
                      <a:pt x="17" y="2"/>
                      <a:pt x="17" y="3"/>
                    </a:cubicBezTo>
                    <a:cubicBezTo>
                      <a:pt x="16" y="4"/>
                      <a:pt x="16" y="5"/>
                      <a:pt x="17" y="5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67" name="Freeform 240">
                <a:extLst>
                  <a:ext uri="{FF2B5EF4-FFF2-40B4-BE49-F238E27FC236}">
                    <a16:creationId xmlns:a16="http://schemas.microsoft.com/office/drawing/2014/main" id="{3DB7C795-9292-4522-9BC7-FF62821DC7F3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7056" y="2568"/>
                <a:ext cx="102" cy="163"/>
              </a:xfrm>
              <a:custGeom>
                <a:avLst/>
                <a:gdLst>
                  <a:gd name="T0" fmla="*/ 74 w 96"/>
                  <a:gd name="T1" fmla="*/ 2 h 154"/>
                  <a:gd name="T2" fmla="*/ 73 w 96"/>
                  <a:gd name="T3" fmla="*/ 43 h 154"/>
                  <a:gd name="T4" fmla="*/ 86 w 96"/>
                  <a:gd name="T5" fmla="*/ 79 h 154"/>
                  <a:gd name="T6" fmla="*/ 69 w 96"/>
                  <a:gd name="T7" fmla="*/ 121 h 154"/>
                  <a:gd name="T8" fmla="*/ 5 w 96"/>
                  <a:gd name="T9" fmla="*/ 132 h 154"/>
                  <a:gd name="T10" fmla="*/ 3 w 96"/>
                  <a:gd name="T11" fmla="*/ 137 h 154"/>
                  <a:gd name="T12" fmla="*/ 88 w 96"/>
                  <a:gd name="T13" fmla="*/ 108 h 154"/>
                  <a:gd name="T14" fmla="*/ 89 w 96"/>
                  <a:gd name="T15" fmla="*/ 75 h 154"/>
                  <a:gd name="T16" fmla="*/ 78 w 96"/>
                  <a:gd name="T17" fmla="*/ 48 h 154"/>
                  <a:gd name="T18" fmla="*/ 77 w 96"/>
                  <a:gd name="T19" fmla="*/ 2 h 154"/>
                  <a:gd name="T20" fmla="*/ 74 w 96"/>
                  <a:gd name="T21" fmla="*/ 2 h 1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96" h="154">
                    <a:moveTo>
                      <a:pt x="74" y="2"/>
                    </a:moveTo>
                    <a:cubicBezTo>
                      <a:pt x="73" y="15"/>
                      <a:pt x="71" y="29"/>
                      <a:pt x="73" y="43"/>
                    </a:cubicBezTo>
                    <a:cubicBezTo>
                      <a:pt x="75" y="56"/>
                      <a:pt x="81" y="67"/>
                      <a:pt x="86" y="79"/>
                    </a:cubicBezTo>
                    <a:cubicBezTo>
                      <a:pt x="93" y="98"/>
                      <a:pt x="82" y="110"/>
                      <a:pt x="69" y="121"/>
                    </a:cubicBezTo>
                    <a:cubicBezTo>
                      <a:pt x="50" y="137"/>
                      <a:pt x="29" y="141"/>
                      <a:pt x="5" y="132"/>
                    </a:cubicBezTo>
                    <a:cubicBezTo>
                      <a:pt x="2" y="130"/>
                      <a:pt x="0" y="135"/>
                      <a:pt x="3" y="137"/>
                    </a:cubicBezTo>
                    <a:cubicBezTo>
                      <a:pt x="36" y="154"/>
                      <a:pt x="67" y="135"/>
                      <a:pt x="88" y="108"/>
                    </a:cubicBezTo>
                    <a:cubicBezTo>
                      <a:pt x="96" y="97"/>
                      <a:pt x="94" y="87"/>
                      <a:pt x="89" y="75"/>
                    </a:cubicBezTo>
                    <a:cubicBezTo>
                      <a:pt x="85" y="66"/>
                      <a:pt x="80" y="57"/>
                      <a:pt x="78" y="48"/>
                    </a:cubicBezTo>
                    <a:cubicBezTo>
                      <a:pt x="74" y="33"/>
                      <a:pt x="76" y="17"/>
                      <a:pt x="77" y="2"/>
                    </a:cubicBezTo>
                    <a:cubicBezTo>
                      <a:pt x="77" y="0"/>
                      <a:pt x="74" y="0"/>
                      <a:pt x="74" y="2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68" name="Freeform 241">
                <a:extLst>
                  <a:ext uri="{FF2B5EF4-FFF2-40B4-BE49-F238E27FC236}">
                    <a16:creationId xmlns:a16="http://schemas.microsoft.com/office/drawing/2014/main" id="{38A8847E-3A6A-461C-9980-5BC28C751A62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7149" y="2661"/>
                <a:ext cx="16" cy="35"/>
              </a:xfrm>
              <a:custGeom>
                <a:avLst/>
                <a:gdLst>
                  <a:gd name="T0" fmla="*/ 1 w 15"/>
                  <a:gd name="T1" fmla="*/ 3 h 33"/>
                  <a:gd name="T2" fmla="*/ 8 w 15"/>
                  <a:gd name="T3" fmla="*/ 14 h 33"/>
                  <a:gd name="T4" fmla="*/ 2 w 15"/>
                  <a:gd name="T5" fmla="*/ 29 h 33"/>
                  <a:gd name="T6" fmla="*/ 4 w 15"/>
                  <a:gd name="T7" fmla="*/ 33 h 33"/>
                  <a:gd name="T8" fmla="*/ 15 w 15"/>
                  <a:gd name="T9" fmla="*/ 19 h 33"/>
                  <a:gd name="T10" fmla="*/ 13 w 15"/>
                  <a:gd name="T11" fmla="*/ 11 h 33"/>
                  <a:gd name="T12" fmla="*/ 5 w 15"/>
                  <a:gd name="T13" fmla="*/ 2 h 33"/>
                  <a:gd name="T14" fmla="*/ 1 w 15"/>
                  <a:gd name="T15" fmla="*/ 3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5" h="33">
                    <a:moveTo>
                      <a:pt x="1" y="3"/>
                    </a:moveTo>
                    <a:cubicBezTo>
                      <a:pt x="2" y="8"/>
                      <a:pt x="6" y="10"/>
                      <a:pt x="8" y="14"/>
                    </a:cubicBezTo>
                    <a:cubicBezTo>
                      <a:pt x="11" y="20"/>
                      <a:pt x="8" y="26"/>
                      <a:pt x="2" y="29"/>
                    </a:cubicBezTo>
                    <a:cubicBezTo>
                      <a:pt x="0" y="30"/>
                      <a:pt x="2" y="33"/>
                      <a:pt x="4" y="33"/>
                    </a:cubicBezTo>
                    <a:cubicBezTo>
                      <a:pt x="11" y="32"/>
                      <a:pt x="15" y="26"/>
                      <a:pt x="15" y="19"/>
                    </a:cubicBezTo>
                    <a:cubicBezTo>
                      <a:pt x="15" y="16"/>
                      <a:pt x="14" y="14"/>
                      <a:pt x="13" y="11"/>
                    </a:cubicBezTo>
                    <a:cubicBezTo>
                      <a:pt x="11" y="7"/>
                      <a:pt x="7" y="5"/>
                      <a:pt x="5" y="2"/>
                    </a:cubicBezTo>
                    <a:cubicBezTo>
                      <a:pt x="4" y="0"/>
                      <a:pt x="1" y="1"/>
                      <a:pt x="1" y="3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69" name="Freeform 242">
                <a:extLst>
                  <a:ext uri="{FF2B5EF4-FFF2-40B4-BE49-F238E27FC236}">
                    <a16:creationId xmlns:a16="http://schemas.microsoft.com/office/drawing/2014/main" id="{0530BCCD-FA3A-431C-BF00-460B86815B65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7057" y="2699"/>
                <a:ext cx="89" cy="37"/>
              </a:xfrm>
              <a:custGeom>
                <a:avLst/>
                <a:gdLst>
                  <a:gd name="T0" fmla="*/ 83 w 84"/>
                  <a:gd name="T1" fmla="*/ 1 h 35"/>
                  <a:gd name="T2" fmla="*/ 48 w 84"/>
                  <a:gd name="T3" fmla="*/ 25 h 35"/>
                  <a:gd name="T4" fmla="*/ 2 w 84"/>
                  <a:gd name="T5" fmla="*/ 29 h 35"/>
                  <a:gd name="T6" fmla="*/ 2 w 84"/>
                  <a:gd name="T7" fmla="*/ 32 h 35"/>
                  <a:gd name="T8" fmla="*/ 84 w 84"/>
                  <a:gd name="T9" fmla="*/ 2 h 35"/>
                  <a:gd name="T10" fmla="*/ 83 w 84"/>
                  <a:gd name="T11" fmla="*/ 1 h 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84" h="35">
                    <a:moveTo>
                      <a:pt x="83" y="1"/>
                    </a:moveTo>
                    <a:cubicBezTo>
                      <a:pt x="74" y="13"/>
                      <a:pt x="63" y="22"/>
                      <a:pt x="48" y="25"/>
                    </a:cubicBezTo>
                    <a:cubicBezTo>
                      <a:pt x="33" y="28"/>
                      <a:pt x="18" y="29"/>
                      <a:pt x="2" y="29"/>
                    </a:cubicBezTo>
                    <a:cubicBezTo>
                      <a:pt x="0" y="30"/>
                      <a:pt x="0" y="32"/>
                      <a:pt x="2" y="32"/>
                    </a:cubicBezTo>
                    <a:cubicBezTo>
                      <a:pt x="33" y="35"/>
                      <a:pt x="67" y="30"/>
                      <a:pt x="84" y="2"/>
                    </a:cubicBezTo>
                    <a:cubicBezTo>
                      <a:pt x="84" y="1"/>
                      <a:pt x="83" y="0"/>
                      <a:pt x="83" y="1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70" name="Freeform 243">
                <a:extLst>
                  <a:ext uri="{FF2B5EF4-FFF2-40B4-BE49-F238E27FC236}">
                    <a16:creationId xmlns:a16="http://schemas.microsoft.com/office/drawing/2014/main" id="{1C8B9191-1AC1-427B-902E-2F5D78F09A02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7033" y="2678"/>
                <a:ext cx="142" cy="188"/>
              </a:xfrm>
              <a:custGeom>
                <a:avLst/>
                <a:gdLst>
                  <a:gd name="T0" fmla="*/ 124 w 134"/>
                  <a:gd name="T1" fmla="*/ 1 h 177"/>
                  <a:gd name="T2" fmla="*/ 116 w 134"/>
                  <a:gd name="T3" fmla="*/ 36 h 177"/>
                  <a:gd name="T4" fmla="*/ 82 w 134"/>
                  <a:gd name="T5" fmla="*/ 63 h 177"/>
                  <a:gd name="T6" fmla="*/ 50 w 134"/>
                  <a:gd name="T7" fmla="*/ 74 h 177"/>
                  <a:gd name="T8" fmla="*/ 21 w 134"/>
                  <a:gd name="T9" fmla="*/ 82 h 177"/>
                  <a:gd name="T10" fmla="*/ 5 w 134"/>
                  <a:gd name="T11" fmla="*/ 110 h 177"/>
                  <a:gd name="T12" fmla="*/ 16 w 134"/>
                  <a:gd name="T13" fmla="*/ 173 h 177"/>
                  <a:gd name="T14" fmla="*/ 23 w 134"/>
                  <a:gd name="T15" fmla="*/ 171 h 177"/>
                  <a:gd name="T16" fmla="*/ 18 w 134"/>
                  <a:gd name="T17" fmla="*/ 96 h 177"/>
                  <a:gd name="T18" fmla="*/ 52 w 134"/>
                  <a:gd name="T19" fmla="*/ 80 h 177"/>
                  <a:gd name="T20" fmla="*/ 80 w 134"/>
                  <a:gd name="T21" fmla="*/ 70 h 177"/>
                  <a:gd name="T22" fmla="*/ 123 w 134"/>
                  <a:gd name="T23" fmla="*/ 36 h 177"/>
                  <a:gd name="T24" fmla="*/ 126 w 134"/>
                  <a:gd name="T25" fmla="*/ 1 h 177"/>
                  <a:gd name="T26" fmla="*/ 124 w 134"/>
                  <a:gd name="T27" fmla="*/ 1 h 1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34" h="177">
                    <a:moveTo>
                      <a:pt x="124" y="1"/>
                    </a:moveTo>
                    <a:cubicBezTo>
                      <a:pt x="122" y="13"/>
                      <a:pt x="123" y="25"/>
                      <a:pt x="116" y="36"/>
                    </a:cubicBezTo>
                    <a:cubicBezTo>
                      <a:pt x="107" y="48"/>
                      <a:pt x="96" y="57"/>
                      <a:pt x="82" y="63"/>
                    </a:cubicBezTo>
                    <a:cubicBezTo>
                      <a:pt x="72" y="68"/>
                      <a:pt x="61" y="71"/>
                      <a:pt x="50" y="74"/>
                    </a:cubicBezTo>
                    <a:cubicBezTo>
                      <a:pt x="41" y="76"/>
                      <a:pt x="29" y="77"/>
                      <a:pt x="21" y="82"/>
                    </a:cubicBezTo>
                    <a:cubicBezTo>
                      <a:pt x="11" y="87"/>
                      <a:pt x="8" y="100"/>
                      <a:pt x="5" y="110"/>
                    </a:cubicBezTo>
                    <a:cubicBezTo>
                      <a:pt x="0" y="132"/>
                      <a:pt x="8" y="154"/>
                      <a:pt x="16" y="173"/>
                    </a:cubicBezTo>
                    <a:cubicBezTo>
                      <a:pt x="18" y="177"/>
                      <a:pt x="24" y="175"/>
                      <a:pt x="23" y="171"/>
                    </a:cubicBezTo>
                    <a:cubicBezTo>
                      <a:pt x="16" y="147"/>
                      <a:pt x="3" y="120"/>
                      <a:pt x="18" y="96"/>
                    </a:cubicBezTo>
                    <a:cubicBezTo>
                      <a:pt x="25" y="84"/>
                      <a:pt x="40" y="84"/>
                      <a:pt x="52" y="80"/>
                    </a:cubicBezTo>
                    <a:cubicBezTo>
                      <a:pt x="61" y="77"/>
                      <a:pt x="71" y="74"/>
                      <a:pt x="80" y="70"/>
                    </a:cubicBezTo>
                    <a:cubicBezTo>
                      <a:pt x="98" y="63"/>
                      <a:pt x="111" y="52"/>
                      <a:pt x="123" y="36"/>
                    </a:cubicBezTo>
                    <a:cubicBezTo>
                      <a:pt x="134" y="22"/>
                      <a:pt x="126" y="18"/>
                      <a:pt x="126" y="1"/>
                    </a:cubicBezTo>
                    <a:cubicBezTo>
                      <a:pt x="125" y="0"/>
                      <a:pt x="124" y="0"/>
                      <a:pt x="124" y="1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71" name="Freeform 244">
                <a:extLst>
                  <a:ext uri="{FF2B5EF4-FFF2-40B4-BE49-F238E27FC236}">
                    <a16:creationId xmlns:a16="http://schemas.microsoft.com/office/drawing/2014/main" id="{03B1E061-C090-4F05-9B0E-CBE55B85AA50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7158" y="2844"/>
                <a:ext cx="38" cy="55"/>
              </a:xfrm>
              <a:custGeom>
                <a:avLst/>
                <a:gdLst>
                  <a:gd name="T0" fmla="*/ 22 w 36"/>
                  <a:gd name="T1" fmla="*/ 5 h 52"/>
                  <a:gd name="T2" fmla="*/ 28 w 36"/>
                  <a:gd name="T3" fmla="*/ 16 h 52"/>
                  <a:gd name="T4" fmla="*/ 26 w 36"/>
                  <a:gd name="T5" fmla="*/ 18 h 52"/>
                  <a:gd name="T6" fmla="*/ 23 w 36"/>
                  <a:gd name="T7" fmla="*/ 26 h 52"/>
                  <a:gd name="T8" fmla="*/ 2 w 36"/>
                  <a:gd name="T9" fmla="*/ 47 h 52"/>
                  <a:gd name="T10" fmla="*/ 4 w 36"/>
                  <a:gd name="T11" fmla="*/ 50 h 52"/>
                  <a:gd name="T12" fmla="*/ 20 w 36"/>
                  <a:gd name="T13" fmla="*/ 38 h 52"/>
                  <a:gd name="T14" fmla="*/ 27 w 36"/>
                  <a:gd name="T15" fmla="*/ 30 h 52"/>
                  <a:gd name="T16" fmla="*/ 30 w 36"/>
                  <a:gd name="T17" fmla="*/ 21 h 52"/>
                  <a:gd name="T18" fmla="*/ 35 w 36"/>
                  <a:gd name="T19" fmla="*/ 11 h 52"/>
                  <a:gd name="T20" fmla="*/ 24 w 36"/>
                  <a:gd name="T21" fmla="*/ 2 h 52"/>
                  <a:gd name="T22" fmla="*/ 22 w 36"/>
                  <a:gd name="T23" fmla="*/ 5 h 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52">
                    <a:moveTo>
                      <a:pt x="22" y="5"/>
                    </a:moveTo>
                    <a:cubicBezTo>
                      <a:pt x="25" y="8"/>
                      <a:pt x="30" y="9"/>
                      <a:pt x="28" y="16"/>
                    </a:cubicBezTo>
                    <a:cubicBezTo>
                      <a:pt x="28" y="16"/>
                      <a:pt x="27" y="17"/>
                      <a:pt x="26" y="18"/>
                    </a:cubicBezTo>
                    <a:cubicBezTo>
                      <a:pt x="25" y="20"/>
                      <a:pt x="25" y="23"/>
                      <a:pt x="23" y="26"/>
                    </a:cubicBezTo>
                    <a:cubicBezTo>
                      <a:pt x="19" y="36"/>
                      <a:pt x="10" y="40"/>
                      <a:pt x="2" y="47"/>
                    </a:cubicBezTo>
                    <a:cubicBezTo>
                      <a:pt x="0" y="48"/>
                      <a:pt x="2" y="52"/>
                      <a:pt x="4" y="50"/>
                    </a:cubicBezTo>
                    <a:cubicBezTo>
                      <a:pt x="10" y="47"/>
                      <a:pt x="16" y="43"/>
                      <a:pt x="20" y="38"/>
                    </a:cubicBezTo>
                    <a:cubicBezTo>
                      <a:pt x="22" y="36"/>
                      <a:pt x="25" y="33"/>
                      <a:pt x="27" y="30"/>
                    </a:cubicBezTo>
                    <a:cubicBezTo>
                      <a:pt x="29" y="27"/>
                      <a:pt x="29" y="23"/>
                      <a:pt x="30" y="21"/>
                    </a:cubicBezTo>
                    <a:cubicBezTo>
                      <a:pt x="32" y="17"/>
                      <a:pt x="36" y="15"/>
                      <a:pt x="35" y="11"/>
                    </a:cubicBezTo>
                    <a:cubicBezTo>
                      <a:pt x="34" y="6"/>
                      <a:pt x="28" y="4"/>
                      <a:pt x="24" y="2"/>
                    </a:cubicBezTo>
                    <a:cubicBezTo>
                      <a:pt x="22" y="0"/>
                      <a:pt x="19" y="3"/>
                      <a:pt x="22" y="5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72" name="Freeform 245">
                <a:extLst>
                  <a:ext uri="{FF2B5EF4-FFF2-40B4-BE49-F238E27FC236}">
                    <a16:creationId xmlns:a16="http://schemas.microsoft.com/office/drawing/2014/main" id="{081A8D29-5486-4192-94B2-DFFC7D1CEDED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7046" y="2856"/>
                <a:ext cx="107" cy="66"/>
              </a:xfrm>
              <a:custGeom>
                <a:avLst/>
                <a:gdLst>
                  <a:gd name="T0" fmla="*/ 99 w 101"/>
                  <a:gd name="T1" fmla="*/ 43 h 62"/>
                  <a:gd name="T2" fmla="*/ 36 w 101"/>
                  <a:gd name="T3" fmla="*/ 48 h 62"/>
                  <a:gd name="T4" fmla="*/ 5 w 101"/>
                  <a:gd name="T5" fmla="*/ 2 h 62"/>
                  <a:gd name="T6" fmla="*/ 1 w 101"/>
                  <a:gd name="T7" fmla="*/ 4 h 62"/>
                  <a:gd name="T8" fmla="*/ 46 w 101"/>
                  <a:gd name="T9" fmla="*/ 59 h 62"/>
                  <a:gd name="T10" fmla="*/ 100 w 101"/>
                  <a:gd name="T11" fmla="*/ 45 h 62"/>
                  <a:gd name="T12" fmla="*/ 99 w 101"/>
                  <a:gd name="T13" fmla="*/ 43 h 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01" h="62">
                    <a:moveTo>
                      <a:pt x="99" y="43"/>
                    </a:moveTo>
                    <a:cubicBezTo>
                      <a:pt x="83" y="50"/>
                      <a:pt x="51" y="58"/>
                      <a:pt x="36" y="48"/>
                    </a:cubicBezTo>
                    <a:cubicBezTo>
                      <a:pt x="20" y="37"/>
                      <a:pt x="15" y="16"/>
                      <a:pt x="5" y="2"/>
                    </a:cubicBezTo>
                    <a:cubicBezTo>
                      <a:pt x="4" y="0"/>
                      <a:pt x="0" y="2"/>
                      <a:pt x="1" y="4"/>
                    </a:cubicBezTo>
                    <a:cubicBezTo>
                      <a:pt x="9" y="22"/>
                      <a:pt x="24" y="54"/>
                      <a:pt x="46" y="59"/>
                    </a:cubicBezTo>
                    <a:cubicBezTo>
                      <a:pt x="63" y="62"/>
                      <a:pt x="87" y="56"/>
                      <a:pt x="100" y="45"/>
                    </a:cubicBezTo>
                    <a:cubicBezTo>
                      <a:pt x="101" y="45"/>
                      <a:pt x="100" y="43"/>
                      <a:pt x="99" y="43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73" name="Freeform 246">
                <a:extLst>
                  <a:ext uri="{FF2B5EF4-FFF2-40B4-BE49-F238E27FC236}">
                    <a16:creationId xmlns:a16="http://schemas.microsoft.com/office/drawing/2014/main" id="{1383030B-07F0-46AA-9E4C-A28569F31B73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7072" y="2851"/>
                <a:ext cx="169" cy="243"/>
              </a:xfrm>
              <a:custGeom>
                <a:avLst/>
                <a:gdLst>
                  <a:gd name="T0" fmla="*/ 113 w 160"/>
                  <a:gd name="T1" fmla="*/ 2 h 230"/>
                  <a:gd name="T2" fmla="*/ 66 w 160"/>
                  <a:gd name="T3" fmla="*/ 71 h 230"/>
                  <a:gd name="T4" fmla="*/ 27 w 160"/>
                  <a:gd name="T5" fmla="*/ 85 h 230"/>
                  <a:gd name="T6" fmla="*/ 29 w 160"/>
                  <a:gd name="T7" fmla="*/ 170 h 230"/>
                  <a:gd name="T8" fmla="*/ 85 w 160"/>
                  <a:gd name="T9" fmla="*/ 217 h 230"/>
                  <a:gd name="T10" fmla="*/ 159 w 160"/>
                  <a:gd name="T11" fmla="*/ 162 h 230"/>
                  <a:gd name="T12" fmla="*/ 156 w 160"/>
                  <a:gd name="T13" fmla="*/ 160 h 230"/>
                  <a:gd name="T14" fmla="*/ 63 w 160"/>
                  <a:gd name="T15" fmla="*/ 204 h 230"/>
                  <a:gd name="T16" fmla="*/ 21 w 160"/>
                  <a:gd name="T17" fmla="*/ 108 h 230"/>
                  <a:gd name="T18" fmla="*/ 97 w 160"/>
                  <a:gd name="T19" fmla="*/ 61 h 230"/>
                  <a:gd name="T20" fmla="*/ 116 w 160"/>
                  <a:gd name="T21" fmla="*/ 2 h 230"/>
                  <a:gd name="T22" fmla="*/ 113 w 160"/>
                  <a:gd name="T23" fmla="*/ 2 h 2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60" h="230">
                    <a:moveTo>
                      <a:pt x="113" y="2"/>
                    </a:moveTo>
                    <a:cubicBezTo>
                      <a:pt x="121" y="38"/>
                      <a:pt x="98" y="61"/>
                      <a:pt x="66" y="71"/>
                    </a:cubicBezTo>
                    <a:cubicBezTo>
                      <a:pt x="53" y="75"/>
                      <a:pt x="38" y="77"/>
                      <a:pt x="27" y="85"/>
                    </a:cubicBezTo>
                    <a:cubicBezTo>
                      <a:pt x="0" y="106"/>
                      <a:pt x="16" y="146"/>
                      <a:pt x="29" y="170"/>
                    </a:cubicBezTo>
                    <a:cubicBezTo>
                      <a:pt x="40" y="190"/>
                      <a:pt x="59" y="217"/>
                      <a:pt x="85" y="217"/>
                    </a:cubicBezTo>
                    <a:cubicBezTo>
                      <a:pt x="116" y="217"/>
                      <a:pt x="145" y="186"/>
                      <a:pt x="159" y="162"/>
                    </a:cubicBezTo>
                    <a:cubicBezTo>
                      <a:pt x="160" y="160"/>
                      <a:pt x="157" y="158"/>
                      <a:pt x="156" y="160"/>
                    </a:cubicBezTo>
                    <a:cubicBezTo>
                      <a:pt x="138" y="187"/>
                      <a:pt x="97" y="230"/>
                      <a:pt x="63" y="204"/>
                    </a:cubicBezTo>
                    <a:cubicBezTo>
                      <a:pt x="39" y="186"/>
                      <a:pt x="13" y="137"/>
                      <a:pt x="21" y="108"/>
                    </a:cubicBezTo>
                    <a:cubicBezTo>
                      <a:pt x="31" y="77"/>
                      <a:pt x="75" y="80"/>
                      <a:pt x="97" y="61"/>
                    </a:cubicBezTo>
                    <a:cubicBezTo>
                      <a:pt x="116" y="44"/>
                      <a:pt x="122" y="26"/>
                      <a:pt x="116" y="2"/>
                    </a:cubicBezTo>
                    <a:cubicBezTo>
                      <a:pt x="115" y="0"/>
                      <a:pt x="113" y="1"/>
                      <a:pt x="113" y="2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74" name="Freeform 247">
                <a:extLst>
                  <a:ext uri="{FF2B5EF4-FFF2-40B4-BE49-F238E27FC236}">
                    <a16:creationId xmlns:a16="http://schemas.microsoft.com/office/drawing/2014/main" id="{5C5CA06A-567A-4122-A209-8CBD90CCBCF0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7235" y="3014"/>
                <a:ext cx="17" cy="35"/>
              </a:xfrm>
              <a:custGeom>
                <a:avLst/>
                <a:gdLst>
                  <a:gd name="T0" fmla="*/ 5 w 16"/>
                  <a:gd name="T1" fmla="*/ 6 h 33"/>
                  <a:gd name="T2" fmla="*/ 9 w 16"/>
                  <a:gd name="T3" fmla="*/ 15 h 33"/>
                  <a:gd name="T4" fmla="*/ 1 w 16"/>
                  <a:gd name="T5" fmla="*/ 30 h 33"/>
                  <a:gd name="T6" fmla="*/ 4 w 16"/>
                  <a:gd name="T7" fmla="*/ 32 h 33"/>
                  <a:gd name="T8" fmla="*/ 14 w 16"/>
                  <a:gd name="T9" fmla="*/ 17 h 33"/>
                  <a:gd name="T10" fmla="*/ 16 w 16"/>
                  <a:gd name="T11" fmla="*/ 10 h 33"/>
                  <a:gd name="T12" fmla="*/ 6 w 16"/>
                  <a:gd name="T13" fmla="*/ 1 h 33"/>
                  <a:gd name="T14" fmla="*/ 5 w 16"/>
                  <a:gd name="T15" fmla="*/ 6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6" h="33">
                    <a:moveTo>
                      <a:pt x="5" y="6"/>
                    </a:moveTo>
                    <a:cubicBezTo>
                      <a:pt x="10" y="7"/>
                      <a:pt x="12" y="9"/>
                      <a:pt x="9" y="15"/>
                    </a:cubicBezTo>
                    <a:cubicBezTo>
                      <a:pt x="7" y="20"/>
                      <a:pt x="3" y="24"/>
                      <a:pt x="1" y="30"/>
                    </a:cubicBezTo>
                    <a:cubicBezTo>
                      <a:pt x="0" y="31"/>
                      <a:pt x="3" y="33"/>
                      <a:pt x="4" y="32"/>
                    </a:cubicBezTo>
                    <a:cubicBezTo>
                      <a:pt x="8" y="27"/>
                      <a:pt x="11" y="22"/>
                      <a:pt x="14" y="17"/>
                    </a:cubicBezTo>
                    <a:cubicBezTo>
                      <a:pt x="15" y="15"/>
                      <a:pt x="16" y="13"/>
                      <a:pt x="16" y="10"/>
                    </a:cubicBezTo>
                    <a:cubicBezTo>
                      <a:pt x="15" y="4"/>
                      <a:pt x="11" y="2"/>
                      <a:pt x="6" y="1"/>
                    </a:cubicBezTo>
                    <a:cubicBezTo>
                      <a:pt x="3" y="0"/>
                      <a:pt x="2" y="5"/>
                      <a:pt x="5" y="6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75" name="Freeform 248">
                <a:extLst>
                  <a:ext uri="{FF2B5EF4-FFF2-40B4-BE49-F238E27FC236}">
                    <a16:creationId xmlns:a16="http://schemas.microsoft.com/office/drawing/2014/main" id="{29451FCD-7B19-4078-B13D-E8392F2EEAFA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7178" y="3053"/>
                <a:ext cx="52" cy="36"/>
              </a:xfrm>
              <a:custGeom>
                <a:avLst/>
                <a:gdLst>
                  <a:gd name="T0" fmla="*/ 47 w 49"/>
                  <a:gd name="T1" fmla="*/ 1 h 34"/>
                  <a:gd name="T2" fmla="*/ 29 w 49"/>
                  <a:gd name="T3" fmla="*/ 18 h 34"/>
                  <a:gd name="T4" fmla="*/ 3 w 49"/>
                  <a:gd name="T5" fmla="*/ 30 h 34"/>
                  <a:gd name="T6" fmla="*/ 3 w 49"/>
                  <a:gd name="T7" fmla="*/ 33 h 34"/>
                  <a:gd name="T8" fmla="*/ 33 w 49"/>
                  <a:gd name="T9" fmla="*/ 20 h 34"/>
                  <a:gd name="T10" fmla="*/ 49 w 49"/>
                  <a:gd name="T11" fmla="*/ 2 h 34"/>
                  <a:gd name="T12" fmla="*/ 47 w 49"/>
                  <a:gd name="T13" fmla="*/ 1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9" h="34">
                    <a:moveTo>
                      <a:pt x="47" y="1"/>
                    </a:moveTo>
                    <a:cubicBezTo>
                      <a:pt x="45" y="9"/>
                      <a:pt x="36" y="14"/>
                      <a:pt x="29" y="18"/>
                    </a:cubicBezTo>
                    <a:cubicBezTo>
                      <a:pt x="20" y="23"/>
                      <a:pt x="13" y="29"/>
                      <a:pt x="3" y="30"/>
                    </a:cubicBezTo>
                    <a:cubicBezTo>
                      <a:pt x="1" y="30"/>
                      <a:pt x="0" y="33"/>
                      <a:pt x="3" y="33"/>
                    </a:cubicBezTo>
                    <a:cubicBezTo>
                      <a:pt x="15" y="34"/>
                      <a:pt x="24" y="26"/>
                      <a:pt x="33" y="20"/>
                    </a:cubicBezTo>
                    <a:cubicBezTo>
                      <a:pt x="40" y="16"/>
                      <a:pt x="47" y="10"/>
                      <a:pt x="49" y="2"/>
                    </a:cubicBezTo>
                    <a:cubicBezTo>
                      <a:pt x="49" y="1"/>
                      <a:pt x="48" y="0"/>
                      <a:pt x="47" y="1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76" name="Freeform 249">
                <a:extLst>
                  <a:ext uri="{FF2B5EF4-FFF2-40B4-BE49-F238E27FC236}">
                    <a16:creationId xmlns:a16="http://schemas.microsoft.com/office/drawing/2014/main" id="{03AD92CD-C767-47B1-984A-6B2557BA77DA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7231" y="3006"/>
                <a:ext cx="12" cy="14"/>
              </a:xfrm>
              <a:custGeom>
                <a:avLst/>
                <a:gdLst>
                  <a:gd name="T0" fmla="*/ 11 w 12"/>
                  <a:gd name="T1" fmla="*/ 10 h 13"/>
                  <a:gd name="T2" fmla="*/ 1 w 12"/>
                  <a:gd name="T3" fmla="*/ 3 h 13"/>
                  <a:gd name="T4" fmla="*/ 0 w 12"/>
                  <a:gd name="T5" fmla="*/ 5 h 13"/>
                  <a:gd name="T6" fmla="*/ 3 w 12"/>
                  <a:gd name="T7" fmla="*/ 7 h 13"/>
                  <a:gd name="T8" fmla="*/ 8 w 12"/>
                  <a:gd name="T9" fmla="*/ 11 h 13"/>
                  <a:gd name="T10" fmla="*/ 11 w 12"/>
                  <a:gd name="T11" fmla="*/ 10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2" h="13">
                    <a:moveTo>
                      <a:pt x="11" y="10"/>
                    </a:moveTo>
                    <a:cubicBezTo>
                      <a:pt x="11" y="6"/>
                      <a:pt x="6" y="0"/>
                      <a:pt x="1" y="3"/>
                    </a:cubicBezTo>
                    <a:cubicBezTo>
                      <a:pt x="0" y="3"/>
                      <a:pt x="0" y="4"/>
                      <a:pt x="0" y="5"/>
                    </a:cubicBezTo>
                    <a:cubicBezTo>
                      <a:pt x="0" y="6"/>
                      <a:pt x="2" y="6"/>
                      <a:pt x="3" y="7"/>
                    </a:cubicBezTo>
                    <a:cubicBezTo>
                      <a:pt x="5" y="8"/>
                      <a:pt x="7" y="9"/>
                      <a:pt x="8" y="11"/>
                    </a:cubicBezTo>
                    <a:cubicBezTo>
                      <a:pt x="9" y="13"/>
                      <a:pt x="12" y="12"/>
                      <a:pt x="11" y="10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77" name="Freeform 250">
                <a:extLst>
                  <a:ext uri="{FF2B5EF4-FFF2-40B4-BE49-F238E27FC236}">
                    <a16:creationId xmlns:a16="http://schemas.microsoft.com/office/drawing/2014/main" id="{3546E88C-F211-42F6-AC59-3B3D852593B0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7183" y="2916"/>
                <a:ext cx="52" cy="105"/>
              </a:xfrm>
              <a:custGeom>
                <a:avLst/>
                <a:gdLst>
                  <a:gd name="T0" fmla="*/ 43 w 49"/>
                  <a:gd name="T1" fmla="*/ 97 h 99"/>
                  <a:gd name="T2" fmla="*/ 40 w 49"/>
                  <a:gd name="T3" fmla="*/ 76 h 99"/>
                  <a:gd name="T4" fmla="*/ 18 w 49"/>
                  <a:gd name="T5" fmla="*/ 48 h 99"/>
                  <a:gd name="T6" fmla="*/ 8 w 49"/>
                  <a:gd name="T7" fmla="*/ 4 h 99"/>
                  <a:gd name="T8" fmla="*/ 3 w 49"/>
                  <a:gd name="T9" fmla="*/ 3 h 99"/>
                  <a:gd name="T10" fmla="*/ 10 w 49"/>
                  <a:gd name="T11" fmla="*/ 45 h 99"/>
                  <a:gd name="T12" fmla="*/ 42 w 49"/>
                  <a:gd name="T13" fmla="*/ 96 h 99"/>
                  <a:gd name="T14" fmla="*/ 43 w 49"/>
                  <a:gd name="T15" fmla="*/ 97 h 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49" h="99">
                    <a:moveTo>
                      <a:pt x="43" y="97"/>
                    </a:moveTo>
                    <a:cubicBezTo>
                      <a:pt x="49" y="90"/>
                      <a:pt x="46" y="83"/>
                      <a:pt x="40" y="76"/>
                    </a:cubicBezTo>
                    <a:cubicBezTo>
                      <a:pt x="33" y="66"/>
                      <a:pt x="24" y="59"/>
                      <a:pt x="18" y="48"/>
                    </a:cubicBezTo>
                    <a:cubicBezTo>
                      <a:pt x="10" y="34"/>
                      <a:pt x="7" y="20"/>
                      <a:pt x="8" y="4"/>
                    </a:cubicBezTo>
                    <a:cubicBezTo>
                      <a:pt x="8" y="1"/>
                      <a:pt x="3" y="0"/>
                      <a:pt x="3" y="3"/>
                    </a:cubicBezTo>
                    <a:cubicBezTo>
                      <a:pt x="0" y="18"/>
                      <a:pt x="4" y="32"/>
                      <a:pt x="10" y="45"/>
                    </a:cubicBezTo>
                    <a:cubicBezTo>
                      <a:pt x="15" y="55"/>
                      <a:pt x="46" y="89"/>
                      <a:pt x="42" y="96"/>
                    </a:cubicBezTo>
                    <a:cubicBezTo>
                      <a:pt x="41" y="97"/>
                      <a:pt x="42" y="99"/>
                      <a:pt x="43" y="97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78" name="Freeform 251">
                <a:extLst>
                  <a:ext uri="{FF2B5EF4-FFF2-40B4-BE49-F238E27FC236}">
                    <a16:creationId xmlns:a16="http://schemas.microsoft.com/office/drawing/2014/main" id="{28A970C3-EC22-4A8C-8058-91247696E384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7137" y="2892"/>
                <a:ext cx="60" cy="86"/>
              </a:xfrm>
              <a:custGeom>
                <a:avLst/>
                <a:gdLst>
                  <a:gd name="T0" fmla="*/ 49 w 56"/>
                  <a:gd name="T1" fmla="*/ 1 h 81"/>
                  <a:gd name="T2" fmla="*/ 33 w 56"/>
                  <a:gd name="T3" fmla="*/ 39 h 81"/>
                  <a:gd name="T4" fmla="*/ 20 w 56"/>
                  <a:gd name="T5" fmla="*/ 49 h 81"/>
                  <a:gd name="T6" fmla="*/ 1 w 56"/>
                  <a:gd name="T7" fmla="*/ 76 h 81"/>
                  <a:gd name="T8" fmla="*/ 5 w 56"/>
                  <a:gd name="T9" fmla="*/ 78 h 81"/>
                  <a:gd name="T10" fmla="*/ 24 w 56"/>
                  <a:gd name="T11" fmla="*/ 54 h 81"/>
                  <a:gd name="T12" fmla="*/ 46 w 56"/>
                  <a:gd name="T13" fmla="*/ 37 h 81"/>
                  <a:gd name="T14" fmla="*/ 50 w 56"/>
                  <a:gd name="T15" fmla="*/ 1 h 81"/>
                  <a:gd name="T16" fmla="*/ 49 w 56"/>
                  <a:gd name="T17" fmla="*/ 1 h 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6" h="81">
                    <a:moveTo>
                      <a:pt x="49" y="1"/>
                    </a:moveTo>
                    <a:cubicBezTo>
                      <a:pt x="51" y="18"/>
                      <a:pt x="47" y="29"/>
                      <a:pt x="33" y="39"/>
                    </a:cubicBezTo>
                    <a:cubicBezTo>
                      <a:pt x="28" y="42"/>
                      <a:pt x="24" y="46"/>
                      <a:pt x="20" y="49"/>
                    </a:cubicBezTo>
                    <a:cubicBezTo>
                      <a:pt x="11" y="57"/>
                      <a:pt x="5" y="65"/>
                      <a:pt x="1" y="76"/>
                    </a:cubicBezTo>
                    <a:cubicBezTo>
                      <a:pt x="0" y="78"/>
                      <a:pt x="4" y="81"/>
                      <a:pt x="5" y="78"/>
                    </a:cubicBezTo>
                    <a:cubicBezTo>
                      <a:pt x="10" y="69"/>
                      <a:pt x="16" y="61"/>
                      <a:pt x="24" y="54"/>
                    </a:cubicBezTo>
                    <a:cubicBezTo>
                      <a:pt x="31" y="48"/>
                      <a:pt x="39" y="43"/>
                      <a:pt x="46" y="37"/>
                    </a:cubicBezTo>
                    <a:cubicBezTo>
                      <a:pt x="56" y="27"/>
                      <a:pt x="56" y="14"/>
                      <a:pt x="50" y="1"/>
                    </a:cubicBezTo>
                    <a:cubicBezTo>
                      <a:pt x="50" y="0"/>
                      <a:pt x="49" y="0"/>
                      <a:pt x="49" y="1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79" name="Freeform 252">
                <a:extLst>
                  <a:ext uri="{FF2B5EF4-FFF2-40B4-BE49-F238E27FC236}">
                    <a16:creationId xmlns:a16="http://schemas.microsoft.com/office/drawing/2014/main" id="{395E1B06-7B95-4ED1-A748-117AF39D1340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7130" y="3006"/>
                <a:ext cx="35" cy="53"/>
              </a:xfrm>
              <a:custGeom>
                <a:avLst/>
                <a:gdLst>
                  <a:gd name="T0" fmla="*/ 2 w 33"/>
                  <a:gd name="T1" fmla="*/ 1 h 50"/>
                  <a:gd name="T2" fmla="*/ 32 w 33"/>
                  <a:gd name="T3" fmla="*/ 49 h 50"/>
                  <a:gd name="T4" fmla="*/ 32 w 33"/>
                  <a:gd name="T5" fmla="*/ 48 h 50"/>
                  <a:gd name="T6" fmla="*/ 13 w 33"/>
                  <a:gd name="T7" fmla="*/ 33 h 50"/>
                  <a:gd name="T8" fmla="*/ 4 w 33"/>
                  <a:gd name="T9" fmla="*/ 2 h 50"/>
                  <a:gd name="T10" fmla="*/ 2 w 33"/>
                  <a:gd name="T11" fmla="*/ 1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3" h="50">
                    <a:moveTo>
                      <a:pt x="2" y="1"/>
                    </a:moveTo>
                    <a:cubicBezTo>
                      <a:pt x="0" y="21"/>
                      <a:pt x="11" y="45"/>
                      <a:pt x="32" y="49"/>
                    </a:cubicBezTo>
                    <a:cubicBezTo>
                      <a:pt x="33" y="50"/>
                      <a:pt x="33" y="48"/>
                      <a:pt x="32" y="48"/>
                    </a:cubicBezTo>
                    <a:cubicBezTo>
                      <a:pt x="23" y="46"/>
                      <a:pt x="17" y="41"/>
                      <a:pt x="13" y="33"/>
                    </a:cubicBezTo>
                    <a:cubicBezTo>
                      <a:pt x="9" y="24"/>
                      <a:pt x="3" y="11"/>
                      <a:pt x="4" y="2"/>
                    </a:cubicBezTo>
                    <a:cubicBezTo>
                      <a:pt x="4" y="0"/>
                      <a:pt x="2" y="0"/>
                      <a:pt x="2" y="1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80" name="Freeform 253">
                <a:extLst>
                  <a:ext uri="{FF2B5EF4-FFF2-40B4-BE49-F238E27FC236}">
                    <a16:creationId xmlns:a16="http://schemas.microsoft.com/office/drawing/2014/main" id="{7A6660FA-A2AC-4DD8-93E0-22312505E7A5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7184" y="3020"/>
                <a:ext cx="36" cy="38"/>
              </a:xfrm>
              <a:custGeom>
                <a:avLst/>
                <a:gdLst>
                  <a:gd name="T0" fmla="*/ 32 w 34"/>
                  <a:gd name="T1" fmla="*/ 0 h 36"/>
                  <a:gd name="T2" fmla="*/ 15 w 34"/>
                  <a:gd name="T3" fmla="*/ 14 h 36"/>
                  <a:gd name="T4" fmla="*/ 2 w 34"/>
                  <a:gd name="T5" fmla="*/ 32 h 36"/>
                  <a:gd name="T6" fmla="*/ 5 w 34"/>
                  <a:gd name="T7" fmla="*/ 35 h 36"/>
                  <a:gd name="T8" fmla="*/ 16 w 34"/>
                  <a:gd name="T9" fmla="*/ 19 h 36"/>
                  <a:gd name="T10" fmla="*/ 33 w 34"/>
                  <a:gd name="T11" fmla="*/ 1 h 36"/>
                  <a:gd name="T12" fmla="*/ 32 w 34"/>
                  <a:gd name="T13" fmla="*/ 0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4" h="36">
                    <a:moveTo>
                      <a:pt x="32" y="0"/>
                    </a:moveTo>
                    <a:cubicBezTo>
                      <a:pt x="26" y="5"/>
                      <a:pt x="19" y="8"/>
                      <a:pt x="15" y="14"/>
                    </a:cubicBezTo>
                    <a:cubicBezTo>
                      <a:pt x="10" y="20"/>
                      <a:pt x="7" y="27"/>
                      <a:pt x="2" y="32"/>
                    </a:cubicBezTo>
                    <a:cubicBezTo>
                      <a:pt x="0" y="33"/>
                      <a:pt x="3" y="36"/>
                      <a:pt x="5" y="35"/>
                    </a:cubicBezTo>
                    <a:cubicBezTo>
                      <a:pt x="10" y="31"/>
                      <a:pt x="13" y="25"/>
                      <a:pt x="16" y="19"/>
                    </a:cubicBezTo>
                    <a:cubicBezTo>
                      <a:pt x="21" y="12"/>
                      <a:pt x="27" y="7"/>
                      <a:pt x="33" y="1"/>
                    </a:cubicBezTo>
                    <a:cubicBezTo>
                      <a:pt x="34" y="1"/>
                      <a:pt x="33" y="0"/>
                      <a:pt x="32" y="0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81" name="Freeform 254">
                <a:extLst>
                  <a:ext uri="{FF2B5EF4-FFF2-40B4-BE49-F238E27FC236}">
                    <a16:creationId xmlns:a16="http://schemas.microsoft.com/office/drawing/2014/main" id="{4F0DD1A5-418D-4F0F-B843-5A9658C8AAB9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7205" y="3025"/>
                <a:ext cx="12" cy="21"/>
              </a:xfrm>
              <a:custGeom>
                <a:avLst/>
                <a:gdLst>
                  <a:gd name="T0" fmla="*/ 11 w 11"/>
                  <a:gd name="T1" fmla="*/ 18 h 19"/>
                  <a:gd name="T2" fmla="*/ 2 w 11"/>
                  <a:gd name="T3" fmla="*/ 0 h 19"/>
                  <a:gd name="T4" fmla="*/ 1 w 11"/>
                  <a:gd name="T5" fmla="*/ 3 h 19"/>
                  <a:gd name="T6" fmla="*/ 5 w 11"/>
                  <a:gd name="T7" fmla="*/ 9 h 19"/>
                  <a:gd name="T8" fmla="*/ 10 w 11"/>
                  <a:gd name="T9" fmla="*/ 18 h 19"/>
                  <a:gd name="T10" fmla="*/ 11 w 11"/>
                  <a:gd name="T11" fmla="*/ 18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1" h="19">
                    <a:moveTo>
                      <a:pt x="11" y="18"/>
                    </a:moveTo>
                    <a:cubicBezTo>
                      <a:pt x="8" y="12"/>
                      <a:pt x="10" y="2"/>
                      <a:pt x="2" y="0"/>
                    </a:cubicBezTo>
                    <a:cubicBezTo>
                      <a:pt x="0" y="0"/>
                      <a:pt x="0" y="2"/>
                      <a:pt x="1" y="3"/>
                    </a:cubicBezTo>
                    <a:cubicBezTo>
                      <a:pt x="2" y="5"/>
                      <a:pt x="4" y="7"/>
                      <a:pt x="5" y="9"/>
                    </a:cubicBezTo>
                    <a:cubicBezTo>
                      <a:pt x="7" y="12"/>
                      <a:pt x="8" y="15"/>
                      <a:pt x="10" y="18"/>
                    </a:cubicBezTo>
                    <a:cubicBezTo>
                      <a:pt x="10" y="19"/>
                      <a:pt x="11" y="18"/>
                      <a:pt x="11" y="18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82" name="Freeform 255">
                <a:extLst>
                  <a:ext uri="{FF2B5EF4-FFF2-40B4-BE49-F238E27FC236}">
                    <a16:creationId xmlns:a16="http://schemas.microsoft.com/office/drawing/2014/main" id="{7CD2AADD-21AF-4685-896E-6E54956BFE93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7165" y="2943"/>
                <a:ext cx="42" cy="82"/>
              </a:xfrm>
              <a:custGeom>
                <a:avLst/>
                <a:gdLst>
                  <a:gd name="T0" fmla="*/ 40 w 40"/>
                  <a:gd name="T1" fmla="*/ 78 h 78"/>
                  <a:gd name="T2" fmla="*/ 6 w 40"/>
                  <a:gd name="T3" fmla="*/ 3 h 78"/>
                  <a:gd name="T4" fmla="*/ 1 w 40"/>
                  <a:gd name="T5" fmla="*/ 3 h 78"/>
                  <a:gd name="T6" fmla="*/ 39 w 40"/>
                  <a:gd name="T7" fmla="*/ 78 h 78"/>
                  <a:gd name="T8" fmla="*/ 40 w 40"/>
                  <a:gd name="T9" fmla="*/ 78 h 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0" h="78">
                    <a:moveTo>
                      <a:pt x="40" y="78"/>
                    </a:moveTo>
                    <a:cubicBezTo>
                      <a:pt x="21" y="55"/>
                      <a:pt x="8" y="33"/>
                      <a:pt x="6" y="3"/>
                    </a:cubicBezTo>
                    <a:cubicBezTo>
                      <a:pt x="6" y="0"/>
                      <a:pt x="1" y="0"/>
                      <a:pt x="1" y="3"/>
                    </a:cubicBezTo>
                    <a:cubicBezTo>
                      <a:pt x="0" y="31"/>
                      <a:pt x="18" y="61"/>
                      <a:pt x="39" y="78"/>
                    </a:cubicBezTo>
                    <a:lnTo>
                      <a:pt x="40" y="78"/>
                    </a:ln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83" name="Freeform 256">
                <a:extLst>
                  <a:ext uri="{FF2B5EF4-FFF2-40B4-BE49-F238E27FC236}">
                    <a16:creationId xmlns:a16="http://schemas.microsoft.com/office/drawing/2014/main" id="{F5297CFE-C681-46C0-BB2B-07E238351833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7171" y="2887"/>
                <a:ext cx="0" cy="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>
                    <a:moveTo>
                      <a:pt x="0" y="0"/>
                    </a:move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84" name="Freeform 257">
                <a:extLst>
                  <a:ext uri="{FF2B5EF4-FFF2-40B4-BE49-F238E27FC236}">
                    <a16:creationId xmlns:a16="http://schemas.microsoft.com/office/drawing/2014/main" id="{6929A644-5ACF-4B8E-B695-CC7F92EB0BFB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7075" y="2847"/>
                <a:ext cx="105" cy="62"/>
              </a:xfrm>
              <a:custGeom>
                <a:avLst/>
                <a:gdLst>
                  <a:gd name="T0" fmla="*/ 97 w 99"/>
                  <a:gd name="T1" fmla="*/ 1 h 59"/>
                  <a:gd name="T2" fmla="*/ 46 w 99"/>
                  <a:gd name="T3" fmla="*/ 46 h 59"/>
                  <a:gd name="T4" fmla="*/ 4 w 99"/>
                  <a:gd name="T5" fmla="*/ 51 h 59"/>
                  <a:gd name="T6" fmla="*/ 4 w 99"/>
                  <a:gd name="T7" fmla="*/ 56 h 59"/>
                  <a:gd name="T8" fmla="*/ 52 w 99"/>
                  <a:gd name="T9" fmla="*/ 50 h 59"/>
                  <a:gd name="T10" fmla="*/ 99 w 99"/>
                  <a:gd name="T11" fmla="*/ 2 h 59"/>
                  <a:gd name="T12" fmla="*/ 97 w 99"/>
                  <a:gd name="T13" fmla="*/ 1 h 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99" h="59">
                    <a:moveTo>
                      <a:pt x="97" y="1"/>
                    </a:moveTo>
                    <a:cubicBezTo>
                      <a:pt x="86" y="24"/>
                      <a:pt x="71" y="41"/>
                      <a:pt x="46" y="46"/>
                    </a:cubicBezTo>
                    <a:cubicBezTo>
                      <a:pt x="33" y="49"/>
                      <a:pt x="18" y="52"/>
                      <a:pt x="4" y="51"/>
                    </a:cubicBezTo>
                    <a:cubicBezTo>
                      <a:pt x="1" y="51"/>
                      <a:pt x="0" y="56"/>
                      <a:pt x="4" y="56"/>
                    </a:cubicBezTo>
                    <a:cubicBezTo>
                      <a:pt x="19" y="59"/>
                      <a:pt x="38" y="54"/>
                      <a:pt x="52" y="50"/>
                    </a:cubicBezTo>
                    <a:cubicBezTo>
                      <a:pt x="76" y="44"/>
                      <a:pt x="92" y="25"/>
                      <a:pt x="99" y="2"/>
                    </a:cubicBezTo>
                    <a:cubicBezTo>
                      <a:pt x="99" y="1"/>
                      <a:pt x="98" y="0"/>
                      <a:pt x="97" y="1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85" name="Freeform 258">
                <a:extLst>
                  <a:ext uri="{FF2B5EF4-FFF2-40B4-BE49-F238E27FC236}">
                    <a16:creationId xmlns:a16="http://schemas.microsoft.com/office/drawing/2014/main" id="{A6108B8A-217E-4014-BA1B-3FD7C20719E4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7138" y="2719"/>
                <a:ext cx="44" cy="135"/>
              </a:xfrm>
              <a:custGeom>
                <a:avLst/>
                <a:gdLst>
                  <a:gd name="T0" fmla="*/ 37 w 41"/>
                  <a:gd name="T1" fmla="*/ 126 h 127"/>
                  <a:gd name="T2" fmla="*/ 28 w 41"/>
                  <a:gd name="T3" fmla="*/ 88 h 127"/>
                  <a:gd name="T4" fmla="*/ 11 w 41"/>
                  <a:gd name="T5" fmla="*/ 44 h 127"/>
                  <a:gd name="T6" fmla="*/ 16 w 41"/>
                  <a:gd name="T7" fmla="*/ 4 h 127"/>
                  <a:gd name="T8" fmla="*/ 10 w 41"/>
                  <a:gd name="T9" fmla="*/ 4 h 127"/>
                  <a:gd name="T10" fmla="*/ 8 w 41"/>
                  <a:gd name="T11" fmla="*/ 65 h 127"/>
                  <a:gd name="T12" fmla="*/ 21 w 41"/>
                  <a:gd name="T13" fmla="*/ 89 h 127"/>
                  <a:gd name="T14" fmla="*/ 32 w 41"/>
                  <a:gd name="T15" fmla="*/ 104 h 127"/>
                  <a:gd name="T16" fmla="*/ 35 w 41"/>
                  <a:gd name="T17" fmla="*/ 126 h 127"/>
                  <a:gd name="T18" fmla="*/ 37 w 41"/>
                  <a:gd name="T19" fmla="*/ 126 h 1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41" h="127">
                    <a:moveTo>
                      <a:pt x="37" y="126"/>
                    </a:moveTo>
                    <a:cubicBezTo>
                      <a:pt x="41" y="110"/>
                      <a:pt x="37" y="101"/>
                      <a:pt x="28" y="88"/>
                    </a:cubicBezTo>
                    <a:cubicBezTo>
                      <a:pt x="20" y="75"/>
                      <a:pt x="11" y="60"/>
                      <a:pt x="11" y="44"/>
                    </a:cubicBezTo>
                    <a:cubicBezTo>
                      <a:pt x="11" y="31"/>
                      <a:pt x="16" y="18"/>
                      <a:pt x="16" y="4"/>
                    </a:cubicBezTo>
                    <a:cubicBezTo>
                      <a:pt x="16" y="0"/>
                      <a:pt x="10" y="0"/>
                      <a:pt x="10" y="4"/>
                    </a:cubicBezTo>
                    <a:cubicBezTo>
                      <a:pt x="10" y="27"/>
                      <a:pt x="0" y="42"/>
                      <a:pt x="8" y="65"/>
                    </a:cubicBezTo>
                    <a:cubicBezTo>
                      <a:pt x="11" y="73"/>
                      <a:pt x="16" y="82"/>
                      <a:pt x="21" y="89"/>
                    </a:cubicBezTo>
                    <a:cubicBezTo>
                      <a:pt x="24" y="93"/>
                      <a:pt x="30" y="98"/>
                      <a:pt x="32" y="104"/>
                    </a:cubicBezTo>
                    <a:cubicBezTo>
                      <a:pt x="36" y="110"/>
                      <a:pt x="35" y="119"/>
                      <a:pt x="35" y="126"/>
                    </a:cubicBezTo>
                    <a:cubicBezTo>
                      <a:pt x="35" y="127"/>
                      <a:pt x="37" y="127"/>
                      <a:pt x="37" y="126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86" name="Freeform 259">
                <a:extLst>
                  <a:ext uri="{FF2B5EF4-FFF2-40B4-BE49-F238E27FC236}">
                    <a16:creationId xmlns:a16="http://schemas.microsoft.com/office/drawing/2014/main" id="{7649D6FE-B1B3-465D-9908-5391950BFB12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7099" y="2732"/>
                <a:ext cx="54" cy="44"/>
              </a:xfrm>
              <a:custGeom>
                <a:avLst/>
                <a:gdLst>
                  <a:gd name="T0" fmla="*/ 48 w 51"/>
                  <a:gd name="T1" fmla="*/ 1 h 41"/>
                  <a:gd name="T2" fmla="*/ 30 w 51"/>
                  <a:gd name="T3" fmla="*/ 20 h 41"/>
                  <a:gd name="T4" fmla="*/ 2 w 51"/>
                  <a:gd name="T5" fmla="*/ 36 h 41"/>
                  <a:gd name="T6" fmla="*/ 3 w 51"/>
                  <a:gd name="T7" fmla="*/ 40 h 41"/>
                  <a:gd name="T8" fmla="*/ 34 w 51"/>
                  <a:gd name="T9" fmla="*/ 23 h 41"/>
                  <a:gd name="T10" fmla="*/ 50 w 51"/>
                  <a:gd name="T11" fmla="*/ 2 h 41"/>
                  <a:gd name="T12" fmla="*/ 48 w 51"/>
                  <a:gd name="T13" fmla="*/ 1 h 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51" h="41">
                    <a:moveTo>
                      <a:pt x="48" y="1"/>
                    </a:moveTo>
                    <a:cubicBezTo>
                      <a:pt x="45" y="10"/>
                      <a:pt x="38" y="16"/>
                      <a:pt x="30" y="20"/>
                    </a:cubicBezTo>
                    <a:cubicBezTo>
                      <a:pt x="21" y="26"/>
                      <a:pt x="12" y="32"/>
                      <a:pt x="2" y="36"/>
                    </a:cubicBezTo>
                    <a:cubicBezTo>
                      <a:pt x="0" y="37"/>
                      <a:pt x="1" y="41"/>
                      <a:pt x="3" y="40"/>
                    </a:cubicBezTo>
                    <a:cubicBezTo>
                      <a:pt x="14" y="36"/>
                      <a:pt x="24" y="29"/>
                      <a:pt x="34" y="23"/>
                    </a:cubicBezTo>
                    <a:cubicBezTo>
                      <a:pt x="41" y="18"/>
                      <a:pt x="48" y="10"/>
                      <a:pt x="50" y="2"/>
                    </a:cubicBezTo>
                    <a:cubicBezTo>
                      <a:pt x="51" y="1"/>
                      <a:pt x="49" y="0"/>
                      <a:pt x="48" y="1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87" name="Freeform 260">
                <a:extLst>
                  <a:ext uri="{FF2B5EF4-FFF2-40B4-BE49-F238E27FC236}">
                    <a16:creationId xmlns:a16="http://schemas.microsoft.com/office/drawing/2014/main" id="{C02E639F-8042-4C5D-8A67-FF80307C6EF0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7065" y="2801"/>
                <a:ext cx="26" cy="83"/>
              </a:xfrm>
              <a:custGeom>
                <a:avLst/>
                <a:gdLst>
                  <a:gd name="T0" fmla="*/ 6 w 24"/>
                  <a:gd name="T1" fmla="*/ 1 h 78"/>
                  <a:gd name="T2" fmla="*/ 20 w 24"/>
                  <a:gd name="T3" fmla="*/ 76 h 78"/>
                  <a:gd name="T4" fmla="*/ 23 w 24"/>
                  <a:gd name="T5" fmla="*/ 75 h 78"/>
                  <a:gd name="T6" fmla="*/ 9 w 24"/>
                  <a:gd name="T7" fmla="*/ 43 h 78"/>
                  <a:gd name="T8" fmla="*/ 9 w 24"/>
                  <a:gd name="T9" fmla="*/ 2 h 78"/>
                  <a:gd name="T10" fmla="*/ 6 w 24"/>
                  <a:gd name="T11" fmla="*/ 1 h 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4" h="78">
                    <a:moveTo>
                      <a:pt x="6" y="1"/>
                    </a:moveTo>
                    <a:cubicBezTo>
                      <a:pt x="0" y="29"/>
                      <a:pt x="6" y="52"/>
                      <a:pt x="20" y="76"/>
                    </a:cubicBezTo>
                    <a:cubicBezTo>
                      <a:pt x="21" y="78"/>
                      <a:pt x="24" y="77"/>
                      <a:pt x="23" y="75"/>
                    </a:cubicBezTo>
                    <a:cubicBezTo>
                      <a:pt x="19" y="64"/>
                      <a:pt x="12" y="54"/>
                      <a:pt x="9" y="43"/>
                    </a:cubicBezTo>
                    <a:cubicBezTo>
                      <a:pt x="5" y="29"/>
                      <a:pt x="6" y="16"/>
                      <a:pt x="9" y="2"/>
                    </a:cubicBezTo>
                    <a:cubicBezTo>
                      <a:pt x="9" y="0"/>
                      <a:pt x="7" y="0"/>
                      <a:pt x="6" y="1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88" name="Freeform 261">
                <a:extLst>
                  <a:ext uri="{FF2B5EF4-FFF2-40B4-BE49-F238E27FC236}">
                    <a16:creationId xmlns:a16="http://schemas.microsoft.com/office/drawing/2014/main" id="{016F04EA-61E6-4EE9-A08D-3E47286EA3EC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7133" y="2740"/>
                <a:ext cx="5" cy="13"/>
              </a:xfrm>
              <a:custGeom>
                <a:avLst/>
                <a:gdLst>
                  <a:gd name="T0" fmla="*/ 1 w 5"/>
                  <a:gd name="T1" fmla="*/ 3 h 13"/>
                  <a:gd name="T2" fmla="*/ 1 w 5"/>
                  <a:gd name="T3" fmla="*/ 11 h 13"/>
                  <a:gd name="T4" fmla="*/ 4 w 5"/>
                  <a:gd name="T5" fmla="*/ 11 h 13"/>
                  <a:gd name="T6" fmla="*/ 4 w 5"/>
                  <a:gd name="T7" fmla="*/ 2 h 13"/>
                  <a:gd name="T8" fmla="*/ 1 w 5"/>
                  <a:gd name="T9" fmla="*/ 3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" h="13">
                    <a:moveTo>
                      <a:pt x="1" y="3"/>
                    </a:moveTo>
                    <a:cubicBezTo>
                      <a:pt x="1" y="6"/>
                      <a:pt x="0" y="9"/>
                      <a:pt x="1" y="11"/>
                    </a:cubicBezTo>
                    <a:cubicBezTo>
                      <a:pt x="2" y="13"/>
                      <a:pt x="4" y="12"/>
                      <a:pt x="4" y="11"/>
                    </a:cubicBezTo>
                    <a:cubicBezTo>
                      <a:pt x="5" y="8"/>
                      <a:pt x="5" y="5"/>
                      <a:pt x="4" y="2"/>
                    </a:cubicBezTo>
                    <a:cubicBezTo>
                      <a:pt x="4" y="0"/>
                      <a:pt x="0" y="1"/>
                      <a:pt x="1" y="3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89" name="Freeform 262">
                <a:extLst>
                  <a:ext uri="{FF2B5EF4-FFF2-40B4-BE49-F238E27FC236}">
                    <a16:creationId xmlns:a16="http://schemas.microsoft.com/office/drawing/2014/main" id="{4E6E45DA-9F58-4483-A8E0-E15DD9087EE2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7130" y="2757"/>
                <a:ext cx="7" cy="22"/>
              </a:xfrm>
              <a:custGeom>
                <a:avLst/>
                <a:gdLst>
                  <a:gd name="T0" fmla="*/ 5 w 7"/>
                  <a:gd name="T1" fmla="*/ 0 h 21"/>
                  <a:gd name="T2" fmla="*/ 0 w 7"/>
                  <a:gd name="T3" fmla="*/ 19 h 21"/>
                  <a:gd name="T4" fmla="*/ 2 w 7"/>
                  <a:gd name="T5" fmla="*/ 19 h 21"/>
                  <a:gd name="T6" fmla="*/ 6 w 7"/>
                  <a:gd name="T7" fmla="*/ 1 h 21"/>
                  <a:gd name="T8" fmla="*/ 5 w 7"/>
                  <a:gd name="T9" fmla="*/ 0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21">
                    <a:moveTo>
                      <a:pt x="5" y="0"/>
                    </a:moveTo>
                    <a:cubicBezTo>
                      <a:pt x="2" y="6"/>
                      <a:pt x="1" y="12"/>
                      <a:pt x="0" y="19"/>
                    </a:cubicBezTo>
                    <a:cubicBezTo>
                      <a:pt x="0" y="20"/>
                      <a:pt x="2" y="21"/>
                      <a:pt x="2" y="19"/>
                    </a:cubicBezTo>
                    <a:cubicBezTo>
                      <a:pt x="4" y="13"/>
                      <a:pt x="4" y="7"/>
                      <a:pt x="6" y="1"/>
                    </a:cubicBezTo>
                    <a:cubicBezTo>
                      <a:pt x="7" y="0"/>
                      <a:pt x="6" y="0"/>
                      <a:pt x="5" y="0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90" name="Freeform 263">
                <a:extLst>
                  <a:ext uri="{FF2B5EF4-FFF2-40B4-BE49-F238E27FC236}">
                    <a16:creationId xmlns:a16="http://schemas.microsoft.com/office/drawing/2014/main" id="{AE85824A-08D2-47BE-AA3B-1125C1162C0B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7129" y="2793"/>
                <a:ext cx="6" cy="31"/>
              </a:xfrm>
              <a:custGeom>
                <a:avLst/>
                <a:gdLst>
                  <a:gd name="T0" fmla="*/ 1 w 6"/>
                  <a:gd name="T1" fmla="*/ 1 h 30"/>
                  <a:gd name="T2" fmla="*/ 5 w 6"/>
                  <a:gd name="T3" fmla="*/ 29 h 30"/>
                  <a:gd name="T4" fmla="*/ 6 w 6"/>
                  <a:gd name="T5" fmla="*/ 29 h 30"/>
                  <a:gd name="T6" fmla="*/ 3 w 6"/>
                  <a:gd name="T7" fmla="*/ 16 h 30"/>
                  <a:gd name="T8" fmla="*/ 2 w 6"/>
                  <a:gd name="T9" fmla="*/ 1 h 30"/>
                  <a:gd name="T10" fmla="*/ 1 w 6"/>
                  <a:gd name="T11" fmla="*/ 1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6" h="30">
                    <a:moveTo>
                      <a:pt x="1" y="1"/>
                    </a:moveTo>
                    <a:cubicBezTo>
                      <a:pt x="0" y="11"/>
                      <a:pt x="1" y="20"/>
                      <a:pt x="5" y="29"/>
                    </a:cubicBezTo>
                    <a:cubicBezTo>
                      <a:pt x="5" y="30"/>
                      <a:pt x="6" y="30"/>
                      <a:pt x="6" y="29"/>
                    </a:cubicBezTo>
                    <a:cubicBezTo>
                      <a:pt x="5" y="25"/>
                      <a:pt x="4" y="20"/>
                      <a:pt x="3" y="16"/>
                    </a:cubicBezTo>
                    <a:cubicBezTo>
                      <a:pt x="2" y="11"/>
                      <a:pt x="1" y="6"/>
                      <a:pt x="2" y="1"/>
                    </a:cubicBezTo>
                    <a:cubicBezTo>
                      <a:pt x="2" y="0"/>
                      <a:pt x="1" y="0"/>
                      <a:pt x="1" y="1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91" name="Freeform 264">
                <a:extLst>
                  <a:ext uri="{FF2B5EF4-FFF2-40B4-BE49-F238E27FC236}">
                    <a16:creationId xmlns:a16="http://schemas.microsoft.com/office/drawing/2014/main" id="{F37CF73A-9C5F-46CA-9E26-0C6FF0DC430F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7141" y="2836"/>
                <a:ext cx="12" cy="16"/>
              </a:xfrm>
              <a:custGeom>
                <a:avLst/>
                <a:gdLst>
                  <a:gd name="T0" fmla="*/ 0 w 12"/>
                  <a:gd name="T1" fmla="*/ 1 h 15"/>
                  <a:gd name="T2" fmla="*/ 9 w 12"/>
                  <a:gd name="T3" fmla="*/ 14 h 15"/>
                  <a:gd name="T4" fmla="*/ 11 w 12"/>
                  <a:gd name="T5" fmla="*/ 13 h 15"/>
                  <a:gd name="T6" fmla="*/ 1 w 12"/>
                  <a:gd name="T7" fmla="*/ 0 h 15"/>
                  <a:gd name="T8" fmla="*/ 0 w 12"/>
                  <a:gd name="T9" fmla="*/ 1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" h="15">
                    <a:moveTo>
                      <a:pt x="0" y="1"/>
                    </a:moveTo>
                    <a:cubicBezTo>
                      <a:pt x="3" y="6"/>
                      <a:pt x="5" y="11"/>
                      <a:pt x="9" y="14"/>
                    </a:cubicBezTo>
                    <a:cubicBezTo>
                      <a:pt x="10" y="15"/>
                      <a:pt x="12" y="14"/>
                      <a:pt x="11" y="13"/>
                    </a:cubicBezTo>
                    <a:cubicBezTo>
                      <a:pt x="7" y="9"/>
                      <a:pt x="4" y="5"/>
                      <a:pt x="1" y="0"/>
                    </a:cubicBezTo>
                    <a:cubicBezTo>
                      <a:pt x="1" y="0"/>
                      <a:pt x="0" y="0"/>
                      <a:pt x="0" y="1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92" name="Freeform 265">
                <a:extLst>
                  <a:ext uri="{FF2B5EF4-FFF2-40B4-BE49-F238E27FC236}">
                    <a16:creationId xmlns:a16="http://schemas.microsoft.com/office/drawing/2014/main" id="{BD1DECBF-1B80-48F3-8F39-DB6810196C96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7155" y="2854"/>
                <a:ext cx="14" cy="22"/>
              </a:xfrm>
              <a:custGeom>
                <a:avLst/>
                <a:gdLst>
                  <a:gd name="T0" fmla="*/ 0 w 13"/>
                  <a:gd name="T1" fmla="*/ 0 h 21"/>
                  <a:gd name="T2" fmla="*/ 2 w 13"/>
                  <a:gd name="T3" fmla="*/ 8 h 21"/>
                  <a:gd name="T4" fmla="*/ 4 w 13"/>
                  <a:gd name="T5" fmla="*/ 13 h 21"/>
                  <a:gd name="T6" fmla="*/ 3 w 13"/>
                  <a:gd name="T7" fmla="*/ 18 h 21"/>
                  <a:gd name="T8" fmla="*/ 8 w 13"/>
                  <a:gd name="T9" fmla="*/ 19 h 21"/>
                  <a:gd name="T10" fmla="*/ 0 w 13"/>
                  <a:gd name="T11" fmla="*/ 0 h 21"/>
                  <a:gd name="T12" fmla="*/ 0 w 13"/>
                  <a:gd name="T13" fmla="*/ 0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3" h="21">
                    <a:moveTo>
                      <a:pt x="0" y="0"/>
                    </a:moveTo>
                    <a:cubicBezTo>
                      <a:pt x="0" y="3"/>
                      <a:pt x="1" y="6"/>
                      <a:pt x="2" y="8"/>
                    </a:cubicBezTo>
                    <a:cubicBezTo>
                      <a:pt x="3" y="9"/>
                      <a:pt x="4" y="11"/>
                      <a:pt x="4" y="13"/>
                    </a:cubicBezTo>
                    <a:cubicBezTo>
                      <a:pt x="4" y="14"/>
                      <a:pt x="3" y="16"/>
                      <a:pt x="3" y="18"/>
                    </a:cubicBezTo>
                    <a:cubicBezTo>
                      <a:pt x="3" y="20"/>
                      <a:pt x="7" y="21"/>
                      <a:pt x="8" y="19"/>
                    </a:cubicBezTo>
                    <a:cubicBezTo>
                      <a:pt x="13" y="12"/>
                      <a:pt x="3" y="6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93" name="Freeform 266">
                <a:extLst>
                  <a:ext uri="{FF2B5EF4-FFF2-40B4-BE49-F238E27FC236}">
                    <a16:creationId xmlns:a16="http://schemas.microsoft.com/office/drawing/2014/main" id="{600C3146-5618-4417-9308-364EC3CE111F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7055" y="2587"/>
                <a:ext cx="44" cy="101"/>
              </a:xfrm>
              <a:custGeom>
                <a:avLst/>
                <a:gdLst>
                  <a:gd name="T0" fmla="*/ 39 w 42"/>
                  <a:gd name="T1" fmla="*/ 1 h 95"/>
                  <a:gd name="T2" fmla="*/ 23 w 42"/>
                  <a:gd name="T3" fmla="*/ 93 h 95"/>
                  <a:gd name="T4" fmla="*/ 28 w 42"/>
                  <a:gd name="T5" fmla="*/ 90 h 95"/>
                  <a:gd name="T6" fmla="*/ 41 w 42"/>
                  <a:gd name="T7" fmla="*/ 3 h 95"/>
                  <a:gd name="T8" fmla="*/ 39 w 42"/>
                  <a:gd name="T9" fmla="*/ 1 h 9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2" h="95">
                    <a:moveTo>
                      <a:pt x="39" y="1"/>
                    </a:moveTo>
                    <a:cubicBezTo>
                      <a:pt x="21" y="24"/>
                      <a:pt x="0" y="67"/>
                      <a:pt x="23" y="93"/>
                    </a:cubicBezTo>
                    <a:cubicBezTo>
                      <a:pt x="25" y="95"/>
                      <a:pt x="29" y="93"/>
                      <a:pt x="28" y="90"/>
                    </a:cubicBezTo>
                    <a:cubicBezTo>
                      <a:pt x="13" y="61"/>
                      <a:pt x="23" y="28"/>
                      <a:pt x="41" y="3"/>
                    </a:cubicBezTo>
                    <a:cubicBezTo>
                      <a:pt x="42" y="2"/>
                      <a:pt x="40" y="0"/>
                      <a:pt x="39" y="1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94" name="Freeform 267">
                <a:extLst>
                  <a:ext uri="{FF2B5EF4-FFF2-40B4-BE49-F238E27FC236}">
                    <a16:creationId xmlns:a16="http://schemas.microsoft.com/office/drawing/2014/main" id="{813A20FE-CEA3-457B-AFE1-190E9595387D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749" y="2518"/>
                <a:ext cx="113" cy="247"/>
              </a:xfrm>
              <a:custGeom>
                <a:avLst/>
                <a:gdLst>
                  <a:gd name="T0" fmla="*/ 4 w 107"/>
                  <a:gd name="T1" fmla="*/ 2 h 233"/>
                  <a:gd name="T2" fmla="*/ 14 w 107"/>
                  <a:gd name="T3" fmla="*/ 22 h 233"/>
                  <a:gd name="T4" fmla="*/ 82 w 107"/>
                  <a:gd name="T5" fmla="*/ 64 h 233"/>
                  <a:gd name="T6" fmla="*/ 93 w 107"/>
                  <a:gd name="T7" fmla="*/ 230 h 233"/>
                  <a:gd name="T8" fmla="*/ 97 w 107"/>
                  <a:gd name="T9" fmla="*/ 230 h 233"/>
                  <a:gd name="T10" fmla="*/ 100 w 107"/>
                  <a:gd name="T11" fmla="*/ 143 h 233"/>
                  <a:gd name="T12" fmla="*/ 94 w 107"/>
                  <a:gd name="T13" fmla="*/ 78 h 233"/>
                  <a:gd name="T14" fmla="*/ 68 w 107"/>
                  <a:gd name="T15" fmla="*/ 33 h 233"/>
                  <a:gd name="T16" fmla="*/ 7 w 107"/>
                  <a:gd name="T17" fmla="*/ 2 h 233"/>
                  <a:gd name="T18" fmla="*/ 4 w 107"/>
                  <a:gd name="T19" fmla="*/ 2 h 2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07" h="233">
                    <a:moveTo>
                      <a:pt x="4" y="2"/>
                    </a:moveTo>
                    <a:cubicBezTo>
                      <a:pt x="0" y="13"/>
                      <a:pt x="3" y="18"/>
                      <a:pt x="14" y="22"/>
                    </a:cubicBezTo>
                    <a:cubicBezTo>
                      <a:pt x="43" y="33"/>
                      <a:pt x="67" y="30"/>
                      <a:pt x="82" y="64"/>
                    </a:cubicBezTo>
                    <a:cubicBezTo>
                      <a:pt x="107" y="118"/>
                      <a:pt x="89" y="174"/>
                      <a:pt x="93" y="230"/>
                    </a:cubicBezTo>
                    <a:cubicBezTo>
                      <a:pt x="93" y="233"/>
                      <a:pt x="97" y="232"/>
                      <a:pt x="97" y="230"/>
                    </a:cubicBezTo>
                    <a:cubicBezTo>
                      <a:pt x="99" y="201"/>
                      <a:pt x="99" y="172"/>
                      <a:pt x="100" y="143"/>
                    </a:cubicBezTo>
                    <a:cubicBezTo>
                      <a:pt x="101" y="121"/>
                      <a:pt x="101" y="98"/>
                      <a:pt x="94" y="78"/>
                    </a:cubicBezTo>
                    <a:cubicBezTo>
                      <a:pt x="89" y="63"/>
                      <a:pt x="81" y="43"/>
                      <a:pt x="68" y="33"/>
                    </a:cubicBezTo>
                    <a:cubicBezTo>
                      <a:pt x="58" y="25"/>
                      <a:pt x="4" y="19"/>
                      <a:pt x="7" y="2"/>
                    </a:cubicBezTo>
                    <a:cubicBezTo>
                      <a:pt x="7" y="1"/>
                      <a:pt x="5" y="0"/>
                      <a:pt x="4" y="2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95" name="Freeform 268">
                <a:extLst>
                  <a:ext uri="{FF2B5EF4-FFF2-40B4-BE49-F238E27FC236}">
                    <a16:creationId xmlns:a16="http://schemas.microsoft.com/office/drawing/2014/main" id="{DC2258B1-ED33-4378-A446-1E42B6D9E091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864" y="2848"/>
                <a:ext cx="67" cy="174"/>
              </a:xfrm>
              <a:custGeom>
                <a:avLst/>
                <a:gdLst>
                  <a:gd name="T0" fmla="*/ 0 w 63"/>
                  <a:gd name="T1" fmla="*/ 1 h 165"/>
                  <a:gd name="T2" fmla="*/ 61 w 63"/>
                  <a:gd name="T3" fmla="*/ 164 h 165"/>
                  <a:gd name="T4" fmla="*/ 62 w 63"/>
                  <a:gd name="T5" fmla="*/ 164 h 165"/>
                  <a:gd name="T6" fmla="*/ 27 w 63"/>
                  <a:gd name="T7" fmla="*/ 79 h 165"/>
                  <a:gd name="T8" fmla="*/ 1 w 63"/>
                  <a:gd name="T9" fmla="*/ 0 h 165"/>
                  <a:gd name="T10" fmla="*/ 0 w 63"/>
                  <a:gd name="T11" fmla="*/ 1 h 1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63" h="165">
                    <a:moveTo>
                      <a:pt x="0" y="1"/>
                    </a:moveTo>
                    <a:cubicBezTo>
                      <a:pt x="14" y="58"/>
                      <a:pt x="33" y="113"/>
                      <a:pt x="61" y="164"/>
                    </a:cubicBezTo>
                    <a:cubicBezTo>
                      <a:pt x="61" y="165"/>
                      <a:pt x="63" y="165"/>
                      <a:pt x="62" y="164"/>
                    </a:cubicBezTo>
                    <a:cubicBezTo>
                      <a:pt x="51" y="135"/>
                      <a:pt x="37" y="108"/>
                      <a:pt x="27" y="79"/>
                    </a:cubicBezTo>
                    <a:cubicBezTo>
                      <a:pt x="17" y="53"/>
                      <a:pt x="10" y="27"/>
                      <a:pt x="1" y="0"/>
                    </a:cubicBezTo>
                    <a:cubicBezTo>
                      <a:pt x="1" y="0"/>
                      <a:pt x="0" y="0"/>
                      <a:pt x="0" y="1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96" name="Freeform 269">
                <a:extLst>
                  <a:ext uri="{FF2B5EF4-FFF2-40B4-BE49-F238E27FC236}">
                    <a16:creationId xmlns:a16="http://schemas.microsoft.com/office/drawing/2014/main" id="{1303FF40-2DC3-4479-AC1C-F89FD077D629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769" y="2536"/>
                <a:ext cx="213" cy="600"/>
              </a:xfrm>
              <a:custGeom>
                <a:avLst/>
                <a:gdLst>
                  <a:gd name="T0" fmla="*/ 0 w 201"/>
                  <a:gd name="T1" fmla="*/ 2 h 566"/>
                  <a:gd name="T2" fmla="*/ 28 w 201"/>
                  <a:gd name="T3" fmla="*/ 38 h 566"/>
                  <a:gd name="T4" fmla="*/ 51 w 201"/>
                  <a:gd name="T5" fmla="*/ 145 h 566"/>
                  <a:gd name="T6" fmla="*/ 69 w 201"/>
                  <a:gd name="T7" fmla="*/ 304 h 566"/>
                  <a:gd name="T8" fmla="*/ 114 w 201"/>
                  <a:gd name="T9" fmla="*/ 444 h 566"/>
                  <a:gd name="T10" fmla="*/ 196 w 201"/>
                  <a:gd name="T11" fmla="*/ 564 h 566"/>
                  <a:gd name="T12" fmla="*/ 199 w 201"/>
                  <a:gd name="T13" fmla="*/ 561 h 566"/>
                  <a:gd name="T14" fmla="*/ 150 w 201"/>
                  <a:gd name="T15" fmla="*/ 504 h 566"/>
                  <a:gd name="T16" fmla="*/ 112 w 201"/>
                  <a:gd name="T17" fmla="*/ 422 h 566"/>
                  <a:gd name="T18" fmla="*/ 71 w 201"/>
                  <a:gd name="T19" fmla="*/ 276 h 566"/>
                  <a:gd name="T20" fmla="*/ 57 w 201"/>
                  <a:gd name="T21" fmla="*/ 118 h 566"/>
                  <a:gd name="T22" fmla="*/ 41 w 201"/>
                  <a:gd name="T23" fmla="*/ 52 h 566"/>
                  <a:gd name="T24" fmla="*/ 3 w 201"/>
                  <a:gd name="T25" fmla="*/ 1 h 566"/>
                  <a:gd name="T26" fmla="*/ 0 w 201"/>
                  <a:gd name="T27" fmla="*/ 2 h 5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201" h="566">
                    <a:moveTo>
                      <a:pt x="0" y="2"/>
                    </a:moveTo>
                    <a:cubicBezTo>
                      <a:pt x="4" y="18"/>
                      <a:pt x="18" y="25"/>
                      <a:pt x="28" y="38"/>
                    </a:cubicBezTo>
                    <a:cubicBezTo>
                      <a:pt x="49" y="66"/>
                      <a:pt x="50" y="110"/>
                      <a:pt x="51" y="145"/>
                    </a:cubicBezTo>
                    <a:cubicBezTo>
                      <a:pt x="53" y="199"/>
                      <a:pt x="59" y="251"/>
                      <a:pt x="69" y="304"/>
                    </a:cubicBezTo>
                    <a:cubicBezTo>
                      <a:pt x="78" y="353"/>
                      <a:pt x="95" y="399"/>
                      <a:pt x="114" y="444"/>
                    </a:cubicBezTo>
                    <a:cubicBezTo>
                      <a:pt x="131" y="488"/>
                      <a:pt x="157" y="536"/>
                      <a:pt x="196" y="564"/>
                    </a:cubicBezTo>
                    <a:cubicBezTo>
                      <a:pt x="199" y="566"/>
                      <a:pt x="201" y="563"/>
                      <a:pt x="199" y="561"/>
                    </a:cubicBezTo>
                    <a:cubicBezTo>
                      <a:pt x="181" y="544"/>
                      <a:pt x="165" y="525"/>
                      <a:pt x="150" y="504"/>
                    </a:cubicBezTo>
                    <a:cubicBezTo>
                      <a:pt x="133" y="479"/>
                      <a:pt x="123" y="451"/>
                      <a:pt x="112" y="422"/>
                    </a:cubicBezTo>
                    <a:cubicBezTo>
                      <a:pt x="94" y="374"/>
                      <a:pt x="80" y="326"/>
                      <a:pt x="71" y="276"/>
                    </a:cubicBezTo>
                    <a:cubicBezTo>
                      <a:pt x="62" y="223"/>
                      <a:pt x="61" y="171"/>
                      <a:pt x="57" y="118"/>
                    </a:cubicBezTo>
                    <a:cubicBezTo>
                      <a:pt x="55" y="97"/>
                      <a:pt x="52" y="72"/>
                      <a:pt x="41" y="52"/>
                    </a:cubicBezTo>
                    <a:cubicBezTo>
                      <a:pt x="32" y="34"/>
                      <a:pt x="9" y="21"/>
                      <a:pt x="3" y="1"/>
                    </a:cubicBezTo>
                    <a:cubicBezTo>
                      <a:pt x="3" y="0"/>
                      <a:pt x="0" y="0"/>
                      <a:pt x="0" y="2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97" name="Freeform 270">
                <a:extLst>
                  <a:ext uri="{FF2B5EF4-FFF2-40B4-BE49-F238E27FC236}">
                    <a16:creationId xmlns:a16="http://schemas.microsoft.com/office/drawing/2014/main" id="{1F22E0C0-3085-4555-8C4A-1A41CE337F5C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978" y="3030"/>
                <a:ext cx="283" cy="144"/>
              </a:xfrm>
              <a:custGeom>
                <a:avLst/>
                <a:gdLst>
                  <a:gd name="T0" fmla="*/ 256 w 267"/>
                  <a:gd name="T1" fmla="*/ 1 h 136"/>
                  <a:gd name="T2" fmla="*/ 254 w 267"/>
                  <a:gd name="T3" fmla="*/ 40 h 136"/>
                  <a:gd name="T4" fmla="*/ 230 w 267"/>
                  <a:gd name="T5" fmla="*/ 69 h 136"/>
                  <a:gd name="T6" fmla="*/ 160 w 267"/>
                  <a:gd name="T7" fmla="*/ 103 h 136"/>
                  <a:gd name="T8" fmla="*/ 6 w 267"/>
                  <a:gd name="T9" fmla="*/ 96 h 136"/>
                  <a:gd name="T10" fmla="*/ 3 w 267"/>
                  <a:gd name="T11" fmla="*/ 101 h 136"/>
                  <a:gd name="T12" fmla="*/ 186 w 267"/>
                  <a:gd name="T13" fmla="*/ 102 h 136"/>
                  <a:gd name="T14" fmla="*/ 251 w 267"/>
                  <a:gd name="T15" fmla="*/ 57 h 136"/>
                  <a:gd name="T16" fmla="*/ 266 w 267"/>
                  <a:gd name="T17" fmla="*/ 26 h 136"/>
                  <a:gd name="T18" fmla="*/ 258 w 267"/>
                  <a:gd name="T19" fmla="*/ 1 h 136"/>
                  <a:gd name="T20" fmla="*/ 256 w 267"/>
                  <a:gd name="T21" fmla="*/ 1 h 1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267" h="136">
                    <a:moveTo>
                      <a:pt x="256" y="1"/>
                    </a:moveTo>
                    <a:cubicBezTo>
                      <a:pt x="256" y="16"/>
                      <a:pt x="262" y="25"/>
                      <a:pt x="254" y="40"/>
                    </a:cubicBezTo>
                    <a:cubicBezTo>
                      <a:pt x="249" y="52"/>
                      <a:pt x="239" y="60"/>
                      <a:pt x="230" y="69"/>
                    </a:cubicBezTo>
                    <a:cubicBezTo>
                      <a:pt x="211" y="88"/>
                      <a:pt x="185" y="96"/>
                      <a:pt x="160" y="103"/>
                    </a:cubicBezTo>
                    <a:cubicBezTo>
                      <a:pt x="110" y="116"/>
                      <a:pt x="53" y="123"/>
                      <a:pt x="6" y="96"/>
                    </a:cubicBezTo>
                    <a:cubicBezTo>
                      <a:pt x="4" y="95"/>
                      <a:pt x="0" y="99"/>
                      <a:pt x="3" y="101"/>
                    </a:cubicBezTo>
                    <a:cubicBezTo>
                      <a:pt x="56" y="136"/>
                      <a:pt x="130" y="122"/>
                      <a:pt x="186" y="102"/>
                    </a:cubicBezTo>
                    <a:cubicBezTo>
                      <a:pt x="213" y="92"/>
                      <a:pt x="232" y="79"/>
                      <a:pt x="251" y="57"/>
                    </a:cubicBezTo>
                    <a:cubicBezTo>
                      <a:pt x="259" y="48"/>
                      <a:pt x="265" y="38"/>
                      <a:pt x="266" y="26"/>
                    </a:cubicBezTo>
                    <a:cubicBezTo>
                      <a:pt x="267" y="15"/>
                      <a:pt x="262" y="11"/>
                      <a:pt x="258" y="1"/>
                    </a:cubicBezTo>
                    <a:cubicBezTo>
                      <a:pt x="258" y="0"/>
                      <a:pt x="256" y="0"/>
                      <a:pt x="256" y="1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98" name="Freeform 271">
                <a:extLst>
                  <a:ext uri="{FF2B5EF4-FFF2-40B4-BE49-F238E27FC236}">
                    <a16:creationId xmlns:a16="http://schemas.microsoft.com/office/drawing/2014/main" id="{F8C1B3EA-526C-4835-A726-6EF3DCFC74CE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960" y="3085"/>
                <a:ext cx="48" cy="37"/>
              </a:xfrm>
              <a:custGeom>
                <a:avLst/>
                <a:gdLst>
                  <a:gd name="T0" fmla="*/ 0 w 45"/>
                  <a:gd name="T1" fmla="*/ 2 h 35"/>
                  <a:gd name="T2" fmla="*/ 43 w 45"/>
                  <a:gd name="T3" fmla="*/ 34 h 35"/>
                  <a:gd name="T4" fmla="*/ 44 w 45"/>
                  <a:gd name="T5" fmla="*/ 32 h 35"/>
                  <a:gd name="T6" fmla="*/ 2 w 45"/>
                  <a:gd name="T7" fmla="*/ 1 h 35"/>
                  <a:gd name="T8" fmla="*/ 0 w 45"/>
                  <a:gd name="T9" fmla="*/ 2 h 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5" h="35">
                    <a:moveTo>
                      <a:pt x="0" y="2"/>
                    </a:moveTo>
                    <a:cubicBezTo>
                      <a:pt x="8" y="18"/>
                      <a:pt x="28" y="28"/>
                      <a:pt x="43" y="34"/>
                    </a:cubicBezTo>
                    <a:cubicBezTo>
                      <a:pt x="44" y="35"/>
                      <a:pt x="45" y="33"/>
                      <a:pt x="44" y="32"/>
                    </a:cubicBezTo>
                    <a:cubicBezTo>
                      <a:pt x="30" y="25"/>
                      <a:pt x="10" y="16"/>
                      <a:pt x="2" y="1"/>
                    </a:cubicBezTo>
                    <a:cubicBezTo>
                      <a:pt x="2" y="0"/>
                      <a:pt x="0" y="1"/>
                      <a:pt x="0" y="2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99" name="Freeform 272">
                <a:extLst>
                  <a:ext uri="{FF2B5EF4-FFF2-40B4-BE49-F238E27FC236}">
                    <a16:creationId xmlns:a16="http://schemas.microsoft.com/office/drawing/2014/main" id="{1882E5E3-0569-4542-996D-CABD163E2F28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7239" y="3075"/>
                <a:ext cx="110" cy="56"/>
              </a:xfrm>
              <a:custGeom>
                <a:avLst/>
                <a:gdLst>
                  <a:gd name="T0" fmla="*/ 7 w 104"/>
                  <a:gd name="T1" fmla="*/ 16 h 53"/>
                  <a:gd name="T2" fmla="*/ 100 w 104"/>
                  <a:gd name="T3" fmla="*/ 52 h 53"/>
                  <a:gd name="T4" fmla="*/ 102 w 104"/>
                  <a:gd name="T5" fmla="*/ 47 h 53"/>
                  <a:gd name="T6" fmla="*/ 5 w 104"/>
                  <a:gd name="T7" fmla="*/ 8 h 53"/>
                  <a:gd name="T8" fmla="*/ 7 w 104"/>
                  <a:gd name="T9" fmla="*/ 16 h 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4" h="53">
                    <a:moveTo>
                      <a:pt x="7" y="16"/>
                    </a:moveTo>
                    <a:cubicBezTo>
                      <a:pt x="50" y="9"/>
                      <a:pt x="66" y="36"/>
                      <a:pt x="100" y="52"/>
                    </a:cubicBezTo>
                    <a:cubicBezTo>
                      <a:pt x="102" y="53"/>
                      <a:pt x="104" y="49"/>
                      <a:pt x="102" y="47"/>
                    </a:cubicBezTo>
                    <a:cubicBezTo>
                      <a:pt x="78" y="26"/>
                      <a:pt x="39" y="0"/>
                      <a:pt x="5" y="8"/>
                    </a:cubicBezTo>
                    <a:cubicBezTo>
                      <a:pt x="0" y="10"/>
                      <a:pt x="2" y="17"/>
                      <a:pt x="7" y="16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200" name="Freeform 273">
                <a:extLst>
                  <a:ext uri="{FF2B5EF4-FFF2-40B4-BE49-F238E27FC236}">
                    <a16:creationId xmlns:a16="http://schemas.microsoft.com/office/drawing/2014/main" id="{F38F63CC-4F25-425F-AE53-5A03E9D32EFA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911" y="3147"/>
                <a:ext cx="104" cy="137"/>
              </a:xfrm>
              <a:custGeom>
                <a:avLst/>
                <a:gdLst>
                  <a:gd name="T0" fmla="*/ 95 w 98"/>
                  <a:gd name="T1" fmla="*/ 1 h 129"/>
                  <a:gd name="T2" fmla="*/ 41 w 98"/>
                  <a:gd name="T3" fmla="*/ 56 h 129"/>
                  <a:gd name="T4" fmla="*/ 2 w 98"/>
                  <a:gd name="T5" fmla="*/ 122 h 129"/>
                  <a:gd name="T6" fmla="*/ 8 w 98"/>
                  <a:gd name="T7" fmla="*/ 125 h 129"/>
                  <a:gd name="T8" fmla="*/ 55 w 98"/>
                  <a:gd name="T9" fmla="*/ 53 h 129"/>
                  <a:gd name="T10" fmla="*/ 97 w 98"/>
                  <a:gd name="T11" fmla="*/ 3 h 129"/>
                  <a:gd name="T12" fmla="*/ 95 w 98"/>
                  <a:gd name="T13" fmla="*/ 1 h 1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98" h="129">
                    <a:moveTo>
                      <a:pt x="95" y="1"/>
                    </a:moveTo>
                    <a:cubicBezTo>
                      <a:pt x="73" y="17"/>
                      <a:pt x="57" y="34"/>
                      <a:pt x="41" y="56"/>
                    </a:cubicBezTo>
                    <a:cubicBezTo>
                      <a:pt x="27" y="76"/>
                      <a:pt x="9" y="98"/>
                      <a:pt x="2" y="122"/>
                    </a:cubicBezTo>
                    <a:cubicBezTo>
                      <a:pt x="0" y="126"/>
                      <a:pt x="6" y="129"/>
                      <a:pt x="8" y="125"/>
                    </a:cubicBezTo>
                    <a:cubicBezTo>
                      <a:pt x="22" y="99"/>
                      <a:pt x="38" y="76"/>
                      <a:pt x="55" y="53"/>
                    </a:cubicBezTo>
                    <a:cubicBezTo>
                      <a:pt x="68" y="35"/>
                      <a:pt x="85" y="21"/>
                      <a:pt x="97" y="3"/>
                    </a:cubicBezTo>
                    <a:cubicBezTo>
                      <a:pt x="98" y="2"/>
                      <a:pt x="96" y="0"/>
                      <a:pt x="95" y="1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201" name="Freeform 274">
                <a:extLst>
                  <a:ext uri="{FF2B5EF4-FFF2-40B4-BE49-F238E27FC236}">
                    <a16:creationId xmlns:a16="http://schemas.microsoft.com/office/drawing/2014/main" id="{ADB34784-D58E-4695-A03F-B0C48748656A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949" y="3266"/>
                <a:ext cx="273" cy="40"/>
              </a:xfrm>
              <a:custGeom>
                <a:avLst/>
                <a:gdLst>
                  <a:gd name="T0" fmla="*/ 256 w 258"/>
                  <a:gd name="T1" fmla="*/ 1 h 38"/>
                  <a:gd name="T2" fmla="*/ 206 w 258"/>
                  <a:gd name="T3" fmla="*/ 17 h 38"/>
                  <a:gd name="T4" fmla="*/ 139 w 258"/>
                  <a:gd name="T5" fmla="*/ 25 h 38"/>
                  <a:gd name="T6" fmla="*/ 4 w 258"/>
                  <a:gd name="T7" fmla="*/ 32 h 38"/>
                  <a:gd name="T8" fmla="*/ 4 w 258"/>
                  <a:gd name="T9" fmla="*/ 38 h 38"/>
                  <a:gd name="T10" fmla="*/ 158 w 258"/>
                  <a:gd name="T11" fmla="*/ 30 h 38"/>
                  <a:gd name="T12" fmla="*/ 222 w 258"/>
                  <a:gd name="T13" fmla="*/ 19 h 38"/>
                  <a:gd name="T14" fmla="*/ 257 w 258"/>
                  <a:gd name="T15" fmla="*/ 2 h 38"/>
                  <a:gd name="T16" fmla="*/ 256 w 258"/>
                  <a:gd name="T17" fmla="*/ 1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58" h="38">
                    <a:moveTo>
                      <a:pt x="256" y="1"/>
                    </a:moveTo>
                    <a:cubicBezTo>
                      <a:pt x="243" y="11"/>
                      <a:pt x="222" y="13"/>
                      <a:pt x="206" y="17"/>
                    </a:cubicBezTo>
                    <a:cubicBezTo>
                      <a:pt x="184" y="23"/>
                      <a:pt x="161" y="25"/>
                      <a:pt x="139" y="25"/>
                    </a:cubicBezTo>
                    <a:cubicBezTo>
                      <a:pt x="94" y="27"/>
                      <a:pt x="48" y="26"/>
                      <a:pt x="4" y="32"/>
                    </a:cubicBezTo>
                    <a:cubicBezTo>
                      <a:pt x="0" y="32"/>
                      <a:pt x="1" y="38"/>
                      <a:pt x="4" y="38"/>
                    </a:cubicBezTo>
                    <a:cubicBezTo>
                      <a:pt x="55" y="37"/>
                      <a:pt x="108" y="34"/>
                      <a:pt x="158" y="30"/>
                    </a:cubicBezTo>
                    <a:cubicBezTo>
                      <a:pt x="180" y="29"/>
                      <a:pt x="201" y="24"/>
                      <a:pt x="222" y="19"/>
                    </a:cubicBezTo>
                    <a:cubicBezTo>
                      <a:pt x="236" y="16"/>
                      <a:pt x="249" y="13"/>
                      <a:pt x="257" y="2"/>
                    </a:cubicBezTo>
                    <a:cubicBezTo>
                      <a:pt x="258" y="1"/>
                      <a:pt x="257" y="0"/>
                      <a:pt x="256" y="1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202" name="Freeform 275">
                <a:extLst>
                  <a:ext uri="{FF2B5EF4-FFF2-40B4-BE49-F238E27FC236}">
                    <a16:creationId xmlns:a16="http://schemas.microsoft.com/office/drawing/2014/main" id="{F0D88EB9-4B29-435B-9BB6-591899244DAD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7274" y="3122"/>
                <a:ext cx="79" cy="89"/>
              </a:xfrm>
              <a:custGeom>
                <a:avLst/>
                <a:gdLst>
                  <a:gd name="T0" fmla="*/ 62 w 74"/>
                  <a:gd name="T1" fmla="*/ 4 h 84"/>
                  <a:gd name="T2" fmla="*/ 38 w 74"/>
                  <a:gd name="T3" fmla="*/ 45 h 84"/>
                  <a:gd name="T4" fmla="*/ 3 w 74"/>
                  <a:gd name="T5" fmla="*/ 78 h 84"/>
                  <a:gd name="T6" fmla="*/ 7 w 74"/>
                  <a:gd name="T7" fmla="*/ 83 h 84"/>
                  <a:gd name="T8" fmla="*/ 53 w 74"/>
                  <a:gd name="T9" fmla="*/ 36 h 84"/>
                  <a:gd name="T10" fmla="*/ 66 w 74"/>
                  <a:gd name="T11" fmla="*/ 2 h 84"/>
                  <a:gd name="T12" fmla="*/ 62 w 74"/>
                  <a:gd name="T13" fmla="*/ 4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74" h="84">
                    <a:moveTo>
                      <a:pt x="62" y="4"/>
                    </a:moveTo>
                    <a:cubicBezTo>
                      <a:pt x="67" y="14"/>
                      <a:pt x="43" y="40"/>
                      <a:pt x="38" y="45"/>
                    </a:cubicBezTo>
                    <a:cubicBezTo>
                      <a:pt x="28" y="57"/>
                      <a:pt x="16" y="68"/>
                      <a:pt x="3" y="78"/>
                    </a:cubicBezTo>
                    <a:cubicBezTo>
                      <a:pt x="0" y="80"/>
                      <a:pt x="4" y="84"/>
                      <a:pt x="7" y="83"/>
                    </a:cubicBezTo>
                    <a:cubicBezTo>
                      <a:pt x="25" y="70"/>
                      <a:pt x="41" y="54"/>
                      <a:pt x="53" y="36"/>
                    </a:cubicBezTo>
                    <a:cubicBezTo>
                      <a:pt x="59" y="28"/>
                      <a:pt x="74" y="11"/>
                      <a:pt x="66" y="2"/>
                    </a:cubicBezTo>
                    <a:cubicBezTo>
                      <a:pt x="64" y="0"/>
                      <a:pt x="61" y="2"/>
                      <a:pt x="62" y="4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203" name="Freeform 276">
                <a:extLst>
                  <a:ext uri="{FF2B5EF4-FFF2-40B4-BE49-F238E27FC236}">
                    <a16:creationId xmlns:a16="http://schemas.microsoft.com/office/drawing/2014/main" id="{395886B4-63E3-42ED-A567-C30D819F59B9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7172" y="3092"/>
                <a:ext cx="110" cy="112"/>
              </a:xfrm>
              <a:custGeom>
                <a:avLst/>
                <a:gdLst>
                  <a:gd name="T0" fmla="*/ 100 w 103"/>
                  <a:gd name="T1" fmla="*/ 2 h 106"/>
                  <a:gd name="T2" fmla="*/ 3 w 103"/>
                  <a:gd name="T3" fmla="*/ 99 h 106"/>
                  <a:gd name="T4" fmla="*/ 7 w 103"/>
                  <a:gd name="T5" fmla="*/ 103 h 106"/>
                  <a:gd name="T6" fmla="*/ 63 w 103"/>
                  <a:gd name="T7" fmla="*/ 49 h 106"/>
                  <a:gd name="T8" fmla="*/ 102 w 103"/>
                  <a:gd name="T9" fmla="*/ 3 h 106"/>
                  <a:gd name="T10" fmla="*/ 100 w 103"/>
                  <a:gd name="T11" fmla="*/ 2 h 1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03" h="106">
                    <a:moveTo>
                      <a:pt x="100" y="2"/>
                    </a:moveTo>
                    <a:cubicBezTo>
                      <a:pt x="71" y="36"/>
                      <a:pt x="36" y="68"/>
                      <a:pt x="3" y="99"/>
                    </a:cubicBezTo>
                    <a:cubicBezTo>
                      <a:pt x="0" y="102"/>
                      <a:pt x="4" y="106"/>
                      <a:pt x="7" y="103"/>
                    </a:cubicBezTo>
                    <a:cubicBezTo>
                      <a:pt x="27" y="87"/>
                      <a:pt x="46" y="68"/>
                      <a:pt x="63" y="49"/>
                    </a:cubicBezTo>
                    <a:cubicBezTo>
                      <a:pt x="76" y="35"/>
                      <a:pt x="92" y="20"/>
                      <a:pt x="102" y="3"/>
                    </a:cubicBezTo>
                    <a:cubicBezTo>
                      <a:pt x="103" y="2"/>
                      <a:pt x="101" y="0"/>
                      <a:pt x="100" y="2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204" name="Freeform 277">
                <a:extLst>
                  <a:ext uri="{FF2B5EF4-FFF2-40B4-BE49-F238E27FC236}">
                    <a16:creationId xmlns:a16="http://schemas.microsoft.com/office/drawing/2014/main" id="{C2904F52-FFB9-4279-893D-9D2FC10801BF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7003" y="3198"/>
                <a:ext cx="174" cy="25"/>
              </a:xfrm>
              <a:custGeom>
                <a:avLst/>
                <a:gdLst>
                  <a:gd name="T0" fmla="*/ 161 w 164"/>
                  <a:gd name="T1" fmla="*/ 1 h 24"/>
                  <a:gd name="T2" fmla="*/ 82 w 164"/>
                  <a:gd name="T3" fmla="*/ 14 h 24"/>
                  <a:gd name="T4" fmla="*/ 3 w 164"/>
                  <a:gd name="T5" fmla="*/ 18 h 24"/>
                  <a:gd name="T6" fmla="*/ 4 w 164"/>
                  <a:gd name="T7" fmla="*/ 24 h 24"/>
                  <a:gd name="T8" fmla="*/ 96 w 164"/>
                  <a:gd name="T9" fmla="*/ 20 h 24"/>
                  <a:gd name="T10" fmla="*/ 163 w 164"/>
                  <a:gd name="T11" fmla="*/ 2 h 24"/>
                  <a:gd name="T12" fmla="*/ 161 w 164"/>
                  <a:gd name="T13" fmla="*/ 1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64" h="24">
                    <a:moveTo>
                      <a:pt x="161" y="1"/>
                    </a:moveTo>
                    <a:cubicBezTo>
                      <a:pt x="142" y="15"/>
                      <a:pt x="105" y="11"/>
                      <a:pt x="82" y="14"/>
                    </a:cubicBezTo>
                    <a:cubicBezTo>
                      <a:pt x="56" y="17"/>
                      <a:pt x="29" y="15"/>
                      <a:pt x="3" y="18"/>
                    </a:cubicBezTo>
                    <a:cubicBezTo>
                      <a:pt x="0" y="19"/>
                      <a:pt x="0" y="24"/>
                      <a:pt x="4" y="24"/>
                    </a:cubicBezTo>
                    <a:cubicBezTo>
                      <a:pt x="35" y="24"/>
                      <a:pt x="65" y="22"/>
                      <a:pt x="96" y="20"/>
                    </a:cubicBezTo>
                    <a:cubicBezTo>
                      <a:pt x="118" y="18"/>
                      <a:pt x="148" y="20"/>
                      <a:pt x="163" y="2"/>
                    </a:cubicBezTo>
                    <a:cubicBezTo>
                      <a:pt x="164" y="1"/>
                      <a:pt x="162" y="0"/>
                      <a:pt x="161" y="1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205" name="Freeform 278">
                <a:extLst>
                  <a:ext uri="{FF2B5EF4-FFF2-40B4-BE49-F238E27FC236}">
                    <a16:creationId xmlns:a16="http://schemas.microsoft.com/office/drawing/2014/main" id="{F5EB3986-4E38-46CF-9ABD-19B5D93EA0FC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7019" y="3118"/>
                <a:ext cx="204" cy="80"/>
              </a:xfrm>
              <a:custGeom>
                <a:avLst/>
                <a:gdLst>
                  <a:gd name="T0" fmla="*/ 174 w 193"/>
                  <a:gd name="T1" fmla="*/ 1 h 76"/>
                  <a:gd name="T2" fmla="*/ 104 w 193"/>
                  <a:gd name="T3" fmla="*/ 45 h 76"/>
                  <a:gd name="T4" fmla="*/ 7 w 193"/>
                  <a:gd name="T5" fmla="*/ 33 h 76"/>
                  <a:gd name="T6" fmla="*/ 0 w 193"/>
                  <a:gd name="T7" fmla="*/ 33 h 76"/>
                  <a:gd name="T8" fmla="*/ 111 w 193"/>
                  <a:gd name="T9" fmla="*/ 47 h 76"/>
                  <a:gd name="T10" fmla="*/ 177 w 193"/>
                  <a:gd name="T11" fmla="*/ 21 h 76"/>
                  <a:gd name="T12" fmla="*/ 175 w 193"/>
                  <a:gd name="T13" fmla="*/ 0 h 76"/>
                  <a:gd name="T14" fmla="*/ 174 w 193"/>
                  <a:gd name="T15" fmla="*/ 1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93" h="76">
                    <a:moveTo>
                      <a:pt x="174" y="1"/>
                    </a:moveTo>
                    <a:cubicBezTo>
                      <a:pt x="193" y="21"/>
                      <a:pt x="114" y="42"/>
                      <a:pt x="104" y="45"/>
                    </a:cubicBezTo>
                    <a:cubicBezTo>
                      <a:pt x="87" y="50"/>
                      <a:pt x="9" y="67"/>
                      <a:pt x="7" y="33"/>
                    </a:cubicBezTo>
                    <a:cubicBezTo>
                      <a:pt x="7" y="28"/>
                      <a:pt x="0" y="29"/>
                      <a:pt x="0" y="33"/>
                    </a:cubicBezTo>
                    <a:cubicBezTo>
                      <a:pt x="5" y="76"/>
                      <a:pt x="87" y="55"/>
                      <a:pt x="111" y="47"/>
                    </a:cubicBezTo>
                    <a:cubicBezTo>
                      <a:pt x="132" y="41"/>
                      <a:pt x="160" y="36"/>
                      <a:pt x="177" y="21"/>
                    </a:cubicBezTo>
                    <a:cubicBezTo>
                      <a:pt x="185" y="13"/>
                      <a:pt x="185" y="4"/>
                      <a:pt x="175" y="0"/>
                    </a:cubicBezTo>
                    <a:cubicBezTo>
                      <a:pt x="174" y="0"/>
                      <a:pt x="173" y="1"/>
                      <a:pt x="174" y="1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206" name="Freeform 279">
                <a:extLst>
                  <a:ext uri="{FF2B5EF4-FFF2-40B4-BE49-F238E27FC236}">
                    <a16:creationId xmlns:a16="http://schemas.microsoft.com/office/drawing/2014/main" id="{3515BEFC-AA62-4591-886A-86672FBA4E23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7087" y="3165"/>
                <a:ext cx="75" cy="29"/>
              </a:xfrm>
              <a:custGeom>
                <a:avLst/>
                <a:gdLst>
                  <a:gd name="T0" fmla="*/ 68 w 71"/>
                  <a:gd name="T1" fmla="*/ 1 h 27"/>
                  <a:gd name="T2" fmla="*/ 35 w 71"/>
                  <a:gd name="T3" fmla="*/ 15 h 27"/>
                  <a:gd name="T4" fmla="*/ 3 w 71"/>
                  <a:gd name="T5" fmla="*/ 23 h 27"/>
                  <a:gd name="T6" fmla="*/ 4 w 71"/>
                  <a:gd name="T7" fmla="*/ 27 h 27"/>
                  <a:gd name="T8" fmla="*/ 52 w 71"/>
                  <a:gd name="T9" fmla="*/ 17 h 27"/>
                  <a:gd name="T10" fmla="*/ 70 w 71"/>
                  <a:gd name="T11" fmla="*/ 2 h 27"/>
                  <a:gd name="T12" fmla="*/ 68 w 71"/>
                  <a:gd name="T13" fmla="*/ 1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71" h="27">
                    <a:moveTo>
                      <a:pt x="68" y="1"/>
                    </a:moveTo>
                    <a:cubicBezTo>
                      <a:pt x="63" y="11"/>
                      <a:pt x="44" y="13"/>
                      <a:pt x="35" y="15"/>
                    </a:cubicBezTo>
                    <a:cubicBezTo>
                      <a:pt x="24" y="18"/>
                      <a:pt x="13" y="20"/>
                      <a:pt x="3" y="23"/>
                    </a:cubicBezTo>
                    <a:cubicBezTo>
                      <a:pt x="0" y="23"/>
                      <a:pt x="1" y="27"/>
                      <a:pt x="4" y="27"/>
                    </a:cubicBezTo>
                    <a:cubicBezTo>
                      <a:pt x="20" y="26"/>
                      <a:pt x="37" y="24"/>
                      <a:pt x="52" y="17"/>
                    </a:cubicBezTo>
                    <a:cubicBezTo>
                      <a:pt x="60" y="14"/>
                      <a:pt x="68" y="11"/>
                      <a:pt x="70" y="2"/>
                    </a:cubicBezTo>
                    <a:cubicBezTo>
                      <a:pt x="71" y="1"/>
                      <a:pt x="69" y="0"/>
                      <a:pt x="68" y="1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207" name="Freeform 280">
                <a:extLst>
                  <a:ext uri="{FF2B5EF4-FFF2-40B4-BE49-F238E27FC236}">
                    <a16:creationId xmlns:a16="http://schemas.microsoft.com/office/drawing/2014/main" id="{59BAF2A6-A017-4284-A8AE-FAD1CD78FF15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798" y="3351"/>
                <a:ext cx="381" cy="18"/>
              </a:xfrm>
              <a:custGeom>
                <a:avLst/>
                <a:gdLst>
                  <a:gd name="T0" fmla="*/ 354 w 359"/>
                  <a:gd name="T1" fmla="*/ 6 h 17"/>
                  <a:gd name="T2" fmla="*/ 282 w 359"/>
                  <a:gd name="T3" fmla="*/ 5 h 17"/>
                  <a:gd name="T4" fmla="*/ 188 w 359"/>
                  <a:gd name="T5" fmla="*/ 4 h 17"/>
                  <a:gd name="T6" fmla="*/ 6 w 359"/>
                  <a:gd name="T7" fmla="*/ 1 h 17"/>
                  <a:gd name="T8" fmla="*/ 5 w 359"/>
                  <a:gd name="T9" fmla="*/ 9 h 17"/>
                  <a:gd name="T10" fmla="*/ 196 w 359"/>
                  <a:gd name="T11" fmla="*/ 9 h 17"/>
                  <a:gd name="T12" fmla="*/ 281 w 359"/>
                  <a:gd name="T13" fmla="*/ 8 h 17"/>
                  <a:gd name="T14" fmla="*/ 355 w 359"/>
                  <a:gd name="T15" fmla="*/ 12 h 17"/>
                  <a:gd name="T16" fmla="*/ 354 w 359"/>
                  <a:gd name="T17" fmla="*/ 6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59" h="17">
                    <a:moveTo>
                      <a:pt x="354" y="6"/>
                    </a:moveTo>
                    <a:cubicBezTo>
                      <a:pt x="331" y="9"/>
                      <a:pt x="305" y="6"/>
                      <a:pt x="282" y="5"/>
                    </a:cubicBezTo>
                    <a:cubicBezTo>
                      <a:pt x="251" y="3"/>
                      <a:pt x="219" y="4"/>
                      <a:pt x="188" y="4"/>
                    </a:cubicBezTo>
                    <a:cubicBezTo>
                      <a:pt x="127" y="4"/>
                      <a:pt x="66" y="1"/>
                      <a:pt x="6" y="1"/>
                    </a:cubicBezTo>
                    <a:cubicBezTo>
                      <a:pt x="0" y="0"/>
                      <a:pt x="0" y="9"/>
                      <a:pt x="5" y="9"/>
                    </a:cubicBezTo>
                    <a:cubicBezTo>
                      <a:pt x="69" y="8"/>
                      <a:pt x="133" y="11"/>
                      <a:pt x="196" y="9"/>
                    </a:cubicBezTo>
                    <a:cubicBezTo>
                      <a:pt x="224" y="8"/>
                      <a:pt x="253" y="6"/>
                      <a:pt x="281" y="8"/>
                    </a:cubicBezTo>
                    <a:cubicBezTo>
                      <a:pt x="305" y="9"/>
                      <a:pt x="331" y="17"/>
                      <a:pt x="355" y="12"/>
                    </a:cubicBezTo>
                    <a:cubicBezTo>
                      <a:pt x="359" y="12"/>
                      <a:pt x="359" y="5"/>
                      <a:pt x="354" y="6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208" name="Freeform 281">
                <a:extLst>
                  <a:ext uri="{FF2B5EF4-FFF2-40B4-BE49-F238E27FC236}">
                    <a16:creationId xmlns:a16="http://schemas.microsoft.com/office/drawing/2014/main" id="{89FB2A6E-7A36-4720-985F-E4DF5638CECE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729" y="3351"/>
                <a:ext cx="77" cy="255"/>
              </a:xfrm>
              <a:custGeom>
                <a:avLst/>
                <a:gdLst>
                  <a:gd name="T0" fmla="*/ 67 w 72"/>
                  <a:gd name="T1" fmla="*/ 2 h 240"/>
                  <a:gd name="T2" fmla="*/ 15 w 72"/>
                  <a:gd name="T3" fmla="*/ 53 h 240"/>
                  <a:gd name="T4" fmla="*/ 1 w 72"/>
                  <a:gd name="T5" fmla="*/ 115 h 240"/>
                  <a:gd name="T6" fmla="*/ 50 w 72"/>
                  <a:gd name="T7" fmla="*/ 237 h 240"/>
                  <a:gd name="T8" fmla="*/ 56 w 72"/>
                  <a:gd name="T9" fmla="*/ 231 h 240"/>
                  <a:gd name="T10" fmla="*/ 9 w 72"/>
                  <a:gd name="T11" fmla="*/ 118 h 240"/>
                  <a:gd name="T12" fmla="*/ 20 w 72"/>
                  <a:gd name="T13" fmla="*/ 60 h 240"/>
                  <a:gd name="T14" fmla="*/ 70 w 72"/>
                  <a:gd name="T15" fmla="*/ 5 h 240"/>
                  <a:gd name="T16" fmla="*/ 67 w 72"/>
                  <a:gd name="T17" fmla="*/ 2 h 2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72" h="240">
                    <a:moveTo>
                      <a:pt x="67" y="2"/>
                    </a:moveTo>
                    <a:cubicBezTo>
                      <a:pt x="49" y="17"/>
                      <a:pt x="28" y="33"/>
                      <a:pt x="15" y="53"/>
                    </a:cubicBezTo>
                    <a:cubicBezTo>
                      <a:pt x="3" y="72"/>
                      <a:pt x="0" y="93"/>
                      <a:pt x="1" y="115"/>
                    </a:cubicBezTo>
                    <a:cubicBezTo>
                      <a:pt x="1" y="160"/>
                      <a:pt x="17" y="206"/>
                      <a:pt x="50" y="237"/>
                    </a:cubicBezTo>
                    <a:cubicBezTo>
                      <a:pt x="54" y="240"/>
                      <a:pt x="60" y="235"/>
                      <a:pt x="56" y="231"/>
                    </a:cubicBezTo>
                    <a:cubicBezTo>
                      <a:pt x="27" y="199"/>
                      <a:pt x="11" y="162"/>
                      <a:pt x="9" y="118"/>
                    </a:cubicBezTo>
                    <a:cubicBezTo>
                      <a:pt x="8" y="98"/>
                      <a:pt x="10" y="78"/>
                      <a:pt x="20" y="60"/>
                    </a:cubicBezTo>
                    <a:cubicBezTo>
                      <a:pt x="33" y="38"/>
                      <a:pt x="55" y="24"/>
                      <a:pt x="70" y="5"/>
                    </a:cubicBezTo>
                    <a:cubicBezTo>
                      <a:pt x="72" y="3"/>
                      <a:pt x="69" y="0"/>
                      <a:pt x="67" y="2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209" name="Freeform 282">
                <a:extLst>
                  <a:ext uri="{FF2B5EF4-FFF2-40B4-BE49-F238E27FC236}">
                    <a16:creationId xmlns:a16="http://schemas.microsoft.com/office/drawing/2014/main" id="{581A20F1-3697-40BD-A4DB-996C7F0F6257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7159" y="3359"/>
                <a:ext cx="57" cy="247"/>
              </a:xfrm>
              <a:custGeom>
                <a:avLst/>
                <a:gdLst>
                  <a:gd name="T0" fmla="*/ 15 w 54"/>
                  <a:gd name="T1" fmla="*/ 5 h 233"/>
                  <a:gd name="T2" fmla="*/ 5 w 54"/>
                  <a:gd name="T3" fmla="*/ 64 h 233"/>
                  <a:gd name="T4" fmla="*/ 3 w 54"/>
                  <a:gd name="T5" fmla="*/ 124 h 233"/>
                  <a:gd name="T6" fmla="*/ 44 w 54"/>
                  <a:gd name="T7" fmla="*/ 229 h 233"/>
                  <a:gd name="T8" fmla="*/ 50 w 54"/>
                  <a:gd name="T9" fmla="*/ 224 h 233"/>
                  <a:gd name="T10" fmla="*/ 11 w 54"/>
                  <a:gd name="T11" fmla="*/ 82 h 233"/>
                  <a:gd name="T12" fmla="*/ 24 w 54"/>
                  <a:gd name="T13" fmla="*/ 23 h 233"/>
                  <a:gd name="T14" fmla="*/ 18 w 54"/>
                  <a:gd name="T15" fmla="*/ 2 h 233"/>
                  <a:gd name="T16" fmla="*/ 15 w 54"/>
                  <a:gd name="T17" fmla="*/ 5 h 2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4" h="233">
                    <a:moveTo>
                      <a:pt x="15" y="5"/>
                    </a:moveTo>
                    <a:cubicBezTo>
                      <a:pt x="27" y="16"/>
                      <a:pt x="8" y="50"/>
                      <a:pt x="5" y="64"/>
                    </a:cubicBezTo>
                    <a:cubicBezTo>
                      <a:pt x="1" y="83"/>
                      <a:pt x="0" y="105"/>
                      <a:pt x="3" y="124"/>
                    </a:cubicBezTo>
                    <a:cubicBezTo>
                      <a:pt x="8" y="162"/>
                      <a:pt x="14" y="203"/>
                      <a:pt x="44" y="229"/>
                    </a:cubicBezTo>
                    <a:cubicBezTo>
                      <a:pt x="48" y="233"/>
                      <a:pt x="54" y="228"/>
                      <a:pt x="50" y="224"/>
                    </a:cubicBezTo>
                    <a:cubicBezTo>
                      <a:pt x="15" y="187"/>
                      <a:pt x="8" y="132"/>
                      <a:pt x="11" y="82"/>
                    </a:cubicBezTo>
                    <a:cubicBezTo>
                      <a:pt x="12" y="61"/>
                      <a:pt x="21" y="44"/>
                      <a:pt x="24" y="23"/>
                    </a:cubicBezTo>
                    <a:cubicBezTo>
                      <a:pt x="26" y="14"/>
                      <a:pt x="25" y="7"/>
                      <a:pt x="18" y="2"/>
                    </a:cubicBezTo>
                    <a:cubicBezTo>
                      <a:pt x="15" y="0"/>
                      <a:pt x="13" y="3"/>
                      <a:pt x="15" y="5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210" name="Freeform 283">
                <a:extLst>
                  <a:ext uri="{FF2B5EF4-FFF2-40B4-BE49-F238E27FC236}">
                    <a16:creationId xmlns:a16="http://schemas.microsoft.com/office/drawing/2014/main" id="{204118FF-F742-437E-B568-476540B381EE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789" y="3592"/>
                <a:ext cx="440" cy="41"/>
              </a:xfrm>
              <a:custGeom>
                <a:avLst/>
                <a:gdLst>
                  <a:gd name="T0" fmla="*/ 395 w 415"/>
                  <a:gd name="T1" fmla="*/ 3 h 39"/>
                  <a:gd name="T2" fmla="*/ 297 w 415"/>
                  <a:gd name="T3" fmla="*/ 26 h 39"/>
                  <a:gd name="T4" fmla="*/ 197 w 415"/>
                  <a:gd name="T5" fmla="*/ 28 h 39"/>
                  <a:gd name="T6" fmla="*/ 91 w 415"/>
                  <a:gd name="T7" fmla="*/ 31 h 39"/>
                  <a:gd name="T8" fmla="*/ 6 w 415"/>
                  <a:gd name="T9" fmla="*/ 8 h 39"/>
                  <a:gd name="T10" fmla="*/ 2 w 415"/>
                  <a:gd name="T11" fmla="*/ 11 h 39"/>
                  <a:gd name="T12" fmla="*/ 75 w 415"/>
                  <a:gd name="T13" fmla="*/ 38 h 39"/>
                  <a:gd name="T14" fmla="*/ 220 w 415"/>
                  <a:gd name="T15" fmla="*/ 35 h 39"/>
                  <a:gd name="T16" fmla="*/ 290 w 415"/>
                  <a:gd name="T17" fmla="*/ 33 h 39"/>
                  <a:gd name="T18" fmla="*/ 359 w 415"/>
                  <a:gd name="T19" fmla="*/ 32 h 39"/>
                  <a:gd name="T20" fmla="*/ 398 w 415"/>
                  <a:gd name="T21" fmla="*/ 1 h 39"/>
                  <a:gd name="T22" fmla="*/ 395 w 415"/>
                  <a:gd name="T23" fmla="*/ 3 h 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15" h="39">
                    <a:moveTo>
                      <a:pt x="395" y="3"/>
                    </a:moveTo>
                    <a:cubicBezTo>
                      <a:pt x="411" y="31"/>
                      <a:pt x="308" y="27"/>
                      <a:pt x="297" y="26"/>
                    </a:cubicBezTo>
                    <a:cubicBezTo>
                      <a:pt x="263" y="25"/>
                      <a:pt x="230" y="27"/>
                      <a:pt x="197" y="28"/>
                    </a:cubicBezTo>
                    <a:cubicBezTo>
                      <a:pt x="161" y="29"/>
                      <a:pt x="126" y="31"/>
                      <a:pt x="91" y="31"/>
                    </a:cubicBezTo>
                    <a:cubicBezTo>
                      <a:pt x="59" y="30"/>
                      <a:pt x="31" y="32"/>
                      <a:pt x="6" y="8"/>
                    </a:cubicBezTo>
                    <a:cubicBezTo>
                      <a:pt x="4" y="6"/>
                      <a:pt x="0" y="8"/>
                      <a:pt x="2" y="11"/>
                    </a:cubicBezTo>
                    <a:cubicBezTo>
                      <a:pt x="15" y="38"/>
                      <a:pt x="50" y="38"/>
                      <a:pt x="75" y="38"/>
                    </a:cubicBezTo>
                    <a:cubicBezTo>
                      <a:pt x="123" y="39"/>
                      <a:pt x="171" y="36"/>
                      <a:pt x="220" y="35"/>
                    </a:cubicBezTo>
                    <a:cubicBezTo>
                      <a:pt x="243" y="35"/>
                      <a:pt x="266" y="32"/>
                      <a:pt x="290" y="33"/>
                    </a:cubicBezTo>
                    <a:cubicBezTo>
                      <a:pt x="313" y="33"/>
                      <a:pt x="336" y="35"/>
                      <a:pt x="359" y="32"/>
                    </a:cubicBezTo>
                    <a:cubicBezTo>
                      <a:pt x="375" y="31"/>
                      <a:pt x="415" y="24"/>
                      <a:pt x="398" y="1"/>
                    </a:cubicBezTo>
                    <a:cubicBezTo>
                      <a:pt x="397" y="0"/>
                      <a:pt x="395" y="1"/>
                      <a:pt x="395" y="3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211" name="Freeform 284">
                <a:extLst>
                  <a:ext uri="{FF2B5EF4-FFF2-40B4-BE49-F238E27FC236}">
                    <a16:creationId xmlns:a16="http://schemas.microsoft.com/office/drawing/2014/main" id="{69CFFA2B-D167-4F16-AE17-45DE5FD6943D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7122" y="3384"/>
                <a:ext cx="42" cy="218"/>
              </a:xfrm>
              <a:custGeom>
                <a:avLst/>
                <a:gdLst>
                  <a:gd name="T0" fmla="*/ 26 w 40"/>
                  <a:gd name="T1" fmla="*/ 2 h 206"/>
                  <a:gd name="T2" fmla="*/ 8 w 40"/>
                  <a:gd name="T3" fmla="*/ 98 h 206"/>
                  <a:gd name="T4" fmla="*/ 36 w 40"/>
                  <a:gd name="T5" fmla="*/ 204 h 206"/>
                  <a:gd name="T6" fmla="*/ 39 w 40"/>
                  <a:gd name="T7" fmla="*/ 202 h 206"/>
                  <a:gd name="T8" fmla="*/ 28 w 40"/>
                  <a:gd name="T9" fmla="*/ 3 h 206"/>
                  <a:gd name="T10" fmla="*/ 26 w 40"/>
                  <a:gd name="T11" fmla="*/ 2 h 2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0" h="206">
                    <a:moveTo>
                      <a:pt x="26" y="2"/>
                    </a:moveTo>
                    <a:cubicBezTo>
                      <a:pt x="10" y="31"/>
                      <a:pt x="6" y="65"/>
                      <a:pt x="8" y="98"/>
                    </a:cubicBezTo>
                    <a:cubicBezTo>
                      <a:pt x="9" y="133"/>
                      <a:pt x="17" y="174"/>
                      <a:pt x="36" y="204"/>
                    </a:cubicBezTo>
                    <a:cubicBezTo>
                      <a:pt x="37" y="206"/>
                      <a:pt x="40" y="204"/>
                      <a:pt x="39" y="202"/>
                    </a:cubicBezTo>
                    <a:cubicBezTo>
                      <a:pt x="8" y="142"/>
                      <a:pt x="0" y="66"/>
                      <a:pt x="28" y="3"/>
                    </a:cubicBezTo>
                    <a:cubicBezTo>
                      <a:pt x="29" y="1"/>
                      <a:pt x="27" y="0"/>
                      <a:pt x="26" y="2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212" name="Freeform 285">
                <a:extLst>
                  <a:ext uri="{FF2B5EF4-FFF2-40B4-BE49-F238E27FC236}">
                    <a16:creationId xmlns:a16="http://schemas.microsoft.com/office/drawing/2014/main" id="{7A618F64-1B24-4C59-95EB-AC93A2BA1574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7144" y="3536"/>
                <a:ext cx="26" cy="22"/>
              </a:xfrm>
              <a:custGeom>
                <a:avLst/>
                <a:gdLst>
                  <a:gd name="T0" fmla="*/ 23 w 25"/>
                  <a:gd name="T1" fmla="*/ 2 h 21"/>
                  <a:gd name="T2" fmla="*/ 2 w 25"/>
                  <a:gd name="T3" fmla="*/ 17 h 21"/>
                  <a:gd name="T4" fmla="*/ 3 w 25"/>
                  <a:gd name="T5" fmla="*/ 20 h 21"/>
                  <a:gd name="T6" fmla="*/ 25 w 25"/>
                  <a:gd name="T7" fmla="*/ 3 h 21"/>
                  <a:gd name="T8" fmla="*/ 23 w 25"/>
                  <a:gd name="T9" fmla="*/ 2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5" h="21">
                    <a:moveTo>
                      <a:pt x="23" y="2"/>
                    </a:moveTo>
                    <a:cubicBezTo>
                      <a:pt x="17" y="9"/>
                      <a:pt x="11" y="13"/>
                      <a:pt x="2" y="17"/>
                    </a:cubicBezTo>
                    <a:cubicBezTo>
                      <a:pt x="0" y="18"/>
                      <a:pt x="1" y="21"/>
                      <a:pt x="3" y="20"/>
                    </a:cubicBezTo>
                    <a:cubicBezTo>
                      <a:pt x="13" y="18"/>
                      <a:pt x="19" y="10"/>
                      <a:pt x="25" y="3"/>
                    </a:cubicBezTo>
                    <a:cubicBezTo>
                      <a:pt x="25" y="2"/>
                      <a:pt x="24" y="0"/>
                      <a:pt x="23" y="2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213" name="Freeform 286">
                <a:extLst>
                  <a:ext uri="{FF2B5EF4-FFF2-40B4-BE49-F238E27FC236}">
                    <a16:creationId xmlns:a16="http://schemas.microsoft.com/office/drawing/2014/main" id="{DAD69F32-09D6-488A-9BCF-D1E727EAAA60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770" y="3554"/>
                <a:ext cx="373" cy="20"/>
              </a:xfrm>
              <a:custGeom>
                <a:avLst/>
                <a:gdLst>
                  <a:gd name="T0" fmla="*/ 351 w 352"/>
                  <a:gd name="T1" fmla="*/ 0 h 19"/>
                  <a:gd name="T2" fmla="*/ 178 w 352"/>
                  <a:gd name="T3" fmla="*/ 6 h 19"/>
                  <a:gd name="T4" fmla="*/ 4 w 352"/>
                  <a:gd name="T5" fmla="*/ 8 h 19"/>
                  <a:gd name="T6" fmla="*/ 4 w 352"/>
                  <a:gd name="T7" fmla="*/ 15 h 19"/>
                  <a:gd name="T8" fmla="*/ 185 w 352"/>
                  <a:gd name="T9" fmla="*/ 11 h 19"/>
                  <a:gd name="T10" fmla="*/ 267 w 352"/>
                  <a:gd name="T11" fmla="*/ 6 h 19"/>
                  <a:gd name="T12" fmla="*/ 351 w 352"/>
                  <a:gd name="T13" fmla="*/ 2 h 19"/>
                  <a:gd name="T14" fmla="*/ 351 w 352"/>
                  <a:gd name="T15" fmla="*/ 0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52" h="19">
                    <a:moveTo>
                      <a:pt x="351" y="0"/>
                    </a:moveTo>
                    <a:cubicBezTo>
                      <a:pt x="293" y="1"/>
                      <a:pt x="235" y="5"/>
                      <a:pt x="178" y="6"/>
                    </a:cubicBezTo>
                    <a:cubicBezTo>
                      <a:pt x="120" y="8"/>
                      <a:pt x="62" y="8"/>
                      <a:pt x="4" y="8"/>
                    </a:cubicBezTo>
                    <a:cubicBezTo>
                      <a:pt x="0" y="8"/>
                      <a:pt x="0" y="15"/>
                      <a:pt x="4" y="15"/>
                    </a:cubicBezTo>
                    <a:cubicBezTo>
                      <a:pt x="64" y="19"/>
                      <a:pt x="124" y="14"/>
                      <a:pt x="185" y="11"/>
                    </a:cubicBezTo>
                    <a:cubicBezTo>
                      <a:pt x="212" y="10"/>
                      <a:pt x="240" y="9"/>
                      <a:pt x="267" y="6"/>
                    </a:cubicBezTo>
                    <a:cubicBezTo>
                      <a:pt x="295" y="4"/>
                      <a:pt x="324" y="5"/>
                      <a:pt x="351" y="2"/>
                    </a:cubicBezTo>
                    <a:cubicBezTo>
                      <a:pt x="352" y="2"/>
                      <a:pt x="352" y="0"/>
                      <a:pt x="351" y="0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214" name="Freeform 287">
                <a:extLst>
                  <a:ext uri="{FF2B5EF4-FFF2-40B4-BE49-F238E27FC236}">
                    <a16:creationId xmlns:a16="http://schemas.microsoft.com/office/drawing/2014/main" id="{52611DCD-A2F8-481D-8795-A055C3D1D9DD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654" y="3284"/>
                <a:ext cx="169" cy="322"/>
              </a:xfrm>
              <a:custGeom>
                <a:avLst/>
                <a:gdLst>
                  <a:gd name="T0" fmla="*/ 157 w 159"/>
                  <a:gd name="T1" fmla="*/ 4 h 304"/>
                  <a:gd name="T2" fmla="*/ 122 w 159"/>
                  <a:gd name="T3" fmla="*/ 5 h 304"/>
                  <a:gd name="T4" fmla="*/ 100 w 159"/>
                  <a:gd name="T5" fmla="*/ 25 h 304"/>
                  <a:gd name="T6" fmla="*/ 28 w 159"/>
                  <a:gd name="T7" fmla="*/ 114 h 304"/>
                  <a:gd name="T8" fmla="*/ 6 w 159"/>
                  <a:gd name="T9" fmla="*/ 215 h 304"/>
                  <a:gd name="T10" fmla="*/ 47 w 159"/>
                  <a:gd name="T11" fmla="*/ 301 h 304"/>
                  <a:gd name="T12" fmla="*/ 52 w 159"/>
                  <a:gd name="T13" fmla="*/ 295 h 304"/>
                  <a:gd name="T14" fmla="*/ 12 w 159"/>
                  <a:gd name="T15" fmla="*/ 207 h 304"/>
                  <a:gd name="T16" fmla="*/ 36 w 159"/>
                  <a:gd name="T17" fmla="*/ 114 h 304"/>
                  <a:gd name="T18" fmla="*/ 90 w 159"/>
                  <a:gd name="T19" fmla="*/ 46 h 304"/>
                  <a:gd name="T20" fmla="*/ 110 w 159"/>
                  <a:gd name="T21" fmla="*/ 21 h 304"/>
                  <a:gd name="T22" fmla="*/ 157 w 159"/>
                  <a:gd name="T23" fmla="*/ 7 h 304"/>
                  <a:gd name="T24" fmla="*/ 157 w 159"/>
                  <a:gd name="T25" fmla="*/ 4 h 3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59" h="304">
                    <a:moveTo>
                      <a:pt x="157" y="4"/>
                    </a:moveTo>
                    <a:cubicBezTo>
                      <a:pt x="145" y="3"/>
                      <a:pt x="133" y="0"/>
                      <a:pt x="122" y="5"/>
                    </a:cubicBezTo>
                    <a:cubicBezTo>
                      <a:pt x="112" y="9"/>
                      <a:pt x="106" y="18"/>
                      <a:pt x="100" y="25"/>
                    </a:cubicBezTo>
                    <a:cubicBezTo>
                      <a:pt x="75" y="53"/>
                      <a:pt x="44" y="79"/>
                      <a:pt x="28" y="114"/>
                    </a:cubicBezTo>
                    <a:cubicBezTo>
                      <a:pt x="13" y="146"/>
                      <a:pt x="0" y="178"/>
                      <a:pt x="6" y="215"/>
                    </a:cubicBezTo>
                    <a:cubicBezTo>
                      <a:pt x="11" y="248"/>
                      <a:pt x="21" y="278"/>
                      <a:pt x="47" y="301"/>
                    </a:cubicBezTo>
                    <a:cubicBezTo>
                      <a:pt x="51" y="304"/>
                      <a:pt x="55" y="298"/>
                      <a:pt x="52" y="295"/>
                    </a:cubicBezTo>
                    <a:cubicBezTo>
                      <a:pt x="27" y="272"/>
                      <a:pt x="16" y="241"/>
                      <a:pt x="12" y="207"/>
                    </a:cubicBezTo>
                    <a:cubicBezTo>
                      <a:pt x="9" y="174"/>
                      <a:pt x="22" y="143"/>
                      <a:pt x="36" y="114"/>
                    </a:cubicBezTo>
                    <a:cubicBezTo>
                      <a:pt x="49" y="87"/>
                      <a:pt x="72" y="68"/>
                      <a:pt x="90" y="46"/>
                    </a:cubicBezTo>
                    <a:cubicBezTo>
                      <a:pt x="97" y="38"/>
                      <a:pt x="103" y="30"/>
                      <a:pt x="110" y="21"/>
                    </a:cubicBezTo>
                    <a:cubicBezTo>
                      <a:pt x="122" y="5"/>
                      <a:pt x="138" y="7"/>
                      <a:pt x="157" y="7"/>
                    </a:cubicBezTo>
                    <a:cubicBezTo>
                      <a:pt x="159" y="7"/>
                      <a:pt x="159" y="5"/>
                      <a:pt x="157" y="4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215" name="Freeform 288">
                <a:extLst>
                  <a:ext uri="{FF2B5EF4-FFF2-40B4-BE49-F238E27FC236}">
                    <a16:creationId xmlns:a16="http://schemas.microsoft.com/office/drawing/2014/main" id="{C16271EB-0ECB-45D1-A2F7-28E487DF2316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700" y="3596"/>
                <a:ext cx="98" cy="14"/>
              </a:xfrm>
              <a:custGeom>
                <a:avLst/>
                <a:gdLst>
                  <a:gd name="T0" fmla="*/ 90 w 93"/>
                  <a:gd name="T1" fmla="*/ 7 h 13"/>
                  <a:gd name="T2" fmla="*/ 4 w 93"/>
                  <a:gd name="T3" fmla="*/ 1 h 13"/>
                  <a:gd name="T4" fmla="*/ 3 w 93"/>
                  <a:gd name="T5" fmla="*/ 7 h 13"/>
                  <a:gd name="T6" fmla="*/ 52 w 93"/>
                  <a:gd name="T7" fmla="*/ 11 h 13"/>
                  <a:gd name="T8" fmla="*/ 91 w 93"/>
                  <a:gd name="T9" fmla="*/ 10 h 13"/>
                  <a:gd name="T10" fmla="*/ 90 w 93"/>
                  <a:gd name="T11" fmla="*/ 7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93" h="13">
                    <a:moveTo>
                      <a:pt x="90" y="7"/>
                    </a:moveTo>
                    <a:cubicBezTo>
                      <a:pt x="62" y="7"/>
                      <a:pt x="32" y="3"/>
                      <a:pt x="4" y="1"/>
                    </a:cubicBezTo>
                    <a:cubicBezTo>
                      <a:pt x="0" y="0"/>
                      <a:pt x="0" y="6"/>
                      <a:pt x="3" y="7"/>
                    </a:cubicBezTo>
                    <a:cubicBezTo>
                      <a:pt x="19" y="10"/>
                      <a:pt x="36" y="10"/>
                      <a:pt x="52" y="11"/>
                    </a:cubicBezTo>
                    <a:cubicBezTo>
                      <a:pt x="64" y="12"/>
                      <a:pt x="79" y="13"/>
                      <a:pt x="91" y="10"/>
                    </a:cubicBezTo>
                    <a:cubicBezTo>
                      <a:pt x="93" y="10"/>
                      <a:pt x="93" y="7"/>
                      <a:pt x="90" y="7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216" name="Freeform 289">
                <a:extLst>
                  <a:ext uri="{FF2B5EF4-FFF2-40B4-BE49-F238E27FC236}">
                    <a16:creationId xmlns:a16="http://schemas.microsoft.com/office/drawing/2014/main" id="{F61C54FA-C366-479D-AB9D-589436B37972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680" y="3553"/>
                <a:ext cx="69" cy="7"/>
              </a:xfrm>
              <a:custGeom>
                <a:avLst/>
                <a:gdLst>
                  <a:gd name="T0" fmla="*/ 65 w 65"/>
                  <a:gd name="T1" fmla="*/ 1 h 7"/>
                  <a:gd name="T2" fmla="*/ 3 w 65"/>
                  <a:gd name="T3" fmla="*/ 1 h 7"/>
                  <a:gd name="T4" fmla="*/ 3 w 65"/>
                  <a:gd name="T5" fmla="*/ 5 h 7"/>
                  <a:gd name="T6" fmla="*/ 65 w 65"/>
                  <a:gd name="T7" fmla="*/ 2 h 7"/>
                  <a:gd name="T8" fmla="*/ 65 w 65"/>
                  <a:gd name="T9" fmla="*/ 1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5" h="7">
                    <a:moveTo>
                      <a:pt x="65" y="1"/>
                    </a:moveTo>
                    <a:cubicBezTo>
                      <a:pt x="44" y="3"/>
                      <a:pt x="23" y="0"/>
                      <a:pt x="3" y="1"/>
                    </a:cubicBezTo>
                    <a:cubicBezTo>
                      <a:pt x="1" y="1"/>
                      <a:pt x="0" y="5"/>
                      <a:pt x="3" y="5"/>
                    </a:cubicBezTo>
                    <a:cubicBezTo>
                      <a:pt x="23" y="7"/>
                      <a:pt x="45" y="6"/>
                      <a:pt x="65" y="2"/>
                    </a:cubicBezTo>
                    <a:cubicBezTo>
                      <a:pt x="65" y="2"/>
                      <a:pt x="65" y="1"/>
                      <a:pt x="65" y="1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217" name="Freeform 290">
                <a:extLst>
                  <a:ext uri="{FF2B5EF4-FFF2-40B4-BE49-F238E27FC236}">
                    <a16:creationId xmlns:a16="http://schemas.microsoft.com/office/drawing/2014/main" id="{8B12FFFB-6EAD-4FB7-AB09-8640EEED616F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814" y="3147"/>
                <a:ext cx="144" cy="147"/>
              </a:xfrm>
              <a:custGeom>
                <a:avLst/>
                <a:gdLst>
                  <a:gd name="T0" fmla="*/ 103 w 136"/>
                  <a:gd name="T1" fmla="*/ 5 h 139"/>
                  <a:gd name="T2" fmla="*/ 122 w 136"/>
                  <a:gd name="T3" fmla="*/ 8 h 139"/>
                  <a:gd name="T4" fmla="*/ 123 w 136"/>
                  <a:gd name="T5" fmla="*/ 14 h 139"/>
                  <a:gd name="T6" fmla="*/ 86 w 136"/>
                  <a:gd name="T7" fmla="*/ 58 h 139"/>
                  <a:gd name="T8" fmla="*/ 53 w 136"/>
                  <a:gd name="T9" fmla="*/ 103 h 139"/>
                  <a:gd name="T10" fmla="*/ 33 w 136"/>
                  <a:gd name="T11" fmla="*/ 124 h 139"/>
                  <a:gd name="T12" fmla="*/ 2 w 136"/>
                  <a:gd name="T13" fmla="*/ 133 h 139"/>
                  <a:gd name="T14" fmla="*/ 3 w 136"/>
                  <a:gd name="T15" fmla="*/ 138 h 139"/>
                  <a:gd name="T16" fmla="*/ 38 w 136"/>
                  <a:gd name="T17" fmla="*/ 130 h 139"/>
                  <a:gd name="T18" fmla="*/ 69 w 136"/>
                  <a:gd name="T19" fmla="*/ 93 h 139"/>
                  <a:gd name="T20" fmla="*/ 105 w 136"/>
                  <a:gd name="T21" fmla="*/ 45 h 139"/>
                  <a:gd name="T22" fmla="*/ 135 w 136"/>
                  <a:gd name="T23" fmla="*/ 8 h 139"/>
                  <a:gd name="T24" fmla="*/ 134 w 136"/>
                  <a:gd name="T25" fmla="*/ 4 h 139"/>
                  <a:gd name="T26" fmla="*/ 104 w 136"/>
                  <a:gd name="T27" fmla="*/ 4 h 139"/>
                  <a:gd name="T28" fmla="*/ 103 w 136"/>
                  <a:gd name="T29" fmla="*/ 5 h 1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136" h="139">
                    <a:moveTo>
                      <a:pt x="103" y="5"/>
                    </a:moveTo>
                    <a:cubicBezTo>
                      <a:pt x="109" y="8"/>
                      <a:pt x="116" y="6"/>
                      <a:pt x="122" y="8"/>
                    </a:cubicBezTo>
                    <a:cubicBezTo>
                      <a:pt x="129" y="10"/>
                      <a:pt x="129" y="7"/>
                      <a:pt x="123" y="14"/>
                    </a:cubicBezTo>
                    <a:cubicBezTo>
                      <a:pt x="111" y="29"/>
                      <a:pt x="98" y="43"/>
                      <a:pt x="86" y="58"/>
                    </a:cubicBezTo>
                    <a:cubicBezTo>
                      <a:pt x="75" y="73"/>
                      <a:pt x="64" y="88"/>
                      <a:pt x="53" y="103"/>
                    </a:cubicBezTo>
                    <a:cubicBezTo>
                      <a:pt x="47" y="110"/>
                      <a:pt x="41" y="119"/>
                      <a:pt x="33" y="124"/>
                    </a:cubicBezTo>
                    <a:cubicBezTo>
                      <a:pt x="23" y="132"/>
                      <a:pt x="13" y="129"/>
                      <a:pt x="2" y="133"/>
                    </a:cubicBezTo>
                    <a:cubicBezTo>
                      <a:pt x="0" y="134"/>
                      <a:pt x="0" y="138"/>
                      <a:pt x="3" y="138"/>
                    </a:cubicBezTo>
                    <a:cubicBezTo>
                      <a:pt x="16" y="139"/>
                      <a:pt x="27" y="138"/>
                      <a:pt x="38" y="130"/>
                    </a:cubicBezTo>
                    <a:cubicBezTo>
                      <a:pt x="51" y="120"/>
                      <a:pt x="60" y="105"/>
                      <a:pt x="69" y="93"/>
                    </a:cubicBezTo>
                    <a:cubicBezTo>
                      <a:pt x="81" y="77"/>
                      <a:pt x="93" y="61"/>
                      <a:pt x="105" y="45"/>
                    </a:cubicBezTo>
                    <a:cubicBezTo>
                      <a:pt x="115" y="33"/>
                      <a:pt x="129" y="22"/>
                      <a:pt x="135" y="8"/>
                    </a:cubicBezTo>
                    <a:cubicBezTo>
                      <a:pt x="136" y="6"/>
                      <a:pt x="135" y="5"/>
                      <a:pt x="134" y="4"/>
                    </a:cubicBezTo>
                    <a:cubicBezTo>
                      <a:pt x="126" y="0"/>
                      <a:pt x="113" y="6"/>
                      <a:pt x="104" y="4"/>
                    </a:cubicBezTo>
                    <a:cubicBezTo>
                      <a:pt x="103" y="4"/>
                      <a:pt x="102" y="5"/>
                      <a:pt x="103" y="5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218" name="Freeform 291">
                <a:extLst>
                  <a:ext uri="{FF2B5EF4-FFF2-40B4-BE49-F238E27FC236}">
                    <a16:creationId xmlns:a16="http://schemas.microsoft.com/office/drawing/2014/main" id="{16554327-5D05-4C24-9B4F-6BE867F25756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707" y="3375"/>
                <a:ext cx="54" cy="14"/>
              </a:xfrm>
              <a:custGeom>
                <a:avLst/>
                <a:gdLst>
                  <a:gd name="T0" fmla="*/ 48 w 51"/>
                  <a:gd name="T1" fmla="*/ 5 h 13"/>
                  <a:gd name="T2" fmla="*/ 2 w 51"/>
                  <a:gd name="T3" fmla="*/ 6 h 13"/>
                  <a:gd name="T4" fmla="*/ 3 w 51"/>
                  <a:gd name="T5" fmla="*/ 10 h 13"/>
                  <a:gd name="T6" fmla="*/ 49 w 51"/>
                  <a:gd name="T7" fmla="*/ 10 h 13"/>
                  <a:gd name="T8" fmla="*/ 48 w 51"/>
                  <a:gd name="T9" fmla="*/ 5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1" h="13">
                    <a:moveTo>
                      <a:pt x="48" y="5"/>
                    </a:moveTo>
                    <a:cubicBezTo>
                      <a:pt x="33" y="7"/>
                      <a:pt x="17" y="0"/>
                      <a:pt x="2" y="6"/>
                    </a:cubicBezTo>
                    <a:cubicBezTo>
                      <a:pt x="0" y="7"/>
                      <a:pt x="1" y="10"/>
                      <a:pt x="3" y="10"/>
                    </a:cubicBezTo>
                    <a:cubicBezTo>
                      <a:pt x="18" y="9"/>
                      <a:pt x="34" y="13"/>
                      <a:pt x="49" y="10"/>
                    </a:cubicBezTo>
                    <a:cubicBezTo>
                      <a:pt x="51" y="9"/>
                      <a:pt x="50" y="5"/>
                      <a:pt x="48" y="5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219" name="Freeform 292">
                <a:extLst>
                  <a:ext uri="{FF2B5EF4-FFF2-40B4-BE49-F238E27FC236}">
                    <a16:creationId xmlns:a16="http://schemas.microsoft.com/office/drawing/2014/main" id="{F8DE0297-8328-49B6-A561-1C77041DA088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924" y="3110"/>
                <a:ext cx="36" cy="45"/>
              </a:xfrm>
              <a:custGeom>
                <a:avLst/>
                <a:gdLst>
                  <a:gd name="T0" fmla="*/ 28 w 34"/>
                  <a:gd name="T1" fmla="*/ 2 h 42"/>
                  <a:gd name="T2" fmla="*/ 14 w 34"/>
                  <a:gd name="T3" fmla="*/ 18 h 42"/>
                  <a:gd name="T4" fmla="*/ 1 w 34"/>
                  <a:gd name="T5" fmla="*/ 36 h 42"/>
                  <a:gd name="T6" fmla="*/ 6 w 34"/>
                  <a:gd name="T7" fmla="*/ 39 h 42"/>
                  <a:gd name="T8" fmla="*/ 32 w 34"/>
                  <a:gd name="T9" fmla="*/ 6 h 42"/>
                  <a:gd name="T10" fmla="*/ 28 w 34"/>
                  <a:gd name="T11" fmla="*/ 2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4" h="42">
                    <a:moveTo>
                      <a:pt x="28" y="2"/>
                    </a:moveTo>
                    <a:cubicBezTo>
                      <a:pt x="22" y="7"/>
                      <a:pt x="18" y="12"/>
                      <a:pt x="14" y="18"/>
                    </a:cubicBezTo>
                    <a:cubicBezTo>
                      <a:pt x="10" y="24"/>
                      <a:pt x="4" y="29"/>
                      <a:pt x="1" y="36"/>
                    </a:cubicBezTo>
                    <a:cubicBezTo>
                      <a:pt x="0" y="39"/>
                      <a:pt x="4" y="42"/>
                      <a:pt x="6" y="39"/>
                    </a:cubicBezTo>
                    <a:cubicBezTo>
                      <a:pt x="14" y="29"/>
                      <a:pt x="22" y="16"/>
                      <a:pt x="32" y="6"/>
                    </a:cubicBezTo>
                    <a:cubicBezTo>
                      <a:pt x="34" y="4"/>
                      <a:pt x="30" y="0"/>
                      <a:pt x="28" y="2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220" name="Freeform 293">
                <a:extLst>
                  <a:ext uri="{FF2B5EF4-FFF2-40B4-BE49-F238E27FC236}">
                    <a16:creationId xmlns:a16="http://schemas.microsoft.com/office/drawing/2014/main" id="{C0438079-B7E2-4604-B818-677A631855B0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919" y="3149"/>
                <a:ext cx="11" cy="19"/>
              </a:xfrm>
              <a:custGeom>
                <a:avLst/>
                <a:gdLst>
                  <a:gd name="T0" fmla="*/ 7 w 10"/>
                  <a:gd name="T1" fmla="*/ 1 h 18"/>
                  <a:gd name="T2" fmla="*/ 0 w 10"/>
                  <a:gd name="T3" fmla="*/ 14 h 18"/>
                  <a:gd name="T4" fmla="*/ 6 w 10"/>
                  <a:gd name="T5" fmla="*/ 14 h 18"/>
                  <a:gd name="T6" fmla="*/ 9 w 10"/>
                  <a:gd name="T7" fmla="*/ 3 h 18"/>
                  <a:gd name="T8" fmla="*/ 7 w 10"/>
                  <a:gd name="T9" fmla="*/ 1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" h="18">
                    <a:moveTo>
                      <a:pt x="7" y="1"/>
                    </a:moveTo>
                    <a:cubicBezTo>
                      <a:pt x="2" y="3"/>
                      <a:pt x="0" y="9"/>
                      <a:pt x="0" y="14"/>
                    </a:cubicBezTo>
                    <a:cubicBezTo>
                      <a:pt x="0" y="18"/>
                      <a:pt x="5" y="18"/>
                      <a:pt x="6" y="14"/>
                    </a:cubicBezTo>
                    <a:cubicBezTo>
                      <a:pt x="6" y="10"/>
                      <a:pt x="5" y="6"/>
                      <a:pt x="9" y="3"/>
                    </a:cubicBezTo>
                    <a:cubicBezTo>
                      <a:pt x="10" y="2"/>
                      <a:pt x="8" y="0"/>
                      <a:pt x="7" y="1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221" name="Freeform 294">
                <a:extLst>
                  <a:ext uri="{FF2B5EF4-FFF2-40B4-BE49-F238E27FC236}">
                    <a16:creationId xmlns:a16="http://schemas.microsoft.com/office/drawing/2014/main" id="{C8D2FE7F-E757-4E00-9742-7976C4E0ED0C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828" y="3151"/>
                <a:ext cx="123" cy="144"/>
              </a:xfrm>
              <a:custGeom>
                <a:avLst/>
                <a:gdLst>
                  <a:gd name="T0" fmla="*/ 113 w 116"/>
                  <a:gd name="T1" fmla="*/ 10 h 136"/>
                  <a:gd name="T2" fmla="*/ 52 w 116"/>
                  <a:gd name="T3" fmla="*/ 45 h 136"/>
                  <a:gd name="T4" fmla="*/ 0 w 116"/>
                  <a:gd name="T5" fmla="*/ 130 h 136"/>
                  <a:gd name="T6" fmla="*/ 7 w 116"/>
                  <a:gd name="T7" fmla="*/ 132 h 136"/>
                  <a:gd name="T8" fmla="*/ 57 w 116"/>
                  <a:gd name="T9" fmla="*/ 50 h 136"/>
                  <a:gd name="T10" fmla="*/ 112 w 116"/>
                  <a:gd name="T11" fmla="*/ 15 h 136"/>
                  <a:gd name="T12" fmla="*/ 113 w 116"/>
                  <a:gd name="T13" fmla="*/ 10 h 1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16" h="136">
                    <a:moveTo>
                      <a:pt x="113" y="10"/>
                    </a:moveTo>
                    <a:cubicBezTo>
                      <a:pt x="88" y="0"/>
                      <a:pt x="68" y="29"/>
                      <a:pt x="52" y="45"/>
                    </a:cubicBezTo>
                    <a:cubicBezTo>
                      <a:pt x="30" y="67"/>
                      <a:pt x="6" y="99"/>
                      <a:pt x="0" y="130"/>
                    </a:cubicBezTo>
                    <a:cubicBezTo>
                      <a:pt x="0" y="135"/>
                      <a:pt x="6" y="136"/>
                      <a:pt x="7" y="132"/>
                    </a:cubicBezTo>
                    <a:cubicBezTo>
                      <a:pt x="15" y="101"/>
                      <a:pt x="35" y="72"/>
                      <a:pt x="57" y="50"/>
                    </a:cubicBezTo>
                    <a:cubicBezTo>
                      <a:pt x="72" y="35"/>
                      <a:pt x="89" y="12"/>
                      <a:pt x="112" y="15"/>
                    </a:cubicBezTo>
                    <a:cubicBezTo>
                      <a:pt x="115" y="15"/>
                      <a:pt x="116" y="11"/>
                      <a:pt x="113" y="10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222" name="Freeform 295">
                <a:extLst>
                  <a:ext uri="{FF2B5EF4-FFF2-40B4-BE49-F238E27FC236}">
                    <a16:creationId xmlns:a16="http://schemas.microsoft.com/office/drawing/2014/main" id="{F1F1C2DD-4007-4B77-8B6E-657903F4285B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7248" y="2986"/>
                <a:ext cx="278" cy="31"/>
              </a:xfrm>
              <a:custGeom>
                <a:avLst/>
                <a:gdLst>
                  <a:gd name="T0" fmla="*/ 261 w 263"/>
                  <a:gd name="T1" fmla="*/ 25 h 29"/>
                  <a:gd name="T2" fmla="*/ 227 w 263"/>
                  <a:gd name="T3" fmla="*/ 1 h 29"/>
                  <a:gd name="T4" fmla="*/ 148 w 263"/>
                  <a:gd name="T5" fmla="*/ 3 h 29"/>
                  <a:gd name="T6" fmla="*/ 1 w 263"/>
                  <a:gd name="T7" fmla="*/ 20 h 29"/>
                  <a:gd name="T8" fmla="*/ 1 w 263"/>
                  <a:gd name="T9" fmla="*/ 22 h 29"/>
                  <a:gd name="T10" fmla="*/ 77 w 263"/>
                  <a:gd name="T11" fmla="*/ 14 h 29"/>
                  <a:gd name="T12" fmla="*/ 148 w 263"/>
                  <a:gd name="T13" fmla="*/ 10 h 29"/>
                  <a:gd name="T14" fmla="*/ 214 w 263"/>
                  <a:gd name="T15" fmla="*/ 8 h 29"/>
                  <a:gd name="T16" fmla="*/ 250 w 263"/>
                  <a:gd name="T17" fmla="*/ 21 h 29"/>
                  <a:gd name="T18" fmla="*/ 259 w 263"/>
                  <a:gd name="T19" fmla="*/ 28 h 29"/>
                  <a:gd name="T20" fmla="*/ 261 w 263"/>
                  <a:gd name="T21" fmla="*/ 25 h 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263" h="29">
                    <a:moveTo>
                      <a:pt x="261" y="25"/>
                    </a:moveTo>
                    <a:cubicBezTo>
                      <a:pt x="248" y="15"/>
                      <a:pt x="245" y="2"/>
                      <a:pt x="227" y="1"/>
                    </a:cubicBezTo>
                    <a:cubicBezTo>
                      <a:pt x="201" y="0"/>
                      <a:pt x="174" y="3"/>
                      <a:pt x="148" y="3"/>
                    </a:cubicBezTo>
                    <a:cubicBezTo>
                      <a:pt x="99" y="2"/>
                      <a:pt x="48" y="8"/>
                      <a:pt x="1" y="20"/>
                    </a:cubicBezTo>
                    <a:cubicBezTo>
                      <a:pt x="0" y="21"/>
                      <a:pt x="0" y="22"/>
                      <a:pt x="1" y="22"/>
                    </a:cubicBezTo>
                    <a:cubicBezTo>
                      <a:pt x="26" y="17"/>
                      <a:pt x="52" y="17"/>
                      <a:pt x="77" y="14"/>
                    </a:cubicBezTo>
                    <a:cubicBezTo>
                      <a:pt x="101" y="11"/>
                      <a:pt x="124" y="10"/>
                      <a:pt x="148" y="10"/>
                    </a:cubicBezTo>
                    <a:cubicBezTo>
                      <a:pt x="170" y="10"/>
                      <a:pt x="192" y="9"/>
                      <a:pt x="214" y="8"/>
                    </a:cubicBezTo>
                    <a:cubicBezTo>
                      <a:pt x="229" y="8"/>
                      <a:pt x="239" y="11"/>
                      <a:pt x="250" y="21"/>
                    </a:cubicBezTo>
                    <a:cubicBezTo>
                      <a:pt x="253" y="25"/>
                      <a:pt x="255" y="27"/>
                      <a:pt x="259" y="28"/>
                    </a:cubicBezTo>
                    <a:cubicBezTo>
                      <a:pt x="262" y="29"/>
                      <a:pt x="263" y="26"/>
                      <a:pt x="261" y="25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223" name="Freeform 296">
                <a:extLst>
                  <a:ext uri="{FF2B5EF4-FFF2-40B4-BE49-F238E27FC236}">
                    <a16:creationId xmlns:a16="http://schemas.microsoft.com/office/drawing/2014/main" id="{527501D9-B884-4F02-806D-B8272519CEF2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7303" y="3007"/>
                <a:ext cx="63" cy="35"/>
              </a:xfrm>
              <a:custGeom>
                <a:avLst/>
                <a:gdLst>
                  <a:gd name="T0" fmla="*/ 57 w 60"/>
                  <a:gd name="T1" fmla="*/ 1 h 33"/>
                  <a:gd name="T2" fmla="*/ 31 w 60"/>
                  <a:gd name="T3" fmla="*/ 14 h 33"/>
                  <a:gd name="T4" fmla="*/ 19 w 60"/>
                  <a:gd name="T5" fmla="*/ 21 h 33"/>
                  <a:gd name="T6" fmla="*/ 2 w 60"/>
                  <a:gd name="T7" fmla="*/ 29 h 33"/>
                  <a:gd name="T8" fmla="*/ 3 w 60"/>
                  <a:gd name="T9" fmla="*/ 33 h 33"/>
                  <a:gd name="T10" fmla="*/ 18 w 60"/>
                  <a:gd name="T11" fmla="*/ 31 h 33"/>
                  <a:gd name="T12" fmla="*/ 31 w 60"/>
                  <a:gd name="T13" fmla="*/ 21 h 33"/>
                  <a:gd name="T14" fmla="*/ 59 w 60"/>
                  <a:gd name="T15" fmla="*/ 3 h 33"/>
                  <a:gd name="T16" fmla="*/ 57 w 60"/>
                  <a:gd name="T17" fmla="*/ 1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60" h="33">
                    <a:moveTo>
                      <a:pt x="57" y="1"/>
                    </a:moveTo>
                    <a:cubicBezTo>
                      <a:pt x="50" y="8"/>
                      <a:pt x="40" y="10"/>
                      <a:pt x="31" y="14"/>
                    </a:cubicBezTo>
                    <a:cubicBezTo>
                      <a:pt x="27" y="16"/>
                      <a:pt x="23" y="19"/>
                      <a:pt x="19" y="21"/>
                    </a:cubicBezTo>
                    <a:cubicBezTo>
                      <a:pt x="14" y="25"/>
                      <a:pt x="8" y="27"/>
                      <a:pt x="2" y="29"/>
                    </a:cubicBezTo>
                    <a:cubicBezTo>
                      <a:pt x="0" y="30"/>
                      <a:pt x="0" y="33"/>
                      <a:pt x="3" y="33"/>
                    </a:cubicBezTo>
                    <a:cubicBezTo>
                      <a:pt x="7" y="33"/>
                      <a:pt x="13" y="33"/>
                      <a:pt x="18" y="31"/>
                    </a:cubicBezTo>
                    <a:cubicBezTo>
                      <a:pt x="22" y="29"/>
                      <a:pt x="26" y="24"/>
                      <a:pt x="31" y="21"/>
                    </a:cubicBezTo>
                    <a:cubicBezTo>
                      <a:pt x="41" y="15"/>
                      <a:pt x="52" y="14"/>
                      <a:pt x="59" y="3"/>
                    </a:cubicBezTo>
                    <a:cubicBezTo>
                      <a:pt x="60" y="1"/>
                      <a:pt x="58" y="0"/>
                      <a:pt x="57" y="1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224" name="Freeform 297">
                <a:extLst>
                  <a:ext uri="{FF2B5EF4-FFF2-40B4-BE49-F238E27FC236}">
                    <a16:creationId xmlns:a16="http://schemas.microsoft.com/office/drawing/2014/main" id="{00BE78AA-3A00-49EC-8B2B-BFF51886AE7B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7257" y="3038"/>
                <a:ext cx="18" cy="3"/>
              </a:xfrm>
              <a:custGeom>
                <a:avLst/>
                <a:gdLst>
                  <a:gd name="T0" fmla="*/ 16 w 17"/>
                  <a:gd name="T1" fmla="*/ 1 h 3"/>
                  <a:gd name="T2" fmla="*/ 1 w 17"/>
                  <a:gd name="T3" fmla="*/ 2 h 3"/>
                  <a:gd name="T4" fmla="*/ 1 w 17"/>
                  <a:gd name="T5" fmla="*/ 3 h 3"/>
                  <a:gd name="T6" fmla="*/ 16 w 17"/>
                  <a:gd name="T7" fmla="*/ 2 h 3"/>
                  <a:gd name="T8" fmla="*/ 16 w 17"/>
                  <a:gd name="T9" fmla="*/ 1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7" h="3">
                    <a:moveTo>
                      <a:pt x="16" y="1"/>
                    </a:moveTo>
                    <a:cubicBezTo>
                      <a:pt x="11" y="2"/>
                      <a:pt x="6" y="0"/>
                      <a:pt x="1" y="2"/>
                    </a:cubicBezTo>
                    <a:cubicBezTo>
                      <a:pt x="0" y="2"/>
                      <a:pt x="0" y="3"/>
                      <a:pt x="1" y="3"/>
                    </a:cubicBezTo>
                    <a:cubicBezTo>
                      <a:pt x="6" y="3"/>
                      <a:pt x="11" y="3"/>
                      <a:pt x="16" y="2"/>
                    </a:cubicBezTo>
                    <a:cubicBezTo>
                      <a:pt x="17" y="2"/>
                      <a:pt x="17" y="1"/>
                      <a:pt x="16" y="1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225" name="Freeform 298">
                <a:extLst>
                  <a:ext uri="{FF2B5EF4-FFF2-40B4-BE49-F238E27FC236}">
                    <a16:creationId xmlns:a16="http://schemas.microsoft.com/office/drawing/2014/main" id="{7EC7BD98-BE29-4537-84EE-F0E36709D911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7309" y="3039"/>
                <a:ext cx="40" cy="15"/>
              </a:xfrm>
              <a:custGeom>
                <a:avLst/>
                <a:gdLst>
                  <a:gd name="T0" fmla="*/ 1 w 38"/>
                  <a:gd name="T1" fmla="*/ 2 h 14"/>
                  <a:gd name="T2" fmla="*/ 16 w 38"/>
                  <a:gd name="T3" fmla="*/ 7 h 14"/>
                  <a:gd name="T4" fmla="*/ 32 w 38"/>
                  <a:gd name="T5" fmla="*/ 13 h 14"/>
                  <a:gd name="T6" fmla="*/ 35 w 38"/>
                  <a:gd name="T7" fmla="*/ 8 h 14"/>
                  <a:gd name="T8" fmla="*/ 18 w 38"/>
                  <a:gd name="T9" fmla="*/ 2 h 14"/>
                  <a:gd name="T10" fmla="*/ 2 w 38"/>
                  <a:gd name="T11" fmla="*/ 0 h 14"/>
                  <a:gd name="T12" fmla="*/ 1 w 38"/>
                  <a:gd name="T13" fmla="*/ 2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8" h="14">
                    <a:moveTo>
                      <a:pt x="1" y="2"/>
                    </a:moveTo>
                    <a:cubicBezTo>
                      <a:pt x="6" y="4"/>
                      <a:pt x="11" y="5"/>
                      <a:pt x="16" y="7"/>
                    </a:cubicBezTo>
                    <a:cubicBezTo>
                      <a:pt x="22" y="9"/>
                      <a:pt x="27" y="12"/>
                      <a:pt x="32" y="13"/>
                    </a:cubicBezTo>
                    <a:cubicBezTo>
                      <a:pt x="35" y="14"/>
                      <a:pt x="38" y="10"/>
                      <a:pt x="35" y="8"/>
                    </a:cubicBezTo>
                    <a:cubicBezTo>
                      <a:pt x="30" y="6"/>
                      <a:pt x="24" y="3"/>
                      <a:pt x="18" y="2"/>
                    </a:cubicBezTo>
                    <a:cubicBezTo>
                      <a:pt x="13" y="1"/>
                      <a:pt x="7" y="1"/>
                      <a:pt x="2" y="0"/>
                    </a:cubicBezTo>
                    <a:cubicBezTo>
                      <a:pt x="1" y="0"/>
                      <a:pt x="0" y="2"/>
                      <a:pt x="1" y="2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226" name="Freeform 299">
                <a:extLst>
                  <a:ext uri="{FF2B5EF4-FFF2-40B4-BE49-F238E27FC236}">
                    <a16:creationId xmlns:a16="http://schemas.microsoft.com/office/drawing/2014/main" id="{AB39057A-8040-4C2E-B73E-8436506AC938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7256" y="3013"/>
                <a:ext cx="282" cy="51"/>
              </a:xfrm>
              <a:custGeom>
                <a:avLst/>
                <a:gdLst>
                  <a:gd name="T0" fmla="*/ 3 w 266"/>
                  <a:gd name="T1" fmla="*/ 46 h 48"/>
                  <a:gd name="T2" fmla="*/ 56 w 266"/>
                  <a:gd name="T3" fmla="*/ 42 h 48"/>
                  <a:gd name="T4" fmla="*/ 119 w 266"/>
                  <a:gd name="T5" fmla="*/ 31 h 48"/>
                  <a:gd name="T6" fmla="*/ 262 w 266"/>
                  <a:gd name="T7" fmla="*/ 7 h 48"/>
                  <a:gd name="T8" fmla="*/ 261 w 266"/>
                  <a:gd name="T9" fmla="*/ 0 h 48"/>
                  <a:gd name="T10" fmla="*/ 200 w 266"/>
                  <a:gd name="T11" fmla="*/ 9 h 48"/>
                  <a:gd name="T12" fmla="*/ 134 w 266"/>
                  <a:gd name="T13" fmla="*/ 21 h 48"/>
                  <a:gd name="T14" fmla="*/ 3 w 266"/>
                  <a:gd name="T15" fmla="*/ 41 h 48"/>
                  <a:gd name="T16" fmla="*/ 3 w 266"/>
                  <a:gd name="T17" fmla="*/ 46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66" h="48">
                    <a:moveTo>
                      <a:pt x="3" y="46"/>
                    </a:moveTo>
                    <a:cubicBezTo>
                      <a:pt x="20" y="48"/>
                      <a:pt x="39" y="44"/>
                      <a:pt x="56" y="42"/>
                    </a:cubicBezTo>
                    <a:cubicBezTo>
                      <a:pt x="77" y="40"/>
                      <a:pt x="98" y="35"/>
                      <a:pt x="119" y="31"/>
                    </a:cubicBezTo>
                    <a:cubicBezTo>
                      <a:pt x="166" y="22"/>
                      <a:pt x="214" y="12"/>
                      <a:pt x="262" y="7"/>
                    </a:cubicBezTo>
                    <a:cubicBezTo>
                      <a:pt x="266" y="6"/>
                      <a:pt x="266" y="0"/>
                      <a:pt x="261" y="0"/>
                    </a:cubicBezTo>
                    <a:cubicBezTo>
                      <a:pt x="241" y="0"/>
                      <a:pt x="220" y="6"/>
                      <a:pt x="200" y="9"/>
                    </a:cubicBezTo>
                    <a:cubicBezTo>
                      <a:pt x="178" y="12"/>
                      <a:pt x="156" y="16"/>
                      <a:pt x="134" y="21"/>
                    </a:cubicBezTo>
                    <a:cubicBezTo>
                      <a:pt x="90" y="31"/>
                      <a:pt x="48" y="41"/>
                      <a:pt x="3" y="41"/>
                    </a:cubicBezTo>
                    <a:cubicBezTo>
                      <a:pt x="0" y="41"/>
                      <a:pt x="0" y="45"/>
                      <a:pt x="3" y="46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227" name="Freeform 300">
                <a:extLst>
                  <a:ext uri="{FF2B5EF4-FFF2-40B4-BE49-F238E27FC236}">
                    <a16:creationId xmlns:a16="http://schemas.microsoft.com/office/drawing/2014/main" id="{2659D221-0AD1-4BE3-ACAB-F70EBBDE9875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7169" y="3523"/>
                <a:ext cx="156" cy="21"/>
              </a:xfrm>
              <a:custGeom>
                <a:avLst/>
                <a:gdLst>
                  <a:gd name="T0" fmla="*/ 1 w 147"/>
                  <a:gd name="T1" fmla="*/ 10 h 20"/>
                  <a:gd name="T2" fmla="*/ 48 w 147"/>
                  <a:gd name="T3" fmla="*/ 14 h 20"/>
                  <a:gd name="T4" fmla="*/ 144 w 147"/>
                  <a:gd name="T5" fmla="*/ 6 h 20"/>
                  <a:gd name="T6" fmla="*/ 143 w 147"/>
                  <a:gd name="T7" fmla="*/ 1 h 20"/>
                  <a:gd name="T8" fmla="*/ 67 w 147"/>
                  <a:gd name="T9" fmla="*/ 8 h 20"/>
                  <a:gd name="T10" fmla="*/ 34 w 147"/>
                  <a:gd name="T11" fmla="*/ 8 h 20"/>
                  <a:gd name="T12" fmla="*/ 4 w 147"/>
                  <a:gd name="T13" fmla="*/ 7 h 20"/>
                  <a:gd name="T14" fmla="*/ 1 w 147"/>
                  <a:gd name="T15" fmla="*/ 1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47" h="20">
                    <a:moveTo>
                      <a:pt x="1" y="10"/>
                    </a:moveTo>
                    <a:cubicBezTo>
                      <a:pt x="10" y="20"/>
                      <a:pt x="38" y="14"/>
                      <a:pt x="48" y="14"/>
                    </a:cubicBezTo>
                    <a:cubicBezTo>
                      <a:pt x="79" y="13"/>
                      <a:pt x="114" y="15"/>
                      <a:pt x="144" y="6"/>
                    </a:cubicBezTo>
                    <a:cubicBezTo>
                      <a:pt x="147" y="5"/>
                      <a:pt x="146" y="0"/>
                      <a:pt x="143" y="1"/>
                    </a:cubicBezTo>
                    <a:cubicBezTo>
                      <a:pt x="117" y="5"/>
                      <a:pt x="93" y="7"/>
                      <a:pt x="67" y="8"/>
                    </a:cubicBezTo>
                    <a:cubicBezTo>
                      <a:pt x="56" y="8"/>
                      <a:pt x="45" y="8"/>
                      <a:pt x="34" y="8"/>
                    </a:cubicBezTo>
                    <a:cubicBezTo>
                      <a:pt x="24" y="8"/>
                      <a:pt x="13" y="11"/>
                      <a:pt x="4" y="7"/>
                    </a:cubicBezTo>
                    <a:cubicBezTo>
                      <a:pt x="1" y="6"/>
                      <a:pt x="0" y="9"/>
                      <a:pt x="1" y="10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228" name="Freeform 301">
                <a:extLst>
                  <a:ext uri="{FF2B5EF4-FFF2-40B4-BE49-F238E27FC236}">
                    <a16:creationId xmlns:a16="http://schemas.microsoft.com/office/drawing/2014/main" id="{82097B91-9292-4393-8965-91E8F6503328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7526" y="3010"/>
                <a:ext cx="140" cy="86"/>
              </a:xfrm>
              <a:custGeom>
                <a:avLst/>
                <a:gdLst>
                  <a:gd name="T0" fmla="*/ 132 w 132"/>
                  <a:gd name="T1" fmla="*/ 79 h 82"/>
                  <a:gd name="T2" fmla="*/ 94 w 132"/>
                  <a:gd name="T3" fmla="*/ 23 h 82"/>
                  <a:gd name="T4" fmla="*/ 39 w 132"/>
                  <a:gd name="T5" fmla="*/ 8 h 82"/>
                  <a:gd name="T6" fmla="*/ 3 w 132"/>
                  <a:gd name="T7" fmla="*/ 3 h 82"/>
                  <a:gd name="T8" fmla="*/ 4 w 132"/>
                  <a:gd name="T9" fmla="*/ 8 h 82"/>
                  <a:gd name="T10" fmla="*/ 69 w 132"/>
                  <a:gd name="T11" fmla="*/ 21 h 82"/>
                  <a:gd name="T12" fmla="*/ 111 w 132"/>
                  <a:gd name="T13" fmla="*/ 38 h 82"/>
                  <a:gd name="T14" fmla="*/ 129 w 132"/>
                  <a:gd name="T15" fmla="*/ 80 h 82"/>
                  <a:gd name="T16" fmla="*/ 132 w 132"/>
                  <a:gd name="T17" fmla="*/ 79 h 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32" h="82">
                    <a:moveTo>
                      <a:pt x="132" y="79"/>
                    </a:moveTo>
                    <a:cubicBezTo>
                      <a:pt x="128" y="54"/>
                      <a:pt x="120" y="32"/>
                      <a:pt x="94" y="23"/>
                    </a:cubicBezTo>
                    <a:cubicBezTo>
                      <a:pt x="76" y="17"/>
                      <a:pt x="57" y="12"/>
                      <a:pt x="39" y="8"/>
                    </a:cubicBezTo>
                    <a:cubicBezTo>
                      <a:pt x="28" y="5"/>
                      <a:pt x="15" y="0"/>
                      <a:pt x="3" y="3"/>
                    </a:cubicBezTo>
                    <a:cubicBezTo>
                      <a:pt x="0" y="4"/>
                      <a:pt x="1" y="8"/>
                      <a:pt x="4" y="8"/>
                    </a:cubicBezTo>
                    <a:cubicBezTo>
                      <a:pt x="26" y="9"/>
                      <a:pt x="47" y="16"/>
                      <a:pt x="69" y="21"/>
                    </a:cubicBezTo>
                    <a:cubicBezTo>
                      <a:pt x="83" y="25"/>
                      <a:pt x="100" y="27"/>
                      <a:pt x="111" y="38"/>
                    </a:cubicBezTo>
                    <a:cubicBezTo>
                      <a:pt x="122" y="49"/>
                      <a:pt x="124" y="66"/>
                      <a:pt x="129" y="80"/>
                    </a:cubicBezTo>
                    <a:cubicBezTo>
                      <a:pt x="130" y="82"/>
                      <a:pt x="132" y="81"/>
                      <a:pt x="132" y="79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229" name="Freeform 302">
                <a:extLst>
                  <a:ext uri="{FF2B5EF4-FFF2-40B4-BE49-F238E27FC236}">
                    <a16:creationId xmlns:a16="http://schemas.microsoft.com/office/drawing/2014/main" id="{B2B12EC9-9E3D-423D-BCAC-CAE98061BBCD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7409" y="3072"/>
                <a:ext cx="272" cy="476"/>
              </a:xfrm>
              <a:custGeom>
                <a:avLst/>
                <a:gdLst>
                  <a:gd name="T0" fmla="*/ 233 w 257"/>
                  <a:gd name="T1" fmla="*/ 1 h 450"/>
                  <a:gd name="T2" fmla="*/ 245 w 257"/>
                  <a:gd name="T3" fmla="*/ 60 h 450"/>
                  <a:gd name="T4" fmla="*/ 229 w 257"/>
                  <a:gd name="T5" fmla="*/ 134 h 450"/>
                  <a:gd name="T6" fmla="*/ 154 w 257"/>
                  <a:gd name="T7" fmla="*/ 240 h 450"/>
                  <a:gd name="T8" fmla="*/ 2 w 257"/>
                  <a:gd name="T9" fmla="*/ 445 h 450"/>
                  <a:gd name="T10" fmla="*/ 5 w 257"/>
                  <a:gd name="T11" fmla="*/ 448 h 450"/>
                  <a:gd name="T12" fmla="*/ 46 w 257"/>
                  <a:gd name="T13" fmla="*/ 401 h 450"/>
                  <a:gd name="T14" fmla="*/ 83 w 257"/>
                  <a:gd name="T15" fmla="*/ 349 h 450"/>
                  <a:gd name="T16" fmla="*/ 167 w 257"/>
                  <a:gd name="T17" fmla="*/ 235 h 450"/>
                  <a:gd name="T18" fmla="*/ 240 w 257"/>
                  <a:gd name="T19" fmla="*/ 125 h 450"/>
                  <a:gd name="T20" fmla="*/ 234 w 257"/>
                  <a:gd name="T21" fmla="*/ 1 h 450"/>
                  <a:gd name="T22" fmla="*/ 233 w 257"/>
                  <a:gd name="T23" fmla="*/ 1 h 4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257" h="450">
                    <a:moveTo>
                      <a:pt x="233" y="1"/>
                    </a:moveTo>
                    <a:cubicBezTo>
                      <a:pt x="236" y="21"/>
                      <a:pt x="244" y="40"/>
                      <a:pt x="245" y="60"/>
                    </a:cubicBezTo>
                    <a:cubicBezTo>
                      <a:pt x="247" y="85"/>
                      <a:pt x="241" y="112"/>
                      <a:pt x="229" y="134"/>
                    </a:cubicBezTo>
                    <a:cubicBezTo>
                      <a:pt x="208" y="171"/>
                      <a:pt x="181" y="207"/>
                      <a:pt x="154" y="240"/>
                    </a:cubicBezTo>
                    <a:cubicBezTo>
                      <a:pt x="101" y="306"/>
                      <a:pt x="58" y="381"/>
                      <a:pt x="2" y="445"/>
                    </a:cubicBezTo>
                    <a:cubicBezTo>
                      <a:pt x="0" y="447"/>
                      <a:pt x="3" y="450"/>
                      <a:pt x="5" y="448"/>
                    </a:cubicBezTo>
                    <a:cubicBezTo>
                      <a:pt x="21" y="435"/>
                      <a:pt x="34" y="418"/>
                      <a:pt x="46" y="401"/>
                    </a:cubicBezTo>
                    <a:cubicBezTo>
                      <a:pt x="58" y="383"/>
                      <a:pt x="71" y="367"/>
                      <a:pt x="83" y="349"/>
                    </a:cubicBezTo>
                    <a:cubicBezTo>
                      <a:pt x="111" y="310"/>
                      <a:pt x="137" y="272"/>
                      <a:pt x="167" y="235"/>
                    </a:cubicBezTo>
                    <a:cubicBezTo>
                      <a:pt x="193" y="202"/>
                      <a:pt x="223" y="164"/>
                      <a:pt x="240" y="125"/>
                    </a:cubicBezTo>
                    <a:cubicBezTo>
                      <a:pt x="257" y="83"/>
                      <a:pt x="250" y="41"/>
                      <a:pt x="234" y="1"/>
                    </a:cubicBezTo>
                    <a:cubicBezTo>
                      <a:pt x="234" y="0"/>
                      <a:pt x="233" y="0"/>
                      <a:pt x="233" y="1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230" name="Freeform 303">
                <a:extLst>
                  <a:ext uri="{FF2B5EF4-FFF2-40B4-BE49-F238E27FC236}">
                    <a16:creationId xmlns:a16="http://schemas.microsoft.com/office/drawing/2014/main" id="{CD6B0AB7-40E1-4D47-9479-E195EF4A1493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7328" y="3537"/>
                <a:ext cx="89" cy="39"/>
              </a:xfrm>
              <a:custGeom>
                <a:avLst/>
                <a:gdLst>
                  <a:gd name="T0" fmla="*/ 80 w 84"/>
                  <a:gd name="T1" fmla="*/ 1 h 37"/>
                  <a:gd name="T2" fmla="*/ 46 w 84"/>
                  <a:gd name="T3" fmla="*/ 29 h 37"/>
                  <a:gd name="T4" fmla="*/ 1 w 84"/>
                  <a:gd name="T5" fmla="*/ 2 h 37"/>
                  <a:gd name="T6" fmla="*/ 0 w 84"/>
                  <a:gd name="T7" fmla="*/ 3 h 37"/>
                  <a:gd name="T8" fmla="*/ 33 w 84"/>
                  <a:gd name="T9" fmla="*/ 35 h 37"/>
                  <a:gd name="T10" fmla="*/ 60 w 84"/>
                  <a:gd name="T11" fmla="*/ 28 h 37"/>
                  <a:gd name="T12" fmla="*/ 83 w 84"/>
                  <a:gd name="T13" fmla="*/ 4 h 37"/>
                  <a:gd name="T14" fmla="*/ 80 w 84"/>
                  <a:gd name="T15" fmla="*/ 1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84" h="37">
                    <a:moveTo>
                      <a:pt x="80" y="1"/>
                    </a:moveTo>
                    <a:cubicBezTo>
                      <a:pt x="69" y="12"/>
                      <a:pt x="62" y="25"/>
                      <a:pt x="46" y="29"/>
                    </a:cubicBezTo>
                    <a:cubicBezTo>
                      <a:pt x="26" y="33"/>
                      <a:pt x="9" y="19"/>
                      <a:pt x="1" y="2"/>
                    </a:cubicBezTo>
                    <a:cubicBezTo>
                      <a:pt x="1" y="2"/>
                      <a:pt x="0" y="2"/>
                      <a:pt x="0" y="3"/>
                    </a:cubicBezTo>
                    <a:cubicBezTo>
                      <a:pt x="3" y="20"/>
                      <a:pt x="17" y="31"/>
                      <a:pt x="33" y="35"/>
                    </a:cubicBezTo>
                    <a:cubicBezTo>
                      <a:pt x="43" y="37"/>
                      <a:pt x="52" y="34"/>
                      <a:pt x="60" y="28"/>
                    </a:cubicBezTo>
                    <a:cubicBezTo>
                      <a:pt x="71" y="21"/>
                      <a:pt x="76" y="14"/>
                      <a:pt x="83" y="4"/>
                    </a:cubicBezTo>
                    <a:cubicBezTo>
                      <a:pt x="84" y="2"/>
                      <a:pt x="81" y="0"/>
                      <a:pt x="80" y="1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231" name="Freeform 304">
                <a:extLst>
                  <a:ext uri="{FF2B5EF4-FFF2-40B4-BE49-F238E27FC236}">
                    <a16:creationId xmlns:a16="http://schemas.microsoft.com/office/drawing/2014/main" id="{016876AB-02E1-4B25-89FB-CE299C120AD5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7311" y="3453"/>
                <a:ext cx="9" cy="47"/>
              </a:xfrm>
              <a:custGeom>
                <a:avLst/>
                <a:gdLst>
                  <a:gd name="T0" fmla="*/ 8 w 8"/>
                  <a:gd name="T1" fmla="*/ 43 h 44"/>
                  <a:gd name="T2" fmla="*/ 2 w 8"/>
                  <a:gd name="T3" fmla="*/ 1 h 44"/>
                  <a:gd name="T4" fmla="*/ 0 w 8"/>
                  <a:gd name="T5" fmla="*/ 1 h 44"/>
                  <a:gd name="T6" fmla="*/ 6 w 8"/>
                  <a:gd name="T7" fmla="*/ 44 h 44"/>
                  <a:gd name="T8" fmla="*/ 8 w 8"/>
                  <a:gd name="T9" fmla="*/ 43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4">
                    <a:moveTo>
                      <a:pt x="8" y="43"/>
                    </a:moveTo>
                    <a:cubicBezTo>
                      <a:pt x="5" y="29"/>
                      <a:pt x="3" y="15"/>
                      <a:pt x="2" y="1"/>
                    </a:cubicBezTo>
                    <a:cubicBezTo>
                      <a:pt x="2" y="0"/>
                      <a:pt x="0" y="1"/>
                      <a:pt x="0" y="1"/>
                    </a:cubicBezTo>
                    <a:cubicBezTo>
                      <a:pt x="0" y="16"/>
                      <a:pt x="2" y="30"/>
                      <a:pt x="6" y="44"/>
                    </a:cubicBezTo>
                    <a:cubicBezTo>
                      <a:pt x="7" y="44"/>
                      <a:pt x="8" y="44"/>
                      <a:pt x="8" y="43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232" name="Freeform 305">
                <a:extLst>
                  <a:ext uri="{FF2B5EF4-FFF2-40B4-BE49-F238E27FC236}">
                    <a16:creationId xmlns:a16="http://schemas.microsoft.com/office/drawing/2014/main" id="{8AB1B0B7-9772-442C-AE56-044ACB73DFF9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7204" y="3571"/>
                <a:ext cx="171" cy="28"/>
              </a:xfrm>
              <a:custGeom>
                <a:avLst/>
                <a:gdLst>
                  <a:gd name="T0" fmla="*/ 159 w 161"/>
                  <a:gd name="T1" fmla="*/ 1 h 27"/>
                  <a:gd name="T2" fmla="*/ 118 w 161"/>
                  <a:gd name="T3" fmla="*/ 4 h 27"/>
                  <a:gd name="T4" fmla="*/ 85 w 161"/>
                  <a:gd name="T5" fmla="*/ 6 h 27"/>
                  <a:gd name="T6" fmla="*/ 5 w 161"/>
                  <a:gd name="T7" fmla="*/ 20 h 27"/>
                  <a:gd name="T8" fmla="*/ 5 w 161"/>
                  <a:gd name="T9" fmla="*/ 27 h 27"/>
                  <a:gd name="T10" fmla="*/ 86 w 161"/>
                  <a:gd name="T11" fmla="*/ 12 h 27"/>
                  <a:gd name="T12" fmla="*/ 138 w 161"/>
                  <a:gd name="T13" fmla="*/ 10 h 27"/>
                  <a:gd name="T14" fmla="*/ 160 w 161"/>
                  <a:gd name="T15" fmla="*/ 3 h 27"/>
                  <a:gd name="T16" fmla="*/ 159 w 161"/>
                  <a:gd name="T17" fmla="*/ 1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61" h="27">
                    <a:moveTo>
                      <a:pt x="159" y="1"/>
                    </a:moveTo>
                    <a:cubicBezTo>
                      <a:pt x="147" y="7"/>
                      <a:pt x="131" y="4"/>
                      <a:pt x="118" y="4"/>
                    </a:cubicBezTo>
                    <a:cubicBezTo>
                      <a:pt x="107" y="4"/>
                      <a:pt x="96" y="4"/>
                      <a:pt x="85" y="6"/>
                    </a:cubicBezTo>
                    <a:cubicBezTo>
                      <a:pt x="59" y="10"/>
                      <a:pt x="31" y="20"/>
                      <a:pt x="5" y="20"/>
                    </a:cubicBezTo>
                    <a:cubicBezTo>
                      <a:pt x="0" y="20"/>
                      <a:pt x="1" y="27"/>
                      <a:pt x="5" y="27"/>
                    </a:cubicBezTo>
                    <a:cubicBezTo>
                      <a:pt x="32" y="27"/>
                      <a:pt x="60" y="16"/>
                      <a:pt x="86" y="12"/>
                    </a:cubicBezTo>
                    <a:cubicBezTo>
                      <a:pt x="104" y="9"/>
                      <a:pt x="121" y="11"/>
                      <a:pt x="138" y="10"/>
                    </a:cubicBezTo>
                    <a:cubicBezTo>
                      <a:pt x="147" y="9"/>
                      <a:pt x="154" y="8"/>
                      <a:pt x="160" y="3"/>
                    </a:cubicBezTo>
                    <a:cubicBezTo>
                      <a:pt x="161" y="2"/>
                      <a:pt x="160" y="0"/>
                      <a:pt x="159" y="1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233" name="Freeform 306">
                <a:extLst>
                  <a:ext uri="{FF2B5EF4-FFF2-40B4-BE49-F238E27FC236}">
                    <a16:creationId xmlns:a16="http://schemas.microsoft.com/office/drawing/2014/main" id="{B4D6665D-4F03-4C95-919E-CA60E75C39F2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7478" y="3028"/>
                <a:ext cx="160" cy="173"/>
              </a:xfrm>
              <a:custGeom>
                <a:avLst/>
                <a:gdLst>
                  <a:gd name="T0" fmla="*/ 150 w 151"/>
                  <a:gd name="T1" fmla="*/ 17 h 164"/>
                  <a:gd name="T2" fmla="*/ 82 w 151"/>
                  <a:gd name="T3" fmla="*/ 52 h 164"/>
                  <a:gd name="T4" fmla="*/ 44 w 151"/>
                  <a:gd name="T5" fmla="*/ 103 h 164"/>
                  <a:gd name="T6" fmla="*/ 2 w 151"/>
                  <a:gd name="T7" fmla="*/ 159 h 164"/>
                  <a:gd name="T8" fmla="*/ 5 w 151"/>
                  <a:gd name="T9" fmla="*/ 162 h 164"/>
                  <a:gd name="T10" fmla="*/ 63 w 151"/>
                  <a:gd name="T11" fmla="*/ 87 h 164"/>
                  <a:gd name="T12" fmla="*/ 148 w 151"/>
                  <a:gd name="T13" fmla="*/ 20 h 164"/>
                  <a:gd name="T14" fmla="*/ 150 w 151"/>
                  <a:gd name="T15" fmla="*/ 17 h 1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51" h="164">
                    <a:moveTo>
                      <a:pt x="150" y="17"/>
                    </a:moveTo>
                    <a:cubicBezTo>
                      <a:pt x="124" y="0"/>
                      <a:pt x="97" y="34"/>
                      <a:pt x="82" y="52"/>
                    </a:cubicBezTo>
                    <a:cubicBezTo>
                      <a:pt x="69" y="68"/>
                      <a:pt x="56" y="86"/>
                      <a:pt x="44" y="103"/>
                    </a:cubicBezTo>
                    <a:cubicBezTo>
                      <a:pt x="30" y="121"/>
                      <a:pt x="14" y="139"/>
                      <a:pt x="2" y="159"/>
                    </a:cubicBezTo>
                    <a:cubicBezTo>
                      <a:pt x="0" y="161"/>
                      <a:pt x="4" y="164"/>
                      <a:pt x="5" y="162"/>
                    </a:cubicBezTo>
                    <a:cubicBezTo>
                      <a:pt x="26" y="138"/>
                      <a:pt x="44" y="112"/>
                      <a:pt x="63" y="87"/>
                    </a:cubicBezTo>
                    <a:cubicBezTo>
                      <a:pt x="78" y="65"/>
                      <a:pt x="115" y="5"/>
                      <a:pt x="148" y="20"/>
                    </a:cubicBezTo>
                    <a:cubicBezTo>
                      <a:pt x="150" y="21"/>
                      <a:pt x="151" y="18"/>
                      <a:pt x="150" y="17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234" name="Freeform 307">
                <a:extLst>
                  <a:ext uri="{FF2B5EF4-FFF2-40B4-BE49-F238E27FC236}">
                    <a16:creationId xmlns:a16="http://schemas.microsoft.com/office/drawing/2014/main" id="{6358F360-599F-4FD5-8E8A-6235394C69C3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7326" y="3227"/>
                <a:ext cx="128" cy="171"/>
              </a:xfrm>
              <a:custGeom>
                <a:avLst/>
                <a:gdLst>
                  <a:gd name="T0" fmla="*/ 117 w 121"/>
                  <a:gd name="T1" fmla="*/ 1 h 162"/>
                  <a:gd name="T2" fmla="*/ 50 w 121"/>
                  <a:gd name="T3" fmla="*/ 80 h 162"/>
                  <a:gd name="T4" fmla="*/ 1 w 121"/>
                  <a:gd name="T5" fmla="*/ 158 h 162"/>
                  <a:gd name="T6" fmla="*/ 4 w 121"/>
                  <a:gd name="T7" fmla="*/ 160 h 162"/>
                  <a:gd name="T8" fmla="*/ 55 w 121"/>
                  <a:gd name="T9" fmla="*/ 80 h 162"/>
                  <a:gd name="T10" fmla="*/ 120 w 121"/>
                  <a:gd name="T11" fmla="*/ 4 h 162"/>
                  <a:gd name="T12" fmla="*/ 117 w 121"/>
                  <a:gd name="T13" fmla="*/ 1 h 1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21" h="162">
                    <a:moveTo>
                      <a:pt x="117" y="1"/>
                    </a:moveTo>
                    <a:cubicBezTo>
                      <a:pt x="95" y="28"/>
                      <a:pt x="70" y="52"/>
                      <a:pt x="50" y="80"/>
                    </a:cubicBezTo>
                    <a:cubicBezTo>
                      <a:pt x="33" y="105"/>
                      <a:pt x="12" y="129"/>
                      <a:pt x="1" y="158"/>
                    </a:cubicBezTo>
                    <a:cubicBezTo>
                      <a:pt x="0" y="160"/>
                      <a:pt x="3" y="162"/>
                      <a:pt x="4" y="160"/>
                    </a:cubicBezTo>
                    <a:cubicBezTo>
                      <a:pt x="19" y="131"/>
                      <a:pt x="37" y="106"/>
                      <a:pt x="55" y="80"/>
                    </a:cubicBezTo>
                    <a:cubicBezTo>
                      <a:pt x="74" y="52"/>
                      <a:pt x="99" y="29"/>
                      <a:pt x="120" y="4"/>
                    </a:cubicBezTo>
                    <a:cubicBezTo>
                      <a:pt x="121" y="2"/>
                      <a:pt x="119" y="0"/>
                      <a:pt x="117" y="1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235" name="Freeform 308">
                <a:extLst>
                  <a:ext uri="{FF2B5EF4-FFF2-40B4-BE49-F238E27FC236}">
                    <a16:creationId xmlns:a16="http://schemas.microsoft.com/office/drawing/2014/main" id="{A98EAAE7-3B50-4056-B5EC-044DE11E5AA6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7237" y="3396"/>
                <a:ext cx="75" cy="12"/>
              </a:xfrm>
              <a:custGeom>
                <a:avLst/>
                <a:gdLst>
                  <a:gd name="T0" fmla="*/ 68 w 71"/>
                  <a:gd name="T1" fmla="*/ 0 h 11"/>
                  <a:gd name="T2" fmla="*/ 3 w 71"/>
                  <a:gd name="T3" fmla="*/ 6 h 11"/>
                  <a:gd name="T4" fmla="*/ 4 w 71"/>
                  <a:gd name="T5" fmla="*/ 11 h 11"/>
                  <a:gd name="T6" fmla="*/ 69 w 71"/>
                  <a:gd name="T7" fmla="*/ 3 h 11"/>
                  <a:gd name="T8" fmla="*/ 68 w 71"/>
                  <a:gd name="T9" fmla="*/ 0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1" h="11">
                    <a:moveTo>
                      <a:pt x="68" y="0"/>
                    </a:moveTo>
                    <a:cubicBezTo>
                      <a:pt x="47" y="4"/>
                      <a:pt x="25" y="3"/>
                      <a:pt x="3" y="6"/>
                    </a:cubicBezTo>
                    <a:cubicBezTo>
                      <a:pt x="0" y="7"/>
                      <a:pt x="1" y="11"/>
                      <a:pt x="4" y="11"/>
                    </a:cubicBezTo>
                    <a:cubicBezTo>
                      <a:pt x="26" y="10"/>
                      <a:pt x="48" y="10"/>
                      <a:pt x="69" y="3"/>
                    </a:cubicBezTo>
                    <a:cubicBezTo>
                      <a:pt x="71" y="3"/>
                      <a:pt x="70" y="0"/>
                      <a:pt x="68" y="0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236" name="Freeform 309">
                <a:extLst>
                  <a:ext uri="{FF2B5EF4-FFF2-40B4-BE49-F238E27FC236}">
                    <a16:creationId xmlns:a16="http://schemas.microsoft.com/office/drawing/2014/main" id="{5CB759F2-53E9-4110-813F-D4C5D3553A87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7534" y="3092"/>
                <a:ext cx="130" cy="173"/>
              </a:xfrm>
              <a:custGeom>
                <a:avLst/>
                <a:gdLst>
                  <a:gd name="T0" fmla="*/ 119 w 123"/>
                  <a:gd name="T1" fmla="*/ 2 h 163"/>
                  <a:gd name="T2" fmla="*/ 60 w 123"/>
                  <a:gd name="T3" fmla="*/ 81 h 163"/>
                  <a:gd name="T4" fmla="*/ 1 w 123"/>
                  <a:gd name="T5" fmla="*/ 160 h 163"/>
                  <a:gd name="T6" fmla="*/ 3 w 123"/>
                  <a:gd name="T7" fmla="*/ 162 h 163"/>
                  <a:gd name="T8" fmla="*/ 65 w 123"/>
                  <a:gd name="T9" fmla="*/ 80 h 163"/>
                  <a:gd name="T10" fmla="*/ 122 w 123"/>
                  <a:gd name="T11" fmla="*/ 3 h 163"/>
                  <a:gd name="T12" fmla="*/ 119 w 123"/>
                  <a:gd name="T13" fmla="*/ 2 h 1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23" h="163">
                    <a:moveTo>
                      <a:pt x="119" y="2"/>
                    </a:moveTo>
                    <a:cubicBezTo>
                      <a:pt x="107" y="31"/>
                      <a:pt x="79" y="55"/>
                      <a:pt x="60" y="81"/>
                    </a:cubicBezTo>
                    <a:cubicBezTo>
                      <a:pt x="40" y="107"/>
                      <a:pt x="21" y="134"/>
                      <a:pt x="1" y="160"/>
                    </a:cubicBezTo>
                    <a:cubicBezTo>
                      <a:pt x="0" y="161"/>
                      <a:pt x="2" y="163"/>
                      <a:pt x="3" y="162"/>
                    </a:cubicBezTo>
                    <a:cubicBezTo>
                      <a:pt x="26" y="137"/>
                      <a:pt x="44" y="108"/>
                      <a:pt x="65" y="80"/>
                    </a:cubicBezTo>
                    <a:cubicBezTo>
                      <a:pt x="84" y="55"/>
                      <a:pt x="111" y="33"/>
                      <a:pt x="122" y="3"/>
                    </a:cubicBezTo>
                    <a:cubicBezTo>
                      <a:pt x="123" y="1"/>
                      <a:pt x="120" y="0"/>
                      <a:pt x="119" y="2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237" name="Freeform 310">
                <a:extLst>
                  <a:ext uri="{FF2B5EF4-FFF2-40B4-BE49-F238E27FC236}">
                    <a16:creationId xmlns:a16="http://schemas.microsoft.com/office/drawing/2014/main" id="{475FAC24-54D4-429F-A554-4FE6DECE0900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7327" y="3320"/>
                <a:ext cx="160" cy="201"/>
              </a:xfrm>
              <a:custGeom>
                <a:avLst/>
                <a:gdLst>
                  <a:gd name="T0" fmla="*/ 150 w 151"/>
                  <a:gd name="T1" fmla="*/ 0 h 190"/>
                  <a:gd name="T2" fmla="*/ 1 w 151"/>
                  <a:gd name="T3" fmla="*/ 186 h 190"/>
                  <a:gd name="T4" fmla="*/ 4 w 151"/>
                  <a:gd name="T5" fmla="*/ 188 h 190"/>
                  <a:gd name="T6" fmla="*/ 71 w 151"/>
                  <a:gd name="T7" fmla="*/ 103 h 190"/>
                  <a:gd name="T8" fmla="*/ 151 w 151"/>
                  <a:gd name="T9" fmla="*/ 2 h 190"/>
                  <a:gd name="T10" fmla="*/ 150 w 151"/>
                  <a:gd name="T11" fmla="*/ 0 h 1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51" h="190">
                    <a:moveTo>
                      <a:pt x="150" y="0"/>
                    </a:moveTo>
                    <a:cubicBezTo>
                      <a:pt x="98" y="61"/>
                      <a:pt x="51" y="125"/>
                      <a:pt x="1" y="186"/>
                    </a:cubicBezTo>
                    <a:cubicBezTo>
                      <a:pt x="0" y="188"/>
                      <a:pt x="2" y="190"/>
                      <a:pt x="4" y="188"/>
                    </a:cubicBezTo>
                    <a:cubicBezTo>
                      <a:pt x="29" y="163"/>
                      <a:pt x="50" y="131"/>
                      <a:pt x="71" y="103"/>
                    </a:cubicBezTo>
                    <a:cubicBezTo>
                      <a:pt x="97" y="69"/>
                      <a:pt x="124" y="35"/>
                      <a:pt x="151" y="2"/>
                    </a:cubicBezTo>
                    <a:cubicBezTo>
                      <a:pt x="151" y="1"/>
                      <a:pt x="150" y="0"/>
                      <a:pt x="150" y="0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238" name="Freeform 311">
                <a:extLst>
                  <a:ext uri="{FF2B5EF4-FFF2-40B4-BE49-F238E27FC236}">
                    <a16:creationId xmlns:a16="http://schemas.microsoft.com/office/drawing/2014/main" id="{B8C420EC-D4EC-4229-8808-F922ACBF881D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7187" y="3555"/>
                <a:ext cx="247" cy="130"/>
              </a:xfrm>
              <a:custGeom>
                <a:avLst/>
                <a:gdLst>
                  <a:gd name="T0" fmla="*/ 199 w 233"/>
                  <a:gd name="T1" fmla="*/ 2 h 123"/>
                  <a:gd name="T2" fmla="*/ 215 w 233"/>
                  <a:gd name="T3" fmla="*/ 46 h 123"/>
                  <a:gd name="T4" fmla="*/ 196 w 233"/>
                  <a:gd name="T5" fmla="*/ 66 h 123"/>
                  <a:gd name="T6" fmla="*/ 141 w 233"/>
                  <a:gd name="T7" fmla="*/ 92 h 123"/>
                  <a:gd name="T8" fmla="*/ 9 w 233"/>
                  <a:gd name="T9" fmla="*/ 64 h 123"/>
                  <a:gd name="T10" fmla="*/ 2 w 233"/>
                  <a:gd name="T11" fmla="*/ 64 h 123"/>
                  <a:gd name="T12" fmla="*/ 141 w 233"/>
                  <a:gd name="T13" fmla="*/ 100 h 123"/>
                  <a:gd name="T14" fmla="*/ 220 w 233"/>
                  <a:gd name="T15" fmla="*/ 49 h 123"/>
                  <a:gd name="T16" fmla="*/ 200 w 233"/>
                  <a:gd name="T17" fmla="*/ 1 h 123"/>
                  <a:gd name="T18" fmla="*/ 199 w 233"/>
                  <a:gd name="T19" fmla="*/ 2 h 1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33" h="123">
                    <a:moveTo>
                      <a:pt x="199" y="2"/>
                    </a:moveTo>
                    <a:cubicBezTo>
                      <a:pt x="211" y="16"/>
                      <a:pt x="228" y="22"/>
                      <a:pt x="215" y="46"/>
                    </a:cubicBezTo>
                    <a:cubicBezTo>
                      <a:pt x="211" y="54"/>
                      <a:pt x="203" y="61"/>
                      <a:pt x="196" y="66"/>
                    </a:cubicBezTo>
                    <a:cubicBezTo>
                      <a:pt x="180" y="78"/>
                      <a:pt x="160" y="86"/>
                      <a:pt x="141" y="92"/>
                    </a:cubicBezTo>
                    <a:cubicBezTo>
                      <a:pt x="113" y="100"/>
                      <a:pt x="8" y="115"/>
                      <a:pt x="9" y="64"/>
                    </a:cubicBezTo>
                    <a:cubicBezTo>
                      <a:pt x="9" y="60"/>
                      <a:pt x="3" y="60"/>
                      <a:pt x="2" y="64"/>
                    </a:cubicBezTo>
                    <a:cubicBezTo>
                      <a:pt x="0" y="123"/>
                      <a:pt x="109" y="109"/>
                      <a:pt x="141" y="100"/>
                    </a:cubicBezTo>
                    <a:cubicBezTo>
                      <a:pt x="169" y="92"/>
                      <a:pt x="205" y="77"/>
                      <a:pt x="220" y="49"/>
                    </a:cubicBezTo>
                    <a:cubicBezTo>
                      <a:pt x="233" y="27"/>
                      <a:pt x="220" y="11"/>
                      <a:pt x="200" y="1"/>
                    </a:cubicBezTo>
                    <a:cubicBezTo>
                      <a:pt x="199" y="0"/>
                      <a:pt x="198" y="1"/>
                      <a:pt x="199" y="2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239" name="Freeform 312">
                <a:extLst>
                  <a:ext uri="{FF2B5EF4-FFF2-40B4-BE49-F238E27FC236}">
                    <a16:creationId xmlns:a16="http://schemas.microsoft.com/office/drawing/2014/main" id="{BEB771B1-A0FA-4FC6-BA2C-D99394113E02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754" y="3607"/>
                <a:ext cx="217" cy="82"/>
              </a:xfrm>
              <a:custGeom>
                <a:avLst/>
                <a:gdLst>
                  <a:gd name="T0" fmla="*/ 201 w 205"/>
                  <a:gd name="T1" fmla="*/ 21 h 78"/>
                  <a:gd name="T2" fmla="*/ 166 w 205"/>
                  <a:gd name="T3" fmla="*/ 49 h 78"/>
                  <a:gd name="T4" fmla="*/ 113 w 205"/>
                  <a:gd name="T5" fmla="*/ 64 h 78"/>
                  <a:gd name="T6" fmla="*/ 56 w 205"/>
                  <a:gd name="T7" fmla="*/ 69 h 78"/>
                  <a:gd name="T8" fmla="*/ 19 w 205"/>
                  <a:gd name="T9" fmla="*/ 48 h 78"/>
                  <a:gd name="T10" fmla="*/ 24 w 205"/>
                  <a:gd name="T11" fmla="*/ 22 h 78"/>
                  <a:gd name="T12" fmla="*/ 45 w 205"/>
                  <a:gd name="T13" fmla="*/ 6 h 78"/>
                  <a:gd name="T14" fmla="*/ 43 w 205"/>
                  <a:gd name="T15" fmla="*/ 1 h 78"/>
                  <a:gd name="T16" fmla="*/ 9 w 205"/>
                  <a:gd name="T17" fmla="*/ 50 h 78"/>
                  <a:gd name="T18" fmla="*/ 79 w 205"/>
                  <a:gd name="T19" fmla="*/ 75 h 78"/>
                  <a:gd name="T20" fmla="*/ 172 w 205"/>
                  <a:gd name="T21" fmla="*/ 53 h 78"/>
                  <a:gd name="T22" fmla="*/ 203 w 205"/>
                  <a:gd name="T23" fmla="*/ 22 h 78"/>
                  <a:gd name="T24" fmla="*/ 201 w 205"/>
                  <a:gd name="T25" fmla="*/ 21 h 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05" h="78">
                    <a:moveTo>
                      <a:pt x="201" y="21"/>
                    </a:moveTo>
                    <a:cubicBezTo>
                      <a:pt x="199" y="39"/>
                      <a:pt x="180" y="44"/>
                      <a:pt x="166" y="49"/>
                    </a:cubicBezTo>
                    <a:cubicBezTo>
                      <a:pt x="149" y="55"/>
                      <a:pt x="131" y="61"/>
                      <a:pt x="113" y="64"/>
                    </a:cubicBezTo>
                    <a:cubicBezTo>
                      <a:pt x="95" y="68"/>
                      <a:pt x="75" y="70"/>
                      <a:pt x="56" y="69"/>
                    </a:cubicBezTo>
                    <a:cubicBezTo>
                      <a:pt x="39" y="68"/>
                      <a:pt x="26" y="64"/>
                      <a:pt x="19" y="48"/>
                    </a:cubicBezTo>
                    <a:cubicBezTo>
                      <a:pt x="13" y="36"/>
                      <a:pt x="15" y="32"/>
                      <a:pt x="24" y="22"/>
                    </a:cubicBezTo>
                    <a:cubicBezTo>
                      <a:pt x="30" y="15"/>
                      <a:pt x="37" y="10"/>
                      <a:pt x="45" y="6"/>
                    </a:cubicBezTo>
                    <a:cubicBezTo>
                      <a:pt x="48" y="5"/>
                      <a:pt x="46" y="0"/>
                      <a:pt x="43" y="1"/>
                    </a:cubicBezTo>
                    <a:cubicBezTo>
                      <a:pt x="25" y="6"/>
                      <a:pt x="0" y="29"/>
                      <a:pt x="9" y="50"/>
                    </a:cubicBezTo>
                    <a:cubicBezTo>
                      <a:pt x="20" y="78"/>
                      <a:pt x="56" y="76"/>
                      <a:pt x="79" y="75"/>
                    </a:cubicBezTo>
                    <a:cubicBezTo>
                      <a:pt x="111" y="74"/>
                      <a:pt x="142" y="64"/>
                      <a:pt x="172" y="53"/>
                    </a:cubicBezTo>
                    <a:cubicBezTo>
                      <a:pt x="187" y="48"/>
                      <a:pt x="205" y="40"/>
                      <a:pt x="203" y="22"/>
                    </a:cubicBezTo>
                    <a:cubicBezTo>
                      <a:pt x="202" y="21"/>
                      <a:pt x="202" y="21"/>
                      <a:pt x="201" y="21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240" name="Freeform 313">
                <a:extLst>
                  <a:ext uri="{FF2B5EF4-FFF2-40B4-BE49-F238E27FC236}">
                    <a16:creationId xmlns:a16="http://schemas.microsoft.com/office/drawing/2014/main" id="{E1E6DA31-A594-430D-A1E5-DE67D8AF4BCB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7560" y="3252"/>
                <a:ext cx="95" cy="101"/>
              </a:xfrm>
              <a:custGeom>
                <a:avLst/>
                <a:gdLst>
                  <a:gd name="T0" fmla="*/ 64 w 89"/>
                  <a:gd name="T1" fmla="*/ 2 h 95"/>
                  <a:gd name="T2" fmla="*/ 80 w 89"/>
                  <a:gd name="T3" fmla="*/ 21 h 95"/>
                  <a:gd name="T4" fmla="*/ 62 w 89"/>
                  <a:gd name="T5" fmla="*/ 58 h 95"/>
                  <a:gd name="T6" fmla="*/ 1 w 89"/>
                  <a:gd name="T7" fmla="*/ 89 h 95"/>
                  <a:gd name="T8" fmla="*/ 1 w 89"/>
                  <a:gd name="T9" fmla="*/ 92 h 95"/>
                  <a:gd name="T10" fmla="*/ 39 w 89"/>
                  <a:gd name="T11" fmla="*/ 82 h 95"/>
                  <a:gd name="T12" fmla="*/ 78 w 89"/>
                  <a:gd name="T13" fmla="*/ 52 h 95"/>
                  <a:gd name="T14" fmla="*/ 89 w 89"/>
                  <a:gd name="T15" fmla="*/ 26 h 95"/>
                  <a:gd name="T16" fmla="*/ 66 w 89"/>
                  <a:gd name="T17" fmla="*/ 1 h 95"/>
                  <a:gd name="T18" fmla="*/ 64 w 89"/>
                  <a:gd name="T19" fmla="*/ 2 h 9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89" h="95">
                    <a:moveTo>
                      <a:pt x="64" y="2"/>
                    </a:moveTo>
                    <a:cubicBezTo>
                      <a:pt x="69" y="11"/>
                      <a:pt x="76" y="12"/>
                      <a:pt x="80" y="21"/>
                    </a:cubicBezTo>
                    <a:cubicBezTo>
                      <a:pt x="87" y="37"/>
                      <a:pt x="74" y="49"/>
                      <a:pt x="62" y="58"/>
                    </a:cubicBezTo>
                    <a:cubicBezTo>
                      <a:pt x="44" y="74"/>
                      <a:pt x="23" y="81"/>
                      <a:pt x="1" y="89"/>
                    </a:cubicBezTo>
                    <a:cubicBezTo>
                      <a:pt x="0" y="90"/>
                      <a:pt x="0" y="92"/>
                      <a:pt x="1" y="92"/>
                    </a:cubicBezTo>
                    <a:cubicBezTo>
                      <a:pt x="14" y="95"/>
                      <a:pt x="28" y="87"/>
                      <a:pt x="39" y="82"/>
                    </a:cubicBezTo>
                    <a:cubicBezTo>
                      <a:pt x="53" y="75"/>
                      <a:pt x="67" y="64"/>
                      <a:pt x="78" y="52"/>
                    </a:cubicBezTo>
                    <a:cubicBezTo>
                      <a:pt x="84" y="45"/>
                      <a:pt x="89" y="36"/>
                      <a:pt x="89" y="26"/>
                    </a:cubicBezTo>
                    <a:cubicBezTo>
                      <a:pt x="88" y="11"/>
                      <a:pt x="75" y="10"/>
                      <a:pt x="66" y="1"/>
                    </a:cubicBezTo>
                    <a:cubicBezTo>
                      <a:pt x="65" y="0"/>
                      <a:pt x="63" y="1"/>
                      <a:pt x="64" y="2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241" name="Freeform 314">
                <a:extLst>
                  <a:ext uri="{FF2B5EF4-FFF2-40B4-BE49-F238E27FC236}">
                    <a16:creationId xmlns:a16="http://schemas.microsoft.com/office/drawing/2014/main" id="{BB76CDD8-63B3-4D41-AC1C-CCFC9D58AF35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7254" y="3061"/>
                <a:ext cx="193" cy="226"/>
              </a:xfrm>
              <a:custGeom>
                <a:avLst/>
                <a:gdLst>
                  <a:gd name="T0" fmla="*/ 181 w 182"/>
                  <a:gd name="T1" fmla="*/ 1 h 213"/>
                  <a:gd name="T2" fmla="*/ 135 w 182"/>
                  <a:gd name="T3" fmla="*/ 54 h 213"/>
                  <a:gd name="T4" fmla="*/ 94 w 182"/>
                  <a:gd name="T5" fmla="*/ 100 h 213"/>
                  <a:gd name="T6" fmla="*/ 1 w 182"/>
                  <a:gd name="T7" fmla="*/ 210 h 213"/>
                  <a:gd name="T8" fmla="*/ 4 w 182"/>
                  <a:gd name="T9" fmla="*/ 212 h 213"/>
                  <a:gd name="T10" fmla="*/ 100 w 182"/>
                  <a:gd name="T11" fmla="*/ 100 h 213"/>
                  <a:gd name="T12" fmla="*/ 145 w 182"/>
                  <a:gd name="T13" fmla="*/ 49 h 213"/>
                  <a:gd name="T14" fmla="*/ 182 w 182"/>
                  <a:gd name="T15" fmla="*/ 2 h 213"/>
                  <a:gd name="T16" fmla="*/ 181 w 182"/>
                  <a:gd name="T17" fmla="*/ 1 h 2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82" h="213">
                    <a:moveTo>
                      <a:pt x="181" y="1"/>
                    </a:moveTo>
                    <a:cubicBezTo>
                      <a:pt x="172" y="21"/>
                      <a:pt x="151" y="38"/>
                      <a:pt x="135" y="54"/>
                    </a:cubicBezTo>
                    <a:cubicBezTo>
                      <a:pt x="121" y="69"/>
                      <a:pt x="107" y="84"/>
                      <a:pt x="94" y="100"/>
                    </a:cubicBezTo>
                    <a:cubicBezTo>
                      <a:pt x="63" y="137"/>
                      <a:pt x="32" y="173"/>
                      <a:pt x="1" y="210"/>
                    </a:cubicBezTo>
                    <a:cubicBezTo>
                      <a:pt x="0" y="211"/>
                      <a:pt x="2" y="213"/>
                      <a:pt x="4" y="212"/>
                    </a:cubicBezTo>
                    <a:cubicBezTo>
                      <a:pt x="39" y="177"/>
                      <a:pt x="69" y="138"/>
                      <a:pt x="100" y="100"/>
                    </a:cubicBezTo>
                    <a:cubicBezTo>
                      <a:pt x="114" y="82"/>
                      <a:pt x="130" y="66"/>
                      <a:pt x="145" y="49"/>
                    </a:cubicBezTo>
                    <a:cubicBezTo>
                      <a:pt x="158" y="34"/>
                      <a:pt x="174" y="20"/>
                      <a:pt x="182" y="2"/>
                    </a:cubicBezTo>
                    <a:cubicBezTo>
                      <a:pt x="182" y="1"/>
                      <a:pt x="181" y="0"/>
                      <a:pt x="181" y="1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242" name="Freeform 315">
                <a:extLst>
                  <a:ext uri="{FF2B5EF4-FFF2-40B4-BE49-F238E27FC236}">
                    <a16:creationId xmlns:a16="http://schemas.microsoft.com/office/drawing/2014/main" id="{9B059435-E9BD-4ABE-8294-5066A87309CD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17" y="633"/>
                <a:ext cx="102" cy="1479"/>
              </a:xfrm>
              <a:custGeom>
                <a:avLst/>
                <a:gdLst>
                  <a:gd name="T0" fmla="*/ 4 w 96"/>
                  <a:gd name="T1" fmla="*/ 3 h 1397"/>
                  <a:gd name="T2" fmla="*/ 9 w 96"/>
                  <a:gd name="T3" fmla="*/ 42 h 1397"/>
                  <a:gd name="T4" fmla="*/ 19 w 96"/>
                  <a:gd name="T5" fmla="*/ 116 h 1397"/>
                  <a:gd name="T6" fmla="*/ 28 w 96"/>
                  <a:gd name="T7" fmla="*/ 252 h 1397"/>
                  <a:gd name="T8" fmla="*/ 47 w 96"/>
                  <a:gd name="T9" fmla="*/ 546 h 1397"/>
                  <a:gd name="T10" fmla="*/ 58 w 96"/>
                  <a:gd name="T11" fmla="*/ 820 h 1397"/>
                  <a:gd name="T12" fmla="*/ 57 w 96"/>
                  <a:gd name="T13" fmla="*/ 963 h 1397"/>
                  <a:gd name="T14" fmla="*/ 58 w 96"/>
                  <a:gd name="T15" fmla="*/ 1030 h 1397"/>
                  <a:gd name="T16" fmla="*/ 64 w 96"/>
                  <a:gd name="T17" fmla="*/ 1102 h 1397"/>
                  <a:gd name="T18" fmla="*/ 61 w 96"/>
                  <a:gd name="T19" fmla="*/ 1175 h 1397"/>
                  <a:gd name="T20" fmla="*/ 67 w 96"/>
                  <a:gd name="T21" fmla="*/ 1247 h 1397"/>
                  <a:gd name="T22" fmla="*/ 74 w 96"/>
                  <a:gd name="T23" fmla="*/ 1328 h 1397"/>
                  <a:gd name="T24" fmla="*/ 76 w 96"/>
                  <a:gd name="T25" fmla="*/ 1359 h 1397"/>
                  <a:gd name="T26" fmla="*/ 80 w 96"/>
                  <a:gd name="T27" fmla="*/ 1386 h 1397"/>
                  <a:gd name="T28" fmla="*/ 96 w 96"/>
                  <a:gd name="T29" fmla="*/ 1387 h 1397"/>
                  <a:gd name="T30" fmla="*/ 91 w 96"/>
                  <a:gd name="T31" fmla="*/ 1344 h 1397"/>
                  <a:gd name="T32" fmla="*/ 84 w 96"/>
                  <a:gd name="T33" fmla="*/ 1265 h 1397"/>
                  <a:gd name="T34" fmla="*/ 77 w 96"/>
                  <a:gd name="T35" fmla="*/ 1194 h 1397"/>
                  <a:gd name="T36" fmla="*/ 79 w 96"/>
                  <a:gd name="T37" fmla="*/ 1125 h 1397"/>
                  <a:gd name="T38" fmla="*/ 72 w 96"/>
                  <a:gd name="T39" fmla="*/ 986 h 1397"/>
                  <a:gd name="T40" fmla="*/ 73 w 96"/>
                  <a:gd name="T41" fmla="*/ 852 h 1397"/>
                  <a:gd name="T42" fmla="*/ 72 w 96"/>
                  <a:gd name="T43" fmla="*/ 715 h 1397"/>
                  <a:gd name="T44" fmla="*/ 64 w 96"/>
                  <a:gd name="T45" fmla="*/ 588 h 1397"/>
                  <a:gd name="T46" fmla="*/ 45 w 96"/>
                  <a:gd name="T47" fmla="*/ 302 h 1397"/>
                  <a:gd name="T48" fmla="*/ 33 w 96"/>
                  <a:gd name="T49" fmla="*/ 144 h 1397"/>
                  <a:gd name="T50" fmla="*/ 22 w 96"/>
                  <a:gd name="T51" fmla="*/ 71 h 1397"/>
                  <a:gd name="T52" fmla="*/ 15 w 96"/>
                  <a:gd name="T53" fmla="*/ 33 h 1397"/>
                  <a:gd name="T54" fmla="*/ 9 w 96"/>
                  <a:gd name="T55" fmla="*/ 4 h 1397"/>
                  <a:gd name="T56" fmla="*/ 4 w 96"/>
                  <a:gd name="T57" fmla="*/ 3 h 13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96" h="1397">
                    <a:moveTo>
                      <a:pt x="4" y="3"/>
                    </a:moveTo>
                    <a:cubicBezTo>
                      <a:pt x="0" y="16"/>
                      <a:pt x="7" y="29"/>
                      <a:pt x="9" y="42"/>
                    </a:cubicBezTo>
                    <a:cubicBezTo>
                      <a:pt x="12" y="66"/>
                      <a:pt x="16" y="91"/>
                      <a:pt x="19" y="116"/>
                    </a:cubicBezTo>
                    <a:cubicBezTo>
                      <a:pt x="24" y="161"/>
                      <a:pt x="25" y="207"/>
                      <a:pt x="28" y="252"/>
                    </a:cubicBezTo>
                    <a:cubicBezTo>
                      <a:pt x="36" y="350"/>
                      <a:pt x="40" y="448"/>
                      <a:pt x="47" y="546"/>
                    </a:cubicBezTo>
                    <a:cubicBezTo>
                      <a:pt x="53" y="637"/>
                      <a:pt x="58" y="729"/>
                      <a:pt x="58" y="820"/>
                    </a:cubicBezTo>
                    <a:cubicBezTo>
                      <a:pt x="58" y="868"/>
                      <a:pt x="58" y="915"/>
                      <a:pt x="57" y="963"/>
                    </a:cubicBezTo>
                    <a:cubicBezTo>
                      <a:pt x="57" y="985"/>
                      <a:pt x="56" y="1007"/>
                      <a:pt x="58" y="1030"/>
                    </a:cubicBezTo>
                    <a:cubicBezTo>
                      <a:pt x="59" y="1054"/>
                      <a:pt x="64" y="1078"/>
                      <a:pt x="64" y="1102"/>
                    </a:cubicBezTo>
                    <a:cubicBezTo>
                      <a:pt x="64" y="1126"/>
                      <a:pt x="62" y="1151"/>
                      <a:pt x="61" y="1175"/>
                    </a:cubicBezTo>
                    <a:cubicBezTo>
                      <a:pt x="61" y="1200"/>
                      <a:pt x="64" y="1223"/>
                      <a:pt x="67" y="1247"/>
                    </a:cubicBezTo>
                    <a:cubicBezTo>
                      <a:pt x="70" y="1274"/>
                      <a:pt x="70" y="1301"/>
                      <a:pt x="74" y="1328"/>
                    </a:cubicBezTo>
                    <a:cubicBezTo>
                      <a:pt x="76" y="1338"/>
                      <a:pt x="75" y="1348"/>
                      <a:pt x="76" y="1359"/>
                    </a:cubicBezTo>
                    <a:cubicBezTo>
                      <a:pt x="77" y="1368"/>
                      <a:pt x="80" y="1376"/>
                      <a:pt x="80" y="1386"/>
                    </a:cubicBezTo>
                    <a:cubicBezTo>
                      <a:pt x="80" y="1396"/>
                      <a:pt x="96" y="1397"/>
                      <a:pt x="96" y="1387"/>
                    </a:cubicBezTo>
                    <a:cubicBezTo>
                      <a:pt x="96" y="1372"/>
                      <a:pt x="92" y="1359"/>
                      <a:pt x="91" y="1344"/>
                    </a:cubicBezTo>
                    <a:cubicBezTo>
                      <a:pt x="91" y="1318"/>
                      <a:pt x="86" y="1291"/>
                      <a:pt x="84" y="1265"/>
                    </a:cubicBezTo>
                    <a:cubicBezTo>
                      <a:pt x="82" y="1241"/>
                      <a:pt x="77" y="1218"/>
                      <a:pt x="77" y="1194"/>
                    </a:cubicBezTo>
                    <a:cubicBezTo>
                      <a:pt x="76" y="1171"/>
                      <a:pt x="78" y="1148"/>
                      <a:pt x="79" y="1125"/>
                    </a:cubicBezTo>
                    <a:cubicBezTo>
                      <a:pt x="80" y="1078"/>
                      <a:pt x="72" y="1033"/>
                      <a:pt x="72" y="986"/>
                    </a:cubicBezTo>
                    <a:cubicBezTo>
                      <a:pt x="72" y="941"/>
                      <a:pt x="73" y="897"/>
                      <a:pt x="73" y="852"/>
                    </a:cubicBezTo>
                    <a:cubicBezTo>
                      <a:pt x="73" y="806"/>
                      <a:pt x="75" y="761"/>
                      <a:pt x="72" y="715"/>
                    </a:cubicBezTo>
                    <a:cubicBezTo>
                      <a:pt x="70" y="673"/>
                      <a:pt x="66" y="630"/>
                      <a:pt x="64" y="588"/>
                    </a:cubicBezTo>
                    <a:cubicBezTo>
                      <a:pt x="59" y="493"/>
                      <a:pt x="52" y="398"/>
                      <a:pt x="45" y="302"/>
                    </a:cubicBezTo>
                    <a:cubicBezTo>
                      <a:pt x="41" y="250"/>
                      <a:pt x="38" y="197"/>
                      <a:pt x="33" y="144"/>
                    </a:cubicBezTo>
                    <a:cubicBezTo>
                      <a:pt x="31" y="119"/>
                      <a:pt x="27" y="95"/>
                      <a:pt x="22" y="71"/>
                    </a:cubicBezTo>
                    <a:cubicBezTo>
                      <a:pt x="20" y="58"/>
                      <a:pt x="18" y="45"/>
                      <a:pt x="15" y="33"/>
                    </a:cubicBezTo>
                    <a:cubicBezTo>
                      <a:pt x="13" y="23"/>
                      <a:pt x="7" y="14"/>
                      <a:pt x="9" y="4"/>
                    </a:cubicBezTo>
                    <a:cubicBezTo>
                      <a:pt x="10" y="2"/>
                      <a:pt x="5" y="0"/>
                      <a:pt x="4" y="3"/>
                    </a:cubicBezTo>
                    <a:close/>
                  </a:path>
                </a:pathLst>
              </a:custGeom>
              <a:solidFill>
                <a:srgbClr val="04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243" name="Freeform 316">
                <a:extLst>
                  <a:ext uri="{FF2B5EF4-FFF2-40B4-BE49-F238E27FC236}">
                    <a16:creationId xmlns:a16="http://schemas.microsoft.com/office/drawing/2014/main" id="{11BD2506-ACF4-419E-8292-ED9A3122C014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51" y="2994"/>
                <a:ext cx="214" cy="238"/>
              </a:xfrm>
              <a:custGeom>
                <a:avLst/>
                <a:gdLst>
                  <a:gd name="T0" fmla="*/ 61 w 202"/>
                  <a:gd name="T1" fmla="*/ 137 h 225"/>
                  <a:gd name="T2" fmla="*/ 61 w 202"/>
                  <a:gd name="T3" fmla="*/ 138 h 225"/>
                  <a:gd name="T4" fmla="*/ 54 w 202"/>
                  <a:gd name="T5" fmla="*/ 135 h 225"/>
                  <a:gd name="T6" fmla="*/ 26 w 202"/>
                  <a:gd name="T7" fmla="*/ 125 h 225"/>
                  <a:gd name="T8" fmla="*/ 6 w 202"/>
                  <a:gd name="T9" fmla="*/ 121 h 225"/>
                  <a:gd name="T10" fmla="*/ 1 w 202"/>
                  <a:gd name="T11" fmla="*/ 96 h 225"/>
                  <a:gd name="T12" fmla="*/ 25 w 202"/>
                  <a:gd name="T13" fmla="*/ 59 h 225"/>
                  <a:gd name="T14" fmla="*/ 68 w 202"/>
                  <a:gd name="T15" fmla="*/ 66 h 225"/>
                  <a:gd name="T16" fmla="*/ 68 w 202"/>
                  <a:gd name="T17" fmla="*/ 65 h 225"/>
                  <a:gd name="T18" fmla="*/ 77 w 202"/>
                  <a:gd name="T19" fmla="*/ 62 h 225"/>
                  <a:gd name="T20" fmla="*/ 82 w 202"/>
                  <a:gd name="T21" fmla="*/ 35 h 225"/>
                  <a:gd name="T22" fmla="*/ 85 w 202"/>
                  <a:gd name="T23" fmla="*/ 24 h 225"/>
                  <a:gd name="T24" fmla="*/ 89 w 202"/>
                  <a:gd name="T25" fmla="*/ 11 h 225"/>
                  <a:gd name="T26" fmla="*/ 118 w 202"/>
                  <a:gd name="T27" fmla="*/ 11 h 225"/>
                  <a:gd name="T28" fmla="*/ 145 w 202"/>
                  <a:gd name="T29" fmla="*/ 23 h 225"/>
                  <a:gd name="T30" fmla="*/ 154 w 202"/>
                  <a:gd name="T31" fmla="*/ 40 h 225"/>
                  <a:gd name="T32" fmla="*/ 142 w 202"/>
                  <a:gd name="T33" fmla="*/ 93 h 225"/>
                  <a:gd name="T34" fmla="*/ 147 w 202"/>
                  <a:gd name="T35" fmla="*/ 96 h 225"/>
                  <a:gd name="T36" fmla="*/ 178 w 202"/>
                  <a:gd name="T37" fmla="*/ 101 h 225"/>
                  <a:gd name="T38" fmla="*/ 202 w 202"/>
                  <a:gd name="T39" fmla="*/ 115 h 225"/>
                  <a:gd name="T40" fmla="*/ 201 w 202"/>
                  <a:gd name="T41" fmla="*/ 140 h 225"/>
                  <a:gd name="T42" fmla="*/ 197 w 202"/>
                  <a:gd name="T43" fmla="*/ 157 h 225"/>
                  <a:gd name="T44" fmla="*/ 191 w 202"/>
                  <a:gd name="T45" fmla="*/ 173 h 225"/>
                  <a:gd name="T46" fmla="*/ 175 w 202"/>
                  <a:gd name="T47" fmla="*/ 176 h 225"/>
                  <a:gd name="T48" fmla="*/ 131 w 202"/>
                  <a:gd name="T49" fmla="*/ 165 h 225"/>
                  <a:gd name="T50" fmla="*/ 130 w 202"/>
                  <a:gd name="T51" fmla="*/ 164 h 225"/>
                  <a:gd name="T52" fmla="*/ 122 w 202"/>
                  <a:gd name="T53" fmla="*/ 189 h 225"/>
                  <a:gd name="T54" fmla="*/ 107 w 202"/>
                  <a:gd name="T55" fmla="*/ 221 h 225"/>
                  <a:gd name="T56" fmla="*/ 76 w 202"/>
                  <a:gd name="T57" fmla="*/ 216 h 225"/>
                  <a:gd name="T58" fmla="*/ 53 w 202"/>
                  <a:gd name="T59" fmla="*/ 200 h 225"/>
                  <a:gd name="T60" fmla="*/ 55 w 202"/>
                  <a:gd name="T61" fmla="*/ 173 h 225"/>
                  <a:gd name="T62" fmla="*/ 60 w 202"/>
                  <a:gd name="T63" fmla="*/ 149 h 225"/>
                  <a:gd name="T64" fmla="*/ 61 w 202"/>
                  <a:gd name="T65" fmla="*/ 137 h 2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202" h="225">
                    <a:moveTo>
                      <a:pt x="61" y="137"/>
                    </a:moveTo>
                    <a:cubicBezTo>
                      <a:pt x="61" y="138"/>
                      <a:pt x="61" y="138"/>
                      <a:pt x="61" y="138"/>
                    </a:cubicBezTo>
                    <a:cubicBezTo>
                      <a:pt x="60" y="135"/>
                      <a:pt x="58" y="135"/>
                      <a:pt x="54" y="135"/>
                    </a:cubicBezTo>
                    <a:cubicBezTo>
                      <a:pt x="46" y="129"/>
                      <a:pt x="35" y="128"/>
                      <a:pt x="26" y="125"/>
                    </a:cubicBezTo>
                    <a:cubicBezTo>
                      <a:pt x="19" y="124"/>
                      <a:pt x="12" y="126"/>
                      <a:pt x="6" y="121"/>
                    </a:cubicBezTo>
                    <a:cubicBezTo>
                      <a:pt x="0" y="113"/>
                      <a:pt x="1" y="105"/>
                      <a:pt x="1" y="96"/>
                    </a:cubicBezTo>
                    <a:cubicBezTo>
                      <a:pt x="3" y="80"/>
                      <a:pt x="3" y="57"/>
                      <a:pt x="25" y="59"/>
                    </a:cubicBezTo>
                    <a:cubicBezTo>
                      <a:pt x="39" y="61"/>
                      <a:pt x="52" y="66"/>
                      <a:pt x="68" y="66"/>
                    </a:cubicBezTo>
                    <a:cubicBezTo>
                      <a:pt x="68" y="65"/>
                      <a:pt x="68" y="65"/>
                      <a:pt x="68" y="65"/>
                    </a:cubicBezTo>
                    <a:cubicBezTo>
                      <a:pt x="70" y="68"/>
                      <a:pt x="77" y="62"/>
                      <a:pt x="77" y="62"/>
                    </a:cubicBezTo>
                    <a:cubicBezTo>
                      <a:pt x="83" y="53"/>
                      <a:pt x="79" y="42"/>
                      <a:pt x="82" y="35"/>
                    </a:cubicBezTo>
                    <a:cubicBezTo>
                      <a:pt x="82" y="31"/>
                      <a:pt x="85" y="26"/>
                      <a:pt x="85" y="24"/>
                    </a:cubicBezTo>
                    <a:cubicBezTo>
                      <a:pt x="88" y="20"/>
                      <a:pt x="89" y="15"/>
                      <a:pt x="89" y="11"/>
                    </a:cubicBezTo>
                    <a:cubicBezTo>
                      <a:pt x="95" y="0"/>
                      <a:pt x="112" y="8"/>
                      <a:pt x="118" y="11"/>
                    </a:cubicBezTo>
                    <a:cubicBezTo>
                      <a:pt x="127" y="14"/>
                      <a:pt x="136" y="18"/>
                      <a:pt x="145" y="23"/>
                    </a:cubicBezTo>
                    <a:cubicBezTo>
                      <a:pt x="153" y="26"/>
                      <a:pt x="155" y="31"/>
                      <a:pt x="154" y="40"/>
                    </a:cubicBezTo>
                    <a:cubicBezTo>
                      <a:pt x="148" y="57"/>
                      <a:pt x="151" y="76"/>
                      <a:pt x="142" y="93"/>
                    </a:cubicBezTo>
                    <a:cubicBezTo>
                      <a:pt x="147" y="96"/>
                      <a:pt x="147" y="96"/>
                      <a:pt x="147" y="96"/>
                    </a:cubicBezTo>
                    <a:cubicBezTo>
                      <a:pt x="158" y="99"/>
                      <a:pt x="169" y="100"/>
                      <a:pt x="178" y="101"/>
                    </a:cubicBezTo>
                    <a:cubicBezTo>
                      <a:pt x="187" y="102"/>
                      <a:pt x="198" y="103"/>
                      <a:pt x="202" y="115"/>
                    </a:cubicBezTo>
                    <a:cubicBezTo>
                      <a:pt x="201" y="121"/>
                      <a:pt x="200" y="130"/>
                      <a:pt x="201" y="140"/>
                    </a:cubicBezTo>
                    <a:cubicBezTo>
                      <a:pt x="201" y="146"/>
                      <a:pt x="200" y="151"/>
                      <a:pt x="197" y="157"/>
                    </a:cubicBezTo>
                    <a:cubicBezTo>
                      <a:pt x="197" y="162"/>
                      <a:pt x="194" y="171"/>
                      <a:pt x="191" y="173"/>
                    </a:cubicBezTo>
                    <a:cubicBezTo>
                      <a:pt x="187" y="177"/>
                      <a:pt x="180" y="176"/>
                      <a:pt x="175" y="176"/>
                    </a:cubicBezTo>
                    <a:cubicBezTo>
                      <a:pt x="162" y="172"/>
                      <a:pt x="145" y="161"/>
                      <a:pt x="131" y="165"/>
                    </a:cubicBezTo>
                    <a:cubicBezTo>
                      <a:pt x="130" y="164"/>
                      <a:pt x="130" y="164"/>
                      <a:pt x="130" y="164"/>
                    </a:cubicBezTo>
                    <a:cubicBezTo>
                      <a:pt x="128" y="173"/>
                      <a:pt x="125" y="181"/>
                      <a:pt x="122" y="189"/>
                    </a:cubicBezTo>
                    <a:cubicBezTo>
                      <a:pt x="121" y="198"/>
                      <a:pt x="117" y="218"/>
                      <a:pt x="107" y="221"/>
                    </a:cubicBezTo>
                    <a:cubicBezTo>
                      <a:pt x="98" y="225"/>
                      <a:pt x="85" y="217"/>
                      <a:pt x="76" y="216"/>
                    </a:cubicBezTo>
                    <a:cubicBezTo>
                      <a:pt x="70" y="213"/>
                      <a:pt x="56" y="210"/>
                      <a:pt x="53" y="200"/>
                    </a:cubicBezTo>
                    <a:cubicBezTo>
                      <a:pt x="51" y="191"/>
                      <a:pt x="55" y="180"/>
                      <a:pt x="55" y="173"/>
                    </a:cubicBezTo>
                    <a:cubicBezTo>
                      <a:pt x="58" y="165"/>
                      <a:pt x="59" y="155"/>
                      <a:pt x="60" y="149"/>
                    </a:cubicBezTo>
                    <a:cubicBezTo>
                      <a:pt x="63" y="143"/>
                      <a:pt x="63" y="142"/>
                      <a:pt x="61" y="137"/>
                    </a:cubicBezTo>
                    <a:close/>
                  </a:path>
                </a:pathLst>
              </a:custGeom>
              <a:solidFill>
                <a:srgbClr val="21AAD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244" name="Freeform 317">
                <a:extLst>
                  <a:ext uri="{FF2B5EF4-FFF2-40B4-BE49-F238E27FC236}">
                    <a16:creationId xmlns:a16="http://schemas.microsoft.com/office/drawing/2014/main" id="{D9D71027-6B1F-4360-8AE7-CDB800073B42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336" y="2468"/>
                <a:ext cx="90" cy="93"/>
              </a:xfrm>
              <a:custGeom>
                <a:avLst/>
                <a:gdLst>
                  <a:gd name="T0" fmla="*/ 5 w 85"/>
                  <a:gd name="T1" fmla="*/ 37 h 88"/>
                  <a:gd name="T2" fmla="*/ 14 w 85"/>
                  <a:gd name="T3" fmla="*/ 20 h 88"/>
                  <a:gd name="T4" fmla="*/ 43 w 85"/>
                  <a:gd name="T5" fmla="*/ 0 h 88"/>
                  <a:gd name="T6" fmla="*/ 75 w 85"/>
                  <a:gd name="T7" fmla="*/ 17 h 88"/>
                  <a:gd name="T8" fmla="*/ 75 w 85"/>
                  <a:gd name="T9" fmla="*/ 65 h 88"/>
                  <a:gd name="T10" fmla="*/ 14 w 85"/>
                  <a:gd name="T11" fmla="*/ 68 h 88"/>
                  <a:gd name="T12" fmla="*/ 3 w 85"/>
                  <a:gd name="T13" fmla="*/ 40 h 88"/>
                  <a:gd name="T14" fmla="*/ 5 w 85"/>
                  <a:gd name="T15" fmla="*/ 37 h 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85" h="88">
                    <a:moveTo>
                      <a:pt x="5" y="37"/>
                    </a:moveTo>
                    <a:cubicBezTo>
                      <a:pt x="14" y="20"/>
                      <a:pt x="14" y="20"/>
                      <a:pt x="14" y="20"/>
                    </a:cubicBezTo>
                    <a:cubicBezTo>
                      <a:pt x="19" y="9"/>
                      <a:pt x="27" y="1"/>
                      <a:pt x="43" y="0"/>
                    </a:cubicBezTo>
                    <a:cubicBezTo>
                      <a:pt x="54" y="1"/>
                      <a:pt x="67" y="5"/>
                      <a:pt x="75" y="17"/>
                    </a:cubicBezTo>
                    <a:cubicBezTo>
                      <a:pt x="85" y="32"/>
                      <a:pt x="84" y="50"/>
                      <a:pt x="75" y="65"/>
                    </a:cubicBezTo>
                    <a:cubicBezTo>
                      <a:pt x="59" y="88"/>
                      <a:pt x="30" y="88"/>
                      <a:pt x="14" y="68"/>
                    </a:cubicBezTo>
                    <a:cubicBezTo>
                      <a:pt x="8" y="60"/>
                      <a:pt x="0" y="48"/>
                      <a:pt x="3" y="40"/>
                    </a:cubicBezTo>
                    <a:cubicBezTo>
                      <a:pt x="4" y="38"/>
                      <a:pt x="4" y="38"/>
                      <a:pt x="5" y="37"/>
                    </a:cubicBezTo>
                    <a:close/>
                  </a:path>
                </a:pathLst>
              </a:custGeom>
              <a:solidFill>
                <a:srgbClr val="21AAD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245" name="Freeform 318">
                <a:extLst>
                  <a:ext uri="{FF2B5EF4-FFF2-40B4-BE49-F238E27FC236}">
                    <a16:creationId xmlns:a16="http://schemas.microsoft.com/office/drawing/2014/main" id="{89588A6D-FC03-410F-8711-EB9D9FBB65D5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385" y="2220"/>
                <a:ext cx="96" cy="100"/>
              </a:xfrm>
              <a:custGeom>
                <a:avLst/>
                <a:gdLst>
                  <a:gd name="T0" fmla="*/ 44 w 91"/>
                  <a:gd name="T1" fmla="*/ 0 h 95"/>
                  <a:gd name="T2" fmla="*/ 75 w 91"/>
                  <a:gd name="T3" fmla="*/ 8 h 95"/>
                  <a:gd name="T4" fmla="*/ 89 w 91"/>
                  <a:gd name="T5" fmla="*/ 30 h 95"/>
                  <a:gd name="T6" fmla="*/ 84 w 91"/>
                  <a:gd name="T7" fmla="*/ 59 h 95"/>
                  <a:gd name="T8" fmla="*/ 63 w 91"/>
                  <a:gd name="T9" fmla="*/ 91 h 95"/>
                  <a:gd name="T10" fmla="*/ 29 w 91"/>
                  <a:gd name="T11" fmla="*/ 90 h 95"/>
                  <a:gd name="T12" fmla="*/ 0 w 91"/>
                  <a:gd name="T13" fmla="*/ 39 h 95"/>
                  <a:gd name="T14" fmla="*/ 0 w 91"/>
                  <a:gd name="T15" fmla="*/ 33 h 95"/>
                  <a:gd name="T16" fmla="*/ 44 w 91"/>
                  <a:gd name="T17" fmla="*/ 0 h 9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91" h="95">
                    <a:moveTo>
                      <a:pt x="44" y="0"/>
                    </a:moveTo>
                    <a:cubicBezTo>
                      <a:pt x="56" y="2"/>
                      <a:pt x="67" y="0"/>
                      <a:pt x="75" y="8"/>
                    </a:cubicBezTo>
                    <a:cubicBezTo>
                      <a:pt x="82" y="13"/>
                      <a:pt x="88" y="21"/>
                      <a:pt x="89" y="30"/>
                    </a:cubicBezTo>
                    <a:cubicBezTo>
                      <a:pt x="91" y="39"/>
                      <a:pt x="87" y="50"/>
                      <a:pt x="84" y="59"/>
                    </a:cubicBezTo>
                    <a:cubicBezTo>
                      <a:pt x="83" y="72"/>
                      <a:pt x="77" y="85"/>
                      <a:pt x="63" y="91"/>
                    </a:cubicBezTo>
                    <a:cubicBezTo>
                      <a:pt x="51" y="94"/>
                      <a:pt x="37" y="95"/>
                      <a:pt x="29" y="90"/>
                    </a:cubicBezTo>
                    <a:cubicBezTo>
                      <a:pt x="10" y="79"/>
                      <a:pt x="0" y="60"/>
                      <a:pt x="0" y="39"/>
                    </a:cubicBezTo>
                    <a:cubicBezTo>
                      <a:pt x="0" y="33"/>
                      <a:pt x="0" y="33"/>
                      <a:pt x="0" y="33"/>
                    </a:cubicBezTo>
                    <a:cubicBezTo>
                      <a:pt x="11" y="15"/>
                      <a:pt x="24" y="3"/>
                      <a:pt x="44" y="0"/>
                    </a:cubicBezTo>
                    <a:close/>
                  </a:path>
                </a:pathLst>
              </a:custGeom>
              <a:solidFill>
                <a:srgbClr val="21AAD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246" name="Freeform 319">
                <a:extLst>
                  <a:ext uri="{FF2B5EF4-FFF2-40B4-BE49-F238E27FC236}">
                    <a16:creationId xmlns:a16="http://schemas.microsoft.com/office/drawing/2014/main" id="{48A207BC-1BC2-4747-A74D-2CC0439713D5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47" y="2364"/>
                <a:ext cx="99" cy="106"/>
              </a:xfrm>
              <a:custGeom>
                <a:avLst/>
                <a:gdLst>
                  <a:gd name="T0" fmla="*/ 7 w 93"/>
                  <a:gd name="T1" fmla="*/ 41 h 100"/>
                  <a:gd name="T2" fmla="*/ 23 w 93"/>
                  <a:gd name="T3" fmla="*/ 11 h 100"/>
                  <a:gd name="T4" fmla="*/ 58 w 93"/>
                  <a:gd name="T5" fmla="*/ 3 h 100"/>
                  <a:gd name="T6" fmla="*/ 89 w 93"/>
                  <a:gd name="T7" fmla="*/ 33 h 100"/>
                  <a:gd name="T8" fmla="*/ 91 w 93"/>
                  <a:gd name="T9" fmla="*/ 61 h 100"/>
                  <a:gd name="T10" fmla="*/ 73 w 93"/>
                  <a:gd name="T11" fmla="*/ 91 h 100"/>
                  <a:gd name="T12" fmla="*/ 36 w 93"/>
                  <a:gd name="T13" fmla="*/ 96 h 100"/>
                  <a:gd name="T14" fmla="*/ 4 w 93"/>
                  <a:gd name="T15" fmla="*/ 73 h 100"/>
                  <a:gd name="T16" fmla="*/ 7 w 93"/>
                  <a:gd name="T17" fmla="*/ 41 h 1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93" h="100">
                    <a:moveTo>
                      <a:pt x="7" y="41"/>
                    </a:moveTo>
                    <a:cubicBezTo>
                      <a:pt x="9" y="29"/>
                      <a:pt x="13" y="18"/>
                      <a:pt x="23" y="11"/>
                    </a:cubicBezTo>
                    <a:cubicBezTo>
                      <a:pt x="33" y="5"/>
                      <a:pt x="47" y="0"/>
                      <a:pt x="58" y="3"/>
                    </a:cubicBezTo>
                    <a:cubicBezTo>
                      <a:pt x="72" y="7"/>
                      <a:pt x="84" y="19"/>
                      <a:pt x="89" y="33"/>
                    </a:cubicBezTo>
                    <a:cubicBezTo>
                      <a:pt x="93" y="43"/>
                      <a:pt x="92" y="52"/>
                      <a:pt x="91" y="61"/>
                    </a:cubicBezTo>
                    <a:cubicBezTo>
                      <a:pt x="90" y="74"/>
                      <a:pt x="85" y="83"/>
                      <a:pt x="73" y="91"/>
                    </a:cubicBezTo>
                    <a:cubicBezTo>
                      <a:pt x="63" y="97"/>
                      <a:pt x="49" y="100"/>
                      <a:pt x="36" y="96"/>
                    </a:cubicBezTo>
                    <a:cubicBezTo>
                      <a:pt x="24" y="95"/>
                      <a:pt x="10" y="85"/>
                      <a:pt x="4" y="73"/>
                    </a:cubicBezTo>
                    <a:cubicBezTo>
                      <a:pt x="0" y="63"/>
                      <a:pt x="4" y="50"/>
                      <a:pt x="7" y="41"/>
                    </a:cubicBezTo>
                    <a:close/>
                  </a:path>
                </a:pathLst>
              </a:custGeom>
              <a:solidFill>
                <a:srgbClr val="21AAD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247" name="Freeform 320">
                <a:extLst>
                  <a:ext uri="{FF2B5EF4-FFF2-40B4-BE49-F238E27FC236}">
                    <a16:creationId xmlns:a16="http://schemas.microsoft.com/office/drawing/2014/main" id="{1D91C880-2BFA-485F-AE06-77769B45E805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71" y="2308"/>
                <a:ext cx="101" cy="101"/>
              </a:xfrm>
              <a:custGeom>
                <a:avLst/>
                <a:gdLst>
                  <a:gd name="T0" fmla="*/ 7 w 95"/>
                  <a:gd name="T1" fmla="*/ 30 h 96"/>
                  <a:gd name="T2" fmla="*/ 18 w 95"/>
                  <a:gd name="T3" fmla="*/ 7 h 96"/>
                  <a:gd name="T4" fmla="*/ 52 w 95"/>
                  <a:gd name="T5" fmla="*/ 1 h 96"/>
                  <a:gd name="T6" fmla="*/ 90 w 95"/>
                  <a:gd name="T7" fmla="*/ 57 h 96"/>
                  <a:gd name="T8" fmla="*/ 27 w 95"/>
                  <a:gd name="T9" fmla="*/ 83 h 96"/>
                  <a:gd name="T10" fmla="*/ 2 w 95"/>
                  <a:gd name="T11" fmla="*/ 55 h 96"/>
                  <a:gd name="T12" fmla="*/ 4 w 95"/>
                  <a:gd name="T13" fmla="*/ 35 h 96"/>
                  <a:gd name="T14" fmla="*/ 7 w 95"/>
                  <a:gd name="T15" fmla="*/ 30 h 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95" h="96">
                    <a:moveTo>
                      <a:pt x="7" y="30"/>
                    </a:moveTo>
                    <a:cubicBezTo>
                      <a:pt x="8" y="22"/>
                      <a:pt x="10" y="12"/>
                      <a:pt x="18" y="7"/>
                    </a:cubicBezTo>
                    <a:cubicBezTo>
                      <a:pt x="25" y="1"/>
                      <a:pt x="41" y="0"/>
                      <a:pt x="52" y="1"/>
                    </a:cubicBezTo>
                    <a:cubicBezTo>
                      <a:pt x="77" y="6"/>
                      <a:pt x="95" y="30"/>
                      <a:pt x="90" y="57"/>
                    </a:cubicBezTo>
                    <a:cubicBezTo>
                      <a:pt x="83" y="83"/>
                      <a:pt x="50" y="96"/>
                      <a:pt x="27" y="83"/>
                    </a:cubicBezTo>
                    <a:cubicBezTo>
                      <a:pt x="16" y="77"/>
                      <a:pt x="8" y="67"/>
                      <a:pt x="2" y="55"/>
                    </a:cubicBezTo>
                    <a:cubicBezTo>
                      <a:pt x="0" y="48"/>
                      <a:pt x="1" y="44"/>
                      <a:pt x="4" y="35"/>
                    </a:cubicBezTo>
                    <a:lnTo>
                      <a:pt x="7" y="30"/>
                    </a:lnTo>
                    <a:close/>
                  </a:path>
                </a:pathLst>
              </a:custGeom>
              <a:solidFill>
                <a:srgbClr val="21AAD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248" name="Freeform 321">
                <a:extLst>
                  <a:ext uri="{FF2B5EF4-FFF2-40B4-BE49-F238E27FC236}">
                    <a16:creationId xmlns:a16="http://schemas.microsoft.com/office/drawing/2014/main" id="{EFEB4FC0-43CB-4C2A-83A0-C6A4D3C6850E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38" y="2073"/>
                <a:ext cx="493" cy="1320"/>
              </a:xfrm>
              <a:custGeom>
                <a:avLst/>
                <a:gdLst>
                  <a:gd name="T0" fmla="*/ 250 w 465"/>
                  <a:gd name="T1" fmla="*/ 1158 h 1247"/>
                  <a:gd name="T2" fmla="*/ 146 w 465"/>
                  <a:gd name="T3" fmla="*/ 1232 h 1247"/>
                  <a:gd name="T4" fmla="*/ 40 w 465"/>
                  <a:gd name="T5" fmla="*/ 1236 h 1247"/>
                  <a:gd name="T6" fmla="*/ 50 w 465"/>
                  <a:gd name="T7" fmla="*/ 1237 h 1247"/>
                  <a:gd name="T8" fmla="*/ 134 w 465"/>
                  <a:gd name="T9" fmla="*/ 1215 h 1247"/>
                  <a:gd name="T10" fmla="*/ 204 w 465"/>
                  <a:gd name="T11" fmla="*/ 1172 h 1247"/>
                  <a:gd name="T12" fmla="*/ 247 w 465"/>
                  <a:gd name="T13" fmla="*/ 1101 h 1247"/>
                  <a:gd name="T14" fmla="*/ 270 w 465"/>
                  <a:gd name="T15" fmla="*/ 956 h 1247"/>
                  <a:gd name="T16" fmla="*/ 245 w 465"/>
                  <a:gd name="T17" fmla="*/ 838 h 1247"/>
                  <a:gd name="T18" fmla="*/ 243 w 465"/>
                  <a:gd name="T19" fmla="*/ 837 h 1247"/>
                  <a:gd name="T20" fmla="*/ 273 w 465"/>
                  <a:gd name="T21" fmla="*/ 704 h 1247"/>
                  <a:gd name="T22" fmla="*/ 306 w 465"/>
                  <a:gd name="T23" fmla="*/ 583 h 1247"/>
                  <a:gd name="T24" fmla="*/ 323 w 465"/>
                  <a:gd name="T25" fmla="*/ 514 h 1247"/>
                  <a:gd name="T26" fmla="*/ 370 w 465"/>
                  <a:gd name="T27" fmla="*/ 453 h 1247"/>
                  <a:gd name="T28" fmla="*/ 408 w 465"/>
                  <a:gd name="T29" fmla="*/ 393 h 1247"/>
                  <a:gd name="T30" fmla="*/ 416 w 465"/>
                  <a:gd name="T31" fmla="*/ 334 h 1247"/>
                  <a:gd name="T32" fmla="*/ 413 w 465"/>
                  <a:gd name="T33" fmla="*/ 270 h 1247"/>
                  <a:gd name="T34" fmla="*/ 400 w 465"/>
                  <a:gd name="T35" fmla="*/ 215 h 1247"/>
                  <a:gd name="T36" fmla="*/ 370 w 465"/>
                  <a:gd name="T37" fmla="*/ 144 h 1247"/>
                  <a:gd name="T38" fmla="*/ 321 w 465"/>
                  <a:gd name="T39" fmla="*/ 91 h 1247"/>
                  <a:gd name="T40" fmla="*/ 304 w 465"/>
                  <a:gd name="T41" fmla="*/ 74 h 1247"/>
                  <a:gd name="T42" fmla="*/ 292 w 465"/>
                  <a:gd name="T43" fmla="*/ 80 h 1247"/>
                  <a:gd name="T44" fmla="*/ 284 w 465"/>
                  <a:gd name="T45" fmla="*/ 72 h 1247"/>
                  <a:gd name="T46" fmla="*/ 268 w 465"/>
                  <a:gd name="T47" fmla="*/ 55 h 1247"/>
                  <a:gd name="T48" fmla="*/ 260 w 465"/>
                  <a:gd name="T49" fmla="*/ 61 h 1247"/>
                  <a:gd name="T50" fmla="*/ 249 w 465"/>
                  <a:gd name="T51" fmla="*/ 81 h 1247"/>
                  <a:gd name="T52" fmla="*/ 190 w 465"/>
                  <a:gd name="T53" fmla="*/ 58 h 1247"/>
                  <a:gd name="T54" fmla="*/ 160 w 465"/>
                  <a:gd name="T55" fmla="*/ 54 h 1247"/>
                  <a:gd name="T56" fmla="*/ 168 w 465"/>
                  <a:gd name="T57" fmla="*/ 31 h 1247"/>
                  <a:gd name="T58" fmla="*/ 69 w 465"/>
                  <a:gd name="T59" fmla="*/ 42 h 1247"/>
                  <a:gd name="T60" fmla="*/ 1 w 465"/>
                  <a:gd name="T61" fmla="*/ 77 h 1247"/>
                  <a:gd name="T62" fmla="*/ 0 w 465"/>
                  <a:gd name="T63" fmla="*/ 76 h 1247"/>
                  <a:gd name="T64" fmla="*/ 66 w 465"/>
                  <a:gd name="T65" fmla="*/ 31 h 1247"/>
                  <a:gd name="T66" fmla="*/ 188 w 465"/>
                  <a:gd name="T67" fmla="*/ 4 h 1247"/>
                  <a:gd name="T68" fmla="*/ 291 w 465"/>
                  <a:gd name="T69" fmla="*/ 25 h 1247"/>
                  <a:gd name="T70" fmla="*/ 403 w 465"/>
                  <a:gd name="T71" fmla="*/ 111 h 1247"/>
                  <a:gd name="T72" fmla="*/ 458 w 465"/>
                  <a:gd name="T73" fmla="*/ 245 h 1247"/>
                  <a:gd name="T74" fmla="*/ 457 w 465"/>
                  <a:gd name="T75" fmla="*/ 356 h 1247"/>
                  <a:gd name="T76" fmla="*/ 397 w 465"/>
                  <a:gd name="T77" fmla="*/ 476 h 1247"/>
                  <a:gd name="T78" fmla="*/ 364 w 465"/>
                  <a:gd name="T79" fmla="*/ 522 h 1247"/>
                  <a:gd name="T80" fmla="*/ 347 w 465"/>
                  <a:gd name="T81" fmla="*/ 577 h 1247"/>
                  <a:gd name="T82" fmla="*/ 287 w 465"/>
                  <a:gd name="T83" fmla="*/ 850 h 1247"/>
                  <a:gd name="T84" fmla="*/ 291 w 465"/>
                  <a:gd name="T85" fmla="*/ 851 h 1247"/>
                  <a:gd name="T86" fmla="*/ 297 w 465"/>
                  <a:gd name="T87" fmla="*/ 881 h 1247"/>
                  <a:gd name="T88" fmla="*/ 310 w 465"/>
                  <a:gd name="T89" fmla="*/ 942 h 1247"/>
                  <a:gd name="T90" fmla="*/ 312 w 465"/>
                  <a:gd name="T91" fmla="*/ 994 h 1247"/>
                  <a:gd name="T92" fmla="*/ 303 w 465"/>
                  <a:gd name="T93" fmla="*/ 1059 h 1247"/>
                  <a:gd name="T94" fmla="*/ 286 w 465"/>
                  <a:gd name="T95" fmla="*/ 1100 h 1247"/>
                  <a:gd name="T96" fmla="*/ 250 w 465"/>
                  <a:gd name="T97" fmla="*/ 1158 h 12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465" h="1247">
                    <a:moveTo>
                      <a:pt x="250" y="1158"/>
                    </a:moveTo>
                    <a:cubicBezTo>
                      <a:pt x="225" y="1192"/>
                      <a:pt x="186" y="1218"/>
                      <a:pt x="146" y="1232"/>
                    </a:cubicBezTo>
                    <a:cubicBezTo>
                      <a:pt x="110" y="1247"/>
                      <a:pt x="75" y="1244"/>
                      <a:pt x="40" y="1236"/>
                    </a:cubicBezTo>
                    <a:cubicBezTo>
                      <a:pt x="43" y="1236"/>
                      <a:pt x="47" y="1237"/>
                      <a:pt x="50" y="1237"/>
                    </a:cubicBezTo>
                    <a:cubicBezTo>
                      <a:pt x="79" y="1237"/>
                      <a:pt x="108" y="1226"/>
                      <a:pt x="134" y="1215"/>
                    </a:cubicBezTo>
                    <a:cubicBezTo>
                      <a:pt x="158" y="1204"/>
                      <a:pt x="184" y="1191"/>
                      <a:pt x="204" y="1172"/>
                    </a:cubicBezTo>
                    <a:cubicBezTo>
                      <a:pt x="226" y="1154"/>
                      <a:pt x="238" y="1128"/>
                      <a:pt x="247" y="1101"/>
                    </a:cubicBezTo>
                    <a:cubicBezTo>
                      <a:pt x="263" y="1055"/>
                      <a:pt x="279" y="1004"/>
                      <a:pt x="270" y="956"/>
                    </a:cubicBezTo>
                    <a:cubicBezTo>
                      <a:pt x="264" y="917"/>
                      <a:pt x="248" y="879"/>
                      <a:pt x="245" y="838"/>
                    </a:cubicBezTo>
                    <a:cubicBezTo>
                      <a:pt x="243" y="837"/>
                      <a:pt x="243" y="837"/>
                      <a:pt x="243" y="837"/>
                    </a:cubicBezTo>
                    <a:cubicBezTo>
                      <a:pt x="254" y="793"/>
                      <a:pt x="260" y="749"/>
                      <a:pt x="273" y="704"/>
                    </a:cubicBezTo>
                    <a:cubicBezTo>
                      <a:pt x="284" y="664"/>
                      <a:pt x="295" y="622"/>
                      <a:pt x="306" y="583"/>
                    </a:cubicBezTo>
                    <a:cubicBezTo>
                      <a:pt x="310" y="560"/>
                      <a:pt x="312" y="536"/>
                      <a:pt x="323" y="514"/>
                    </a:cubicBezTo>
                    <a:cubicBezTo>
                      <a:pt x="335" y="490"/>
                      <a:pt x="355" y="472"/>
                      <a:pt x="370" y="453"/>
                    </a:cubicBezTo>
                    <a:cubicBezTo>
                      <a:pt x="385" y="436"/>
                      <a:pt x="399" y="414"/>
                      <a:pt x="408" y="393"/>
                    </a:cubicBezTo>
                    <a:cubicBezTo>
                      <a:pt x="414" y="375"/>
                      <a:pt x="414" y="352"/>
                      <a:pt x="416" y="334"/>
                    </a:cubicBezTo>
                    <a:cubicBezTo>
                      <a:pt x="415" y="314"/>
                      <a:pt x="415" y="291"/>
                      <a:pt x="413" y="270"/>
                    </a:cubicBezTo>
                    <a:cubicBezTo>
                      <a:pt x="412" y="252"/>
                      <a:pt x="405" y="233"/>
                      <a:pt x="400" y="215"/>
                    </a:cubicBezTo>
                    <a:cubicBezTo>
                      <a:pt x="393" y="191"/>
                      <a:pt x="384" y="166"/>
                      <a:pt x="370" y="144"/>
                    </a:cubicBezTo>
                    <a:cubicBezTo>
                      <a:pt x="356" y="124"/>
                      <a:pt x="340" y="107"/>
                      <a:pt x="321" y="91"/>
                    </a:cubicBezTo>
                    <a:cubicBezTo>
                      <a:pt x="304" y="74"/>
                      <a:pt x="304" y="74"/>
                      <a:pt x="304" y="74"/>
                    </a:cubicBezTo>
                    <a:cubicBezTo>
                      <a:pt x="300" y="76"/>
                      <a:pt x="295" y="78"/>
                      <a:pt x="292" y="80"/>
                    </a:cubicBezTo>
                    <a:cubicBezTo>
                      <a:pt x="284" y="72"/>
                      <a:pt x="284" y="72"/>
                      <a:pt x="284" y="72"/>
                    </a:cubicBezTo>
                    <a:cubicBezTo>
                      <a:pt x="268" y="55"/>
                      <a:pt x="268" y="55"/>
                      <a:pt x="268" y="55"/>
                    </a:cubicBezTo>
                    <a:cubicBezTo>
                      <a:pt x="265" y="57"/>
                      <a:pt x="263" y="59"/>
                      <a:pt x="260" y="61"/>
                    </a:cubicBezTo>
                    <a:cubicBezTo>
                      <a:pt x="249" y="81"/>
                      <a:pt x="249" y="81"/>
                      <a:pt x="249" y="81"/>
                    </a:cubicBezTo>
                    <a:cubicBezTo>
                      <a:pt x="230" y="71"/>
                      <a:pt x="210" y="62"/>
                      <a:pt x="190" y="58"/>
                    </a:cubicBezTo>
                    <a:cubicBezTo>
                      <a:pt x="180" y="56"/>
                      <a:pt x="170" y="54"/>
                      <a:pt x="160" y="54"/>
                    </a:cubicBezTo>
                    <a:cubicBezTo>
                      <a:pt x="168" y="31"/>
                      <a:pt x="168" y="31"/>
                      <a:pt x="168" y="31"/>
                    </a:cubicBezTo>
                    <a:cubicBezTo>
                      <a:pt x="134" y="29"/>
                      <a:pt x="102" y="31"/>
                      <a:pt x="69" y="42"/>
                    </a:cubicBezTo>
                    <a:cubicBezTo>
                      <a:pt x="46" y="51"/>
                      <a:pt x="21" y="62"/>
                      <a:pt x="1" y="77"/>
                    </a:cubicBezTo>
                    <a:cubicBezTo>
                      <a:pt x="0" y="76"/>
                      <a:pt x="0" y="76"/>
                      <a:pt x="0" y="76"/>
                    </a:cubicBezTo>
                    <a:cubicBezTo>
                      <a:pt x="21" y="60"/>
                      <a:pt x="43" y="44"/>
                      <a:pt x="66" y="31"/>
                    </a:cubicBezTo>
                    <a:cubicBezTo>
                      <a:pt x="104" y="9"/>
                      <a:pt x="143" y="0"/>
                      <a:pt x="188" y="4"/>
                    </a:cubicBezTo>
                    <a:cubicBezTo>
                      <a:pt x="222" y="5"/>
                      <a:pt x="258" y="13"/>
                      <a:pt x="291" y="25"/>
                    </a:cubicBezTo>
                    <a:cubicBezTo>
                      <a:pt x="335" y="41"/>
                      <a:pt x="375" y="74"/>
                      <a:pt x="403" y="111"/>
                    </a:cubicBezTo>
                    <a:cubicBezTo>
                      <a:pt x="433" y="152"/>
                      <a:pt x="454" y="197"/>
                      <a:pt x="458" y="245"/>
                    </a:cubicBezTo>
                    <a:cubicBezTo>
                      <a:pt x="461" y="282"/>
                      <a:pt x="465" y="321"/>
                      <a:pt x="457" y="356"/>
                    </a:cubicBezTo>
                    <a:cubicBezTo>
                      <a:pt x="450" y="401"/>
                      <a:pt x="426" y="440"/>
                      <a:pt x="397" y="476"/>
                    </a:cubicBezTo>
                    <a:cubicBezTo>
                      <a:pt x="385" y="490"/>
                      <a:pt x="374" y="505"/>
                      <a:pt x="364" y="522"/>
                    </a:cubicBezTo>
                    <a:cubicBezTo>
                      <a:pt x="355" y="540"/>
                      <a:pt x="351" y="560"/>
                      <a:pt x="347" y="577"/>
                    </a:cubicBezTo>
                    <a:cubicBezTo>
                      <a:pt x="327" y="668"/>
                      <a:pt x="305" y="759"/>
                      <a:pt x="287" y="850"/>
                    </a:cubicBezTo>
                    <a:cubicBezTo>
                      <a:pt x="291" y="851"/>
                      <a:pt x="291" y="851"/>
                      <a:pt x="291" y="851"/>
                    </a:cubicBezTo>
                    <a:cubicBezTo>
                      <a:pt x="295" y="861"/>
                      <a:pt x="296" y="872"/>
                      <a:pt x="297" y="881"/>
                    </a:cubicBezTo>
                    <a:cubicBezTo>
                      <a:pt x="302" y="902"/>
                      <a:pt x="307" y="923"/>
                      <a:pt x="310" y="942"/>
                    </a:cubicBezTo>
                    <a:cubicBezTo>
                      <a:pt x="313" y="960"/>
                      <a:pt x="311" y="976"/>
                      <a:pt x="312" y="994"/>
                    </a:cubicBezTo>
                    <a:cubicBezTo>
                      <a:pt x="310" y="1014"/>
                      <a:pt x="308" y="1037"/>
                      <a:pt x="303" y="1059"/>
                    </a:cubicBezTo>
                    <a:cubicBezTo>
                      <a:pt x="300" y="1072"/>
                      <a:pt x="294" y="1088"/>
                      <a:pt x="286" y="1100"/>
                    </a:cubicBezTo>
                    <a:cubicBezTo>
                      <a:pt x="277" y="1120"/>
                      <a:pt x="266" y="1139"/>
                      <a:pt x="250" y="1158"/>
                    </a:cubicBezTo>
                    <a:close/>
                  </a:path>
                </a:pathLst>
              </a:custGeom>
              <a:solidFill>
                <a:srgbClr val="F6B84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249" name="Freeform 322">
                <a:extLst>
                  <a:ext uri="{FF2B5EF4-FFF2-40B4-BE49-F238E27FC236}">
                    <a16:creationId xmlns:a16="http://schemas.microsoft.com/office/drawing/2014/main" id="{28FDE0F6-2C3C-4806-A5F7-6B8BC5D5E627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16" y="2103"/>
                <a:ext cx="663" cy="1279"/>
              </a:xfrm>
              <a:custGeom>
                <a:avLst/>
                <a:gdLst>
                  <a:gd name="T0" fmla="*/ 307 w 626"/>
                  <a:gd name="T1" fmla="*/ 381 h 1208"/>
                  <a:gd name="T2" fmla="*/ 316 w 626"/>
                  <a:gd name="T3" fmla="*/ 412 h 1208"/>
                  <a:gd name="T4" fmla="*/ 377 w 626"/>
                  <a:gd name="T5" fmla="*/ 361 h 1208"/>
                  <a:gd name="T6" fmla="*/ 316 w 626"/>
                  <a:gd name="T7" fmla="*/ 364 h 1208"/>
                  <a:gd name="T8" fmla="*/ 369 w 626"/>
                  <a:gd name="T9" fmla="*/ 637 h 1208"/>
                  <a:gd name="T10" fmla="*/ 326 w 626"/>
                  <a:gd name="T11" fmla="*/ 560 h 1208"/>
                  <a:gd name="T12" fmla="*/ 344 w 626"/>
                  <a:gd name="T13" fmla="*/ 641 h 1208"/>
                  <a:gd name="T14" fmla="*/ 374 w 626"/>
                  <a:gd name="T15" fmla="*/ 640 h 1208"/>
                  <a:gd name="T16" fmla="*/ 245 w 626"/>
                  <a:gd name="T17" fmla="*/ 532 h 1208"/>
                  <a:gd name="T18" fmla="*/ 225 w 626"/>
                  <a:gd name="T19" fmla="*/ 526 h 1208"/>
                  <a:gd name="T20" fmla="*/ 197 w 626"/>
                  <a:gd name="T21" fmla="*/ 732 h 1208"/>
                  <a:gd name="T22" fmla="*/ 196 w 626"/>
                  <a:gd name="T23" fmla="*/ 734 h 1208"/>
                  <a:gd name="T24" fmla="*/ 204 w 626"/>
                  <a:gd name="T25" fmla="*/ 1057 h 1208"/>
                  <a:gd name="T26" fmla="*/ 250 w 626"/>
                  <a:gd name="T27" fmla="*/ 1030 h 1208"/>
                  <a:gd name="T28" fmla="*/ 259 w 626"/>
                  <a:gd name="T29" fmla="*/ 1006 h 1208"/>
                  <a:gd name="T30" fmla="*/ 319 w 626"/>
                  <a:gd name="T31" fmla="*/ 1014 h 1208"/>
                  <a:gd name="T32" fmla="*/ 329 w 626"/>
                  <a:gd name="T33" fmla="*/ 981 h 1208"/>
                  <a:gd name="T34" fmla="*/ 306 w 626"/>
                  <a:gd name="T35" fmla="*/ 942 h 1208"/>
                  <a:gd name="T36" fmla="*/ 270 w 626"/>
                  <a:gd name="T37" fmla="*/ 934 h 1208"/>
                  <a:gd name="T38" fmla="*/ 273 w 626"/>
                  <a:gd name="T39" fmla="*/ 864 h 1208"/>
                  <a:gd name="T40" fmla="*/ 217 w 626"/>
                  <a:gd name="T41" fmla="*/ 852 h 1208"/>
                  <a:gd name="T42" fmla="*/ 210 w 626"/>
                  <a:gd name="T43" fmla="*/ 876 h 1208"/>
                  <a:gd name="T44" fmla="*/ 196 w 626"/>
                  <a:gd name="T45" fmla="*/ 906 h 1208"/>
                  <a:gd name="T46" fmla="*/ 153 w 626"/>
                  <a:gd name="T47" fmla="*/ 900 h 1208"/>
                  <a:gd name="T48" fmla="*/ 134 w 626"/>
                  <a:gd name="T49" fmla="*/ 962 h 1208"/>
                  <a:gd name="T50" fmla="*/ 182 w 626"/>
                  <a:gd name="T51" fmla="*/ 976 h 1208"/>
                  <a:gd name="T52" fmla="*/ 189 w 626"/>
                  <a:gd name="T53" fmla="*/ 978 h 1208"/>
                  <a:gd name="T54" fmla="*/ 183 w 626"/>
                  <a:gd name="T55" fmla="*/ 1014 h 1208"/>
                  <a:gd name="T56" fmla="*/ 204 w 626"/>
                  <a:gd name="T57" fmla="*/ 1057 h 1208"/>
                  <a:gd name="T58" fmla="*/ 174 w 626"/>
                  <a:gd name="T59" fmla="*/ 1184 h 1208"/>
                  <a:gd name="T60" fmla="*/ 4 w 626"/>
                  <a:gd name="T61" fmla="*/ 1000 h 1208"/>
                  <a:gd name="T62" fmla="*/ 5 w 626"/>
                  <a:gd name="T63" fmla="*/ 904 h 1208"/>
                  <a:gd name="T64" fmla="*/ 94 w 626"/>
                  <a:gd name="T65" fmla="*/ 456 h 1208"/>
                  <a:gd name="T66" fmla="*/ 182 w 626"/>
                  <a:gd name="T67" fmla="*/ 77 h 1208"/>
                  <a:gd name="T68" fmla="*/ 279 w 626"/>
                  <a:gd name="T69" fmla="*/ 13 h 1208"/>
                  <a:gd name="T70" fmla="*/ 370 w 626"/>
                  <a:gd name="T71" fmla="*/ 25 h 1208"/>
                  <a:gd name="T72" fmla="*/ 459 w 626"/>
                  <a:gd name="T73" fmla="*/ 52 h 1208"/>
                  <a:gd name="T74" fmla="*/ 478 w 626"/>
                  <a:gd name="T75" fmla="*/ 26 h 1208"/>
                  <a:gd name="T76" fmla="*/ 502 w 626"/>
                  <a:gd name="T77" fmla="*/ 51 h 1208"/>
                  <a:gd name="T78" fmla="*/ 531 w 626"/>
                  <a:gd name="T79" fmla="*/ 62 h 1208"/>
                  <a:gd name="T80" fmla="*/ 610 w 626"/>
                  <a:gd name="T81" fmla="*/ 186 h 1208"/>
                  <a:gd name="T82" fmla="*/ 626 w 626"/>
                  <a:gd name="T83" fmla="*/ 305 h 1208"/>
                  <a:gd name="T84" fmla="*/ 580 w 626"/>
                  <a:gd name="T85" fmla="*/ 424 h 1208"/>
                  <a:gd name="T86" fmla="*/ 516 w 626"/>
                  <a:gd name="T87" fmla="*/ 554 h 1208"/>
                  <a:gd name="T88" fmla="*/ 453 w 626"/>
                  <a:gd name="T89" fmla="*/ 808 h 1208"/>
                  <a:gd name="T90" fmla="*/ 480 w 626"/>
                  <a:gd name="T91" fmla="*/ 927 h 1208"/>
                  <a:gd name="T92" fmla="*/ 414 w 626"/>
                  <a:gd name="T93" fmla="*/ 1143 h 1208"/>
                  <a:gd name="T94" fmla="*/ 260 w 626"/>
                  <a:gd name="T95" fmla="*/ 1208 h 1208"/>
                  <a:gd name="T96" fmla="*/ 423 w 626"/>
                  <a:gd name="T97" fmla="*/ 118 h 1208"/>
                  <a:gd name="T98" fmla="*/ 348 w 626"/>
                  <a:gd name="T99" fmla="*/ 143 h 1208"/>
                  <a:gd name="T100" fmla="*/ 377 w 626"/>
                  <a:gd name="T101" fmla="*/ 200 h 1208"/>
                  <a:gd name="T102" fmla="*/ 432 w 626"/>
                  <a:gd name="T103" fmla="*/ 169 h 1208"/>
                  <a:gd name="T104" fmla="*/ 423 w 626"/>
                  <a:gd name="T105" fmla="*/ 118 h 1208"/>
                  <a:gd name="T106" fmla="*/ 465 w 626"/>
                  <a:gd name="T107" fmla="*/ 249 h 1208"/>
                  <a:gd name="T108" fmla="*/ 414 w 626"/>
                  <a:gd name="T109" fmla="*/ 287 h 1208"/>
                  <a:gd name="T110" fmla="*/ 411 w 626"/>
                  <a:gd name="T111" fmla="*/ 319 h 1208"/>
                  <a:gd name="T112" fmla="*/ 480 w 626"/>
                  <a:gd name="T113" fmla="*/ 337 h 1208"/>
                  <a:gd name="T114" fmla="*/ 496 w 626"/>
                  <a:gd name="T115" fmla="*/ 279 h 1208"/>
                  <a:gd name="T116" fmla="*/ 293 w 626"/>
                  <a:gd name="T117" fmla="*/ 194 h 1208"/>
                  <a:gd name="T118" fmla="*/ 248 w 626"/>
                  <a:gd name="T119" fmla="*/ 223 h 1208"/>
                  <a:gd name="T120" fmla="*/ 243 w 626"/>
                  <a:gd name="T121" fmla="*/ 248 h 1208"/>
                  <a:gd name="T122" fmla="*/ 331 w 626"/>
                  <a:gd name="T123" fmla="*/ 250 h 12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626" h="1208">
                    <a:moveTo>
                      <a:pt x="316" y="364"/>
                    </a:moveTo>
                    <a:cubicBezTo>
                      <a:pt x="307" y="381"/>
                      <a:pt x="307" y="381"/>
                      <a:pt x="307" y="381"/>
                    </a:cubicBezTo>
                    <a:cubicBezTo>
                      <a:pt x="306" y="382"/>
                      <a:pt x="306" y="382"/>
                      <a:pt x="305" y="384"/>
                    </a:cubicBezTo>
                    <a:cubicBezTo>
                      <a:pt x="302" y="392"/>
                      <a:pt x="310" y="404"/>
                      <a:pt x="316" y="412"/>
                    </a:cubicBezTo>
                    <a:cubicBezTo>
                      <a:pt x="332" y="432"/>
                      <a:pt x="361" y="432"/>
                      <a:pt x="377" y="409"/>
                    </a:cubicBezTo>
                    <a:cubicBezTo>
                      <a:pt x="386" y="394"/>
                      <a:pt x="387" y="376"/>
                      <a:pt x="377" y="361"/>
                    </a:cubicBezTo>
                    <a:cubicBezTo>
                      <a:pt x="369" y="349"/>
                      <a:pt x="356" y="345"/>
                      <a:pt x="345" y="344"/>
                    </a:cubicBezTo>
                    <a:cubicBezTo>
                      <a:pt x="329" y="345"/>
                      <a:pt x="321" y="353"/>
                      <a:pt x="316" y="364"/>
                    </a:cubicBezTo>
                    <a:close/>
                    <a:moveTo>
                      <a:pt x="374" y="640"/>
                    </a:moveTo>
                    <a:cubicBezTo>
                      <a:pt x="369" y="637"/>
                      <a:pt x="369" y="637"/>
                      <a:pt x="369" y="637"/>
                    </a:cubicBezTo>
                    <a:cubicBezTo>
                      <a:pt x="366" y="619"/>
                      <a:pt x="357" y="600"/>
                      <a:pt x="347" y="583"/>
                    </a:cubicBezTo>
                    <a:cubicBezTo>
                      <a:pt x="343" y="576"/>
                      <a:pt x="336" y="559"/>
                      <a:pt x="326" y="560"/>
                    </a:cubicBezTo>
                    <a:cubicBezTo>
                      <a:pt x="318" y="560"/>
                      <a:pt x="318" y="576"/>
                      <a:pt x="318" y="580"/>
                    </a:cubicBezTo>
                    <a:cubicBezTo>
                      <a:pt x="323" y="601"/>
                      <a:pt x="332" y="624"/>
                      <a:pt x="344" y="641"/>
                    </a:cubicBezTo>
                    <a:cubicBezTo>
                      <a:pt x="350" y="651"/>
                      <a:pt x="362" y="664"/>
                      <a:pt x="370" y="649"/>
                    </a:cubicBezTo>
                    <a:cubicBezTo>
                      <a:pt x="372" y="646"/>
                      <a:pt x="373" y="643"/>
                      <a:pt x="374" y="640"/>
                    </a:cubicBezTo>
                    <a:close/>
                    <a:moveTo>
                      <a:pt x="239" y="544"/>
                    </a:moveTo>
                    <a:cubicBezTo>
                      <a:pt x="243" y="541"/>
                      <a:pt x="245" y="538"/>
                      <a:pt x="245" y="532"/>
                    </a:cubicBezTo>
                    <a:cubicBezTo>
                      <a:pt x="243" y="530"/>
                      <a:pt x="244" y="525"/>
                      <a:pt x="239" y="523"/>
                    </a:cubicBezTo>
                    <a:cubicBezTo>
                      <a:pt x="235" y="520"/>
                      <a:pt x="228" y="521"/>
                      <a:pt x="225" y="526"/>
                    </a:cubicBezTo>
                    <a:cubicBezTo>
                      <a:pt x="219" y="535"/>
                      <a:pt x="231" y="545"/>
                      <a:pt x="239" y="544"/>
                    </a:cubicBezTo>
                    <a:close/>
                    <a:moveTo>
                      <a:pt x="197" y="732"/>
                    </a:moveTo>
                    <a:cubicBezTo>
                      <a:pt x="208" y="731"/>
                      <a:pt x="216" y="716"/>
                      <a:pt x="203" y="710"/>
                    </a:cubicBezTo>
                    <a:cubicBezTo>
                      <a:pt x="189" y="704"/>
                      <a:pt x="185" y="731"/>
                      <a:pt x="196" y="734"/>
                    </a:cubicBezTo>
                    <a:lnTo>
                      <a:pt x="197" y="732"/>
                    </a:lnTo>
                    <a:close/>
                    <a:moveTo>
                      <a:pt x="204" y="1057"/>
                    </a:moveTo>
                    <a:cubicBezTo>
                      <a:pt x="213" y="1058"/>
                      <a:pt x="226" y="1066"/>
                      <a:pt x="235" y="1062"/>
                    </a:cubicBezTo>
                    <a:cubicBezTo>
                      <a:pt x="245" y="1059"/>
                      <a:pt x="249" y="1039"/>
                      <a:pt x="250" y="1030"/>
                    </a:cubicBezTo>
                    <a:cubicBezTo>
                      <a:pt x="253" y="1022"/>
                      <a:pt x="256" y="1014"/>
                      <a:pt x="258" y="1005"/>
                    </a:cubicBezTo>
                    <a:cubicBezTo>
                      <a:pt x="259" y="1006"/>
                      <a:pt x="259" y="1006"/>
                      <a:pt x="259" y="1006"/>
                    </a:cubicBezTo>
                    <a:cubicBezTo>
                      <a:pt x="273" y="1002"/>
                      <a:pt x="290" y="1013"/>
                      <a:pt x="303" y="1017"/>
                    </a:cubicBezTo>
                    <a:cubicBezTo>
                      <a:pt x="308" y="1017"/>
                      <a:pt x="315" y="1018"/>
                      <a:pt x="319" y="1014"/>
                    </a:cubicBezTo>
                    <a:cubicBezTo>
                      <a:pt x="322" y="1012"/>
                      <a:pt x="325" y="1003"/>
                      <a:pt x="325" y="998"/>
                    </a:cubicBezTo>
                    <a:cubicBezTo>
                      <a:pt x="328" y="992"/>
                      <a:pt x="329" y="987"/>
                      <a:pt x="329" y="981"/>
                    </a:cubicBezTo>
                    <a:cubicBezTo>
                      <a:pt x="328" y="971"/>
                      <a:pt x="329" y="962"/>
                      <a:pt x="330" y="956"/>
                    </a:cubicBezTo>
                    <a:cubicBezTo>
                      <a:pt x="326" y="944"/>
                      <a:pt x="315" y="943"/>
                      <a:pt x="306" y="942"/>
                    </a:cubicBezTo>
                    <a:cubicBezTo>
                      <a:pt x="297" y="941"/>
                      <a:pt x="286" y="940"/>
                      <a:pt x="275" y="937"/>
                    </a:cubicBezTo>
                    <a:cubicBezTo>
                      <a:pt x="270" y="934"/>
                      <a:pt x="270" y="934"/>
                      <a:pt x="270" y="934"/>
                    </a:cubicBezTo>
                    <a:cubicBezTo>
                      <a:pt x="279" y="917"/>
                      <a:pt x="276" y="898"/>
                      <a:pt x="282" y="881"/>
                    </a:cubicBezTo>
                    <a:cubicBezTo>
                      <a:pt x="283" y="872"/>
                      <a:pt x="281" y="867"/>
                      <a:pt x="273" y="864"/>
                    </a:cubicBezTo>
                    <a:cubicBezTo>
                      <a:pt x="264" y="859"/>
                      <a:pt x="255" y="855"/>
                      <a:pt x="246" y="852"/>
                    </a:cubicBezTo>
                    <a:cubicBezTo>
                      <a:pt x="240" y="849"/>
                      <a:pt x="223" y="841"/>
                      <a:pt x="217" y="852"/>
                    </a:cubicBezTo>
                    <a:cubicBezTo>
                      <a:pt x="217" y="856"/>
                      <a:pt x="216" y="861"/>
                      <a:pt x="213" y="865"/>
                    </a:cubicBezTo>
                    <a:cubicBezTo>
                      <a:pt x="213" y="867"/>
                      <a:pt x="210" y="872"/>
                      <a:pt x="210" y="876"/>
                    </a:cubicBezTo>
                    <a:cubicBezTo>
                      <a:pt x="207" y="883"/>
                      <a:pt x="211" y="894"/>
                      <a:pt x="205" y="903"/>
                    </a:cubicBezTo>
                    <a:cubicBezTo>
                      <a:pt x="205" y="903"/>
                      <a:pt x="198" y="909"/>
                      <a:pt x="196" y="906"/>
                    </a:cubicBezTo>
                    <a:cubicBezTo>
                      <a:pt x="196" y="907"/>
                      <a:pt x="196" y="907"/>
                      <a:pt x="196" y="907"/>
                    </a:cubicBezTo>
                    <a:cubicBezTo>
                      <a:pt x="180" y="907"/>
                      <a:pt x="167" y="902"/>
                      <a:pt x="153" y="900"/>
                    </a:cubicBezTo>
                    <a:cubicBezTo>
                      <a:pt x="131" y="898"/>
                      <a:pt x="131" y="921"/>
                      <a:pt x="129" y="937"/>
                    </a:cubicBezTo>
                    <a:cubicBezTo>
                      <a:pt x="129" y="946"/>
                      <a:pt x="128" y="954"/>
                      <a:pt x="134" y="962"/>
                    </a:cubicBezTo>
                    <a:cubicBezTo>
                      <a:pt x="140" y="967"/>
                      <a:pt x="147" y="965"/>
                      <a:pt x="154" y="966"/>
                    </a:cubicBezTo>
                    <a:cubicBezTo>
                      <a:pt x="163" y="969"/>
                      <a:pt x="174" y="970"/>
                      <a:pt x="182" y="976"/>
                    </a:cubicBezTo>
                    <a:cubicBezTo>
                      <a:pt x="186" y="976"/>
                      <a:pt x="188" y="976"/>
                      <a:pt x="189" y="979"/>
                    </a:cubicBezTo>
                    <a:cubicBezTo>
                      <a:pt x="189" y="978"/>
                      <a:pt x="189" y="978"/>
                      <a:pt x="189" y="978"/>
                    </a:cubicBezTo>
                    <a:cubicBezTo>
                      <a:pt x="191" y="983"/>
                      <a:pt x="191" y="984"/>
                      <a:pt x="188" y="990"/>
                    </a:cubicBezTo>
                    <a:cubicBezTo>
                      <a:pt x="187" y="996"/>
                      <a:pt x="186" y="1006"/>
                      <a:pt x="183" y="1014"/>
                    </a:cubicBezTo>
                    <a:cubicBezTo>
                      <a:pt x="183" y="1021"/>
                      <a:pt x="179" y="1032"/>
                      <a:pt x="181" y="1041"/>
                    </a:cubicBezTo>
                    <a:cubicBezTo>
                      <a:pt x="184" y="1051"/>
                      <a:pt x="198" y="1054"/>
                      <a:pt x="204" y="1057"/>
                    </a:cubicBezTo>
                    <a:close/>
                    <a:moveTo>
                      <a:pt x="250" y="1207"/>
                    </a:moveTo>
                    <a:cubicBezTo>
                      <a:pt x="224" y="1204"/>
                      <a:pt x="197" y="1194"/>
                      <a:pt x="174" y="1184"/>
                    </a:cubicBezTo>
                    <a:cubicBezTo>
                      <a:pt x="141" y="1169"/>
                      <a:pt x="108" y="1155"/>
                      <a:pt x="81" y="1129"/>
                    </a:cubicBezTo>
                    <a:cubicBezTo>
                      <a:pt x="44" y="1094"/>
                      <a:pt x="24" y="1045"/>
                      <a:pt x="4" y="1000"/>
                    </a:cubicBezTo>
                    <a:cubicBezTo>
                      <a:pt x="5" y="1000"/>
                      <a:pt x="5" y="1000"/>
                      <a:pt x="5" y="1000"/>
                    </a:cubicBezTo>
                    <a:cubicBezTo>
                      <a:pt x="2" y="967"/>
                      <a:pt x="0" y="935"/>
                      <a:pt x="5" y="904"/>
                    </a:cubicBezTo>
                    <a:cubicBezTo>
                      <a:pt x="12" y="859"/>
                      <a:pt x="19" y="812"/>
                      <a:pt x="27" y="768"/>
                    </a:cubicBezTo>
                    <a:cubicBezTo>
                      <a:pt x="47" y="663"/>
                      <a:pt x="74" y="561"/>
                      <a:pt x="94" y="456"/>
                    </a:cubicBezTo>
                    <a:cubicBezTo>
                      <a:pt x="114" y="361"/>
                      <a:pt x="126" y="262"/>
                      <a:pt x="149" y="167"/>
                    </a:cubicBezTo>
                    <a:cubicBezTo>
                      <a:pt x="156" y="136"/>
                      <a:pt x="164" y="102"/>
                      <a:pt x="182" y="77"/>
                    </a:cubicBezTo>
                    <a:cubicBezTo>
                      <a:pt x="190" y="66"/>
                      <a:pt x="200" y="56"/>
                      <a:pt x="211" y="48"/>
                    </a:cubicBezTo>
                    <a:cubicBezTo>
                      <a:pt x="231" y="33"/>
                      <a:pt x="256" y="22"/>
                      <a:pt x="279" y="13"/>
                    </a:cubicBezTo>
                    <a:cubicBezTo>
                      <a:pt x="312" y="2"/>
                      <a:pt x="344" y="0"/>
                      <a:pt x="378" y="2"/>
                    </a:cubicBezTo>
                    <a:cubicBezTo>
                      <a:pt x="370" y="25"/>
                      <a:pt x="370" y="25"/>
                      <a:pt x="370" y="25"/>
                    </a:cubicBezTo>
                    <a:cubicBezTo>
                      <a:pt x="380" y="25"/>
                      <a:pt x="390" y="27"/>
                      <a:pt x="400" y="29"/>
                    </a:cubicBezTo>
                    <a:cubicBezTo>
                      <a:pt x="420" y="33"/>
                      <a:pt x="440" y="42"/>
                      <a:pt x="459" y="52"/>
                    </a:cubicBezTo>
                    <a:cubicBezTo>
                      <a:pt x="470" y="32"/>
                      <a:pt x="470" y="32"/>
                      <a:pt x="470" y="32"/>
                    </a:cubicBezTo>
                    <a:cubicBezTo>
                      <a:pt x="473" y="30"/>
                      <a:pt x="475" y="28"/>
                      <a:pt x="478" y="26"/>
                    </a:cubicBezTo>
                    <a:cubicBezTo>
                      <a:pt x="494" y="43"/>
                      <a:pt x="494" y="43"/>
                      <a:pt x="494" y="43"/>
                    </a:cubicBezTo>
                    <a:cubicBezTo>
                      <a:pt x="502" y="51"/>
                      <a:pt x="502" y="51"/>
                      <a:pt x="502" y="51"/>
                    </a:cubicBezTo>
                    <a:cubicBezTo>
                      <a:pt x="505" y="49"/>
                      <a:pt x="510" y="47"/>
                      <a:pt x="514" y="45"/>
                    </a:cubicBezTo>
                    <a:cubicBezTo>
                      <a:pt x="531" y="62"/>
                      <a:pt x="531" y="62"/>
                      <a:pt x="531" y="62"/>
                    </a:cubicBezTo>
                    <a:cubicBezTo>
                      <a:pt x="550" y="78"/>
                      <a:pt x="566" y="95"/>
                      <a:pt x="580" y="115"/>
                    </a:cubicBezTo>
                    <a:cubicBezTo>
                      <a:pt x="594" y="137"/>
                      <a:pt x="603" y="162"/>
                      <a:pt x="610" y="186"/>
                    </a:cubicBezTo>
                    <a:cubicBezTo>
                      <a:pt x="615" y="204"/>
                      <a:pt x="622" y="223"/>
                      <a:pt x="623" y="241"/>
                    </a:cubicBezTo>
                    <a:cubicBezTo>
                      <a:pt x="625" y="262"/>
                      <a:pt x="625" y="285"/>
                      <a:pt x="626" y="305"/>
                    </a:cubicBezTo>
                    <a:cubicBezTo>
                      <a:pt x="624" y="323"/>
                      <a:pt x="624" y="346"/>
                      <a:pt x="618" y="364"/>
                    </a:cubicBezTo>
                    <a:cubicBezTo>
                      <a:pt x="609" y="385"/>
                      <a:pt x="595" y="407"/>
                      <a:pt x="580" y="424"/>
                    </a:cubicBezTo>
                    <a:cubicBezTo>
                      <a:pt x="565" y="443"/>
                      <a:pt x="545" y="461"/>
                      <a:pt x="533" y="485"/>
                    </a:cubicBezTo>
                    <a:cubicBezTo>
                      <a:pt x="522" y="507"/>
                      <a:pt x="520" y="531"/>
                      <a:pt x="516" y="554"/>
                    </a:cubicBezTo>
                    <a:cubicBezTo>
                      <a:pt x="505" y="593"/>
                      <a:pt x="494" y="635"/>
                      <a:pt x="483" y="675"/>
                    </a:cubicBezTo>
                    <a:cubicBezTo>
                      <a:pt x="470" y="720"/>
                      <a:pt x="464" y="764"/>
                      <a:pt x="453" y="808"/>
                    </a:cubicBezTo>
                    <a:cubicBezTo>
                      <a:pt x="455" y="809"/>
                      <a:pt x="455" y="809"/>
                      <a:pt x="455" y="809"/>
                    </a:cubicBezTo>
                    <a:cubicBezTo>
                      <a:pt x="458" y="850"/>
                      <a:pt x="474" y="888"/>
                      <a:pt x="480" y="927"/>
                    </a:cubicBezTo>
                    <a:cubicBezTo>
                      <a:pt x="489" y="975"/>
                      <a:pt x="473" y="1026"/>
                      <a:pt x="457" y="1072"/>
                    </a:cubicBezTo>
                    <a:cubicBezTo>
                      <a:pt x="448" y="1099"/>
                      <a:pt x="436" y="1125"/>
                      <a:pt x="414" y="1143"/>
                    </a:cubicBezTo>
                    <a:cubicBezTo>
                      <a:pt x="394" y="1162"/>
                      <a:pt x="368" y="1175"/>
                      <a:pt x="344" y="1186"/>
                    </a:cubicBezTo>
                    <a:cubicBezTo>
                      <a:pt x="318" y="1197"/>
                      <a:pt x="289" y="1208"/>
                      <a:pt x="260" y="1208"/>
                    </a:cubicBezTo>
                    <a:cubicBezTo>
                      <a:pt x="257" y="1208"/>
                      <a:pt x="253" y="1207"/>
                      <a:pt x="250" y="1207"/>
                    </a:cubicBezTo>
                    <a:close/>
                    <a:moveTo>
                      <a:pt x="423" y="118"/>
                    </a:moveTo>
                    <a:cubicBezTo>
                      <a:pt x="415" y="110"/>
                      <a:pt x="404" y="112"/>
                      <a:pt x="392" y="110"/>
                    </a:cubicBezTo>
                    <a:cubicBezTo>
                      <a:pt x="372" y="113"/>
                      <a:pt x="359" y="125"/>
                      <a:pt x="348" y="143"/>
                    </a:cubicBezTo>
                    <a:cubicBezTo>
                      <a:pt x="348" y="149"/>
                      <a:pt x="348" y="149"/>
                      <a:pt x="348" y="149"/>
                    </a:cubicBezTo>
                    <a:cubicBezTo>
                      <a:pt x="348" y="170"/>
                      <a:pt x="358" y="189"/>
                      <a:pt x="377" y="200"/>
                    </a:cubicBezTo>
                    <a:cubicBezTo>
                      <a:pt x="385" y="205"/>
                      <a:pt x="399" y="204"/>
                      <a:pt x="411" y="201"/>
                    </a:cubicBezTo>
                    <a:cubicBezTo>
                      <a:pt x="425" y="195"/>
                      <a:pt x="431" y="182"/>
                      <a:pt x="432" y="169"/>
                    </a:cubicBezTo>
                    <a:cubicBezTo>
                      <a:pt x="435" y="160"/>
                      <a:pt x="439" y="149"/>
                      <a:pt x="437" y="140"/>
                    </a:cubicBezTo>
                    <a:cubicBezTo>
                      <a:pt x="436" y="131"/>
                      <a:pt x="430" y="123"/>
                      <a:pt x="423" y="118"/>
                    </a:cubicBezTo>
                    <a:close/>
                    <a:moveTo>
                      <a:pt x="496" y="279"/>
                    </a:moveTo>
                    <a:cubicBezTo>
                      <a:pt x="491" y="265"/>
                      <a:pt x="479" y="253"/>
                      <a:pt x="465" y="249"/>
                    </a:cubicBezTo>
                    <a:cubicBezTo>
                      <a:pt x="454" y="246"/>
                      <a:pt x="440" y="251"/>
                      <a:pt x="430" y="257"/>
                    </a:cubicBezTo>
                    <a:cubicBezTo>
                      <a:pt x="420" y="264"/>
                      <a:pt x="416" y="275"/>
                      <a:pt x="414" y="287"/>
                    </a:cubicBezTo>
                    <a:cubicBezTo>
                      <a:pt x="414" y="287"/>
                      <a:pt x="414" y="287"/>
                      <a:pt x="414" y="287"/>
                    </a:cubicBezTo>
                    <a:cubicBezTo>
                      <a:pt x="411" y="296"/>
                      <a:pt x="407" y="309"/>
                      <a:pt x="411" y="319"/>
                    </a:cubicBezTo>
                    <a:cubicBezTo>
                      <a:pt x="417" y="331"/>
                      <a:pt x="431" y="341"/>
                      <a:pt x="443" y="342"/>
                    </a:cubicBezTo>
                    <a:cubicBezTo>
                      <a:pt x="456" y="346"/>
                      <a:pt x="470" y="343"/>
                      <a:pt x="480" y="337"/>
                    </a:cubicBezTo>
                    <a:cubicBezTo>
                      <a:pt x="492" y="329"/>
                      <a:pt x="497" y="320"/>
                      <a:pt x="498" y="307"/>
                    </a:cubicBezTo>
                    <a:cubicBezTo>
                      <a:pt x="499" y="298"/>
                      <a:pt x="500" y="289"/>
                      <a:pt x="496" y="279"/>
                    </a:cubicBezTo>
                    <a:close/>
                    <a:moveTo>
                      <a:pt x="331" y="250"/>
                    </a:moveTo>
                    <a:cubicBezTo>
                      <a:pt x="336" y="223"/>
                      <a:pt x="318" y="199"/>
                      <a:pt x="293" y="194"/>
                    </a:cubicBezTo>
                    <a:cubicBezTo>
                      <a:pt x="282" y="193"/>
                      <a:pt x="266" y="194"/>
                      <a:pt x="259" y="200"/>
                    </a:cubicBezTo>
                    <a:cubicBezTo>
                      <a:pt x="251" y="205"/>
                      <a:pt x="249" y="215"/>
                      <a:pt x="248" y="223"/>
                    </a:cubicBezTo>
                    <a:cubicBezTo>
                      <a:pt x="245" y="228"/>
                      <a:pt x="245" y="228"/>
                      <a:pt x="245" y="228"/>
                    </a:cubicBezTo>
                    <a:cubicBezTo>
                      <a:pt x="242" y="237"/>
                      <a:pt x="241" y="241"/>
                      <a:pt x="243" y="248"/>
                    </a:cubicBezTo>
                    <a:cubicBezTo>
                      <a:pt x="249" y="260"/>
                      <a:pt x="257" y="270"/>
                      <a:pt x="268" y="276"/>
                    </a:cubicBezTo>
                    <a:cubicBezTo>
                      <a:pt x="291" y="289"/>
                      <a:pt x="324" y="276"/>
                      <a:pt x="331" y="250"/>
                    </a:cubicBezTo>
                    <a:close/>
                  </a:path>
                </a:pathLst>
              </a:custGeom>
              <a:solidFill>
                <a:srgbClr val="F6B84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250" name="Freeform 323">
                <a:extLst>
                  <a:ext uri="{FF2B5EF4-FFF2-40B4-BE49-F238E27FC236}">
                    <a16:creationId xmlns:a16="http://schemas.microsoft.com/office/drawing/2014/main" id="{697ED9EE-6C02-47B4-8904-F80D43EC62F7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323" y="2825"/>
                <a:ext cx="52" cy="104"/>
              </a:xfrm>
              <a:custGeom>
                <a:avLst/>
                <a:gdLst>
                  <a:gd name="T0" fmla="*/ 44 w 49"/>
                  <a:gd name="T1" fmla="*/ 89 h 98"/>
                  <a:gd name="T2" fmla="*/ 28 w 49"/>
                  <a:gd name="T3" fmla="*/ 50 h 98"/>
                  <a:gd name="T4" fmla="*/ 16 w 49"/>
                  <a:gd name="T5" fmla="*/ 18 h 98"/>
                  <a:gd name="T6" fmla="*/ 10 w 49"/>
                  <a:gd name="T7" fmla="*/ 20 h 98"/>
                  <a:gd name="T8" fmla="*/ 22 w 49"/>
                  <a:gd name="T9" fmla="*/ 51 h 98"/>
                  <a:gd name="T10" fmla="*/ 35 w 49"/>
                  <a:gd name="T11" fmla="*/ 86 h 98"/>
                  <a:gd name="T12" fmla="*/ 46 w 49"/>
                  <a:gd name="T13" fmla="*/ 83 h 98"/>
                  <a:gd name="T14" fmla="*/ 20 w 49"/>
                  <a:gd name="T15" fmla="*/ 8 h 98"/>
                  <a:gd name="T16" fmla="*/ 8 w 49"/>
                  <a:gd name="T17" fmla="*/ 14 h 98"/>
                  <a:gd name="T18" fmla="*/ 36 w 49"/>
                  <a:gd name="T19" fmla="*/ 87 h 98"/>
                  <a:gd name="T20" fmla="*/ 46 w 49"/>
                  <a:gd name="T21" fmla="*/ 83 h 98"/>
                  <a:gd name="T22" fmla="*/ 27 w 49"/>
                  <a:gd name="T23" fmla="*/ 29 h 98"/>
                  <a:gd name="T24" fmla="*/ 13 w 49"/>
                  <a:gd name="T25" fmla="*/ 10 h 98"/>
                  <a:gd name="T26" fmla="*/ 7 w 49"/>
                  <a:gd name="T27" fmla="*/ 12 h 98"/>
                  <a:gd name="T28" fmla="*/ 18 w 49"/>
                  <a:gd name="T29" fmla="*/ 55 h 98"/>
                  <a:gd name="T30" fmla="*/ 40 w 49"/>
                  <a:gd name="T31" fmla="*/ 96 h 98"/>
                  <a:gd name="T32" fmla="*/ 44 w 49"/>
                  <a:gd name="T33" fmla="*/ 89 h 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49" h="98">
                    <a:moveTo>
                      <a:pt x="44" y="89"/>
                    </a:moveTo>
                    <a:cubicBezTo>
                      <a:pt x="34" y="80"/>
                      <a:pt x="32" y="63"/>
                      <a:pt x="28" y="50"/>
                    </a:cubicBezTo>
                    <a:cubicBezTo>
                      <a:pt x="26" y="45"/>
                      <a:pt x="13" y="22"/>
                      <a:pt x="16" y="18"/>
                    </a:cubicBezTo>
                    <a:cubicBezTo>
                      <a:pt x="14" y="18"/>
                      <a:pt x="12" y="19"/>
                      <a:pt x="10" y="20"/>
                    </a:cubicBezTo>
                    <a:cubicBezTo>
                      <a:pt x="17" y="23"/>
                      <a:pt x="20" y="45"/>
                      <a:pt x="22" y="51"/>
                    </a:cubicBezTo>
                    <a:cubicBezTo>
                      <a:pt x="26" y="63"/>
                      <a:pt x="31" y="75"/>
                      <a:pt x="35" y="86"/>
                    </a:cubicBezTo>
                    <a:cubicBezTo>
                      <a:pt x="39" y="85"/>
                      <a:pt x="43" y="84"/>
                      <a:pt x="46" y="83"/>
                    </a:cubicBezTo>
                    <a:cubicBezTo>
                      <a:pt x="35" y="58"/>
                      <a:pt x="32" y="31"/>
                      <a:pt x="20" y="8"/>
                    </a:cubicBezTo>
                    <a:cubicBezTo>
                      <a:pt x="16" y="0"/>
                      <a:pt x="4" y="6"/>
                      <a:pt x="8" y="14"/>
                    </a:cubicBezTo>
                    <a:cubicBezTo>
                      <a:pt x="21" y="37"/>
                      <a:pt x="25" y="64"/>
                      <a:pt x="36" y="87"/>
                    </a:cubicBezTo>
                    <a:cubicBezTo>
                      <a:pt x="39" y="93"/>
                      <a:pt x="49" y="89"/>
                      <a:pt x="46" y="83"/>
                    </a:cubicBezTo>
                    <a:cubicBezTo>
                      <a:pt x="39" y="65"/>
                      <a:pt x="32" y="47"/>
                      <a:pt x="27" y="29"/>
                    </a:cubicBezTo>
                    <a:cubicBezTo>
                      <a:pt x="24" y="21"/>
                      <a:pt x="22" y="13"/>
                      <a:pt x="13" y="10"/>
                    </a:cubicBezTo>
                    <a:cubicBezTo>
                      <a:pt x="11" y="9"/>
                      <a:pt x="8" y="10"/>
                      <a:pt x="7" y="12"/>
                    </a:cubicBezTo>
                    <a:cubicBezTo>
                      <a:pt x="0" y="23"/>
                      <a:pt x="15" y="45"/>
                      <a:pt x="18" y="55"/>
                    </a:cubicBezTo>
                    <a:cubicBezTo>
                      <a:pt x="23" y="69"/>
                      <a:pt x="26" y="88"/>
                      <a:pt x="40" y="96"/>
                    </a:cubicBezTo>
                    <a:cubicBezTo>
                      <a:pt x="44" y="98"/>
                      <a:pt x="47" y="92"/>
                      <a:pt x="44" y="89"/>
                    </a:cubicBezTo>
                    <a:close/>
                  </a:path>
                </a:pathLst>
              </a:custGeom>
              <a:solidFill>
                <a:srgbClr val="E840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251" name="Freeform 324">
                <a:extLst>
                  <a:ext uri="{FF2B5EF4-FFF2-40B4-BE49-F238E27FC236}">
                    <a16:creationId xmlns:a16="http://schemas.microsoft.com/office/drawing/2014/main" id="{23FF12B3-928B-419C-BF0B-57416036F51E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36" y="2757"/>
                <a:ext cx="21" cy="16"/>
              </a:xfrm>
              <a:custGeom>
                <a:avLst/>
                <a:gdLst>
                  <a:gd name="T0" fmla="*/ 9 w 20"/>
                  <a:gd name="T1" fmla="*/ 5 h 16"/>
                  <a:gd name="T2" fmla="*/ 8 w 20"/>
                  <a:gd name="T3" fmla="*/ 5 h 16"/>
                  <a:gd name="T4" fmla="*/ 11 w 20"/>
                  <a:gd name="T5" fmla="*/ 6 h 16"/>
                  <a:gd name="T6" fmla="*/ 11 w 20"/>
                  <a:gd name="T7" fmla="*/ 5 h 16"/>
                  <a:gd name="T8" fmla="*/ 3 w 20"/>
                  <a:gd name="T9" fmla="*/ 3 h 16"/>
                  <a:gd name="T10" fmla="*/ 3 w 20"/>
                  <a:gd name="T11" fmla="*/ 11 h 16"/>
                  <a:gd name="T12" fmla="*/ 14 w 20"/>
                  <a:gd name="T13" fmla="*/ 13 h 16"/>
                  <a:gd name="T14" fmla="*/ 8 w 20"/>
                  <a:gd name="T15" fmla="*/ 4 h 16"/>
                  <a:gd name="T16" fmla="*/ 11 w 20"/>
                  <a:gd name="T17" fmla="*/ 3 h 16"/>
                  <a:gd name="T18" fmla="*/ 12 w 20"/>
                  <a:gd name="T19" fmla="*/ 3 h 16"/>
                  <a:gd name="T20" fmla="*/ 11 w 20"/>
                  <a:gd name="T21" fmla="*/ 3 h 16"/>
                  <a:gd name="T22" fmla="*/ 4 w 20"/>
                  <a:gd name="T23" fmla="*/ 5 h 16"/>
                  <a:gd name="T24" fmla="*/ 5 w 20"/>
                  <a:gd name="T25" fmla="*/ 13 h 16"/>
                  <a:gd name="T26" fmla="*/ 5 w 20"/>
                  <a:gd name="T27" fmla="*/ 13 h 16"/>
                  <a:gd name="T28" fmla="*/ 6 w 20"/>
                  <a:gd name="T29" fmla="*/ 14 h 16"/>
                  <a:gd name="T30" fmla="*/ 8 w 20"/>
                  <a:gd name="T31" fmla="*/ 15 h 16"/>
                  <a:gd name="T32" fmla="*/ 15 w 20"/>
                  <a:gd name="T33" fmla="*/ 12 h 16"/>
                  <a:gd name="T34" fmla="*/ 14 w 20"/>
                  <a:gd name="T35" fmla="*/ 5 h 16"/>
                  <a:gd name="T36" fmla="*/ 10 w 20"/>
                  <a:gd name="T37" fmla="*/ 2 h 16"/>
                  <a:gd name="T38" fmla="*/ 6 w 20"/>
                  <a:gd name="T39" fmla="*/ 14 h 16"/>
                  <a:gd name="T40" fmla="*/ 17 w 20"/>
                  <a:gd name="T41" fmla="*/ 10 h 16"/>
                  <a:gd name="T42" fmla="*/ 10 w 20"/>
                  <a:gd name="T43" fmla="*/ 2 h 16"/>
                  <a:gd name="T44" fmla="*/ 9 w 20"/>
                  <a:gd name="T45" fmla="*/ 2 h 16"/>
                  <a:gd name="T46" fmla="*/ 9 w 20"/>
                  <a:gd name="T47" fmla="*/ 2 h 16"/>
                  <a:gd name="T48" fmla="*/ 7 w 20"/>
                  <a:gd name="T49" fmla="*/ 2 h 16"/>
                  <a:gd name="T50" fmla="*/ 3 w 20"/>
                  <a:gd name="T51" fmla="*/ 11 h 16"/>
                  <a:gd name="T52" fmla="*/ 9 w 20"/>
                  <a:gd name="T53" fmla="*/ 10 h 16"/>
                  <a:gd name="T54" fmla="*/ 7 w 20"/>
                  <a:gd name="T55" fmla="*/ 11 h 16"/>
                  <a:gd name="T56" fmla="*/ 12 w 20"/>
                  <a:gd name="T57" fmla="*/ 7 h 16"/>
                  <a:gd name="T58" fmla="*/ 9 w 20"/>
                  <a:gd name="T59" fmla="*/ 5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0" h="16">
                    <a:moveTo>
                      <a:pt x="9" y="5"/>
                    </a:moveTo>
                    <a:cubicBezTo>
                      <a:pt x="8" y="5"/>
                      <a:pt x="8" y="5"/>
                      <a:pt x="8" y="5"/>
                    </a:cubicBezTo>
                    <a:cubicBezTo>
                      <a:pt x="9" y="5"/>
                      <a:pt x="10" y="6"/>
                      <a:pt x="11" y="6"/>
                    </a:cubicBezTo>
                    <a:cubicBezTo>
                      <a:pt x="11" y="6"/>
                      <a:pt x="11" y="5"/>
                      <a:pt x="11" y="5"/>
                    </a:cubicBezTo>
                    <a:cubicBezTo>
                      <a:pt x="9" y="2"/>
                      <a:pt x="5" y="1"/>
                      <a:pt x="3" y="3"/>
                    </a:cubicBezTo>
                    <a:cubicBezTo>
                      <a:pt x="0" y="5"/>
                      <a:pt x="0" y="9"/>
                      <a:pt x="3" y="11"/>
                    </a:cubicBezTo>
                    <a:cubicBezTo>
                      <a:pt x="6" y="13"/>
                      <a:pt x="10" y="14"/>
                      <a:pt x="14" y="13"/>
                    </a:cubicBezTo>
                    <a:cubicBezTo>
                      <a:pt x="12" y="10"/>
                      <a:pt x="10" y="7"/>
                      <a:pt x="8" y="4"/>
                    </a:cubicBezTo>
                    <a:cubicBezTo>
                      <a:pt x="9" y="3"/>
                      <a:pt x="10" y="3"/>
                      <a:pt x="11" y="3"/>
                    </a:cubicBezTo>
                    <a:cubicBezTo>
                      <a:pt x="12" y="3"/>
                      <a:pt x="12" y="3"/>
                      <a:pt x="12" y="3"/>
                    </a:cubicBezTo>
                    <a:cubicBezTo>
                      <a:pt x="11" y="3"/>
                      <a:pt x="11" y="3"/>
                      <a:pt x="11" y="3"/>
                    </a:cubicBezTo>
                    <a:cubicBezTo>
                      <a:pt x="9" y="1"/>
                      <a:pt x="5" y="3"/>
                      <a:pt x="4" y="5"/>
                    </a:cubicBezTo>
                    <a:cubicBezTo>
                      <a:pt x="2" y="8"/>
                      <a:pt x="3" y="11"/>
                      <a:pt x="5" y="13"/>
                    </a:cubicBezTo>
                    <a:cubicBezTo>
                      <a:pt x="4" y="12"/>
                      <a:pt x="4" y="12"/>
                      <a:pt x="5" y="13"/>
                    </a:cubicBezTo>
                    <a:cubicBezTo>
                      <a:pt x="6" y="14"/>
                      <a:pt x="6" y="14"/>
                      <a:pt x="6" y="14"/>
                    </a:cubicBezTo>
                    <a:cubicBezTo>
                      <a:pt x="7" y="14"/>
                      <a:pt x="7" y="14"/>
                      <a:pt x="8" y="15"/>
                    </a:cubicBezTo>
                    <a:cubicBezTo>
                      <a:pt x="11" y="16"/>
                      <a:pt x="14" y="15"/>
                      <a:pt x="15" y="12"/>
                    </a:cubicBezTo>
                    <a:cubicBezTo>
                      <a:pt x="17" y="10"/>
                      <a:pt x="17" y="6"/>
                      <a:pt x="14" y="5"/>
                    </a:cubicBezTo>
                    <a:cubicBezTo>
                      <a:pt x="13" y="3"/>
                      <a:pt x="12" y="3"/>
                      <a:pt x="10" y="2"/>
                    </a:cubicBezTo>
                    <a:cubicBezTo>
                      <a:pt x="9" y="6"/>
                      <a:pt x="8" y="10"/>
                      <a:pt x="6" y="14"/>
                    </a:cubicBezTo>
                    <a:cubicBezTo>
                      <a:pt x="11" y="16"/>
                      <a:pt x="15" y="14"/>
                      <a:pt x="17" y="10"/>
                    </a:cubicBezTo>
                    <a:cubicBezTo>
                      <a:pt x="20" y="6"/>
                      <a:pt x="15" y="0"/>
                      <a:pt x="10" y="2"/>
                    </a:cubicBezTo>
                    <a:cubicBezTo>
                      <a:pt x="10" y="2"/>
                      <a:pt x="9" y="2"/>
                      <a:pt x="9" y="2"/>
                    </a:cubicBezTo>
                    <a:cubicBezTo>
                      <a:pt x="8" y="2"/>
                      <a:pt x="10" y="2"/>
                      <a:pt x="9" y="2"/>
                    </a:cubicBezTo>
                    <a:cubicBezTo>
                      <a:pt x="8" y="2"/>
                      <a:pt x="7" y="2"/>
                      <a:pt x="7" y="2"/>
                    </a:cubicBezTo>
                    <a:cubicBezTo>
                      <a:pt x="6" y="5"/>
                      <a:pt x="4" y="8"/>
                      <a:pt x="3" y="11"/>
                    </a:cubicBezTo>
                    <a:cubicBezTo>
                      <a:pt x="5" y="12"/>
                      <a:pt x="7" y="12"/>
                      <a:pt x="9" y="10"/>
                    </a:cubicBezTo>
                    <a:cubicBezTo>
                      <a:pt x="8" y="10"/>
                      <a:pt x="8" y="11"/>
                      <a:pt x="7" y="11"/>
                    </a:cubicBezTo>
                    <a:cubicBezTo>
                      <a:pt x="10" y="11"/>
                      <a:pt x="12" y="9"/>
                      <a:pt x="12" y="7"/>
                    </a:cubicBezTo>
                    <a:cubicBezTo>
                      <a:pt x="13" y="5"/>
                      <a:pt x="10" y="3"/>
                      <a:pt x="9" y="5"/>
                    </a:cubicBezTo>
                    <a:close/>
                  </a:path>
                </a:pathLst>
              </a:custGeom>
              <a:solidFill>
                <a:srgbClr val="E840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252" name="Freeform 325">
                <a:extLst>
                  <a:ext uri="{FF2B5EF4-FFF2-40B4-BE49-F238E27FC236}">
                    <a16:creationId xmlns:a16="http://schemas.microsoft.com/office/drawing/2014/main" id="{940CC492-197A-43B5-AE3C-5F3287A566C5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51" y="2651"/>
                <a:ext cx="22" cy="28"/>
              </a:xfrm>
              <a:custGeom>
                <a:avLst/>
                <a:gdLst>
                  <a:gd name="T0" fmla="*/ 2 w 21"/>
                  <a:gd name="T1" fmla="*/ 12 h 27"/>
                  <a:gd name="T2" fmla="*/ 10 w 21"/>
                  <a:gd name="T3" fmla="*/ 18 h 27"/>
                  <a:gd name="T4" fmla="*/ 14 w 21"/>
                  <a:gd name="T5" fmla="*/ 18 h 27"/>
                  <a:gd name="T6" fmla="*/ 10 w 21"/>
                  <a:gd name="T7" fmla="*/ 0 h 27"/>
                  <a:gd name="T8" fmla="*/ 3 w 21"/>
                  <a:gd name="T9" fmla="*/ 8 h 27"/>
                  <a:gd name="T10" fmla="*/ 9 w 21"/>
                  <a:gd name="T11" fmla="*/ 20 h 27"/>
                  <a:gd name="T12" fmla="*/ 16 w 21"/>
                  <a:gd name="T13" fmla="*/ 10 h 27"/>
                  <a:gd name="T14" fmla="*/ 6 w 21"/>
                  <a:gd name="T15" fmla="*/ 11 h 27"/>
                  <a:gd name="T16" fmla="*/ 4 w 21"/>
                  <a:gd name="T17" fmla="*/ 24 h 27"/>
                  <a:gd name="T18" fmla="*/ 8 w 21"/>
                  <a:gd name="T19" fmla="*/ 26 h 27"/>
                  <a:gd name="T20" fmla="*/ 15 w 21"/>
                  <a:gd name="T21" fmla="*/ 25 h 27"/>
                  <a:gd name="T22" fmla="*/ 18 w 21"/>
                  <a:gd name="T23" fmla="*/ 19 h 27"/>
                  <a:gd name="T24" fmla="*/ 13 w 21"/>
                  <a:gd name="T25" fmla="*/ 13 h 27"/>
                  <a:gd name="T26" fmla="*/ 11 w 21"/>
                  <a:gd name="T27" fmla="*/ 12 h 27"/>
                  <a:gd name="T28" fmla="*/ 10 w 21"/>
                  <a:gd name="T29" fmla="*/ 24 h 27"/>
                  <a:gd name="T30" fmla="*/ 13 w 21"/>
                  <a:gd name="T31" fmla="*/ 22 h 27"/>
                  <a:gd name="T32" fmla="*/ 20 w 21"/>
                  <a:gd name="T33" fmla="*/ 17 h 27"/>
                  <a:gd name="T34" fmla="*/ 16 w 21"/>
                  <a:gd name="T35" fmla="*/ 10 h 27"/>
                  <a:gd name="T36" fmla="*/ 13 w 21"/>
                  <a:gd name="T37" fmla="*/ 8 h 27"/>
                  <a:gd name="T38" fmla="*/ 13 w 21"/>
                  <a:gd name="T39" fmla="*/ 8 h 27"/>
                  <a:gd name="T40" fmla="*/ 13 w 21"/>
                  <a:gd name="T41" fmla="*/ 9 h 27"/>
                  <a:gd name="T42" fmla="*/ 10 w 21"/>
                  <a:gd name="T43" fmla="*/ 10 h 27"/>
                  <a:gd name="T44" fmla="*/ 9 w 21"/>
                  <a:gd name="T45" fmla="*/ 9 h 27"/>
                  <a:gd name="T46" fmla="*/ 10 w 21"/>
                  <a:gd name="T47" fmla="*/ 10 h 27"/>
                  <a:gd name="T48" fmla="*/ 10 w 21"/>
                  <a:gd name="T49" fmla="*/ 10 h 27"/>
                  <a:gd name="T50" fmla="*/ 9 w 21"/>
                  <a:gd name="T51" fmla="*/ 13 h 27"/>
                  <a:gd name="T52" fmla="*/ 13 w 21"/>
                  <a:gd name="T53" fmla="*/ 12 h 27"/>
                  <a:gd name="T54" fmla="*/ 5 w 21"/>
                  <a:gd name="T55" fmla="*/ 9 h 27"/>
                  <a:gd name="T56" fmla="*/ 2 w 21"/>
                  <a:gd name="T57" fmla="*/ 12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21" h="27">
                    <a:moveTo>
                      <a:pt x="2" y="12"/>
                    </a:moveTo>
                    <a:cubicBezTo>
                      <a:pt x="5" y="14"/>
                      <a:pt x="7" y="16"/>
                      <a:pt x="10" y="18"/>
                    </a:cubicBezTo>
                    <a:cubicBezTo>
                      <a:pt x="11" y="19"/>
                      <a:pt x="13" y="19"/>
                      <a:pt x="14" y="18"/>
                    </a:cubicBezTo>
                    <a:cubicBezTo>
                      <a:pt x="21" y="14"/>
                      <a:pt x="19" y="0"/>
                      <a:pt x="10" y="0"/>
                    </a:cubicBezTo>
                    <a:cubicBezTo>
                      <a:pt x="6" y="1"/>
                      <a:pt x="3" y="4"/>
                      <a:pt x="3" y="8"/>
                    </a:cubicBezTo>
                    <a:cubicBezTo>
                      <a:pt x="3" y="13"/>
                      <a:pt x="6" y="16"/>
                      <a:pt x="9" y="20"/>
                    </a:cubicBezTo>
                    <a:cubicBezTo>
                      <a:pt x="11" y="17"/>
                      <a:pt x="14" y="13"/>
                      <a:pt x="16" y="10"/>
                    </a:cubicBezTo>
                    <a:cubicBezTo>
                      <a:pt x="12" y="9"/>
                      <a:pt x="9" y="10"/>
                      <a:pt x="6" y="11"/>
                    </a:cubicBezTo>
                    <a:cubicBezTo>
                      <a:pt x="0" y="13"/>
                      <a:pt x="0" y="21"/>
                      <a:pt x="4" y="24"/>
                    </a:cubicBezTo>
                    <a:cubicBezTo>
                      <a:pt x="6" y="25"/>
                      <a:pt x="7" y="25"/>
                      <a:pt x="8" y="26"/>
                    </a:cubicBezTo>
                    <a:cubicBezTo>
                      <a:pt x="10" y="27"/>
                      <a:pt x="13" y="27"/>
                      <a:pt x="15" y="25"/>
                    </a:cubicBezTo>
                    <a:cubicBezTo>
                      <a:pt x="17" y="24"/>
                      <a:pt x="18" y="22"/>
                      <a:pt x="18" y="19"/>
                    </a:cubicBezTo>
                    <a:cubicBezTo>
                      <a:pt x="18" y="18"/>
                      <a:pt x="14" y="13"/>
                      <a:pt x="13" y="13"/>
                    </a:cubicBezTo>
                    <a:cubicBezTo>
                      <a:pt x="12" y="12"/>
                      <a:pt x="12" y="12"/>
                      <a:pt x="11" y="12"/>
                    </a:cubicBezTo>
                    <a:cubicBezTo>
                      <a:pt x="11" y="16"/>
                      <a:pt x="10" y="20"/>
                      <a:pt x="10" y="24"/>
                    </a:cubicBezTo>
                    <a:cubicBezTo>
                      <a:pt x="8" y="25"/>
                      <a:pt x="15" y="22"/>
                      <a:pt x="13" y="22"/>
                    </a:cubicBezTo>
                    <a:cubicBezTo>
                      <a:pt x="16" y="23"/>
                      <a:pt x="19" y="20"/>
                      <a:pt x="20" y="17"/>
                    </a:cubicBezTo>
                    <a:cubicBezTo>
                      <a:pt x="20" y="15"/>
                      <a:pt x="19" y="11"/>
                      <a:pt x="16" y="10"/>
                    </a:cubicBezTo>
                    <a:cubicBezTo>
                      <a:pt x="14" y="9"/>
                      <a:pt x="14" y="9"/>
                      <a:pt x="13" y="8"/>
                    </a:cubicBezTo>
                    <a:cubicBezTo>
                      <a:pt x="13" y="7"/>
                      <a:pt x="13" y="7"/>
                      <a:pt x="13" y="8"/>
                    </a:cubicBezTo>
                    <a:cubicBezTo>
                      <a:pt x="13" y="8"/>
                      <a:pt x="13" y="8"/>
                      <a:pt x="13" y="9"/>
                    </a:cubicBezTo>
                    <a:cubicBezTo>
                      <a:pt x="12" y="10"/>
                      <a:pt x="11" y="10"/>
                      <a:pt x="10" y="10"/>
                    </a:cubicBezTo>
                    <a:cubicBezTo>
                      <a:pt x="9" y="9"/>
                      <a:pt x="9" y="9"/>
                      <a:pt x="9" y="9"/>
                    </a:cubicBezTo>
                    <a:cubicBezTo>
                      <a:pt x="9" y="9"/>
                      <a:pt x="9" y="9"/>
                      <a:pt x="10" y="10"/>
                    </a:cubicBezTo>
                    <a:cubicBezTo>
                      <a:pt x="9" y="9"/>
                      <a:pt x="10" y="11"/>
                      <a:pt x="10" y="10"/>
                    </a:cubicBezTo>
                    <a:cubicBezTo>
                      <a:pt x="10" y="11"/>
                      <a:pt x="9" y="12"/>
                      <a:pt x="9" y="13"/>
                    </a:cubicBezTo>
                    <a:cubicBezTo>
                      <a:pt x="10" y="12"/>
                      <a:pt x="12" y="12"/>
                      <a:pt x="13" y="12"/>
                    </a:cubicBezTo>
                    <a:cubicBezTo>
                      <a:pt x="10" y="11"/>
                      <a:pt x="8" y="10"/>
                      <a:pt x="5" y="9"/>
                    </a:cubicBezTo>
                    <a:cubicBezTo>
                      <a:pt x="3" y="8"/>
                      <a:pt x="0" y="11"/>
                      <a:pt x="2" y="12"/>
                    </a:cubicBezTo>
                    <a:close/>
                  </a:path>
                </a:pathLst>
              </a:custGeom>
              <a:solidFill>
                <a:srgbClr val="E840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253" name="Freeform 326">
                <a:extLst>
                  <a:ext uri="{FF2B5EF4-FFF2-40B4-BE49-F238E27FC236}">
                    <a16:creationId xmlns:a16="http://schemas.microsoft.com/office/drawing/2014/main" id="{BF0B8BCE-D3BA-44C2-9544-E978F0399534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347" y="2686"/>
                <a:ext cx="64" cy="132"/>
              </a:xfrm>
              <a:custGeom>
                <a:avLst/>
                <a:gdLst>
                  <a:gd name="T0" fmla="*/ 52 w 60"/>
                  <a:gd name="T1" fmla="*/ 88 h 125"/>
                  <a:gd name="T2" fmla="*/ 20 w 60"/>
                  <a:gd name="T3" fmla="*/ 26 h 125"/>
                  <a:gd name="T4" fmla="*/ 13 w 60"/>
                  <a:gd name="T5" fmla="*/ 31 h 125"/>
                  <a:gd name="T6" fmla="*/ 25 w 60"/>
                  <a:gd name="T7" fmla="*/ 51 h 125"/>
                  <a:gd name="T8" fmla="*/ 43 w 60"/>
                  <a:gd name="T9" fmla="*/ 85 h 125"/>
                  <a:gd name="T10" fmla="*/ 56 w 60"/>
                  <a:gd name="T11" fmla="*/ 80 h 125"/>
                  <a:gd name="T12" fmla="*/ 33 w 60"/>
                  <a:gd name="T13" fmla="*/ 42 h 125"/>
                  <a:gd name="T14" fmla="*/ 20 w 60"/>
                  <a:gd name="T15" fmla="*/ 49 h 125"/>
                  <a:gd name="T16" fmla="*/ 34 w 60"/>
                  <a:gd name="T17" fmla="*/ 81 h 125"/>
                  <a:gd name="T18" fmla="*/ 47 w 60"/>
                  <a:gd name="T19" fmla="*/ 75 h 125"/>
                  <a:gd name="T20" fmla="*/ 26 w 60"/>
                  <a:gd name="T21" fmla="*/ 10 h 125"/>
                  <a:gd name="T22" fmla="*/ 11 w 60"/>
                  <a:gd name="T23" fmla="*/ 13 h 125"/>
                  <a:gd name="T24" fmla="*/ 32 w 60"/>
                  <a:gd name="T25" fmla="*/ 78 h 125"/>
                  <a:gd name="T26" fmla="*/ 45 w 60"/>
                  <a:gd name="T27" fmla="*/ 72 h 125"/>
                  <a:gd name="T28" fmla="*/ 34 w 60"/>
                  <a:gd name="T29" fmla="*/ 44 h 125"/>
                  <a:gd name="T30" fmla="*/ 21 w 60"/>
                  <a:gd name="T31" fmla="*/ 51 h 125"/>
                  <a:gd name="T32" fmla="*/ 43 w 60"/>
                  <a:gd name="T33" fmla="*/ 84 h 125"/>
                  <a:gd name="T34" fmla="*/ 55 w 60"/>
                  <a:gd name="T35" fmla="*/ 78 h 125"/>
                  <a:gd name="T36" fmla="*/ 33 w 60"/>
                  <a:gd name="T37" fmla="*/ 38 h 125"/>
                  <a:gd name="T38" fmla="*/ 14 w 60"/>
                  <a:gd name="T39" fmla="*/ 17 h 125"/>
                  <a:gd name="T40" fmla="*/ 7 w 60"/>
                  <a:gd name="T41" fmla="*/ 22 h 125"/>
                  <a:gd name="T42" fmla="*/ 58 w 60"/>
                  <a:gd name="T43" fmla="*/ 94 h 125"/>
                  <a:gd name="T44" fmla="*/ 52 w 60"/>
                  <a:gd name="T45" fmla="*/ 88 h 1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60" h="125">
                    <a:moveTo>
                      <a:pt x="52" y="88"/>
                    </a:moveTo>
                    <a:cubicBezTo>
                      <a:pt x="39" y="98"/>
                      <a:pt x="17" y="35"/>
                      <a:pt x="20" y="26"/>
                    </a:cubicBezTo>
                    <a:cubicBezTo>
                      <a:pt x="18" y="28"/>
                      <a:pt x="16" y="29"/>
                      <a:pt x="13" y="31"/>
                    </a:cubicBezTo>
                    <a:cubicBezTo>
                      <a:pt x="18" y="31"/>
                      <a:pt x="23" y="48"/>
                      <a:pt x="25" y="51"/>
                    </a:cubicBezTo>
                    <a:cubicBezTo>
                      <a:pt x="30" y="63"/>
                      <a:pt x="35" y="75"/>
                      <a:pt x="43" y="85"/>
                    </a:cubicBezTo>
                    <a:cubicBezTo>
                      <a:pt x="48" y="92"/>
                      <a:pt x="58" y="88"/>
                      <a:pt x="56" y="80"/>
                    </a:cubicBezTo>
                    <a:cubicBezTo>
                      <a:pt x="52" y="66"/>
                      <a:pt x="41" y="54"/>
                      <a:pt x="33" y="42"/>
                    </a:cubicBezTo>
                    <a:cubicBezTo>
                      <a:pt x="28" y="35"/>
                      <a:pt x="18" y="42"/>
                      <a:pt x="20" y="49"/>
                    </a:cubicBezTo>
                    <a:cubicBezTo>
                      <a:pt x="24" y="61"/>
                      <a:pt x="27" y="71"/>
                      <a:pt x="34" y="81"/>
                    </a:cubicBezTo>
                    <a:cubicBezTo>
                      <a:pt x="38" y="88"/>
                      <a:pt x="48" y="82"/>
                      <a:pt x="47" y="75"/>
                    </a:cubicBezTo>
                    <a:cubicBezTo>
                      <a:pt x="42" y="53"/>
                      <a:pt x="32" y="32"/>
                      <a:pt x="26" y="10"/>
                    </a:cubicBezTo>
                    <a:cubicBezTo>
                      <a:pt x="23" y="0"/>
                      <a:pt x="8" y="3"/>
                      <a:pt x="11" y="13"/>
                    </a:cubicBezTo>
                    <a:cubicBezTo>
                      <a:pt x="17" y="34"/>
                      <a:pt x="27" y="56"/>
                      <a:pt x="32" y="78"/>
                    </a:cubicBezTo>
                    <a:cubicBezTo>
                      <a:pt x="36" y="76"/>
                      <a:pt x="41" y="74"/>
                      <a:pt x="45" y="72"/>
                    </a:cubicBezTo>
                    <a:cubicBezTo>
                      <a:pt x="40" y="63"/>
                      <a:pt x="37" y="54"/>
                      <a:pt x="34" y="44"/>
                    </a:cubicBezTo>
                    <a:cubicBezTo>
                      <a:pt x="30" y="46"/>
                      <a:pt x="25" y="49"/>
                      <a:pt x="21" y="51"/>
                    </a:cubicBezTo>
                    <a:cubicBezTo>
                      <a:pt x="29" y="61"/>
                      <a:pt x="40" y="72"/>
                      <a:pt x="43" y="84"/>
                    </a:cubicBezTo>
                    <a:cubicBezTo>
                      <a:pt x="47" y="82"/>
                      <a:pt x="51" y="80"/>
                      <a:pt x="55" y="78"/>
                    </a:cubicBezTo>
                    <a:cubicBezTo>
                      <a:pt x="46" y="66"/>
                      <a:pt x="40" y="52"/>
                      <a:pt x="33" y="38"/>
                    </a:cubicBezTo>
                    <a:cubicBezTo>
                      <a:pt x="29" y="29"/>
                      <a:pt x="25" y="19"/>
                      <a:pt x="14" y="17"/>
                    </a:cubicBezTo>
                    <a:cubicBezTo>
                      <a:pt x="11" y="17"/>
                      <a:pt x="8" y="20"/>
                      <a:pt x="7" y="22"/>
                    </a:cubicBezTo>
                    <a:cubicBezTo>
                      <a:pt x="0" y="42"/>
                      <a:pt x="39" y="125"/>
                      <a:pt x="58" y="94"/>
                    </a:cubicBezTo>
                    <a:cubicBezTo>
                      <a:pt x="60" y="90"/>
                      <a:pt x="55" y="85"/>
                      <a:pt x="52" y="88"/>
                    </a:cubicBezTo>
                    <a:close/>
                  </a:path>
                </a:pathLst>
              </a:custGeom>
              <a:solidFill>
                <a:srgbClr val="E840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254" name="Freeform 327">
                <a:extLst>
                  <a:ext uri="{FF2B5EF4-FFF2-40B4-BE49-F238E27FC236}">
                    <a16:creationId xmlns:a16="http://schemas.microsoft.com/office/drawing/2014/main" id="{7A76206A-C767-4588-8189-78E7C908615D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16" y="2852"/>
                <a:ext cx="21" cy="27"/>
              </a:xfrm>
              <a:custGeom>
                <a:avLst/>
                <a:gdLst>
                  <a:gd name="T0" fmla="*/ 11 w 20"/>
                  <a:gd name="T1" fmla="*/ 20 h 26"/>
                  <a:gd name="T2" fmla="*/ 9 w 20"/>
                  <a:gd name="T3" fmla="*/ 12 h 26"/>
                  <a:gd name="T4" fmla="*/ 10 w 20"/>
                  <a:gd name="T5" fmla="*/ 10 h 26"/>
                  <a:gd name="T6" fmla="*/ 10 w 20"/>
                  <a:gd name="T7" fmla="*/ 10 h 26"/>
                  <a:gd name="T8" fmla="*/ 7 w 20"/>
                  <a:gd name="T9" fmla="*/ 11 h 26"/>
                  <a:gd name="T10" fmla="*/ 5 w 20"/>
                  <a:gd name="T11" fmla="*/ 10 h 26"/>
                  <a:gd name="T12" fmla="*/ 5 w 20"/>
                  <a:gd name="T13" fmla="*/ 10 h 26"/>
                  <a:gd name="T14" fmla="*/ 6 w 20"/>
                  <a:gd name="T15" fmla="*/ 11 h 26"/>
                  <a:gd name="T16" fmla="*/ 6 w 20"/>
                  <a:gd name="T17" fmla="*/ 12 h 26"/>
                  <a:gd name="T18" fmla="*/ 6 w 20"/>
                  <a:gd name="T19" fmla="*/ 12 h 26"/>
                  <a:gd name="T20" fmla="*/ 6 w 20"/>
                  <a:gd name="T21" fmla="*/ 13 h 26"/>
                  <a:gd name="T22" fmla="*/ 6 w 20"/>
                  <a:gd name="T23" fmla="*/ 13 h 26"/>
                  <a:gd name="T24" fmla="*/ 6 w 20"/>
                  <a:gd name="T25" fmla="*/ 13 h 26"/>
                  <a:gd name="T26" fmla="*/ 16 w 20"/>
                  <a:gd name="T27" fmla="*/ 10 h 26"/>
                  <a:gd name="T28" fmla="*/ 14 w 20"/>
                  <a:gd name="T29" fmla="*/ 9 h 26"/>
                  <a:gd name="T30" fmla="*/ 15 w 20"/>
                  <a:gd name="T31" fmla="*/ 12 h 26"/>
                  <a:gd name="T32" fmla="*/ 15 w 20"/>
                  <a:gd name="T33" fmla="*/ 13 h 26"/>
                  <a:gd name="T34" fmla="*/ 5 w 20"/>
                  <a:gd name="T35" fmla="*/ 16 h 26"/>
                  <a:gd name="T36" fmla="*/ 6 w 20"/>
                  <a:gd name="T37" fmla="*/ 16 h 26"/>
                  <a:gd name="T38" fmla="*/ 6 w 20"/>
                  <a:gd name="T39" fmla="*/ 16 h 26"/>
                  <a:gd name="T40" fmla="*/ 6 w 20"/>
                  <a:gd name="T41" fmla="*/ 17 h 26"/>
                  <a:gd name="T42" fmla="*/ 6 w 20"/>
                  <a:gd name="T43" fmla="*/ 18 h 26"/>
                  <a:gd name="T44" fmla="*/ 16 w 20"/>
                  <a:gd name="T45" fmla="*/ 12 h 26"/>
                  <a:gd name="T46" fmla="*/ 13 w 20"/>
                  <a:gd name="T47" fmla="*/ 11 h 26"/>
                  <a:gd name="T48" fmla="*/ 6 w 20"/>
                  <a:gd name="T49" fmla="*/ 15 h 26"/>
                  <a:gd name="T50" fmla="*/ 8 w 20"/>
                  <a:gd name="T51" fmla="*/ 23 h 26"/>
                  <a:gd name="T52" fmla="*/ 9 w 20"/>
                  <a:gd name="T53" fmla="*/ 24 h 26"/>
                  <a:gd name="T54" fmla="*/ 19 w 20"/>
                  <a:gd name="T55" fmla="*/ 18 h 26"/>
                  <a:gd name="T56" fmla="*/ 17 w 20"/>
                  <a:gd name="T57" fmla="*/ 9 h 26"/>
                  <a:gd name="T58" fmla="*/ 11 w 20"/>
                  <a:gd name="T59" fmla="*/ 5 h 26"/>
                  <a:gd name="T60" fmla="*/ 3 w 20"/>
                  <a:gd name="T61" fmla="*/ 9 h 26"/>
                  <a:gd name="T62" fmla="*/ 9 w 20"/>
                  <a:gd name="T63" fmla="*/ 21 h 26"/>
                  <a:gd name="T64" fmla="*/ 18 w 20"/>
                  <a:gd name="T65" fmla="*/ 17 h 26"/>
                  <a:gd name="T66" fmla="*/ 8 w 20"/>
                  <a:gd name="T67" fmla="*/ 0 h 26"/>
                  <a:gd name="T68" fmla="*/ 0 w 20"/>
                  <a:gd name="T69" fmla="*/ 9 h 26"/>
                  <a:gd name="T70" fmla="*/ 7 w 20"/>
                  <a:gd name="T71" fmla="*/ 22 h 26"/>
                  <a:gd name="T72" fmla="*/ 11 w 20"/>
                  <a:gd name="T73" fmla="*/ 20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20" h="26">
                    <a:moveTo>
                      <a:pt x="11" y="20"/>
                    </a:moveTo>
                    <a:cubicBezTo>
                      <a:pt x="9" y="18"/>
                      <a:pt x="9" y="15"/>
                      <a:pt x="9" y="12"/>
                    </a:cubicBezTo>
                    <a:cubicBezTo>
                      <a:pt x="9" y="11"/>
                      <a:pt x="10" y="11"/>
                      <a:pt x="10" y="10"/>
                    </a:cubicBezTo>
                    <a:cubicBezTo>
                      <a:pt x="10" y="10"/>
                      <a:pt x="10" y="10"/>
                      <a:pt x="10" y="10"/>
                    </a:cubicBezTo>
                    <a:cubicBezTo>
                      <a:pt x="9" y="10"/>
                      <a:pt x="8" y="11"/>
                      <a:pt x="7" y="11"/>
                    </a:cubicBezTo>
                    <a:cubicBezTo>
                      <a:pt x="6" y="11"/>
                      <a:pt x="6" y="11"/>
                      <a:pt x="5" y="10"/>
                    </a:cubicBezTo>
                    <a:cubicBezTo>
                      <a:pt x="5" y="10"/>
                      <a:pt x="5" y="11"/>
                      <a:pt x="5" y="10"/>
                    </a:cubicBezTo>
                    <a:cubicBezTo>
                      <a:pt x="5" y="10"/>
                      <a:pt x="5" y="11"/>
                      <a:pt x="6" y="11"/>
                    </a:cubicBezTo>
                    <a:cubicBezTo>
                      <a:pt x="5" y="10"/>
                      <a:pt x="6" y="12"/>
                      <a:pt x="6" y="12"/>
                    </a:cubicBezTo>
                    <a:cubicBezTo>
                      <a:pt x="6" y="13"/>
                      <a:pt x="6" y="11"/>
                      <a:pt x="6" y="12"/>
                    </a:cubicBezTo>
                    <a:cubicBezTo>
                      <a:pt x="6" y="13"/>
                      <a:pt x="6" y="13"/>
                      <a:pt x="6" y="13"/>
                    </a:cubicBezTo>
                    <a:cubicBezTo>
                      <a:pt x="6" y="13"/>
                      <a:pt x="6" y="12"/>
                      <a:pt x="6" y="13"/>
                    </a:cubicBezTo>
                    <a:cubicBezTo>
                      <a:pt x="6" y="14"/>
                      <a:pt x="7" y="11"/>
                      <a:pt x="6" y="13"/>
                    </a:cubicBezTo>
                    <a:cubicBezTo>
                      <a:pt x="9" y="12"/>
                      <a:pt x="12" y="11"/>
                      <a:pt x="16" y="10"/>
                    </a:cubicBezTo>
                    <a:cubicBezTo>
                      <a:pt x="15" y="10"/>
                      <a:pt x="14" y="9"/>
                      <a:pt x="14" y="9"/>
                    </a:cubicBezTo>
                    <a:cubicBezTo>
                      <a:pt x="14" y="10"/>
                      <a:pt x="15" y="11"/>
                      <a:pt x="15" y="12"/>
                    </a:cubicBezTo>
                    <a:cubicBezTo>
                      <a:pt x="15" y="12"/>
                      <a:pt x="15" y="13"/>
                      <a:pt x="15" y="13"/>
                    </a:cubicBezTo>
                    <a:cubicBezTo>
                      <a:pt x="12" y="14"/>
                      <a:pt x="8" y="15"/>
                      <a:pt x="5" y="16"/>
                    </a:cubicBezTo>
                    <a:cubicBezTo>
                      <a:pt x="6" y="16"/>
                      <a:pt x="6" y="16"/>
                      <a:pt x="6" y="16"/>
                    </a:cubicBezTo>
                    <a:cubicBezTo>
                      <a:pt x="7" y="17"/>
                      <a:pt x="5" y="17"/>
                      <a:pt x="6" y="16"/>
                    </a:cubicBezTo>
                    <a:cubicBezTo>
                      <a:pt x="6" y="17"/>
                      <a:pt x="6" y="17"/>
                      <a:pt x="6" y="17"/>
                    </a:cubicBezTo>
                    <a:cubicBezTo>
                      <a:pt x="6" y="16"/>
                      <a:pt x="6" y="18"/>
                      <a:pt x="6" y="18"/>
                    </a:cubicBezTo>
                    <a:cubicBezTo>
                      <a:pt x="9" y="16"/>
                      <a:pt x="13" y="14"/>
                      <a:pt x="16" y="12"/>
                    </a:cubicBezTo>
                    <a:cubicBezTo>
                      <a:pt x="15" y="12"/>
                      <a:pt x="14" y="11"/>
                      <a:pt x="13" y="11"/>
                    </a:cubicBezTo>
                    <a:cubicBezTo>
                      <a:pt x="10" y="10"/>
                      <a:pt x="7" y="12"/>
                      <a:pt x="6" y="15"/>
                    </a:cubicBezTo>
                    <a:cubicBezTo>
                      <a:pt x="4" y="18"/>
                      <a:pt x="5" y="21"/>
                      <a:pt x="8" y="23"/>
                    </a:cubicBezTo>
                    <a:cubicBezTo>
                      <a:pt x="5" y="20"/>
                      <a:pt x="8" y="23"/>
                      <a:pt x="9" y="24"/>
                    </a:cubicBezTo>
                    <a:cubicBezTo>
                      <a:pt x="14" y="26"/>
                      <a:pt x="19" y="23"/>
                      <a:pt x="19" y="18"/>
                    </a:cubicBezTo>
                    <a:cubicBezTo>
                      <a:pt x="20" y="15"/>
                      <a:pt x="19" y="11"/>
                      <a:pt x="17" y="9"/>
                    </a:cubicBezTo>
                    <a:cubicBezTo>
                      <a:pt x="15" y="7"/>
                      <a:pt x="13" y="6"/>
                      <a:pt x="11" y="5"/>
                    </a:cubicBezTo>
                    <a:cubicBezTo>
                      <a:pt x="8" y="3"/>
                      <a:pt x="4" y="6"/>
                      <a:pt x="3" y="9"/>
                    </a:cubicBezTo>
                    <a:cubicBezTo>
                      <a:pt x="1" y="14"/>
                      <a:pt x="5" y="18"/>
                      <a:pt x="9" y="21"/>
                    </a:cubicBezTo>
                    <a:cubicBezTo>
                      <a:pt x="12" y="22"/>
                      <a:pt x="16" y="20"/>
                      <a:pt x="18" y="17"/>
                    </a:cubicBezTo>
                    <a:cubicBezTo>
                      <a:pt x="20" y="11"/>
                      <a:pt x="15" y="0"/>
                      <a:pt x="8" y="0"/>
                    </a:cubicBezTo>
                    <a:cubicBezTo>
                      <a:pt x="3" y="0"/>
                      <a:pt x="0" y="5"/>
                      <a:pt x="0" y="9"/>
                    </a:cubicBezTo>
                    <a:cubicBezTo>
                      <a:pt x="1" y="15"/>
                      <a:pt x="3" y="19"/>
                      <a:pt x="7" y="22"/>
                    </a:cubicBezTo>
                    <a:cubicBezTo>
                      <a:pt x="9" y="24"/>
                      <a:pt x="11" y="22"/>
                      <a:pt x="11" y="20"/>
                    </a:cubicBezTo>
                    <a:close/>
                  </a:path>
                </a:pathLst>
              </a:custGeom>
              <a:solidFill>
                <a:srgbClr val="E840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255" name="Freeform 328">
                <a:extLst>
                  <a:ext uri="{FF2B5EF4-FFF2-40B4-BE49-F238E27FC236}">
                    <a16:creationId xmlns:a16="http://schemas.microsoft.com/office/drawing/2014/main" id="{4CA2A43A-98FE-4472-AC7E-62378262BDE7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76" y="2171"/>
                <a:ext cx="202" cy="806"/>
              </a:xfrm>
              <a:custGeom>
                <a:avLst/>
                <a:gdLst>
                  <a:gd name="T0" fmla="*/ 83 w 191"/>
                  <a:gd name="T1" fmla="*/ 3 h 761"/>
                  <a:gd name="T2" fmla="*/ 145 w 191"/>
                  <a:gd name="T3" fmla="*/ 81 h 761"/>
                  <a:gd name="T4" fmla="*/ 172 w 191"/>
                  <a:gd name="T5" fmla="*/ 189 h 761"/>
                  <a:gd name="T6" fmla="*/ 170 w 191"/>
                  <a:gd name="T7" fmla="*/ 289 h 761"/>
                  <a:gd name="T8" fmla="*/ 111 w 191"/>
                  <a:gd name="T9" fmla="*/ 381 h 761"/>
                  <a:gd name="T10" fmla="*/ 72 w 191"/>
                  <a:gd name="T11" fmla="*/ 451 h 761"/>
                  <a:gd name="T12" fmla="*/ 50 w 191"/>
                  <a:gd name="T13" fmla="*/ 545 h 761"/>
                  <a:gd name="T14" fmla="*/ 1 w 191"/>
                  <a:gd name="T15" fmla="*/ 751 h 761"/>
                  <a:gd name="T16" fmla="*/ 11 w 191"/>
                  <a:gd name="T17" fmla="*/ 754 h 761"/>
                  <a:gd name="T18" fmla="*/ 35 w 191"/>
                  <a:gd name="T19" fmla="*/ 646 h 761"/>
                  <a:gd name="T20" fmla="*/ 63 w 191"/>
                  <a:gd name="T21" fmla="*/ 538 h 761"/>
                  <a:gd name="T22" fmla="*/ 77 w 191"/>
                  <a:gd name="T23" fmla="*/ 482 h 761"/>
                  <a:gd name="T24" fmla="*/ 87 w 191"/>
                  <a:gd name="T25" fmla="*/ 438 h 761"/>
                  <a:gd name="T26" fmla="*/ 154 w 191"/>
                  <a:gd name="T27" fmla="*/ 347 h 761"/>
                  <a:gd name="T28" fmla="*/ 179 w 191"/>
                  <a:gd name="T29" fmla="*/ 167 h 761"/>
                  <a:gd name="T30" fmla="*/ 145 w 191"/>
                  <a:gd name="T31" fmla="*/ 69 h 761"/>
                  <a:gd name="T32" fmla="*/ 85 w 191"/>
                  <a:gd name="T33" fmla="*/ 1 h 761"/>
                  <a:gd name="T34" fmla="*/ 83 w 191"/>
                  <a:gd name="T35" fmla="*/ 3 h 7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91" h="761">
                    <a:moveTo>
                      <a:pt x="83" y="3"/>
                    </a:moveTo>
                    <a:cubicBezTo>
                      <a:pt x="109" y="25"/>
                      <a:pt x="131" y="50"/>
                      <a:pt x="145" y="81"/>
                    </a:cubicBezTo>
                    <a:cubicBezTo>
                      <a:pt x="159" y="114"/>
                      <a:pt x="170" y="153"/>
                      <a:pt x="172" y="189"/>
                    </a:cubicBezTo>
                    <a:cubicBezTo>
                      <a:pt x="174" y="222"/>
                      <a:pt x="177" y="257"/>
                      <a:pt x="170" y="289"/>
                    </a:cubicBezTo>
                    <a:cubicBezTo>
                      <a:pt x="162" y="326"/>
                      <a:pt x="135" y="354"/>
                      <a:pt x="111" y="381"/>
                    </a:cubicBezTo>
                    <a:cubicBezTo>
                      <a:pt x="93" y="402"/>
                      <a:pt x="79" y="424"/>
                      <a:pt x="72" y="451"/>
                    </a:cubicBezTo>
                    <a:cubicBezTo>
                      <a:pt x="64" y="482"/>
                      <a:pt x="58" y="514"/>
                      <a:pt x="50" y="545"/>
                    </a:cubicBezTo>
                    <a:cubicBezTo>
                      <a:pt x="32" y="614"/>
                      <a:pt x="15" y="682"/>
                      <a:pt x="1" y="751"/>
                    </a:cubicBezTo>
                    <a:cubicBezTo>
                      <a:pt x="0" y="758"/>
                      <a:pt x="9" y="761"/>
                      <a:pt x="11" y="754"/>
                    </a:cubicBezTo>
                    <a:cubicBezTo>
                      <a:pt x="20" y="718"/>
                      <a:pt x="26" y="682"/>
                      <a:pt x="35" y="646"/>
                    </a:cubicBezTo>
                    <a:cubicBezTo>
                      <a:pt x="44" y="609"/>
                      <a:pt x="54" y="574"/>
                      <a:pt x="63" y="538"/>
                    </a:cubicBezTo>
                    <a:cubicBezTo>
                      <a:pt x="68" y="519"/>
                      <a:pt x="73" y="501"/>
                      <a:pt x="77" y="482"/>
                    </a:cubicBezTo>
                    <a:cubicBezTo>
                      <a:pt x="80" y="467"/>
                      <a:pt x="82" y="452"/>
                      <a:pt x="87" y="438"/>
                    </a:cubicBezTo>
                    <a:cubicBezTo>
                      <a:pt x="101" y="402"/>
                      <a:pt x="133" y="378"/>
                      <a:pt x="154" y="347"/>
                    </a:cubicBezTo>
                    <a:cubicBezTo>
                      <a:pt x="190" y="295"/>
                      <a:pt x="191" y="227"/>
                      <a:pt x="179" y="167"/>
                    </a:cubicBezTo>
                    <a:cubicBezTo>
                      <a:pt x="173" y="134"/>
                      <a:pt x="161" y="98"/>
                      <a:pt x="145" y="69"/>
                    </a:cubicBezTo>
                    <a:cubicBezTo>
                      <a:pt x="131" y="42"/>
                      <a:pt x="109" y="20"/>
                      <a:pt x="85" y="1"/>
                    </a:cubicBezTo>
                    <a:cubicBezTo>
                      <a:pt x="84" y="0"/>
                      <a:pt x="82" y="2"/>
                      <a:pt x="83" y="3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256" name="Freeform 329">
                <a:extLst>
                  <a:ext uri="{FF2B5EF4-FFF2-40B4-BE49-F238E27FC236}">
                    <a16:creationId xmlns:a16="http://schemas.microsoft.com/office/drawing/2014/main" id="{2B7F23C8-0C53-4B41-9A02-08724A8E37C2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0" y="2961"/>
                <a:ext cx="519" cy="436"/>
              </a:xfrm>
              <a:custGeom>
                <a:avLst/>
                <a:gdLst>
                  <a:gd name="T0" fmla="*/ 455 w 490"/>
                  <a:gd name="T1" fmla="*/ 3 h 412"/>
                  <a:gd name="T2" fmla="*/ 474 w 490"/>
                  <a:gd name="T3" fmla="*/ 94 h 412"/>
                  <a:gd name="T4" fmla="*/ 472 w 490"/>
                  <a:gd name="T5" fmla="*/ 215 h 412"/>
                  <a:gd name="T6" fmla="*/ 435 w 490"/>
                  <a:gd name="T7" fmla="*/ 311 h 412"/>
                  <a:gd name="T8" fmla="*/ 350 w 490"/>
                  <a:gd name="T9" fmla="*/ 375 h 412"/>
                  <a:gd name="T10" fmla="*/ 230 w 490"/>
                  <a:gd name="T11" fmla="*/ 393 h 412"/>
                  <a:gd name="T12" fmla="*/ 136 w 490"/>
                  <a:gd name="T13" fmla="*/ 353 h 412"/>
                  <a:gd name="T14" fmla="*/ 56 w 490"/>
                  <a:gd name="T15" fmla="*/ 281 h 412"/>
                  <a:gd name="T16" fmla="*/ 9 w 490"/>
                  <a:gd name="T17" fmla="*/ 191 h 412"/>
                  <a:gd name="T18" fmla="*/ 2 w 490"/>
                  <a:gd name="T19" fmla="*/ 195 h 412"/>
                  <a:gd name="T20" fmla="*/ 89 w 490"/>
                  <a:gd name="T21" fmla="*/ 333 h 412"/>
                  <a:gd name="T22" fmla="*/ 162 w 490"/>
                  <a:gd name="T23" fmla="*/ 376 h 412"/>
                  <a:gd name="T24" fmla="*/ 242 w 490"/>
                  <a:gd name="T25" fmla="*/ 403 h 412"/>
                  <a:gd name="T26" fmla="*/ 401 w 490"/>
                  <a:gd name="T27" fmla="*/ 353 h 412"/>
                  <a:gd name="T28" fmla="*/ 480 w 490"/>
                  <a:gd name="T29" fmla="*/ 209 h 412"/>
                  <a:gd name="T30" fmla="*/ 484 w 490"/>
                  <a:gd name="T31" fmla="*/ 107 h 412"/>
                  <a:gd name="T32" fmla="*/ 460 w 490"/>
                  <a:gd name="T33" fmla="*/ 2 h 412"/>
                  <a:gd name="T34" fmla="*/ 455 w 490"/>
                  <a:gd name="T35" fmla="*/ 3 h 4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490" h="412">
                    <a:moveTo>
                      <a:pt x="455" y="3"/>
                    </a:moveTo>
                    <a:cubicBezTo>
                      <a:pt x="456" y="34"/>
                      <a:pt x="467" y="64"/>
                      <a:pt x="474" y="94"/>
                    </a:cubicBezTo>
                    <a:cubicBezTo>
                      <a:pt x="484" y="136"/>
                      <a:pt x="483" y="174"/>
                      <a:pt x="472" y="215"/>
                    </a:cubicBezTo>
                    <a:cubicBezTo>
                      <a:pt x="463" y="248"/>
                      <a:pt x="454" y="283"/>
                      <a:pt x="435" y="311"/>
                    </a:cubicBezTo>
                    <a:cubicBezTo>
                      <a:pt x="415" y="341"/>
                      <a:pt x="382" y="360"/>
                      <a:pt x="350" y="375"/>
                    </a:cubicBezTo>
                    <a:cubicBezTo>
                      <a:pt x="312" y="392"/>
                      <a:pt x="272" y="403"/>
                      <a:pt x="230" y="393"/>
                    </a:cubicBezTo>
                    <a:cubicBezTo>
                      <a:pt x="197" y="384"/>
                      <a:pt x="166" y="369"/>
                      <a:pt x="136" y="353"/>
                    </a:cubicBezTo>
                    <a:cubicBezTo>
                      <a:pt x="103" y="336"/>
                      <a:pt x="76" y="313"/>
                      <a:pt x="56" y="281"/>
                    </a:cubicBezTo>
                    <a:cubicBezTo>
                      <a:pt x="37" y="253"/>
                      <a:pt x="26" y="221"/>
                      <a:pt x="9" y="191"/>
                    </a:cubicBezTo>
                    <a:cubicBezTo>
                      <a:pt x="7" y="187"/>
                      <a:pt x="0" y="190"/>
                      <a:pt x="2" y="195"/>
                    </a:cubicBezTo>
                    <a:cubicBezTo>
                      <a:pt x="20" y="244"/>
                      <a:pt x="48" y="299"/>
                      <a:pt x="89" y="333"/>
                    </a:cubicBezTo>
                    <a:cubicBezTo>
                      <a:pt x="111" y="352"/>
                      <a:pt x="136" y="364"/>
                      <a:pt x="162" y="376"/>
                    </a:cubicBezTo>
                    <a:cubicBezTo>
                      <a:pt x="188" y="387"/>
                      <a:pt x="214" y="399"/>
                      <a:pt x="242" y="403"/>
                    </a:cubicBezTo>
                    <a:cubicBezTo>
                      <a:pt x="297" y="412"/>
                      <a:pt x="357" y="384"/>
                      <a:pt x="401" y="353"/>
                    </a:cubicBezTo>
                    <a:cubicBezTo>
                      <a:pt x="449" y="320"/>
                      <a:pt x="467" y="264"/>
                      <a:pt x="480" y="209"/>
                    </a:cubicBezTo>
                    <a:cubicBezTo>
                      <a:pt x="489" y="175"/>
                      <a:pt x="490" y="142"/>
                      <a:pt x="484" y="107"/>
                    </a:cubicBezTo>
                    <a:cubicBezTo>
                      <a:pt x="477" y="72"/>
                      <a:pt x="466" y="38"/>
                      <a:pt x="460" y="2"/>
                    </a:cubicBezTo>
                    <a:cubicBezTo>
                      <a:pt x="459" y="0"/>
                      <a:pt x="455" y="0"/>
                      <a:pt x="455" y="3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257" name="Freeform 330">
                <a:extLst>
                  <a:ext uri="{FF2B5EF4-FFF2-40B4-BE49-F238E27FC236}">
                    <a16:creationId xmlns:a16="http://schemas.microsoft.com/office/drawing/2014/main" id="{AA653905-43C1-4C92-A9B2-579929FA60F7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31" y="2151"/>
                <a:ext cx="21" cy="14"/>
              </a:xfrm>
              <a:custGeom>
                <a:avLst/>
                <a:gdLst>
                  <a:gd name="T0" fmla="*/ 6 w 20"/>
                  <a:gd name="T1" fmla="*/ 11 h 13"/>
                  <a:gd name="T2" fmla="*/ 17 w 20"/>
                  <a:gd name="T3" fmla="*/ 6 h 13"/>
                  <a:gd name="T4" fmla="*/ 15 w 20"/>
                  <a:gd name="T5" fmla="*/ 1 h 13"/>
                  <a:gd name="T6" fmla="*/ 3 w 20"/>
                  <a:gd name="T7" fmla="*/ 7 h 13"/>
                  <a:gd name="T8" fmla="*/ 6 w 20"/>
                  <a:gd name="T9" fmla="*/ 11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0" h="13">
                    <a:moveTo>
                      <a:pt x="6" y="11"/>
                    </a:moveTo>
                    <a:cubicBezTo>
                      <a:pt x="9" y="9"/>
                      <a:pt x="13" y="7"/>
                      <a:pt x="17" y="6"/>
                    </a:cubicBezTo>
                    <a:cubicBezTo>
                      <a:pt x="20" y="5"/>
                      <a:pt x="18" y="0"/>
                      <a:pt x="15" y="1"/>
                    </a:cubicBezTo>
                    <a:cubicBezTo>
                      <a:pt x="11" y="3"/>
                      <a:pt x="6" y="5"/>
                      <a:pt x="3" y="7"/>
                    </a:cubicBezTo>
                    <a:cubicBezTo>
                      <a:pt x="0" y="9"/>
                      <a:pt x="3" y="13"/>
                      <a:pt x="6" y="11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258" name="Freeform 331">
                <a:extLst>
                  <a:ext uri="{FF2B5EF4-FFF2-40B4-BE49-F238E27FC236}">
                    <a16:creationId xmlns:a16="http://schemas.microsoft.com/office/drawing/2014/main" id="{9D7B24C4-2C32-41D8-B1CD-F451A6A3FE90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21" y="2141"/>
                <a:ext cx="17" cy="16"/>
              </a:xfrm>
              <a:custGeom>
                <a:avLst/>
                <a:gdLst>
                  <a:gd name="T0" fmla="*/ 7 w 16"/>
                  <a:gd name="T1" fmla="*/ 12 h 15"/>
                  <a:gd name="T2" fmla="*/ 11 w 16"/>
                  <a:gd name="T3" fmla="*/ 9 h 15"/>
                  <a:gd name="T4" fmla="*/ 14 w 16"/>
                  <a:gd name="T5" fmla="*/ 7 h 15"/>
                  <a:gd name="T6" fmla="*/ 11 w 16"/>
                  <a:gd name="T7" fmla="*/ 2 h 15"/>
                  <a:gd name="T8" fmla="*/ 2 w 16"/>
                  <a:gd name="T9" fmla="*/ 9 h 15"/>
                  <a:gd name="T10" fmla="*/ 7 w 16"/>
                  <a:gd name="T11" fmla="*/ 12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6" h="15">
                    <a:moveTo>
                      <a:pt x="7" y="12"/>
                    </a:moveTo>
                    <a:cubicBezTo>
                      <a:pt x="8" y="11"/>
                      <a:pt x="9" y="10"/>
                      <a:pt x="11" y="9"/>
                    </a:cubicBezTo>
                    <a:cubicBezTo>
                      <a:pt x="12" y="8"/>
                      <a:pt x="13" y="8"/>
                      <a:pt x="14" y="7"/>
                    </a:cubicBezTo>
                    <a:cubicBezTo>
                      <a:pt x="16" y="4"/>
                      <a:pt x="14" y="0"/>
                      <a:pt x="11" y="2"/>
                    </a:cubicBezTo>
                    <a:cubicBezTo>
                      <a:pt x="7" y="4"/>
                      <a:pt x="4" y="6"/>
                      <a:pt x="2" y="9"/>
                    </a:cubicBezTo>
                    <a:cubicBezTo>
                      <a:pt x="0" y="12"/>
                      <a:pt x="5" y="15"/>
                      <a:pt x="7" y="12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259" name="Freeform 332">
                <a:extLst>
                  <a:ext uri="{FF2B5EF4-FFF2-40B4-BE49-F238E27FC236}">
                    <a16:creationId xmlns:a16="http://schemas.microsoft.com/office/drawing/2014/main" id="{C4B5DCB7-B016-4EFF-852C-BF707384AB76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98" y="2132"/>
                <a:ext cx="13" cy="12"/>
              </a:xfrm>
              <a:custGeom>
                <a:avLst/>
                <a:gdLst>
                  <a:gd name="T0" fmla="*/ 4 w 12"/>
                  <a:gd name="T1" fmla="*/ 10 h 11"/>
                  <a:gd name="T2" fmla="*/ 11 w 12"/>
                  <a:gd name="T3" fmla="*/ 3 h 11"/>
                  <a:gd name="T4" fmla="*/ 10 w 12"/>
                  <a:gd name="T5" fmla="*/ 1 h 11"/>
                  <a:gd name="T6" fmla="*/ 2 w 12"/>
                  <a:gd name="T7" fmla="*/ 7 h 11"/>
                  <a:gd name="T8" fmla="*/ 4 w 12"/>
                  <a:gd name="T9" fmla="*/ 10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" h="11">
                    <a:moveTo>
                      <a:pt x="4" y="10"/>
                    </a:moveTo>
                    <a:cubicBezTo>
                      <a:pt x="6" y="7"/>
                      <a:pt x="9" y="5"/>
                      <a:pt x="11" y="3"/>
                    </a:cubicBezTo>
                    <a:cubicBezTo>
                      <a:pt x="12" y="2"/>
                      <a:pt x="11" y="0"/>
                      <a:pt x="10" y="1"/>
                    </a:cubicBezTo>
                    <a:cubicBezTo>
                      <a:pt x="7" y="3"/>
                      <a:pt x="4" y="5"/>
                      <a:pt x="2" y="7"/>
                    </a:cubicBezTo>
                    <a:cubicBezTo>
                      <a:pt x="0" y="8"/>
                      <a:pt x="2" y="11"/>
                      <a:pt x="4" y="10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260" name="Freeform 333">
                <a:extLst>
                  <a:ext uri="{FF2B5EF4-FFF2-40B4-BE49-F238E27FC236}">
                    <a16:creationId xmlns:a16="http://schemas.microsoft.com/office/drawing/2014/main" id="{67B678FA-F7A5-4840-8E75-28FC3646C1FD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-2" y="2098"/>
                <a:ext cx="486" cy="1074"/>
              </a:xfrm>
              <a:custGeom>
                <a:avLst/>
                <a:gdLst>
                  <a:gd name="T0" fmla="*/ 458 w 459"/>
                  <a:gd name="T1" fmla="*/ 27 h 1014"/>
                  <a:gd name="T2" fmla="*/ 357 w 459"/>
                  <a:gd name="T3" fmla="*/ 7 h 1014"/>
                  <a:gd name="T4" fmla="*/ 248 w 459"/>
                  <a:gd name="T5" fmla="*/ 33 h 1014"/>
                  <a:gd name="T6" fmla="*/ 177 w 459"/>
                  <a:gd name="T7" fmla="*/ 94 h 1014"/>
                  <a:gd name="T8" fmla="*/ 144 w 459"/>
                  <a:gd name="T9" fmla="*/ 200 h 1014"/>
                  <a:gd name="T10" fmla="*/ 96 w 459"/>
                  <a:gd name="T11" fmla="*/ 457 h 1014"/>
                  <a:gd name="T12" fmla="*/ 38 w 459"/>
                  <a:gd name="T13" fmla="*/ 722 h 1014"/>
                  <a:gd name="T14" fmla="*/ 12 w 459"/>
                  <a:gd name="T15" fmla="*/ 867 h 1014"/>
                  <a:gd name="T16" fmla="*/ 6 w 459"/>
                  <a:gd name="T17" fmla="*/ 1008 h 1014"/>
                  <a:gd name="T18" fmla="*/ 15 w 459"/>
                  <a:gd name="T19" fmla="*/ 1008 h 1014"/>
                  <a:gd name="T20" fmla="*/ 40 w 459"/>
                  <a:gd name="T21" fmla="*/ 758 h 1014"/>
                  <a:gd name="T22" fmla="*/ 94 w 459"/>
                  <a:gd name="T23" fmla="*/ 512 h 1014"/>
                  <a:gd name="T24" fmla="*/ 137 w 459"/>
                  <a:gd name="T25" fmla="*/ 273 h 1014"/>
                  <a:gd name="T26" fmla="*/ 162 w 459"/>
                  <a:gd name="T27" fmla="*/ 158 h 1014"/>
                  <a:gd name="T28" fmla="*/ 218 w 459"/>
                  <a:gd name="T29" fmla="*/ 60 h 1014"/>
                  <a:gd name="T30" fmla="*/ 458 w 459"/>
                  <a:gd name="T31" fmla="*/ 28 h 1014"/>
                  <a:gd name="T32" fmla="*/ 458 w 459"/>
                  <a:gd name="T33" fmla="*/ 27 h 10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459" h="1014">
                    <a:moveTo>
                      <a:pt x="458" y="27"/>
                    </a:moveTo>
                    <a:cubicBezTo>
                      <a:pt x="429" y="9"/>
                      <a:pt x="390" y="7"/>
                      <a:pt x="357" y="7"/>
                    </a:cubicBezTo>
                    <a:cubicBezTo>
                      <a:pt x="319" y="6"/>
                      <a:pt x="283" y="16"/>
                      <a:pt x="248" y="33"/>
                    </a:cubicBezTo>
                    <a:cubicBezTo>
                      <a:pt x="220" y="46"/>
                      <a:pt x="193" y="66"/>
                      <a:pt x="177" y="94"/>
                    </a:cubicBezTo>
                    <a:cubicBezTo>
                      <a:pt x="158" y="126"/>
                      <a:pt x="151" y="164"/>
                      <a:pt x="144" y="200"/>
                    </a:cubicBezTo>
                    <a:cubicBezTo>
                      <a:pt x="125" y="285"/>
                      <a:pt x="113" y="371"/>
                      <a:pt x="96" y="457"/>
                    </a:cubicBezTo>
                    <a:cubicBezTo>
                      <a:pt x="78" y="545"/>
                      <a:pt x="57" y="633"/>
                      <a:pt x="38" y="722"/>
                    </a:cubicBezTo>
                    <a:cubicBezTo>
                      <a:pt x="28" y="770"/>
                      <a:pt x="20" y="818"/>
                      <a:pt x="12" y="867"/>
                    </a:cubicBezTo>
                    <a:cubicBezTo>
                      <a:pt x="5" y="915"/>
                      <a:pt x="0" y="960"/>
                      <a:pt x="6" y="1008"/>
                    </a:cubicBezTo>
                    <a:cubicBezTo>
                      <a:pt x="6" y="1014"/>
                      <a:pt x="15" y="1014"/>
                      <a:pt x="15" y="1008"/>
                    </a:cubicBezTo>
                    <a:cubicBezTo>
                      <a:pt x="5" y="925"/>
                      <a:pt x="24" y="840"/>
                      <a:pt x="40" y="758"/>
                    </a:cubicBezTo>
                    <a:cubicBezTo>
                      <a:pt x="56" y="676"/>
                      <a:pt x="77" y="594"/>
                      <a:pt x="94" y="512"/>
                    </a:cubicBezTo>
                    <a:cubicBezTo>
                      <a:pt x="110" y="433"/>
                      <a:pt x="123" y="353"/>
                      <a:pt x="137" y="273"/>
                    </a:cubicBezTo>
                    <a:cubicBezTo>
                      <a:pt x="144" y="234"/>
                      <a:pt x="152" y="196"/>
                      <a:pt x="162" y="158"/>
                    </a:cubicBezTo>
                    <a:cubicBezTo>
                      <a:pt x="172" y="119"/>
                      <a:pt x="185" y="85"/>
                      <a:pt x="218" y="60"/>
                    </a:cubicBezTo>
                    <a:cubicBezTo>
                      <a:pt x="284" y="10"/>
                      <a:pt x="381" y="0"/>
                      <a:pt x="458" y="28"/>
                    </a:cubicBezTo>
                    <a:cubicBezTo>
                      <a:pt x="459" y="29"/>
                      <a:pt x="459" y="27"/>
                      <a:pt x="458" y="27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261" name="Freeform 334">
                <a:extLst>
                  <a:ext uri="{FF2B5EF4-FFF2-40B4-BE49-F238E27FC236}">
                    <a16:creationId xmlns:a16="http://schemas.microsoft.com/office/drawing/2014/main" id="{0ACE9B27-A437-441B-8B04-9D82E51B48B4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12" y="2072"/>
                <a:ext cx="517" cy="911"/>
              </a:xfrm>
              <a:custGeom>
                <a:avLst/>
                <a:gdLst>
                  <a:gd name="T0" fmla="*/ 1 w 488"/>
                  <a:gd name="T1" fmla="*/ 90 h 861"/>
                  <a:gd name="T2" fmla="*/ 104 w 488"/>
                  <a:gd name="T3" fmla="*/ 27 h 861"/>
                  <a:gd name="T4" fmla="*/ 218 w 488"/>
                  <a:gd name="T5" fmla="*/ 14 h 861"/>
                  <a:gd name="T6" fmla="*/ 424 w 488"/>
                  <a:gd name="T7" fmla="*/ 134 h 861"/>
                  <a:gd name="T8" fmla="*/ 464 w 488"/>
                  <a:gd name="T9" fmla="*/ 371 h 861"/>
                  <a:gd name="T10" fmla="*/ 403 w 488"/>
                  <a:gd name="T11" fmla="*/ 483 h 861"/>
                  <a:gd name="T12" fmla="*/ 359 w 488"/>
                  <a:gd name="T13" fmla="*/ 569 h 861"/>
                  <a:gd name="T14" fmla="*/ 296 w 488"/>
                  <a:gd name="T15" fmla="*/ 855 h 861"/>
                  <a:gd name="T16" fmla="*/ 303 w 488"/>
                  <a:gd name="T17" fmla="*/ 856 h 861"/>
                  <a:gd name="T18" fmla="*/ 365 w 488"/>
                  <a:gd name="T19" fmla="*/ 577 h 861"/>
                  <a:gd name="T20" fmla="*/ 388 w 488"/>
                  <a:gd name="T21" fmla="*/ 515 h 861"/>
                  <a:gd name="T22" fmla="*/ 426 w 488"/>
                  <a:gd name="T23" fmla="*/ 466 h 861"/>
                  <a:gd name="T24" fmla="*/ 472 w 488"/>
                  <a:gd name="T25" fmla="*/ 365 h 861"/>
                  <a:gd name="T26" fmla="*/ 431 w 488"/>
                  <a:gd name="T27" fmla="*/ 131 h 861"/>
                  <a:gd name="T28" fmla="*/ 247 w 488"/>
                  <a:gd name="T29" fmla="*/ 10 h 861"/>
                  <a:gd name="T30" fmla="*/ 121 w 488"/>
                  <a:gd name="T31" fmla="*/ 13 h 861"/>
                  <a:gd name="T32" fmla="*/ 0 w 488"/>
                  <a:gd name="T33" fmla="*/ 89 h 861"/>
                  <a:gd name="T34" fmla="*/ 1 w 488"/>
                  <a:gd name="T35" fmla="*/ 90 h 8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488" h="861">
                    <a:moveTo>
                      <a:pt x="1" y="90"/>
                    </a:moveTo>
                    <a:cubicBezTo>
                      <a:pt x="37" y="72"/>
                      <a:pt x="66" y="43"/>
                      <a:pt x="104" y="27"/>
                    </a:cubicBezTo>
                    <a:cubicBezTo>
                      <a:pt x="141" y="12"/>
                      <a:pt x="179" y="10"/>
                      <a:pt x="218" y="14"/>
                    </a:cubicBezTo>
                    <a:cubicBezTo>
                      <a:pt x="302" y="22"/>
                      <a:pt x="378" y="63"/>
                      <a:pt x="424" y="134"/>
                    </a:cubicBezTo>
                    <a:cubicBezTo>
                      <a:pt x="468" y="204"/>
                      <a:pt x="480" y="290"/>
                      <a:pt x="464" y="371"/>
                    </a:cubicBezTo>
                    <a:cubicBezTo>
                      <a:pt x="455" y="413"/>
                      <a:pt x="430" y="450"/>
                      <a:pt x="403" y="483"/>
                    </a:cubicBezTo>
                    <a:cubicBezTo>
                      <a:pt x="381" y="510"/>
                      <a:pt x="367" y="535"/>
                      <a:pt x="359" y="569"/>
                    </a:cubicBezTo>
                    <a:cubicBezTo>
                      <a:pt x="337" y="664"/>
                      <a:pt x="315" y="759"/>
                      <a:pt x="296" y="855"/>
                    </a:cubicBezTo>
                    <a:cubicBezTo>
                      <a:pt x="295" y="860"/>
                      <a:pt x="302" y="861"/>
                      <a:pt x="303" y="856"/>
                    </a:cubicBezTo>
                    <a:cubicBezTo>
                      <a:pt x="322" y="762"/>
                      <a:pt x="344" y="670"/>
                      <a:pt x="365" y="577"/>
                    </a:cubicBezTo>
                    <a:cubicBezTo>
                      <a:pt x="370" y="554"/>
                      <a:pt x="375" y="534"/>
                      <a:pt x="388" y="515"/>
                    </a:cubicBezTo>
                    <a:cubicBezTo>
                      <a:pt x="400" y="498"/>
                      <a:pt x="413" y="483"/>
                      <a:pt x="426" y="466"/>
                    </a:cubicBezTo>
                    <a:cubicBezTo>
                      <a:pt x="448" y="435"/>
                      <a:pt x="465" y="402"/>
                      <a:pt x="472" y="365"/>
                    </a:cubicBezTo>
                    <a:cubicBezTo>
                      <a:pt x="488" y="285"/>
                      <a:pt x="476" y="199"/>
                      <a:pt x="431" y="131"/>
                    </a:cubicBezTo>
                    <a:cubicBezTo>
                      <a:pt x="389" y="65"/>
                      <a:pt x="324" y="24"/>
                      <a:pt x="247" y="10"/>
                    </a:cubicBezTo>
                    <a:cubicBezTo>
                      <a:pt x="206" y="2"/>
                      <a:pt x="161" y="0"/>
                      <a:pt x="121" y="13"/>
                    </a:cubicBezTo>
                    <a:cubicBezTo>
                      <a:pt x="78" y="26"/>
                      <a:pt x="31" y="56"/>
                      <a:pt x="0" y="89"/>
                    </a:cubicBezTo>
                    <a:cubicBezTo>
                      <a:pt x="0" y="89"/>
                      <a:pt x="0" y="90"/>
                      <a:pt x="1" y="90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262" name="Freeform 335">
                <a:extLst>
                  <a:ext uri="{FF2B5EF4-FFF2-40B4-BE49-F238E27FC236}">
                    <a16:creationId xmlns:a16="http://schemas.microsoft.com/office/drawing/2014/main" id="{E5B0F886-633C-467D-8225-FD39BC7EBFE6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33" y="2973"/>
                <a:ext cx="330" cy="429"/>
              </a:xfrm>
              <a:custGeom>
                <a:avLst/>
                <a:gdLst>
                  <a:gd name="T0" fmla="*/ 281 w 311"/>
                  <a:gd name="T1" fmla="*/ 6 h 406"/>
                  <a:gd name="T2" fmla="*/ 299 w 311"/>
                  <a:gd name="T3" fmla="*/ 147 h 406"/>
                  <a:gd name="T4" fmla="*/ 288 w 311"/>
                  <a:gd name="T5" fmla="*/ 222 h 406"/>
                  <a:gd name="T6" fmla="*/ 259 w 311"/>
                  <a:gd name="T7" fmla="*/ 281 h 406"/>
                  <a:gd name="T8" fmla="*/ 155 w 311"/>
                  <a:gd name="T9" fmla="*/ 374 h 406"/>
                  <a:gd name="T10" fmla="*/ 82 w 311"/>
                  <a:gd name="T11" fmla="*/ 392 h 406"/>
                  <a:gd name="T12" fmla="*/ 6 w 311"/>
                  <a:gd name="T13" fmla="*/ 379 h 406"/>
                  <a:gd name="T14" fmla="*/ 4 w 311"/>
                  <a:gd name="T15" fmla="*/ 385 h 406"/>
                  <a:gd name="T16" fmla="*/ 155 w 311"/>
                  <a:gd name="T17" fmla="*/ 384 h 406"/>
                  <a:gd name="T18" fmla="*/ 263 w 311"/>
                  <a:gd name="T19" fmla="*/ 292 h 406"/>
                  <a:gd name="T20" fmla="*/ 295 w 311"/>
                  <a:gd name="T21" fmla="*/ 229 h 406"/>
                  <a:gd name="T22" fmla="*/ 308 w 311"/>
                  <a:gd name="T23" fmla="*/ 155 h 406"/>
                  <a:gd name="T24" fmla="*/ 304 w 311"/>
                  <a:gd name="T25" fmla="*/ 76 h 406"/>
                  <a:gd name="T26" fmla="*/ 287 w 311"/>
                  <a:gd name="T27" fmla="*/ 4 h 406"/>
                  <a:gd name="T28" fmla="*/ 281 w 311"/>
                  <a:gd name="T29" fmla="*/ 6 h 4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311" h="406">
                    <a:moveTo>
                      <a:pt x="281" y="6"/>
                    </a:moveTo>
                    <a:cubicBezTo>
                      <a:pt x="288" y="53"/>
                      <a:pt x="301" y="98"/>
                      <a:pt x="299" y="147"/>
                    </a:cubicBezTo>
                    <a:cubicBezTo>
                      <a:pt x="298" y="172"/>
                      <a:pt x="296" y="199"/>
                      <a:pt x="288" y="222"/>
                    </a:cubicBezTo>
                    <a:cubicBezTo>
                      <a:pt x="281" y="243"/>
                      <a:pt x="270" y="263"/>
                      <a:pt x="259" y="281"/>
                    </a:cubicBezTo>
                    <a:cubicBezTo>
                      <a:pt x="235" y="322"/>
                      <a:pt x="198" y="355"/>
                      <a:pt x="155" y="374"/>
                    </a:cubicBezTo>
                    <a:cubicBezTo>
                      <a:pt x="132" y="385"/>
                      <a:pt x="108" y="392"/>
                      <a:pt x="82" y="392"/>
                    </a:cubicBezTo>
                    <a:cubicBezTo>
                      <a:pt x="55" y="392"/>
                      <a:pt x="31" y="384"/>
                      <a:pt x="6" y="379"/>
                    </a:cubicBezTo>
                    <a:cubicBezTo>
                      <a:pt x="2" y="378"/>
                      <a:pt x="0" y="384"/>
                      <a:pt x="4" y="385"/>
                    </a:cubicBezTo>
                    <a:cubicBezTo>
                      <a:pt x="53" y="405"/>
                      <a:pt x="106" y="406"/>
                      <a:pt x="155" y="384"/>
                    </a:cubicBezTo>
                    <a:cubicBezTo>
                      <a:pt x="200" y="365"/>
                      <a:pt x="237" y="333"/>
                      <a:pt x="263" y="292"/>
                    </a:cubicBezTo>
                    <a:cubicBezTo>
                      <a:pt x="276" y="273"/>
                      <a:pt x="288" y="251"/>
                      <a:pt x="295" y="229"/>
                    </a:cubicBezTo>
                    <a:cubicBezTo>
                      <a:pt x="304" y="206"/>
                      <a:pt x="306" y="180"/>
                      <a:pt x="308" y="155"/>
                    </a:cubicBezTo>
                    <a:cubicBezTo>
                      <a:pt x="311" y="129"/>
                      <a:pt x="309" y="102"/>
                      <a:pt x="304" y="76"/>
                    </a:cubicBezTo>
                    <a:cubicBezTo>
                      <a:pt x="299" y="53"/>
                      <a:pt x="297" y="24"/>
                      <a:pt x="287" y="4"/>
                    </a:cubicBezTo>
                    <a:cubicBezTo>
                      <a:pt x="285" y="0"/>
                      <a:pt x="281" y="2"/>
                      <a:pt x="281" y="6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263" name="Freeform 336">
                <a:extLst>
                  <a:ext uri="{FF2B5EF4-FFF2-40B4-BE49-F238E27FC236}">
                    <a16:creationId xmlns:a16="http://schemas.microsoft.com/office/drawing/2014/main" id="{06FE5D57-A564-4FCD-95CF-D4B521B256B5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31" y="3049"/>
                <a:ext cx="85" cy="100"/>
              </a:xfrm>
              <a:custGeom>
                <a:avLst/>
                <a:gdLst>
                  <a:gd name="T0" fmla="*/ 70 w 80"/>
                  <a:gd name="T1" fmla="*/ 92 h 95"/>
                  <a:gd name="T2" fmla="*/ 53 w 80"/>
                  <a:gd name="T3" fmla="*/ 79 h 95"/>
                  <a:gd name="T4" fmla="*/ 33 w 80"/>
                  <a:gd name="T5" fmla="*/ 73 h 95"/>
                  <a:gd name="T6" fmla="*/ 12 w 80"/>
                  <a:gd name="T7" fmla="*/ 54 h 95"/>
                  <a:gd name="T8" fmla="*/ 22 w 80"/>
                  <a:gd name="T9" fmla="*/ 18 h 95"/>
                  <a:gd name="T10" fmla="*/ 75 w 80"/>
                  <a:gd name="T11" fmla="*/ 22 h 95"/>
                  <a:gd name="T12" fmla="*/ 75 w 80"/>
                  <a:gd name="T13" fmla="*/ 13 h 95"/>
                  <a:gd name="T14" fmla="*/ 16 w 80"/>
                  <a:gd name="T15" fmla="*/ 10 h 95"/>
                  <a:gd name="T16" fmla="*/ 5 w 80"/>
                  <a:gd name="T17" fmla="*/ 39 h 95"/>
                  <a:gd name="T18" fmla="*/ 14 w 80"/>
                  <a:gd name="T19" fmla="*/ 78 h 95"/>
                  <a:gd name="T20" fmla="*/ 36 w 80"/>
                  <a:gd name="T21" fmla="*/ 82 h 95"/>
                  <a:gd name="T22" fmla="*/ 65 w 80"/>
                  <a:gd name="T23" fmla="*/ 92 h 95"/>
                  <a:gd name="T24" fmla="*/ 70 w 80"/>
                  <a:gd name="T25" fmla="*/ 92 h 9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80" h="95">
                    <a:moveTo>
                      <a:pt x="70" y="92"/>
                    </a:moveTo>
                    <a:cubicBezTo>
                      <a:pt x="70" y="83"/>
                      <a:pt x="61" y="81"/>
                      <a:pt x="53" y="79"/>
                    </a:cubicBezTo>
                    <a:cubicBezTo>
                      <a:pt x="47" y="76"/>
                      <a:pt x="39" y="74"/>
                      <a:pt x="33" y="73"/>
                    </a:cubicBezTo>
                    <a:cubicBezTo>
                      <a:pt x="20" y="71"/>
                      <a:pt x="12" y="71"/>
                      <a:pt x="12" y="54"/>
                    </a:cubicBezTo>
                    <a:cubicBezTo>
                      <a:pt x="12" y="43"/>
                      <a:pt x="12" y="24"/>
                      <a:pt x="22" y="18"/>
                    </a:cubicBezTo>
                    <a:cubicBezTo>
                      <a:pt x="35" y="9"/>
                      <a:pt x="59" y="22"/>
                      <a:pt x="75" y="22"/>
                    </a:cubicBezTo>
                    <a:cubicBezTo>
                      <a:pt x="80" y="21"/>
                      <a:pt x="80" y="13"/>
                      <a:pt x="75" y="13"/>
                    </a:cubicBezTo>
                    <a:cubicBezTo>
                      <a:pt x="59" y="12"/>
                      <a:pt x="31" y="0"/>
                      <a:pt x="16" y="10"/>
                    </a:cubicBezTo>
                    <a:cubicBezTo>
                      <a:pt x="7" y="16"/>
                      <a:pt x="6" y="29"/>
                      <a:pt x="5" y="39"/>
                    </a:cubicBezTo>
                    <a:cubicBezTo>
                      <a:pt x="3" y="52"/>
                      <a:pt x="0" y="71"/>
                      <a:pt x="14" y="78"/>
                    </a:cubicBezTo>
                    <a:cubicBezTo>
                      <a:pt x="21" y="82"/>
                      <a:pt x="29" y="80"/>
                      <a:pt x="36" y="82"/>
                    </a:cubicBezTo>
                    <a:cubicBezTo>
                      <a:pt x="40" y="83"/>
                      <a:pt x="64" y="87"/>
                      <a:pt x="65" y="92"/>
                    </a:cubicBezTo>
                    <a:cubicBezTo>
                      <a:pt x="66" y="95"/>
                      <a:pt x="70" y="95"/>
                      <a:pt x="70" y="92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264" name="Freeform 337">
                <a:extLst>
                  <a:ext uri="{FF2B5EF4-FFF2-40B4-BE49-F238E27FC236}">
                    <a16:creationId xmlns:a16="http://schemas.microsoft.com/office/drawing/2014/main" id="{5327E5D4-9998-401E-89D7-6EF3E65E6D71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08" y="2997"/>
                <a:ext cx="100" cy="106"/>
              </a:xfrm>
              <a:custGeom>
                <a:avLst/>
                <a:gdLst>
                  <a:gd name="T0" fmla="*/ 0 w 95"/>
                  <a:gd name="T1" fmla="*/ 64 h 100"/>
                  <a:gd name="T2" fmla="*/ 0 w 95"/>
                  <a:gd name="T3" fmla="*/ 67 h 100"/>
                  <a:gd name="T4" fmla="*/ 2 w 95"/>
                  <a:gd name="T5" fmla="*/ 69 h 100"/>
                  <a:gd name="T6" fmla="*/ 15 w 95"/>
                  <a:gd name="T7" fmla="*/ 64 h 100"/>
                  <a:gd name="T8" fmla="*/ 19 w 95"/>
                  <a:gd name="T9" fmla="*/ 48 h 100"/>
                  <a:gd name="T10" fmla="*/ 26 w 95"/>
                  <a:gd name="T11" fmla="*/ 21 h 100"/>
                  <a:gd name="T12" fmla="*/ 48 w 95"/>
                  <a:gd name="T13" fmla="*/ 14 h 100"/>
                  <a:gd name="T14" fmla="*/ 72 w 95"/>
                  <a:gd name="T15" fmla="*/ 24 h 100"/>
                  <a:gd name="T16" fmla="*/ 81 w 95"/>
                  <a:gd name="T17" fmla="*/ 55 h 100"/>
                  <a:gd name="T18" fmla="*/ 73 w 95"/>
                  <a:gd name="T19" fmla="*/ 93 h 100"/>
                  <a:gd name="T20" fmla="*/ 81 w 95"/>
                  <a:gd name="T21" fmla="*/ 95 h 100"/>
                  <a:gd name="T22" fmla="*/ 90 w 95"/>
                  <a:gd name="T23" fmla="*/ 53 h 100"/>
                  <a:gd name="T24" fmla="*/ 91 w 95"/>
                  <a:gd name="T25" fmla="*/ 28 h 100"/>
                  <a:gd name="T26" fmla="*/ 49 w 95"/>
                  <a:gd name="T27" fmla="*/ 6 h 100"/>
                  <a:gd name="T28" fmla="*/ 20 w 95"/>
                  <a:gd name="T29" fmla="*/ 10 h 100"/>
                  <a:gd name="T30" fmla="*/ 13 w 95"/>
                  <a:gd name="T31" fmla="*/ 35 h 100"/>
                  <a:gd name="T32" fmla="*/ 12 w 95"/>
                  <a:gd name="T33" fmla="*/ 44 h 100"/>
                  <a:gd name="T34" fmla="*/ 9 w 95"/>
                  <a:gd name="T35" fmla="*/ 60 h 100"/>
                  <a:gd name="T36" fmla="*/ 5 w 95"/>
                  <a:gd name="T37" fmla="*/ 63 h 100"/>
                  <a:gd name="T38" fmla="*/ 0 w 95"/>
                  <a:gd name="T39" fmla="*/ 64 h 1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95" h="100">
                    <a:moveTo>
                      <a:pt x="0" y="64"/>
                    </a:moveTo>
                    <a:cubicBezTo>
                      <a:pt x="0" y="65"/>
                      <a:pt x="0" y="66"/>
                      <a:pt x="0" y="67"/>
                    </a:cubicBezTo>
                    <a:cubicBezTo>
                      <a:pt x="0" y="68"/>
                      <a:pt x="1" y="69"/>
                      <a:pt x="2" y="69"/>
                    </a:cubicBezTo>
                    <a:cubicBezTo>
                      <a:pt x="7" y="71"/>
                      <a:pt x="12" y="68"/>
                      <a:pt x="15" y="64"/>
                    </a:cubicBezTo>
                    <a:cubicBezTo>
                      <a:pt x="18" y="60"/>
                      <a:pt x="18" y="53"/>
                      <a:pt x="19" y="48"/>
                    </a:cubicBezTo>
                    <a:cubicBezTo>
                      <a:pt x="20" y="39"/>
                      <a:pt x="21" y="30"/>
                      <a:pt x="26" y="21"/>
                    </a:cubicBezTo>
                    <a:cubicBezTo>
                      <a:pt x="31" y="10"/>
                      <a:pt x="36" y="9"/>
                      <a:pt x="48" y="14"/>
                    </a:cubicBezTo>
                    <a:cubicBezTo>
                      <a:pt x="56" y="17"/>
                      <a:pt x="65" y="19"/>
                      <a:pt x="72" y="24"/>
                    </a:cubicBezTo>
                    <a:cubicBezTo>
                      <a:pt x="83" y="31"/>
                      <a:pt x="84" y="43"/>
                      <a:pt x="81" y="55"/>
                    </a:cubicBezTo>
                    <a:cubicBezTo>
                      <a:pt x="79" y="68"/>
                      <a:pt x="78" y="80"/>
                      <a:pt x="73" y="93"/>
                    </a:cubicBezTo>
                    <a:cubicBezTo>
                      <a:pt x="71" y="98"/>
                      <a:pt x="79" y="100"/>
                      <a:pt x="81" y="95"/>
                    </a:cubicBezTo>
                    <a:cubicBezTo>
                      <a:pt x="87" y="81"/>
                      <a:pt x="87" y="67"/>
                      <a:pt x="90" y="53"/>
                    </a:cubicBezTo>
                    <a:cubicBezTo>
                      <a:pt x="91" y="45"/>
                      <a:pt x="95" y="36"/>
                      <a:pt x="91" y="28"/>
                    </a:cubicBezTo>
                    <a:cubicBezTo>
                      <a:pt x="85" y="16"/>
                      <a:pt x="61" y="11"/>
                      <a:pt x="49" y="6"/>
                    </a:cubicBezTo>
                    <a:cubicBezTo>
                      <a:pt x="39" y="2"/>
                      <a:pt x="27" y="0"/>
                      <a:pt x="20" y="10"/>
                    </a:cubicBezTo>
                    <a:cubicBezTo>
                      <a:pt x="17" y="15"/>
                      <a:pt x="15" y="29"/>
                      <a:pt x="13" y="35"/>
                    </a:cubicBezTo>
                    <a:cubicBezTo>
                      <a:pt x="13" y="38"/>
                      <a:pt x="12" y="41"/>
                      <a:pt x="12" y="44"/>
                    </a:cubicBezTo>
                    <a:cubicBezTo>
                      <a:pt x="12" y="50"/>
                      <a:pt x="12" y="55"/>
                      <a:pt x="9" y="60"/>
                    </a:cubicBezTo>
                    <a:cubicBezTo>
                      <a:pt x="8" y="61"/>
                      <a:pt x="7" y="62"/>
                      <a:pt x="5" y="63"/>
                    </a:cubicBezTo>
                    <a:cubicBezTo>
                      <a:pt x="4" y="60"/>
                      <a:pt x="0" y="62"/>
                      <a:pt x="0" y="64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265" name="Freeform 338">
                <a:extLst>
                  <a:ext uri="{FF2B5EF4-FFF2-40B4-BE49-F238E27FC236}">
                    <a16:creationId xmlns:a16="http://schemas.microsoft.com/office/drawing/2014/main" id="{56FB776D-0270-489B-BEB7-0ABDFA758110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79" y="3139"/>
                <a:ext cx="103" cy="103"/>
              </a:xfrm>
              <a:custGeom>
                <a:avLst/>
                <a:gdLst>
                  <a:gd name="T0" fmla="*/ 21 w 97"/>
                  <a:gd name="T1" fmla="*/ 2 h 98"/>
                  <a:gd name="T2" fmla="*/ 10 w 97"/>
                  <a:gd name="T3" fmla="*/ 62 h 98"/>
                  <a:gd name="T4" fmla="*/ 37 w 97"/>
                  <a:gd name="T5" fmla="*/ 86 h 98"/>
                  <a:gd name="T6" fmla="*/ 77 w 97"/>
                  <a:gd name="T7" fmla="*/ 86 h 98"/>
                  <a:gd name="T8" fmla="*/ 87 w 97"/>
                  <a:gd name="T9" fmla="*/ 63 h 98"/>
                  <a:gd name="T10" fmla="*/ 97 w 97"/>
                  <a:gd name="T11" fmla="*/ 30 h 98"/>
                  <a:gd name="T12" fmla="*/ 90 w 97"/>
                  <a:gd name="T13" fmla="*/ 28 h 98"/>
                  <a:gd name="T14" fmla="*/ 77 w 97"/>
                  <a:gd name="T15" fmla="*/ 67 h 98"/>
                  <a:gd name="T16" fmla="*/ 52 w 97"/>
                  <a:gd name="T17" fmla="*/ 83 h 98"/>
                  <a:gd name="T18" fmla="*/ 33 w 97"/>
                  <a:gd name="T19" fmla="*/ 77 h 98"/>
                  <a:gd name="T20" fmla="*/ 24 w 97"/>
                  <a:gd name="T21" fmla="*/ 1 h 98"/>
                  <a:gd name="T22" fmla="*/ 21 w 97"/>
                  <a:gd name="T23" fmla="*/ 2 h 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97" h="98">
                    <a:moveTo>
                      <a:pt x="21" y="2"/>
                    </a:moveTo>
                    <a:cubicBezTo>
                      <a:pt x="21" y="22"/>
                      <a:pt x="9" y="41"/>
                      <a:pt x="10" y="62"/>
                    </a:cubicBezTo>
                    <a:cubicBezTo>
                      <a:pt x="11" y="76"/>
                      <a:pt x="24" y="82"/>
                      <a:pt x="37" y="86"/>
                    </a:cubicBezTo>
                    <a:cubicBezTo>
                      <a:pt x="49" y="90"/>
                      <a:pt x="67" y="98"/>
                      <a:pt x="77" y="86"/>
                    </a:cubicBezTo>
                    <a:cubicBezTo>
                      <a:pt x="83" y="80"/>
                      <a:pt x="85" y="71"/>
                      <a:pt x="87" y="63"/>
                    </a:cubicBezTo>
                    <a:cubicBezTo>
                      <a:pt x="89" y="52"/>
                      <a:pt x="94" y="41"/>
                      <a:pt x="97" y="30"/>
                    </a:cubicBezTo>
                    <a:cubicBezTo>
                      <a:pt x="97" y="25"/>
                      <a:pt x="91" y="24"/>
                      <a:pt x="90" y="28"/>
                    </a:cubicBezTo>
                    <a:cubicBezTo>
                      <a:pt x="84" y="40"/>
                      <a:pt x="81" y="53"/>
                      <a:pt x="77" y="67"/>
                    </a:cubicBezTo>
                    <a:cubicBezTo>
                      <a:pt x="74" y="80"/>
                      <a:pt x="66" y="87"/>
                      <a:pt x="52" y="83"/>
                    </a:cubicBezTo>
                    <a:cubicBezTo>
                      <a:pt x="46" y="81"/>
                      <a:pt x="39" y="79"/>
                      <a:pt x="33" y="77"/>
                    </a:cubicBezTo>
                    <a:cubicBezTo>
                      <a:pt x="0" y="63"/>
                      <a:pt x="36" y="25"/>
                      <a:pt x="24" y="1"/>
                    </a:cubicBezTo>
                    <a:cubicBezTo>
                      <a:pt x="24" y="0"/>
                      <a:pt x="21" y="0"/>
                      <a:pt x="21" y="2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266" name="Freeform 339">
                <a:extLst>
                  <a:ext uri="{FF2B5EF4-FFF2-40B4-BE49-F238E27FC236}">
                    <a16:creationId xmlns:a16="http://schemas.microsoft.com/office/drawing/2014/main" id="{8EADC371-08C9-4FA8-B592-7A2B1DFC0FF7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74" y="3094"/>
                <a:ext cx="84" cy="100"/>
              </a:xfrm>
              <a:custGeom>
                <a:avLst/>
                <a:gdLst>
                  <a:gd name="T0" fmla="*/ 3 w 79"/>
                  <a:gd name="T1" fmla="*/ 75 h 94"/>
                  <a:gd name="T2" fmla="*/ 60 w 79"/>
                  <a:gd name="T3" fmla="*/ 87 h 94"/>
                  <a:gd name="T4" fmla="*/ 77 w 79"/>
                  <a:gd name="T5" fmla="*/ 54 h 94"/>
                  <a:gd name="T6" fmla="*/ 78 w 79"/>
                  <a:gd name="T7" fmla="*/ 24 h 94"/>
                  <a:gd name="T8" fmla="*/ 70 w 79"/>
                  <a:gd name="T9" fmla="*/ 10 h 94"/>
                  <a:gd name="T10" fmla="*/ 54 w 79"/>
                  <a:gd name="T11" fmla="*/ 5 h 94"/>
                  <a:gd name="T12" fmla="*/ 19 w 79"/>
                  <a:gd name="T13" fmla="*/ 0 h 94"/>
                  <a:gd name="T14" fmla="*/ 17 w 79"/>
                  <a:gd name="T15" fmla="*/ 8 h 94"/>
                  <a:gd name="T16" fmla="*/ 52 w 79"/>
                  <a:gd name="T17" fmla="*/ 15 h 94"/>
                  <a:gd name="T18" fmla="*/ 68 w 79"/>
                  <a:gd name="T19" fmla="*/ 32 h 94"/>
                  <a:gd name="T20" fmla="*/ 68 w 79"/>
                  <a:gd name="T21" fmla="*/ 54 h 94"/>
                  <a:gd name="T22" fmla="*/ 63 w 79"/>
                  <a:gd name="T23" fmla="*/ 73 h 94"/>
                  <a:gd name="T24" fmla="*/ 37 w 79"/>
                  <a:gd name="T25" fmla="*/ 78 h 94"/>
                  <a:gd name="T26" fmla="*/ 2 w 79"/>
                  <a:gd name="T27" fmla="*/ 71 h 94"/>
                  <a:gd name="T28" fmla="*/ 3 w 79"/>
                  <a:gd name="T29" fmla="*/ 75 h 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79" h="94">
                    <a:moveTo>
                      <a:pt x="3" y="75"/>
                    </a:moveTo>
                    <a:cubicBezTo>
                      <a:pt x="22" y="74"/>
                      <a:pt x="41" y="94"/>
                      <a:pt x="60" y="87"/>
                    </a:cubicBezTo>
                    <a:cubicBezTo>
                      <a:pt x="72" y="83"/>
                      <a:pt x="76" y="65"/>
                      <a:pt x="77" y="54"/>
                    </a:cubicBezTo>
                    <a:cubicBezTo>
                      <a:pt x="79" y="45"/>
                      <a:pt x="79" y="33"/>
                      <a:pt x="78" y="24"/>
                    </a:cubicBezTo>
                    <a:cubicBezTo>
                      <a:pt x="77" y="18"/>
                      <a:pt x="74" y="14"/>
                      <a:pt x="70" y="10"/>
                    </a:cubicBezTo>
                    <a:cubicBezTo>
                      <a:pt x="65" y="7"/>
                      <a:pt x="59" y="6"/>
                      <a:pt x="54" y="5"/>
                    </a:cubicBezTo>
                    <a:cubicBezTo>
                      <a:pt x="42" y="4"/>
                      <a:pt x="30" y="2"/>
                      <a:pt x="19" y="0"/>
                    </a:cubicBezTo>
                    <a:cubicBezTo>
                      <a:pt x="14" y="0"/>
                      <a:pt x="13" y="7"/>
                      <a:pt x="17" y="8"/>
                    </a:cubicBezTo>
                    <a:cubicBezTo>
                      <a:pt x="29" y="13"/>
                      <a:pt x="40" y="13"/>
                      <a:pt x="52" y="15"/>
                    </a:cubicBezTo>
                    <a:cubicBezTo>
                      <a:pt x="63" y="16"/>
                      <a:pt x="67" y="21"/>
                      <a:pt x="68" y="32"/>
                    </a:cubicBezTo>
                    <a:cubicBezTo>
                      <a:pt x="69" y="38"/>
                      <a:pt x="69" y="48"/>
                      <a:pt x="68" y="54"/>
                    </a:cubicBezTo>
                    <a:cubicBezTo>
                      <a:pt x="67" y="59"/>
                      <a:pt x="66" y="69"/>
                      <a:pt x="63" y="73"/>
                    </a:cubicBezTo>
                    <a:cubicBezTo>
                      <a:pt x="57" y="83"/>
                      <a:pt x="46" y="81"/>
                      <a:pt x="37" y="78"/>
                    </a:cubicBezTo>
                    <a:cubicBezTo>
                      <a:pt x="26" y="73"/>
                      <a:pt x="15" y="69"/>
                      <a:pt x="2" y="71"/>
                    </a:cubicBezTo>
                    <a:cubicBezTo>
                      <a:pt x="0" y="72"/>
                      <a:pt x="1" y="75"/>
                      <a:pt x="3" y="75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267" name="Freeform 340">
                <a:extLst>
                  <a:ext uri="{FF2B5EF4-FFF2-40B4-BE49-F238E27FC236}">
                    <a16:creationId xmlns:a16="http://schemas.microsoft.com/office/drawing/2014/main" id="{C758EB7E-6259-4EC4-B44E-04C3C0A11E13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18" y="3119"/>
                <a:ext cx="55" cy="28"/>
              </a:xfrm>
              <a:custGeom>
                <a:avLst/>
                <a:gdLst>
                  <a:gd name="T0" fmla="*/ 6 w 52"/>
                  <a:gd name="T1" fmla="*/ 2 h 27"/>
                  <a:gd name="T2" fmla="*/ 42 w 52"/>
                  <a:gd name="T3" fmla="*/ 3 h 27"/>
                  <a:gd name="T4" fmla="*/ 38 w 52"/>
                  <a:gd name="T5" fmla="*/ 4 h 27"/>
                  <a:gd name="T6" fmla="*/ 24 w 52"/>
                  <a:gd name="T7" fmla="*/ 15 h 27"/>
                  <a:gd name="T8" fmla="*/ 10 w 52"/>
                  <a:gd name="T9" fmla="*/ 3 h 27"/>
                  <a:gd name="T10" fmla="*/ 6 w 52"/>
                  <a:gd name="T11" fmla="*/ 2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52" h="27">
                    <a:moveTo>
                      <a:pt x="6" y="2"/>
                    </a:moveTo>
                    <a:cubicBezTo>
                      <a:pt x="0" y="27"/>
                      <a:pt x="52" y="26"/>
                      <a:pt x="42" y="3"/>
                    </a:cubicBezTo>
                    <a:cubicBezTo>
                      <a:pt x="41" y="1"/>
                      <a:pt x="38" y="1"/>
                      <a:pt x="38" y="4"/>
                    </a:cubicBezTo>
                    <a:cubicBezTo>
                      <a:pt x="38" y="12"/>
                      <a:pt x="32" y="15"/>
                      <a:pt x="24" y="15"/>
                    </a:cubicBezTo>
                    <a:cubicBezTo>
                      <a:pt x="17" y="14"/>
                      <a:pt x="9" y="10"/>
                      <a:pt x="10" y="3"/>
                    </a:cubicBezTo>
                    <a:cubicBezTo>
                      <a:pt x="10" y="1"/>
                      <a:pt x="7" y="0"/>
                      <a:pt x="6" y="2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268" name="Freeform 341">
                <a:extLst>
                  <a:ext uri="{FF2B5EF4-FFF2-40B4-BE49-F238E27FC236}">
                    <a16:creationId xmlns:a16="http://schemas.microsoft.com/office/drawing/2014/main" id="{32FE94D0-4ED2-49DA-8EBE-BFEF9083E4CD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9" y="3070"/>
                <a:ext cx="264" cy="203"/>
              </a:xfrm>
              <a:custGeom>
                <a:avLst/>
                <a:gdLst>
                  <a:gd name="T0" fmla="*/ 35 w 249"/>
                  <a:gd name="T1" fmla="*/ 1 h 192"/>
                  <a:gd name="T2" fmla="*/ 79 w 249"/>
                  <a:gd name="T3" fmla="*/ 148 h 192"/>
                  <a:gd name="T4" fmla="*/ 156 w 249"/>
                  <a:gd name="T5" fmla="*/ 183 h 192"/>
                  <a:gd name="T6" fmla="*/ 249 w 249"/>
                  <a:gd name="T7" fmla="*/ 167 h 192"/>
                  <a:gd name="T8" fmla="*/ 249 w 249"/>
                  <a:gd name="T9" fmla="*/ 167 h 192"/>
                  <a:gd name="T10" fmla="*/ 206 w 249"/>
                  <a:gd name="T11" fmla="*/ 184 h 192"/>
                  <a:gd name="T12" fmla="*/ 151 w 249"/>
                  <a:gd name="T13" fmla="*/ 176 h 192"/>
                  <a:gd name="T14" fmla="*/ 83 w 249"/>
                  <a:gd name="T15" fmla="*/ 144 h 192"/>
                  <a:gd name="T16" fmla="*/ 37 w 249"/>
                  <a:gd name="T17" fmla="*/ 2 h 192"/>
                  <a:gd name="T18" fmla="*/ 35 w 249"/>
                  <a:gd name="T19" fmla="*/ 1 h 1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49" h="192">
                    <a:moveTo>
                      <a:pt x="35" y="1"/>
                    </a:moveTo>
                    <a:cubicBezTo>
                      <a:pt x="0" y="44"/>
                      <a:pt x="46" y="118"/>
                      <a:pt x="79" y="148"/>
                    </a:cubicBezTo>
                    <a:cubicBezTo>
                      <a:pt x="99" y="167"/>
                      <a:pt x="130" y="175"/>
                      <a:pt x="156" y="183"/>
                    </a:cubicBezTo>
                    <a:cubicBezTo>
                      <a:pt x="191" y="192"/>
                      <a:pt x="219" y="187"/>
                      <a:pt x="249" y="167"/>
                    </a:cubicBezTo>
                    <a:cubicBezTo>
                      <a:pt x="249" y="167"/>
                      <a:pt x="249" y="167"/>
                      <a:pt x="249" y="167"/>
                    </a:cubicBezTo>
                    <a:cubicBezTo>
                      <a:pt x="236" y="175"/>
                      <a:pt x="222" y="182"/>
                      <a:pt x="206" y="184"/>
                    </a:cubicBezTo>
                    <a:cubicBezTo>
                      <a:pt x="187" y="187"/>
                      <a:pt x="169" y="182"/>
                      <a:pt x="151" y="176"/>
                    </a:cubicBezTo>
                    <a:cubicBezTo>
                      <a:pt x="128" y="169"/>
                      <a:pt x="102" y="161"/>
                      <a:pt x="83" y="144"/>
                    </a:cubicBezTo>
                    <a:cubicBezTo>
                      <a:pt x="47" y="110"/>
                      <a:pt x="16" y="51"/>
                      <a:pt x="37" y="2"/>
                    </a:cubicBezTo>
                    <a:cubicBezTo>
                      <a:pt x="37" y="1"/>
                      <a:pt x="35" y="0"/>
                      <a:pt x="35" y="1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269" name="Freeform 342">
                <a:extLst>
                  <a:ext uri="{FF2B5EF4-FFF2-40B4-BE49-F238E27FC236}">
                    <a16:creationId xmlns:a16="http://schemas.microsoft.com/office/drawing/2014/main" id="{49027DC0-5810-4F9E-B39C-4EF309EF93E8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376" y="3177"/>
                <a:ext cx="31" cy="17"/>
              </a:xfrm>
              <a:custGeom>
                <a:avLst/>
                <a:gdLst>
                  <a:gd name="T0" fmla="*/ 3 w 29"/>
                  <a:gd name="T1" fmla="*/ 15 h 16"/>
                  <a:gd name="T2" fmla="*/ 28 w 29"/>
                  <a:gd name="T3" fmla="*/ 4 h 16"/>
                  <a:gd name="T4" fmla="*/ 25 w 29"/>
                  <a:gd name="T5" fmla="*/ 1 h 16"/>
                  <a:gd name="T6" fmla="*/ 2 w 29"/>
                  <a:gd name="T7" fmla="*/ 12 h 16"/>
                  <a:gd name="T8" fmla="*/ 3 w 29"/>
                  <a:gd name="T9" fmla="*/ 15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9" h="16">
                    <a:moveTo>
                      <a:pt x="3" y="15"/>
                    </a:moveTo>
                    <a:cubicBezTo>
                      <a:pt x="12" y="14"/>
                      <a:pt x="21" y="10"/>
                      <a:pt x="28" y="4"/>
                    </a:cubicBezTo>
                    <a:cubicBezTo>
                      <a:pt x="29" y="2"/>
                      <a:pt x="27" y="0"/>
                      <a:pt x="25" y="1"/>
                    </a:cubicBezTo>
                    <a:cubicBezTo>
                      <a:pt x="18" y="5"/>
                      <a:pt x="11" y="10"/>
                      <a:pt x="2" y="12"/>
                    </a:cubicBezTo>
                    <a:cubicBezTo>
                      <a:pt x="0" y="12"/>
                      <a:pt x="1" y="16"/>
                      <a:pt x="3" y="15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270" name="Freeform 343">
                <a:extLst>
                  <a:ext uri="{FF2B5EF4-FFF2-40B4-BE49-F238E27FC236}">
                    <a16:creationId xmlns:a16="http://schemas.microsoft.com/office/drawing/2014/main" id="{0BEC7E03-17CB-43F3-864F-31DE4D6263EF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395" y="3150"/>
                <a:ext cx="14" cy="13"/>
              </a:xfrm>
              <a:custGeom>
                <a:avLst/>
                <a:gdLst>
                  <a:gd name="T0" fmla="*/ 5 w 13"/>
                  <a:gd name="T1" fmla="*/ 10 h 12"/>
                  <a:gd name="T2" fmla="*/ 12 w 13"/>
                  <a:gd name="T3" fmla="*/ 4 h 12"/>
                  <a:gd name="T4" fmla="*/ 10 w 13"/>
                  <a:gd name="T5" fmla="*/ 1 h 12"/>
                  <a:gd name="T6" fmla="*/ 2 w 13"/>
                  <a:gd name="T7" fmla="*/ 7 h 12"/>
                  <a:gd name="T8" fmla="*/ 5 w 13"/>
                  <a:gd name="T9" fmla="*/ 10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3" h="12">
                    <a:moveTo>
                      <a:pt x="5" y="10"/>
                    </a:moveTo>
                    <a:cubicBezTo>
                      <a:pt x="7" y="8"/>
                      <a:pt x="10" y="6"/>
                      <a:pt x="12" y="4"/>
                    </a:cubicBezTo>
                    <a:cubicBezTo>
                      <a:pt x="13" y="2"/>
                      <a:pt x="12" y="0"/>
                      <a:pt x="10" y="1"/>
                    </a:cubicBezTo>
                    <a:cubicBezTo>
                      <a:pt x="7" y="3"/>
                      <a:pt x="5" y="5"/>
                      <a:pt x="2" y="7"/>
                    </a:cubicBezTo>
                    <a:cubicBezTo>
                      <a:pt x="0" y="9"/>
                      <a:pt x="3" y="12"/>
                      <a:pt x="5" y="10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271" name="Freeform 344">
                <a:extLst>
                  <a:ext uri="{FF2B5EF4-FFF2-40B4-BE49-F238E27FC236}">
                    <a16:creationId xmlns:a16="http://schemas.microsoft.com/office/drawing/2014/main" id="{9378C0CE-F844-4B98-BA99-A182D2863372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05" y="2956"/>
                <a:ext cx="306" cy="159"/>
              </a:xfrm>
              <a:custGeom>
                <a:avLst/>
                <a:gdLst>
                  <a:gd name="T0" fmla="*/ 278 w 289"/>
                  <a:gd name="T1" fmla="*/ 150 h 151"/>
                  <a:gd name="T2" fmla="*/ 167 w 289"/>
                  <a:gd name="T3" fmla="*/ 11 h 151"/>
                  <a:gd name="T4" fmla="*/ 71 w 289"/>
                  <a:gd name="T5" fmla="*/ 13 h 151"/>
                  <a:gd name="T6" fmla="*/ 2 w 289"/>
                  <a:gd name="T7" fmla="*/ 79 h 151"/>
                  <a:gd name="T8" fmla="*/ 7 w 289"/>
                  <a:gd name="T9" fmla="*/ 82 h 151"/>
                  <a:gd name="T10" fmla="*/ 70 w 289"/>
                  <a:gd name="T11" fmla="*/ 20 h 151"/>
                  <a:gd name="T12" fmla="*/ 178 w 289"/>
                  <a:gd name="T13" fmla="*/ 22 h 151"/>
                  <a:gd name="T14" fmla="*/ 275 w 289"/>
                  <a:gd name="T15" fmla="*/ 149 h 151"/>
                  <a:gd name="T16" fmla="*/ 278 w 289"/>
                  <a:gd name="T17" fmla="*/ 150 h 1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89" h="151">
                    <a:moveTo>
                      <a:pt x="278" y="150"/>
                    </a:moveTo>
                    <a:cubicBezTo>
                      <a:pt x="289" y="79"/>
                      <a:pt x="226" y="32"/>
                      <a:pt x="167" y="11"/>
                    </a:cubicBezTo>
                    <a:cubicBezTo>
                      <a:pt x="135" y="0"/>
                      <a:pt x="102" y="1"/>
                      <a:pt x="71" y="13"/>
                    </a:cubicBezTo>
                    <a:cubicBezTo>
                      <a:pt x="39" y="25"/>
                      <a:pt x="20" y="50"/>
                      <a:pt x="2" y="79"/>
                    </a:cubicBezTo>
                    <a:cubicBezTo>
                      <a:pt x="0" y="82"/>
                      <a:pt x="4" y="85"/>
                      <a:pt x="7" y="82"/>
                    </a:cubicBezTo>
                    <a:cubicBezTo>
                      <a:pt x="26" y="58"/>
                      <a:pt x="40" y="33"/>
                      <a:pt x="70" y="20"/>
                    </a:cubicBezTo>
                    <a:cubicBezTo>
                      <a:pt x="106" y="5"/>
                      <a:pt x="142" y="8"/>
                      <a:pt x="178" y="22"/>
                    </a:cubicBezTo>
                    <a:cubicBezTo>
                      <a:pt x="231" y="43"/>
                      <a:pt x="283" y="86"/>
                      <a:pt x="275" y="149"/>
                    </a:cubicBezTo>
                    <a:cubicBezTo>
                      <a:pt x="275" y="151"/>
                      <a:pt x="278" y="151"/>
                      <a:pt x="278" y="150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272" name="Freeform 345">
                <a:extLst>
                  <a:ext uri="{FF2B5EF4-FFF2-40B4-BE49-F238E27FC236}">
                    <a16:creationId xmlns:a16="http://schemas.microsoft.com/office/drawing/2014/main" id="{C7819182-1CAC-4794-B832-4EFFF669817C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69" y="2271"/>
                <a:ext cx="119" cy="334"/>
              </a:xfrm>
              <a:custGeom>
                <a:avLst/>
                <a:gdLst>
                  <a:gd name="T0" fmla="*/ 19 w 112"/>
                  <a:gd name="T1" fmla="*/ 1 h 316"/>
                  <a:gd name="T2" fmla="*/ 4 w 112"/>
                  <a:gd name="T3" fmla="*/ 54 h 316"/>
                  <a:gd name="T4" fmla="*/ 1 w 112"/>
                  <a:gd name="T5" fmla="*/ 96 h 316"/>
                  <a:gd name="T6" fmla="*/ 14 w 112"/>
                  <a:gd name="T7" fmla="*/ 184 h 316"/>
                  <a:gd name="T8" fmla="*/ 109 w 112"/>
                  <a:gd name="T9" fmla="*/ 315 h 316"/>
                  <a:gd name="T10" fmla="*/ 111 w 112"/>
                  <a:gd name="T11" fmla="*/ 313 h 316"/>
                  <a:gd name="T12" fmla="*/ 16 w 112"/>
                  <a:gd name="T13" fmla="*/ 177 h 316"/>
                  <a:gd name="T14" fmla="*/ 5 w 112"/>
                  <a:gd name="T15" fmla="*/ 89 h 316"/>
                  <a:gd name="T16" fmla="*/ 10 w 112"/>
                  <a:gd name="T17" fmla="*/ 42 h 316"/>
                  <a:gd name="T18" fmla="*/ 21 w 112"/>
                  <a:gd name="T19" fmla="*/ 2 h 316"/>
                  <a:gd name="T20" fmla="*/ 19 w 112"/>
                  <a:gd name="T21" fmla="*/ 1 h 3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12" h="316">
                    <a:moveTo>
                      <a:pt x="19" y="1"/>
                    </a:moveTo>
                    <a:cubicBezTo>
                      <a:pt x="14" y="19"/>
                      <a:pt x="6" y="35"/>
                      <a:pt x="4" y="54"/>
                    </a:cubicBezTo>
                    <a:cubicBezTo>
                      <a:pt x="1" y="68"/>
                      <a:pt x="1" y="82"/>
                      <a:pt x="1" y="96"/>
                    </a:cubicBezTo>
                    <a:cubicBezTo>
                      <a:pt x="0" y="126"/>
                      <a:pt x="6" y="155"/>
                      <a:pt x="14" y="184"/>
                    </a:cubicBezTo>
                    <a:cubicBezTo>
                      <a:pt x="27" y="235"/>
                      <a:pt x="64" y="288"/>
                      <a:pt x="109" y="315"/>
                    </a:cubicBezTo>
                    <a:cubicBezTo>
                      <a:pt x="111" y="316"/>
                      <a:pt x="112" y="314"/>
                      <a:pt x="111" y="313"/>
                    </a:cubicBezTo>
                    <a:cubicBezTo>
                      <a:pt x="64" y="283"/>
                      <a:pt x="29" y="230"/>
                      <a:pt x="16" y="177"/>
                    </a:cubicBezTo>
                    <a:cubicBezTo>
                      <a:pt x="9" y="148"/>
                      <a:pt x="4" y="119"/>
                      <a:pt x="5" y="89"/>
                    </a:cubicBezTo>
                    <a:cubicBezTo>
                      <a:pt x="6" y="73"/>
                      <a:pt x="7" y="57"/>
                      <a:pt x="10" y="42"/>
                    </a:cubicBezTo>
                    <a:cubicBezTo>
                      <a:pt x="13" y="28"/>
                      <a:pt x="18" y="15"/>
                      <a:pt x="21" y="2"/>
                    </a:cubicBezTo>
                    <a:cubicBezTo>
                      <a:pt x="21" y="0"/>
                      <a:pt x="19" y="0"/>
                      <a:pt x="19" y="1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273" name="Freeform 346">
                <a:extLst>
                  <a:ext uri="{FF2B5EF4-FFF2-40B4-BE49-F238E27FC236}">
                    <a16:creationId xmlns:a16="http://schemas.microsoft.com/office/drawing/2014/main" id="{366C7888-6EA5-4596-9C1C-06658E99D75B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13" y="2610"/>
                <a:ext cx="111" cy="33"/>
              </a:xfrm>
              <a:custGeom>
                <a:avLst/>
                <a:gdLst>
                  <a:gd name="T0" fmla="*/ 1 w 105"/>
                  <a:gd name="T1" fmla="*/ 31 h 31"/>
                  <a:gd name="T2" fmla="*/ 63 w 105"/>
                  <a:gd name="T3" fmla="*/ 21 h 31"/>
                  <a:gd name="T4" fmla="*/ 104 w 105"/>
                  <a:gd name="T5" fmla="*/ 1 h 31"/>
                  <a:gd name="T6" fmla="*/ 104 w 105"/>
                  <a:gd name="T7" fmla="*/ 1 h 31"/>
                  <a:gd name="T8" fmla="*/ 54 w 105"/>
                  <a:gd name="T9" fmla="*/ 20 h 31"/>
                  <a:gd name="T10" fmla="*/ 1 w 105"/>
                  <a:gd name="T11" fmla="*/ 29 h 31"/>
                  <a:gd name="T12" fmla="*/ 1 w 105"/>
                  <a:gd name="T13" fmla="*/ 31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05" h="31">
                    <a:moveTo>
                      <a:pt x="1" y="31"/>
                    </a:moveTo>
                    <a:cubicBezTo>
                      <a:pt x="22" y="28"/>
                      <a:pt x="43" y="26"/>
                      <a:pt x="63" y="21"/>
                    </a:cubicBezTo>
                    <a:cubicBezTo>
                      <a:pt x="78" y="17"/>
                      <a:pt x="90" y="7"/>
                      <a:pt x="104" y="1"/>
                    </a:cubicBezTo>
                    <a:cubicBezTo>
                      <a:pt x="105" y="1"/>
                      <a:pt x="104" y="0"/>
                      <a:pt x="104" y="1"/>
                    </a:cubicBezTo>
                    <a:cubicBezTo>
                      <a:pt x="87" y="7"/>
                      <a:pt x="72" y="16"/>
                      <a:pt x="54" y="20"/>
                    </a:cubicBezTo>
                    <a:cubicBezTo>
                      <a:pt x="37" y="23"/>
                      <a:pt x="19" y="26"/>
                      <a:pt x="1" y="29"/>
                    </a:cubicBezTo>
                    <a:cubicBezTo>
                      <a:pt x="0" y="29"/>
                      <a:pt x="0" y="31"/>
                      <a:pt x="1" y="31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274" name="Freeform 347">
                <a:extLst>
                  <a:ext uri="{FF2B5EF4-FFF2-40B4-BE49-F238E27FC236}">
                    <a16:creationId xmlns:a16="http://schemas.microsoft.com/office/drawing/2014/main" id="{7B696A3D-2FBD-4363-9209-39AB29036AFF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26" y="2458"/>
                <a:ext cx="11" cy="29"/>
              </a:xfrm>
              <a:custGeom>
                <a:avLst/>
                <a:gdLst>
                  <a:gd name="T0" fmla="*/ 1 w 10"/>
                  <a:gd name="T1" fmla="*/ 27 h 27"/>
                  <a:gd name="T2" fmla="*/ 10 w 10"/>
                  <a:gd name="T3" fmla="*/ 1 h 27"/>
                  <a:gd name="T4" fmla="*/ 9 w 10"/>
                  <a:gd name="T5" fmla="*/ 1 h 27"/>
                  <a:gd name="T6" fmla="*/ 0 w 10"/>
                  <a:gd name="T7" fmla="*/ 27 h 27"/>
                  <a:gd name="T8" fmla="*/ 1 w 10"/>
                  <a:gd name="T9" fmla="*/ 27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" h="27">
                    <a:moveTo>
                      <a:pt x="1" y="27"/>
                    </a:moveTo>
                    <a:cubicBezTo>
                      <a:pt x="4" y="18"/>
                      <a:pt x="9" y="10"/>
                      <a:pt x="10" y="1"/>
                    </a:cubicBezTo>
                    <a:cubicBezTo>
                      <a:pt x="10" y="0"/>
                      <a:pt x="10" y="0"/>
                      <a:pt x="9" y="1"/>
                    </a:cubicBezTo>
                    <a:cubicBezTo>
                      <a:pt x="8" y="10"/>
                      <a:pt x="4" y="18"/>
                      <a:pt x="0" y="27"/>
                    </a:cubicBezTo>
                    <a:lnTo>
                      <a:pt x="1" y="27"/>
                    </a:ln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275" name="Freeform 348">
                <a:extLst>
                  <a:ext uri="{FF2B5EF4-FFF2-40B4-BE49-F238E27FC236}">
                    <a16:creationId xmlns:a16="http://schemas.microsoft.com/office/drawing/2014/main" id="{54416830-FF83-4D5F-AA95-6F1CEFDEC9B8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35" y="2318"/>
                <a:ext cx="9" cy="33"/>
              </a:xfrm>
              <a:custGeom>
                <a:avLst/>
                <a:gdLst>
                  <a:gd name="T0" fmla="*/ 9 w 9"/>
                  <a:gd name="T1" fmla="*/ 31 h 31"/>
                  <a:gd name="T2" fmla="*/ 1 w 9"/>
                  <a:gd name="T3" fmla="*/ 1 h 31"/>
                  <a:gd name="T4" fmla="*/ 0 w 9"/>
                  <a:gd name="T5" fmla="*/ 1 h 31"/>
                  <a:gd name="T6" fmla="*/ 9 w 9"/>
                  <a:gd name="T7" fmla="*/ 31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9" h="31">
                    <a:moveTo>
                      <a:pt x="9" y="31"/>
                    </a:moveTo>
                    <a:cubicBezTo>
                      <a:pt x="8" y="21"/>
                      <a:pt x="5" y="11"/>
                      <a:pt x="1" y="1"/>
                    </a:cubicBezTo>
                    <a:cubicBezTo>
                      <a:pt x="1" y="0"/>
                      <a:pt x="0" y="1"/>
                      <a:pt x="0" y="1"/>
                    </a:cubicBezTo>
                    <a:cubicBezTo>
                      <a:pt x="4" y="11"/>
                      <a:pt x="8" y="21"/>
                      <a:pt x="9" y="31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276" name="Freeform 349">
                <a:extLst>
                  <a:ext uri="{FF2B5EF4-FFF2-40B4-BE49-F238E27FC236}">
                    <a16:creationId xmlns:a16="http://schemas.microsoft.com/office/drawing/2014/main" id="{0F5643DF-75AD-4221-97E1-8A0075943C39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25" y="2132"/>
                <a:ext cx="333" cy="80"/>
              </a:xfrm>
              <a:custGeom>
                <a:avLst/>
                <a:gdLst>
                  <a:gd name="T0" fmla="*/ 314 w 315"/>
                  <a:gd name="T1" fmla="*/ 74 h 76"/>
                  <a:gd name="T2" fmla="*/ 158 w 315"/>
                  <a:gd name="T3" fmla="*/ 0 h 76"/>
                  <a:gd name="T4" fmla="*/ 65 w 315"/>
                  <a:gd name="T5" fmla="*/ 22 h 76"/>
                  <a:gd name="T6" fmla="*/ 2 w 315"/>
                  <a:gd name="T7" fmla="*/ 71 h 76"/>
                  <a:gd name="T8" fmla="*/ 4 w 315"/>
                  <a:gd name="T9" fmla="*/ 73 h 76"/>
                  <a:gd name="T10" fmla="*/ 70 w 315"/>
                  <a:gd name="T11" fmla="*/ 25 h 76"/>
                  <a:gd name="T12" fmla="*/ 154 w 315"/>
                  <a:gd name="T13" fmla="*/ 4 h 76"/>
                  <a:gd name="T14" fmla="*/ 313 w 315"/>
                  <a:gd name="T15" fmla="*/ 75 h 76"/>
                  <a:gd name="T16" fmla="*/ 314 w 315"/>
                  <a:gd name="T17" fmla="*/ 74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15" h="76">
                    <a:moveTo>
                      <a:pt x="314" y="74"/>
                    </a:moveTo>
                    <a:cubicBezTo>
                      <a:pt x="272" y="35"/>
                      <a:pt x="218" y="0"/>
                      <a:pt x="158" y="0"/>
                    </a:cubicBezTo>
                    <a:cubicBezTo>
                      <a:pt x="126" y="0"/>
                      <a:pt x="94" y="12"/>
                      <a:pt x="65" y="22"/>
                    </a:cubicBezTo>
                    <a:cubicBezTo>
                      <a:pt x="39" y="32"/>
                      <a:pt x="20" y="51"/>
                      <a:pt x="2" y="71"/>
                    </a:cubicBezTo>
                    <a:cubicBezTo>
                      <a:pt x="0" y="73"/>
                      <a:pt x="2" y="75"/>
                      <a:pt x="4" y="73"/>
                    </a:cubicBezTo>
                    <a:cubicBezTo>
                      <a:pt x="24" y="54"/>
                      <a:pt x="42" y="35"/>
                      <a:pt x="70" y="25"/>
                    </a:cubicBezTo>
                    <a:cubicBezTo>
                      <a:pt x="97" y="16"/>
                      <a:pt x="126" y="5"/>
                      <a:pt x="154" y="4"/>
                    </a:cubicBezTo>
                    <a:cubicBezTo>
                      <a:pt x="212" y="3"/>
                      <a:pt x="270" y="40"/>
                      <a:pt x="313" y="75"/>
                    </a:cubicBezTo>
                    <a:cubicBezTo>
                      <a:pt x="314" y="76"/>
                      <a:pt x="315" y="75"/>
                      <a:pt x="314" y="74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277" name="Freeform 350">
                <a:extLst>
                  <a:ext uri="{FF2B5EF4-FFF2-40B4-BE49-F238E27FC236}">
                    <a16:creationId xmlns:a16="http://schemas.microsoft.com/office/drawing/2014/main" id="{B31C7DDF-6220-47B6-9334-F410788CC9E3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38" y="2307"/>
                <a:ext cx="122" cy="126"/>
              </a:xfrm>
              <a:custGeom>
                <a:avLst/>
                <a:gdLst>
                  <a:gd name="T0" fmla="*/ 21 w 115"/>
                  <a:gd name="T1" fmla="*/ 39 h 119"/>
                  <a:gd name="T2" fmla="*/ 113 w 115"/>
                  <a:gd name="T3" fmla="*/ 57 h 119"/>
                  <a:gd name="T4" fmla="*/ 67 w 115"/>
                  <a:gd name="T5" fmla="*/ 2 h 119"/>
                  <a:gd name="T6" fmla="*/ 21 w 115"/>
                  <a:gd name="T7" fmla="*/ 40 h 119"/>
                  <a:gd name="T8" fmla="*/ 28 w 115"/>
                  <a:gd name="T9" fmla="*/ 41 h 119"/>
                  <a:gd name="T10" fmla="*/ 58 w 115"/>
                  <a:gd name="T11" fmla="*/ 9 h 119"/>
                  <a:gd name="T12" fmla="*/ 105 w 115"/>
                  <a:gd name="T13" fmla="*/ 41 h 119"/>
                  <a:gd name="T14" fmla="*/ 75 w 115"/>
                  <a:gd name="T15" fmla="*/ 89 h 119"/>
                  <a:gd name="T16" fmla="*/ 24 w 115"/>
                  <a:gd name="T17" fmla="*/ 40 h 119"/>
                  <a:gd name="T18" fmla="*/ 21 w 115"/>
                  <a:gd name="T19" fmla="*/ 39 h 1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15" h="119">
                    <a:moveTo>
                      <a:pt x="21" y="39"/>
                    </a:moveTo>
                    <a:cubicBezTo>
                      <a:pt x="0" y="97"/>
                      <a:pt x="106" y="119"/>
                      <a:pt x="113" y="57"/>
                    </a:cubicBezTo>
                    <a:cubicBezTo>
                      <a:pt x="115" y="30"/>
                      <a:pt x="94" y="4"/>
                      <a:pt x="67" y="2"/>
                    </a:cubicBezTo>
                    <a:cubicBezTo>
                      <a:pt x="40" y="0"/>
                      <a:pt x="21" y="12"/>
                      <a:pt x="21" y="40"/>
                    </a:cubicBezTo>
                    <a:cubicBezTo>
                      <a:pt x="22" y="44"/>
                      <a:pt x="27" y="44"/>
                      <a:pt x="28" y="41"/>
                    </a:cubicBezTo>
                    <a:cubicBezTo>
                      <a:pt x="32" y="23"/>
                      <a:pt x="37" y="11"/>
                      <a:pt x="58" y="9"/>
                    </a:cubicBezTo>
                    <a:cubicBezTo>
                      <a:pt x="79" y="7"/>
                      <a:pt x="99" y="20"/>
                      <a:pt x="105" y="41"/>
                    </a:cubicBezTo>
                    <a:cubicBezTo>
                      <a:pt x="112" y="63"/>
                      <a:pt x="97" y="85"/>
                      <a:pt x="75" y="89"/>
                    </a:cubicBezTo>
                    <a:cubicBezTo>
                      <a:pt x="47" y="95"/>
                      <a:pt x="16" y="69"/>
                      <a:pt x="24" y="40"/>
                    </a:cubicBezTo>
                    <a:cubicBezTo>
                      <a:pt x="24" y="38"/>
                      <a:pt x="22" y="38"/>
                      <a:pt x="21" y="39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278" name="Freeform 351">
                <a:extLst>
                  <a:ext uri="{FF2B5EF4-FFF2-40B4-BE49-F238E27FC236}">
                    <a16:creationId xmlns:a16="http://schemas.microsoft.com/office/drawing/2014/main" id="{6D9E9E1D-A07C-4C3B-A878-0B31A0F74C43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320" y="2462"/>
                <a:ext cx="100" cy="105"/>
              </a:xfrm>
              <a:custGeom>
                <a:avLst/>
                <a:gdLst>
                  <a:gd name="T0" fmla="*/ 15 w 94"/>
                  <a:gd name="T1" fmla="*/ 37 h 99"/>
                  <a:gd name="T2" fmla="*/ 3 w 94"/>
                  <a:gd name="T3" fmla="*/ 60 h 99"/>
                  <a:gd name="T4" fmla="*/ 22 w 94"/>
                  <a:gd name="T5" fmla="*/ 86 h 99"/>
                  <a:gd name="T6" fmla="*/ 79 w 94"/>
                  <a:gd name="T7" fmla="*/ 77 h 99"/>
                  <a:gd name="T8" fmla="*/ 68 w 94"/>
                  <a:gd name="T9" fmla="*/ 12 h 99"/>
                  <a:gd name="T10" fmla="*/ 14 w 94"/>
                  <a:gd name="T11" fmla="*/ 27 h 99"/>
                  <a:gd name="T12" fmla="*/ 19 w 94"/>
                  <a:gd name="T13" fmla="*/ 30 h 99"/>
                  <a:gd name="T14" fmla="*/ 68 w 94"/>
                  <a:gd name="T15" fmla="*/ 20 h 99"/>
                  <a:gd name="T16" fmla="*/ 65 w 94"/>
                  <a:gd name="T17" fmla="*/ 82 h 99"/>
                  <a:gd name="T18" fmla="*/ 24 w 94"/>
                  <a:gd name="T19" fmla="*/ 79 h 99"/>
                  <a:gd name="T20" fmla="*/ 9 w 94"/>
                  <a:gd name="T21" fmla="*/ 58 h 99"/>
                  <a:gd name="T22" fmla="*/ 17 w 94"/>
                  <a:gd name="T23" fmla="*/ 39 h 99"/>
                  <a:gd name="T24" fmla="*/ 15 w 94"/>
                  <a:gd name="T25" fmla="*/ 37 h 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94" h="99">
                    <a:moveTo>
                      <a:pt x="15" y="37"/>
                    </a:moveTo>
                    <a:cubicBezTo>
                      <a:pt x="7" y="45"/>
                      <a:pt x="0" y="47"/>
                      <a:pt x="3" y="60"/>
                    </a:cubicBezTo>
                    <a:cubicBezTo>
                      <a:pt x="6" y="70"/>
                      <a:pt x="14" y="80"/>
                      <a:pt x="22" y="86"/>
                    </a:cubicBezTo>
                    <a:cubicBezTo>
                      <a:pt x="41" y="99"/>
                      <a:pt x="66" y="95"/>
                      <a:pt x="79" y="77"/>
                    </a:cubicBezTo>
                    <a:cubicBezTo>
                      <a:pt x="94" y="57"/>
                      <a:pt x="91" y="25"/>
                      <a:pt x="68" y="12"/>
                    </a:cubicBezTo>
                    <a:cubicBezTo>
                      <a:pt x="48" y="0"/>
                      <a:pt x="23" y="5"/>
                      <a:pt x="14" y="27"/>
                    </a:cubicBezTo>
                    <a:cubicBezTo>
                      <a:pt x="12" y="31"/>
                      <a:pt x="17" y="34"/>
                      <a:pt x="19" y="30"/>
                    </a:cubicBezTo>
                    <a:cubicBezTo>
                      <a:pt x="30" y="14"/>
                      <a:pt x="50" y="7"/>
                      <a:pt x="68" y="20"/>
                    </a:cubicBezTo>
                    <a:cubicBezTo>
                      <a:pt x="87" y="34"/>
                      <a:pt x="85" y="68"/>
                      <a:pt x="65" y="82"/>
                    </a:cubicBezTo>
                    <a:cubicBezTo>
                      <a:pt x="52" y="91"/>
                      <a:pt x="36" y="89"/>
                      <a:pt x="24" y="79"/>
                    </a:cubicBezTo>
                    <a:cubicBezTo>
                      <a:pt x="18" y="74"/>
                      <a:pt x="11" y="66"/>
                      <a:pt x="9" y="58"/>
                    </a:cubicBezTo>
                    <a:cubicBezTo>
                      <a:pt x="7" y="48"/>
                      <a:pt x="12" y="46"/>
                      <a:pt x="17" y="39"/>
                    </a:cubicBezTo>
                    <a:cubicBezTo>
                      <a:pt x="18" y="37"/>
                      <a:pt x="16" y="35"/>
                      <a:pt x="15" y="37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279" name="Freeform 352">
                <a:extLst>
                  <a:ext uri="{FF2B5EF4-FFF2-40B4-BE49-F238E27FC236}">
                    <a16:creationId xmlns:a16="http://schemas.microsoft.com/office/drawing/2014/main" id="{1DDE1553-250E-4EFB-A76C-E8ECF12D7061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23" y="2359"/>
                <a:ext cx="117" cy="128"/>
              </a:xfrm>
              <a:custGeom>
                <a:avLst/>
                <a:gdLst>
                  <a:gd name="T0" fmla="*/ 16 w 111"/>
                  <a:gd name="T1" fmla="*/ 49 h 121"/>
                  <a:gd name="T2" fmla="*/ 15 w 111"/>
                  <a:gd name="T3" fmla="*/ 87 h 121"/>
                  <a:gd name="T4" fmla="*/ 46 w 111"/>
                  <a:gd name="T5" fmla="*/ 108 h 121"/>
                  <a:gd name="T6" fmla="*/ 105 w 111"/>
                  <a:gd name="T7" fmla="*/ 75 h 121"/>
                  <a:gd name="T8" fmla="*/ 70 w 111"/>
                  <a:gd name="T9" fmla="*/ 8 h 121"/>
                  <a:gd name="T10" fmla="*/ 14 w 111"/>
                  <a:gd name="T11" fmla="*/ 57 h 121"/>
                  <a:gd name="T12" fmla="*/ 20 w 111"/>
                  <a:gd name="T13" fmla="*/ 58 h 121"/>
                  <a:gd name="T14" fmla="*/ 54 w 111"/>
                  <a:gd name="T15" fmla="*/ 15 h 121"/>
                  <a:gd name="T16" fmla="*/ 99 w 111"/>
                  <a:gd name="T17" fmla="*/ 59 h 121"/>
                  <a:gd name="T18" fmla="*/ 19 w 111"/>
                  <a:gd name="T19" fmla="*/ 51 h 121"/>
                  <a:gd name="T20" fmla="*/ 16 w 111"/>
                  <a:gd name="T21" fmla="*/ 49 h 1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11" h="121">
                    <a:moveTo>
                      <a:pt x="16" y="49"/>
                    </a:moveTo>
                    <a:cubicBezTo>
                      <a:pt x="12" y="62"/>
                      <a:pt x="7" y="76"/>
                      <a:pt x="15" y="87"/>
                    </a:cubicBezTo>
                    <a:cubicBezTo>
                      <a:pt x="21" y="99"/>
                      <a:pt x="34" y="106"/>
                      <a:pt x="46" y="108"/>
                    </a:cubicBezTo>
                    <a:cubicBezTo>
                      <a:pt x="71" y="114"/>
                      <a:pt x="100" y="102"/>
                      <a:pt x="105" y="75"/>
                    </a:cubicBezTo>
                    <a:cubicBezTo>
                      <a:pt x="111" y="48"/>
                      <a:pt x="99" y="15"/>
                      <a:pt x="70" y="8"/>
                    </a:cubicBezTo>
                    <a:cubicBezTo>
                      <a:pt x="38" y="0"/>
                      <a:pt x="15" y="28"/>
                      <a:pt x="14" y="57"/>
                    </a:cubicBezTo>
                    <a:cubicBezTo>
                      <a:pt x="14" y="60"/>
                      <a:pt x="19" y="61"/>
                      <a:pt x="20" y="58"/>
                    </a:cubicBezTo>
                    <a:cubicBezTo>
                      <a:pt x="24" y="37"/>
                      <a:pt x="31" y="20"/>
                      <a:pt x="54" y="15"/>
                    </a:cubicBezTo>
                    <a:cubicBezTo>
                      <a:pt x="80" y="10"/>
                      <a:pt x="98" y="36"/>
                      <a:pt x="99" y="59"/>
                    </a:cubicBezTo>
                    <a:cubicBezTo>
                      <a:pt x="100" y="121"/>
                      <a:pt x="0" y="113"/>
                      <a:pt x="19" y="51"/>
                    </a:cubicBezTo>
                    <a:cubicBezTo>
                      <a:pt x="20" y="49"/>
                      <a:pt x="17" y="48"/>
                      <a:pt x="16" y="49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280" name="Freeform 353">
                <a:extLst>
                  <a:ext uri="{FF2B5EF4-FFF2-40B4-BE49-F238E27FC236}">
                    <a16:creationId xmlns:a16="http://schemas.microsoft.com/office/drawing/2014/main" id="{E973D33F-04D7-4056-8FE8-84A76EDF9F55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367" y="2218"/>
                <a:ext cx="107" cy="110"/>
              </a:xfrm>
              <a:custGeom>
                <a:avLst/>
                <a:gdLst>
                  <a:gd name="T0" fmla="*/ 3 w 101"/>
                  <a:gd name="T1" fmla="*/ 45 h 104"/>
                  <a:gd name="T2" fmla="*/ 46 w 101"/>
                  <a:gd name="T3" fmla="*/ 101 h 104"/>
                  <a:gd name="T4" fmla="*/ 94 w 101"/>
                  <a:gd name="T5" fmla="*/ 60 h 104"/>
                  <a:gd name="T6" fmla="*/ 64 w 101"/>
                  <a:gd name="T7" fmla="*/ 4 h 104"/>
                  <a:gd name="T8" fmla="*/ 2 w 101"/>
                  <a:gd name="T9" fmla="*/ 37 h 104"/>
                  <a:gd name="T10" fmla="*/ 8 w 101"/>
                  <a:gd name="T11" fmla="*/ 40 h 104"/>
                  <a:gd name="T12" fmla="*/ 45 w 101"/>
                  <a:gd name="T13" fmla="*/ 11 h 104"/>
                  <a:gd name="T14" fmla="*/ 81 w 101"/>
                  <a:gd name="T15" fmla="*/ 20 h 104"/>
                  <a:gd name="T16" fmla="*/ 87 w 101"/>
                  <a:gd name="T17" fmla="*/ 58 h 104"/>
                  <a:gd name="T18" fmla="*/ 79 w 101"/>
                  <a:gd name="T19" fmla="*/ 84 h 104"/>
                  <a:gd name="T20" fmla="*/ 35 w 101"/>
                  <a:gd name="T21" fmla="*/ 94 h 104"/>
                  <a:gd name="T22" fmla="*/ 6 w 101"/>
                  <a:gd name="T23" fmla="*/ 45 h 104"/>
                  <a:gd name="T24" fmla="*/ 3 w 101"/>
                  <a:gd name="T25" fmla="*/ 45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01" h="104">
                    <a:moveTo>
                      <a:pt x="3" y="45"/>
                    </a:moveTo>
                    <a:cubicBezTo>
                      <a:pt x="4" y="70"/>
                      <a:pt x="19" y="99"/>
                      <a:pt x="46" y="101"/>
                    </a:cubicBezTo>
                    <a:cubicBezTo>
                      <a:pt x="77" y="104"/>
                      <a:pt x="87" y="85"/>
                      <a:pt x="94" y="60"/>
                    </a:cubicBezTo>
                    <a:cubicBezTo>
                      <a:pt x="101" y="34"/>
                      <a:pt x="93" y="8"/>
                      <a:pt x="64" y="4"/>
                    </a:cubicBezTo>
                    <a:cubicBezTo>
                      <a:pt x="36" y="0"/>
                      <a:pt x="15" y="13"/>
                      <a:pt x="2" y="37"/>
                    </a:cubicBezTo>
                    <a:cubicBezTo>
                      <a:pt x="0" y="40"/>
                      <a:pt x="5" y="44"/>
                      <a:pt x="8" y="40"/>
                    </a:cubicBezTo>
                    <a:cubicBezTo>
                      <a:pt x="18" y="27"/>
                      <a:pt x="28" y="14"/>
                      <a:pt x="45" y="11"/>
                    </a:cubicBezTo>
                    <a:cubicBezTo>
                      <a:pt x="57" y="8"/>
                      <a:pt x="72" y="11"/>
                      <a:pt x="81" y="20"/>
                    </a:cubicBezTo>
                    <a:cubicBezTo>
                      <a:pt x="92" y="30"/>
                      <a:pt x="91" y="44"/>
                      <a:pt x="87" y="58"/>
                    </a:cubicBezTo>
                    <a:cubicBezTo>
                      <a:pt x="85" y="67"/>
                      <a:pt x="84" y="76"/>
                      <a:pt x="79" y="84"/>
                    </a:cubicBezTo>
                    <a:cubicBezTo>
                      <a:pt x="70" y="97"/>
                      <a:pt x="49" y="100"/>
                      <a:pt x="35" y="94"/>
                    </a:cubicBezTo>
                    <a:cubicBezTo>
                      <a:pt x="16" y="86"/>
                      <a:pt x="7" y="63"/>
                      <a:pt x="6" y="45"/>
                    </a:cubicBezTo>
                    <a:cubicBezTo>
                      <a:pt x="6" y="43"/>
                      <a:pt x="3" y="44"/>
                      <a:pt x="3" y="45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281" name="Freeform 354">
                <a:extLst>
                  <a:ext uri="{FF2B5EF4-FFF2-40B4-BE49-F238E27FC236}">
                    <a16:creationId xmlns:a16="http://schemas.microsoft.com/office/drawing/2014/main" id="{169D2EA7-1985-445C-A3D6-A165E40985BC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334" y="2692"/>
                <a:ext cx="72" cy="113"/>
              </a:xfrm>
              <a:custGeom>
                <a:avLst/>
                <a:gdLst>
                  <a:gd name="T0" fmla="*/ 65 w 68"/>
                  <a:gd name="T1" fmla="*/ 82 h 107"/>
                  <a:gd name="T2" fmla="*/ 58 w 68"/>
                  <a:gd name="T3" fmla="*/ 91 h 107"/>
                  <a:gd name="T4" fmla="*/ 33 w 68"/>
                  <a:gd name="T5" fmla="*/ 85 h 107"/>
                  <a:gd name="T6" fmla="*/ 12 w 68"/>
                  <a:gd name="T7" fmla="*/ 37 h 107"/>
                  <a:gd name="T8" fmla="*/ 10 w 68"/>
                  <a:gd name="T9" fmla="*/ 17 h 107"/>
                  <a:gd name="T10" fmla="*/ 27 w 68"/>
                  <a:gd name="T11" fmla="*/ 22 h 107"/>
                  <a:gd name="T12" fmla="*/ 31 w 68"/>
                  <a:gd name="T13" fmla="*/ 29 h 107"/>
                  <a:gd name="T14" fmla="*/ 53 w 68"/>
                  <a:gd name="T15" fmla="*/ 85 h 107"/>
                  <a:gd name="T16" fmla="*/ 60 w 68"/>
                  <a:gd name="T17" fmla="*/ 85 h 107"/>
                  <a:gd name="T18" fmla="*/ 27 w 68"/>
                  <a:gd name="T19" fmla="*/ 13 h 107"/>
                  <a:gd name="T20" fmla="*/ 3 w 68"/>
                  <a:gd name="T21" fmla="*/ 21 h 107"/>
                  <a:gd name="T22" fmla="*/ 31 w 68"/>
                  <a:gd name="T23" fmla="*/ 94 h 107"/>
                  <a:gd name="T24" fmla="*/ 49 w 68"/>
                  <a:gd name="T25" fmla="*/ 106 h 107"/>
                  <a:gd name="T26" fmla="*/ 67 w 68"/>
                  <a:gd name="T27" fmla="*/ 84 h 107"/>
                  <a:gd name="T28" fmla="*/ 65 w 68"/>
                  <a:gd name="T29" fmla="*/ 82 h 10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68" h="107">
                    <a:moveTo>
                      <a:pt x="65" y="82"/>
                    </a:moveTo>
                    <a:cubicBezTo>
                      <a:pt x="62" y="85"/>
                      <a:pt x="61" y="89"/>
                      <a:pt x="58" y="91"/>
                    </a:cubicBezTo>
                    <a:cubicBezTo>
                      <a:pt x="46" y="102"/>
                      <a:pt x="40" y="96"/>
                      <a:pt x="33" y="85"/>
                    </a:cubicBezTo>
                    <a:cubicBezTo>
                      <a:pt x="23" y="71"/>
                      <a:pt x="16" y="54"/>
                      <a:pt x="12" y="37"/>
                    </a:cubicBezTo>
                    <a:cubicBezTo>
                      <a:pt x="10" y="33"/>
                      <a:pt x="6" y="21"/>
                      <a:pt x="10" y="17"/>
                    </a:cubicBezTo>
                    <a:cubicBezTo>
                      <a:pt x="14" y="11"/>
                      <a:pt x="25" y="18"/>
                      <a:pt x="27" y="22"/>
                    </a:cubicBezTo>
                    <a:cubicBezTo>
                      <a:pt x="29" y="25"/>
                      <a:pt x="30" y="27"/>
                      <a:pt x="31" y="29"/>
                    </a:cubicBezTo>
                    <a:cubicBezTo>
                      <a:pt x="41" y="47"/>
                      <a:pt x="50" y="64"/>
                      <a:pt x="53" y="85"/>
                    </a:cubicBezTo>
                    <a:cubicBezTo>
                      <a:pt x="54" y="89"/>
                      <a:pt x="61" y="89"/>
                      <a:pt x="60" y="85"/>
                    </a:cubicBezTo>
                    <a:cubicBezTo>
                      <a:pt x="56" y="61"/>
                      <a:pt x="43" y="31"/>
                      <a:pt x="27" y="13"/>
                    </a:cubicBezTo>
                    <a:cubicBezTo>
                      <a:pt x="17" y="0"/>
                      <a:pt x="5" y="5"/>
                      <a:pt x="3" y="21"/>
                    </a:cubicBezTo>
                    <a:cubicBezTo>
                      <a:pt x="0" y="44"/>
                      <a:pt x="17" y="77"/>
                      <a:pt x="31" y="94"/>
                    </a:cubicBezTo>
                    <a:cubicBezTo>
                      <a:pt x="35" y="100"/>
                      <a:pt x="42" y="107"/>
                      <a:pt x="49" y="106"/>
                    </a:cubicBezTo>
                    <a:cubicBezTo>
                      <a:pt x="60" y="105"/>
                      <a:pt x="62" y="91"/>
                      <a:pt x="67" y="84"/>
                    </a:cubicBezTo>
                    <a:cubicBezTo>
                      <a:pt x="68" y="83"/>
                      <a:pt x="66" y="81"/>
                      <a:pt x="65" y="82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282" name="Freeform 355">
                <a:extLst>
                  <a:ext uri="{FF2B5EF4-FFF2-40B4-BE49-F238E27FC236}">
                    <a16:creationId xmlns:a16="http://schemas.microsoft.com/office/drawing/2014/main" id="{F00CB2AC-EF1A-444F-B521-FA0BAE634D94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309" y="2822"/>
                <a:ext cx="67" cy="124"/>
              </a:xfrm>
              <a:custGeom>
                <a:avLst/>
                <a:gdLst>
                  <a:gd name="T0" fmla="*/ 52 w 63"/>
                  <a:gd name="T1" fmla="*/ 91 h 117"/>
                  <a:gd name="T2" fmla="*/ 34 w 63"/>
                  <a:gd name="T3" fmla="*/ 96 h 117"/>
                  <a:gd name="T4" fmla="*/ 27 w 63"/>
                  <a:gd name="T5" fmla="*/ 84 h 117"/>
                  <a:gd name="T6" fmla="*/ 20 w 63"/>
                  <a:gd name="T7" fmla="*/ 64 h 117"/>
                  <a:gd name="T8" fmla="*/ 14 w 63"/>
                  <a:gd name="T9" fmla="*/ 45 h 117"/>
                  <a:gd name="T10" fmla="*/ 6 w 63"/>
                  <a:gd name="T11" fmla="*/ 19 h 117"/>
                  <a:gd name="T12" fmla="*/ 33 w 63"/>
                  <a:gd name="T13" fmla="*/ 47 h 117"/>
                  <a:gd name="T14" fmla="*/ 45 w 63"/>
                  <a:gd name="T15" fmla="*/ 90 h 117"/>
                  <a:gd name="T16" fmla="*/ 53 w 63"/>
                  <a:gd name="T17" fmla="*/ 91 h 117"/>
                  <a:gd name="T18" fmla="*/ 42 w 63"/>
                  <a:gd name="T19" fmla="*/ 50 h 117"/>
                  <a:gd name="T20" fmla="*/ 26 w 63"/>
                  <a:gd name="T21" fmla="*/ 17 h 117"/>
                  <a:gd name="T22" fmla="*/ 4 w 63"/>
                  <a:gd name="T23" fmla="*/ 23 h 117"/>
                  <a:gd name="T24" fmla="*/ 31 w 63"/>
                  <a:gd name="T25" fmla="*/ 104 h 117"/>
                  <a:gd name="T26" fmla="*/ 55 w 63"/>
                  <a:gd name="T27" fmla="*/ 90 h 117"/>
                  <a:gd name="T28" fmla="*/ 52 w 63"/>
                  <a:gd name="T29" fmla="*/ 91 h 1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63" h="117">
                    <a:moveTo>
                      <a:pt x="52" y="91"/>
                    </a:moveTo>
                    <a:cubicBezTo>
                      <a:pt x="45" y="105"/>
                      <a:pt x="39" y="107"/>
                      <a:pt x="34" y="96"/>
                    </a:cubicBezTo>
                    <a:cubicBezTo>
                      <a:pt x="31" y="92"/>
                      <a:pt x="29" y="88"/>
                      <a:pt x="27" y="84"/>
                    </a:cubicBezTo>
                    <a:cubicBezTo>
                      <a:pt x="24" y="78"/>
                      <a:pt x="22" y="71"/>
                      <a:pt x="20" y="64"/>
                    </a:cubicBezTo>
                    <a:cubicBezTo>
                      <a:pt x="18" y="58"/>
                      <a:pt x="16" y="51"/>
                      <a:pt x="14" y="45"/>
                    </a:cubicBezTo>
                    <a:cubicBezTo>
                      <a:pt x="13" y="41"/>
                      <a:pt x="5" y="21"/>
                      <a:pt x="6" y="19"/>
                    </a:cubicBezTo>
                    <a:cubicBezTo>
                      <a:pt x="16" y="0"/>
                      <a:pt x="31" y="40"/>
                      <a:pt x="33" y="47"/>
                    </a:cubicBezTo>
                    <a:cubicBezTo>
                      <a:pt x="39" y="61"/>
                      <a:pt x="45" y="74"/>
                      <a:pt x="45" y="90"/>
                    </a:cubicBezTo>
                    <a:cubicBezTo>
                      <a:pt x="45" y="95"/>
                      <a:pt x="53" y="96"/>
                      <a:pt x="53" y="91"/>
                    </a:cubicBezTo>
                    <a:cubicBezTo>
                      <a:pt x="54" y="76"/>
                      <a:pt x="48" y="63"/>
                      <a:pt x="42" y="50"/>
                    </a:cubicBezTo>
                    <a:cubicBezTo>
                      <a:pt x="37" y="39"/>
                      <a:pt x="34" y="26"/>
                      <a:pt x="26" y="17"/>
                    </a:cubicBezTo>
                    <a:cubicBezTo>
                      <a:pt x="17" y="6"/>
                      <a:pt x="0" y="7"/>
                      <a:pt x="4" y="23"/>
                    </a:cubicBezTo>
                    <a:cubicBezTo>
                      <a:pt x="10" y="49"/>
                      <a:pt x="12" y="85"/>
                      <a:pt x="31" y="104"/>
                    </a:cubicBezTo>
                    <a:cubicBezTo>
                      <a:pt x="43" y="117"/>
                      <a:pt x="63" y="107"/>
                      <a:pt x="55" y="90"/>
                    </a:cubicBezTo>
                    <a:cubicBezTo>
                      <a:pt x="55" y="89"/>
                      <a:pt x="52" y="90"/>
                      <a:pt x="52" y="91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283" name="Freeform 356">
                <a:extLst>
                  <a:ext uri="{FF2B5EF4-FFF2-40B4-BE49-F238E27FC236}">
                    <a16:creationId xmlns:a16="http://schemas.microsoft.com/office/drawing/2014/main" id="{BA8139BC-48CF-4579-9A88-13D1397DF4E6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98" y="2853"/>
                <a:ext cx="31" cy="36"/>
              </a:xfrm>
              <a:custGeom>
                <a:avLst/>
                <a:gdLst>
                  <a:gd name="T0" fmla="*/ 15 w 29"/>
                  <a:gd name="T1" fmla="*/ 28 h 34"/>
                  <a:gd name="T2" fmla="*/ 11 w 29"/>
                  <a:gd name="T3" fmla="*/ 9 h 34"/>
                  <a:gd name="T4" fmla="*/ 24 w 29"/>
                  <a:gd name="T5" fmla="*/ 13 h 34"/>
                  <a:gd name="T6" fmla="*/ 12 w 29"/>
                  <a:gd name="T7" fmla="*/ 25 h 34"/>
                  <a:gd name="T8" fmla="*/ 12 w 29"/>
                  <a:gd name="T9" fmla="*/ 31 h 34"/>
                  <a:gd name="T10" fmla="*/ 28 w 29"/>
                  <a:gd name="T11" fmla="*/ 13 h 34"/>
                  <a:gd name="T12" fmla="*/ 10 w 29"/>
                  <a:gd name="T13" fmla="*/ 4 h 34"/>
                  <a:gd name="T14" fmla="*/ 15 w 29"/>
                  <a:gd name="T15" fmla="*/ 32 h 34"/>
                  <a:gd name="T16" fmla="*/ 15 w 29"/>
                  <a:gd name="T17" fmla="*/ 28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9" h="34">
                    <a:moveTo>
                      <a:pt x="15" y="28"/>
                    </a:moveTo>
                    <a:cubicBezTo>
                      <a:pt x="6" y="27"/>
                      <a:pt x="7" y="15"/>
                      <a:pt x="11" y="9"/>
                    </a:cubicBezTo>
                    <a:cubicBezTo>
                      <a:pt x="15" y="5"/>
                      <a:pt x="23" y="7"/>
                      <a:pt x="24" y="13"/>
                    </a:cubicBezTo>
                    <a:cubicBezTo>
                      <a:pt x="25" y="20"/>
                      <a:pt x="17" y="24"/>
                      <a:pt x="12" y="25"/>
                    </a:cubicBezTo>
                    <a:cubicBezTo>
                      <a:pt x="8" y="25"/>
                      <a:pt x="9" y="31"/>
                      <a:pt x="12" y="31"/>
                    </a:cubicBezTo>
                    <a:cubicBezTo>
                      <a:pt x="21" y="30"/>
                      <a:pt x="29" y="22"/>
                      <a:pt x="28" y="13"/>
                    </a:cubicBezTo>
                    <a:cubicBezTo>
                      <a:pt x="27" y="5"/>
                      <a:pt x="17" y="0"/>
                      <a:pt x="10" y="4"/>
                    </a:cubicBezTo>
                    <a:cubicBezTo>
                      <a:pt x="0" y="9"/>
                      <a:pt x="0" y="34"/>
                      <a:pt x="15" y="32"/>
                    </a:cubicBezTo>
                    <a:cubicBezTo>
                      <a:pt x="17" y="31"/>
                      <a:pt x="17" y="28"/>
                      <a:pt x="15" y="28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284" name="Freeform 357">
                <a:extLst>
                  <a:ext uri="{FF2B5EF4-FFF2-40B4-BE49-F238E27FC236}">
                    <a16:creationId xmlns:a16="http://schemas.microsoft.com/office/drawing/2014/main" id="{E4038B54-4FDC-46F4-AAB5-1175C5048FDB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24" y="2760"/>
                <a:ext cx="26" cy="30"/>
              </a:xfrm>
              <a:custGeom>
                <a:avLst/>
                <a:gdLst>
                  <a:gd name="T0" fmla="*/ 11 w 25"/>
                  <a:gd name="T1" fmla="*/ 26 h 29"/>
                  <a:gd name="T2" fmla="*/ 4 w 25"/>
                  <a:gd name="T3" fmla="*/ 13 h 29"/>
                  <a:gd name="T4" fmla="*/ 11 w 25"/>
                  <a:gd name="T5" fmla="*/ 6 h 29"/>
                  <a:gd name="T6" fmla="*/ 19 w 25"/>
                  <a:gd name="T7" fmla="*/ 14 h 29"/>
                  <a:gd name="T8" fmla="*/ 10 w 25"/>
                  <a:gd name="T9" fmla="*/ 15 h 29"/>
                  <a:gd name="T10" fmla="*/ 7 w 25"/>
                  <a:gd name="T11" fmla="*/ 19 h 29"/>
                  <a:gd name="T12" fmla="*/ 22 w 25"/>
                  <a:gd name="T13" fmla="*/ 18 h 29"/>
                  <a:gd name="T14" fmla="*/ 17 w 25"/>
                  <a:gd name="T15" fmla="*/ 4 h 29"/>
                  <a:gd name="T16" fmla="*/ 0 w 25"/>
                  <a:gd name="T17" fmla="*/ 8 h 29"/>
                  <a:gd name="T18" fmla="*/ 1 w 25"/>
                  <a:gd name="T19" fmla="*/ 18 h 29"/>
                  <a:gd name="T20" fmla="*/ 9 w 25"/>
                  <a:gd name="T21" fmla="*/ 28 h 29"/>
                  <a:gd name="T22" fmla="*/ 11 w 25"/>
                  <a:gd name="T23" fmla="*/ 26 h 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25" h="29">
                    <a:moveTo>
                      <a:pt x="11" y="26"/>
                    </a:moveTo>
                    <a:cubicBezTo>
                      <a:pt x="8" y="22"/>
                      <a:pt x="4" y="19"/>
                      <a:pt x="4" y="13"/>
                    </a:cubicBezTo>
                    <a:cubicBezTo>
                      <a:pt x="3" y="8"/>
                      <a:pt x="6" y="5"/>
                      <a:pt x="11" y="6"/>
                    </a:cubicBezTo>
                    <a:cubicBezTo>
                      <a:pt x="15" y="7"/>
                      <a:pt x="20" y="9"/>
                      <a:pt x="19" y="14"/>
                    </a:cubicBezTo>
                    <a:cubicBezTo>
                      <a:pt x="17" y="18"/>
                      <a:pt x="13" y="16"/>
                      <a:pt x="10" y="15"/>
                    </a:cubicBezTo>
                    <a:cubicBezTo>
                      <a:pt x="8" y="15"/>
                      <a:pt x="5" y="17"/>
                      <a:pt x="7" y="19"/>
                    </a:cubicBezTo>
                    <a:cubicBezTo>
                      <a:pt x="10" y="25"/>
                      <a:pt x="19" y="24"/>
                      <a:pt x="22" y="18"/>
                    </a:cubicBezTo>
                    <a:cubicBezTo>
                      <a:pt x="25" y="13"/>
                      <a:pt x="22" y="6"/>
                      <a:pt x="17" y="4"/>
                    </a:cubicBezTo>
                    <a:cubicBezTo>
                      <a:pt x="11" y="1"/>
                      <a:pt x="2" y="0"/>
                      <a:pt x="0" y="8"/>
                    </a:cubicBezTo>
                    <a:cubicBezTo>
                      <a:pt x="0" y="11"/>
                      <a:pt x="0" y="15"/>
                      <a:pt x="1" y="18"/>
                    </a:cubicBezTo>
                    <a:cubicBezTo>
                      <a:pt x="2" y="22"/>
                      <a:pt x="6" y="24"/>
                      <a:pt x="9" y="28"/>
                    </a:cubicBezTo>
                    <a:cubicBezTo>
                      <a:pt x="11" y="29"/>
                      <a:pt x="13" y="27"/>
                      <a:pt x="11" y="26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285" name="Freeform 358">
                <a:extLst>
                  <a:ext uri="{FF2B5EF4-FFF2-40B4-BE49-F238E27FC236}">
                    <a16:creationId xmlns:a16="http://schemas.microsoft.com/office/drawing/2014/main" id="{2AF7D88E-8DB3-4E04-BB91-B7631D64E2E9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27" y="2652"/>
                <a:ext cx="39" cy="44"/>
              </a:xfrm>
              <a:custGeom>
                <a:avLst/>
                <a:gdLst>
                  <a:gd name="T0" fmla="*/ 29 w 37"/>
                  <a:gd name="T1" fmla="*/ 25 h 42"/>
                  <a:gd name="T2" fmla="*/ 17 w 37"/>
                  <a:gd name="T3" fmla="*/ 13 h 42"/>
                  <a:gd name="T4" fmla="*/ 24 w 37"/>
                  <a:gd name="T5" fmla="*/ 10 h 42"/>
                  <a:gd name="T6" fmla="*/ 30 w 37"/>
                  <a:gd name="T7" fmla="*/ 16 h 42"/>
                  <a:gd name="T8" fmla="*/ 30 w 37"/>
                  <a:gd name="T9" fmla="*/ 23 h 42"/>
                  <a:gd name="T10" fmla="*/ 23 w 37"/>
                  <a:gd name="T11" fmla="*/ 28 h 42"/>
                  <a:gd name="T12" fmla="*/ 25 w 37"/>
                  <a:gd name="T13" fmla="*/ 34 h 42"/>
                  <a:gd name="T14" fmla="*/ 36 w 37"/>
                  <a:gd name="T15" fmla="*/ 25 h 42"/>
                  <a:gd name="T16" fmla="*/ 37 w 37"/>
                  <a:gd name="T17" fmla="*/ 19 h 42"/>
                  <a:gd name="T18" fmla="*/ 35 w 37"/>
                  <a:gd name="T19" fmla="*/ 13 h 42"/>
                  <a:gd name="T20" fmla="*/ 13 w 37"/>
                  <a:gd name="T21" fmla="*/ 8 h 42"/>
                  <a:gd name="T22" fmla="*/ 33 w 37"/>
                  <a:gd name="T23" fmla="*/ 28 h 42"/>
                  <a:gd name="T24" fmla="*/ 29 w 37"/>
                  <a:gd name="T25" fmla="*/ 25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37" h="42">
                    <a:moveTo>
                      <a:pt x="29" y="25"/>
                    </a:moveTo>
                    <a:cubicBezTo>
                      <a:pt x="24" y="31"/>
                      <a:pt x="12" y="20"/>
                      <a:pt x="17" y="13"/>
                    </a:cubicBezTo>
                    <a:cubicBezTo>
                      <a:pt x="19" y="11"/>
                      <a:pt x="21" y="10"/>
                      <a:pt x="24" y="10"/>
                    </a:cubicBezTo>
                    <a:cubicBezTo>
                      <a:pt x="28" y="10"/>
                      <a:pt x="29" y="13"/>
                      <a:pt x="30" y="16"/>
                    </a:cubicBezTo>
                    <a:cubicBezTo>
                      <a:pt x="31" y="19"/>
                      <a:pt x="31" y="20"/>
                      <a:pt x="30" y="23"/>
                    </a:cubicBezTo>
                    <a:cubicBezTo>
                      <a:pt x="28" y="25"/>
                      <a:pt x="26" y="26"/>
                      <a:pt x="23" y="28"/>
                    </a:cubicBezTo>
                    <a:cubicBezTo>
                      <a:pt x="19" y="29"/>
                      <a:pt x="21" y="34"/>
                      <a:pt x="25" y="34"/>
                    </a:cubicBezTo>
                    <a:cubicBezTo>
                      <a:pt x="30" y="33"/>
                      <a:pt x="34" y="30"/>
                      <a:pt x="36" y="25"/>
                    </a:cubicBezTo>
                    <a:cubicBezTo>
                      <a:pt x="36" y="23"/>
                      <a:pt x="37" y="21"/>
                      <a:pt x="37" y="19"/>
                    </a:cubicBezTo>
                    <a:cubicBezTo>
                      <a:pt x="37" y="17"/>
                      <a:pt x="36" y="15"/>
                      <a:pt x="35" y="13"/>
                    </a:cubicBezTo>
                    <a:cubicBezTo>
                      <a:pt x="32" y="4"/>
                      <a:pt x="20" y="0"/>
                      <a:pt x="13" y="8"/>
                    </a:cubicBezTo>
                    <a:cubicBezTo>
                      <a:pt x="0" y="21"/>
                      <a:pt x="25" y="42"/>
                      <a:pt x="33" y="28"/>
                    </a:cubicBezTo>
                    <a:cubicBezTo>
                      <a:pt x="34" y="26"/>
                      <a:pt x="31" y="24"/>
                      <a:pt x="29" y="25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286" name="Freeform 359">
                <a:extLst>
                  <a:ext uri="{FF2B5EF4-FFF2-40B4-BE49-F238E27FC236}">
                    <a16:creationId xmlns:a16="http://schemas.microsoft.com/office/drawing/2014/main" id="{9C2682E2-07B3-46AE-AEEB-1AC42489A864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662" y="658"/>
                <a:ext cx="67" cy="465"/>
              </a:xfrm>
              <a:custGeom>
                <a:avLst/>
                <a:gdLst>
                  <a:gd name="T0" fmla="*/ 12 w 63"/>
                  <a:gd name="T1" fmla="*/ 3 h 439"/>
                  <a:gd name="T2" fmla="*/ 14 w 63"/>
                  <a:gd name="T3" fmla="*/ 28 h 439"/>
                  <a:gd name="T4" fmla="*/ 20 w 63"/>
                  <a:gd name="T5" fmla="*/ 69 h 439"/>
                  <a:gd name="T6" fmla="*/ 26 w 63"/>
                  <a:gd name="T7" fmla="*/ 104 h 439"/>
                  <a:gd name="T8" fmla="*/ 31 w 63"/>
                  <a:gd name="T9" fmla="*/ 162 h 439"/>
                  <a:gd name="T10" fmla="*/ 25 w 63"/>
                  <a:gd name="T11" fmla="*/ 208 h 439"/>
                  <a:gd name="T12" fmla="*/ 14 w 63"/>
                  <a:gd name="T13" fmla="*/ 193 h 439"/>
                  <a:gd name="T14" fmla="*/ 38 w 63"/>
                  <a:gd name="T15" fmla="*/ 207 h 439"/>
                  <a:gd name="T16" fmla="*/ 46 w 63"/>
                  <a:gd name="T17" fmla="*/ 244 h 439"/>
                  <a:gd name="T18" fmla="*/ 39 w 63"/>
                  <a:gd name="T19" fmla="*/ 262 h 439"/>
                  <a:gd name="T20" fmla="*/ 40 w 63"/>
                  <a:gd name="T21" fmla="*/ 263 h 439"/>
                  <a:gd name="T22" fmla="*/ 43 w 63"/>
                  <a:gd name="T23" fmla="*/ 269 h 439"/>
                  <a:gd name="T24" fmla="*/ 49 w 63"/>
                  <a:gd name="T25" fmla="*/ 336 h 439"/>
                  <a:gd name="T26" fmla="*/ 53 w 63"/>
                  <a:gd name="T27" fmla="*/ 387 h 439"/>
                  <a:gd name="T28" fmla="*/ 49 w 63"/>
                  <a:gd name="T29" fmla="*/ 431 h 439"/>
                  <a:gd name="T30" fmla="*/ 60 w 63"/>
                  <a:gd name="T31" fmla="*/ 432 h 439"/>
                  <a:gd name="T32" fmla="*/ 62 w 63"/>
                  <a:gd name="T33" fmla="*/ 399 h 439"/>
                  <a:gd name="T34" fmla="*/ 60 w 63"/>
                  <a:gd name="T35" fmla="*/ 375 h 439"/>
                  <a:gd name="T36" fmla="*/ 60 w 63"/>
                  <a:gd name="T37" fmla="*/ 296 h 439"/>
                  <a:gd name="T38" fmla="*/ 37 w 63"/>
                  <a:gd name="T39" fmla="*/ 246 h 439"/>
                  <a:gd name="T40" fmla="*/ 17 w 63"/>
                  <a:gd name="T41" fmla="*/ 271 h 439"/>
                  <a:gd name="T42" fmla="*/ 58 w 63"/>
                  <a:gd name="T43" fmla="*/ 255 h 439"/>
                  <a:gd name="T44" fmla="*/ 41 w 63"/>
                  <a:gd name="T45" fmla="*/ 189 h 439"/>
                  <a:gd name="T46" fmla="*/ 0 w 63"/>
                  <a:gd name="T47" fmla="*/ 197 h 439"/>
                  <a:gd name="T48" fmla="*/ 29 w 63"/>
                  <a:gd name="T49" fmla="*/ 223 h 439"/>
                  <a:gd name="T50" fmla="*/ 44 w 63"/>
                  <a:gd name="T51" fmla="*/ 178 h 439"/>
                  <a:gd name="T52" fmla="*/ 37 w 63"/>
                  <a:gd name="T53" fmla="*/ 96 h 439"/>
                  <a:gd name="T54" fmla="*/ 30 w 63"/>
                  <a:gd name="T55" fmla="*/ 67 h 439"/>
                  <a:gd name="T56" fmla="*/ 21 w 63"/>
                  <a:gd name="T57" fmla="*/ 28 h 439"/>
                  <a:gd name="T58" fmla="*/ 21 w 63"/>
                  <a:gd name="T59" fmla="*/ 18 h 439"/>
                  <a:gd name="T60" fmla="*/ 15 w 63"/>
                  <a:gd name="T61" fmla="*/ 3 h 439"/>
                  <a:gd name="T62" fmla="*/ 12 w 63"/>
                  <a:gd name="T63" fmla="*/ 3 h 4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63" h="439">
                    <a:moveTo>
                      <a:pt x="12" y="3"/>
                    </a:moveTo>
                    <a:cubicBezTo>
                      <a:pt x="11" y="11"/>
                      <a:pt x="14" y="19"/>
                      <a:pt x="14" y="28"/>
                    </a:cubicBezTo>
                    <a:cubicBezTo>
                      <a:pt x="14" y="41"/>
                      <a:pt x="17" y="56"/>
                      <a:pt x="20" y="69"/>
                    </a:cubicBezTo>
                    <a:cubicBezTo>
                      <a:pt x="22" y="81"/>
                      <a:pt x="24" y="92"/>
                      <a:pt x="26" y="104"/>
                    </a:cubicBezTo>
                    <a:cubicBezTo>
                      <a:pt x="29" y="123"/>
                      <a:pt x="31" y="142"/>
                      <a:pt x="31" y="162"/>
                    </a:cubicBezTo>
                    <a:cubicBezTo>
                      <a:pt x="32" y="174"/>
                      <a:pt x="34" y="199"/>
                      <a:pt x="25" y="208"/>
                    </a:cubicBezTo>
                    <a:cubicBezTo>
                      <a:pt x="15" y="219"/>
                      <a:pt x="10" y="198"/>
                      <a:pt x="14" y="193"/>
                    </a:cubicBezTo>
                    <a:cubicBezTo>
                      <a:pt x="20" y="186"/>
                      <a:pt x="35" y="202"/>
                      <a:pt x="38" y="207"/>
                    </a:cubicBezTo>
                    <a:cubicBezTo>
                      <a:pt x="43" y="216"/>
                      <a:pt x="47" y="233"/>
                      <a:pt x="46" y="244"/>
                    </a:cubicBezTo>
                    <a:cubicBezTo>
                      <a:pt x="46" y="252"/>
                      <a:pt x="43" y="255"/>
                      <a:pt x="39" y="262"/>
                    </a:cubicBezTo>
                    <a:cubicBezTo>
                      <a:pt x="33" y="256"/>
                      <a:pt x="33" y="256"/>
                      <a:pt x="40" y="263"/>
                    </a:cubicBezTo>
                    <a:cubicBezTo>
                      <a:pt x="41" y="265"/>
                      <a:pt x="42" y="267"/>
                      <a:pt x="43" y="269"/>
                    </a:cubicBezTo>
                    <a:cubicBezTo>
                      <a:pt x="52" y="289"/>
                      <a:pt x="48" y="314"/>
                      <a:pt x="49" y="336"/>
                    </a:cubicBezTo>
                    <a:cubicBezTo>
                      <a:pt x="49" y="353"/>
                      <a:pt x="51" y="369"/>
                      <a:pt x="53" y="387"/>
                    </a:cubicBezTo>
                    <a:cubicBezTo>
                      <a:pt x="54" y="402"/>
                      <a:pt x="50" y="416"/>
                      <a:pt x="49" y="431"/>
                    </a:cubicBezTo>
                    <a:cubicBezTo>
                      <a:pt x="47" y="439"/>
                      <a:pt x="61" y="439"/>
                      <a:pt x="60" y="432"/>
                    </a:cubicBezTo>
                    <a:cubicBezTo>
                      <a:pt x="58" y="420"/>
                      <a:pt x="61" y="410"/>
                      <a:pt x="62" y="399"/>
                    </a:cubicBezTo>
                    <a:cubicBezTo>
                      <a:pt x="63" y="390"/>
                      <a:pt x="61" y="383"/>
                      <a:pt x="60" y="375"/>
                    </a:cubicBezTo>
                    <a:cubicBezTo>
                      <a:pt x="57" y="349"/>
                      <a:pt x="61" y="322"/>
                      <a:pt x="60" y="296"/>
                    </a:cubicBezTo>
                    <a:cubicBezTo>
                      <a:pt x="59" y="280"/>
                      <a:pt x="56" y="252"/>
                      <a:pt x="37" y="246"/>
                    </a:cubicBezTo>
                    <a:cubicBezTo>
                      <a:pt x="23" y="242"/>
                      <a:pt x="8" y="257"/>
                      <a:pt x="17" y="271"/>
                    </a:cubicBezTo>
                    <a:cubicBezTo>
                      <a:pt x="29" y="291"/>
                      <a:pt x="54" y="270"/>
                      <a:pt x="58" y="255"/>
                    </a:cubicBezTo>
                    <a:cubicBezTo>
                      <a:pt x="63" y="235"/>
                      <a:pt x="56" y="202"/>
                      <a:pt x="41" y="189"/>
                    </a:cubicBezTo>
                    <a:cubicBezTo>
                      <a:pt x="25" y="177"/>
                      <a:pt x="1" y="168"/>
                      <a:pt x="0" y="197"/>
                    </a:cubicBezTo>
                    <a:cubicBezTo>
                      <a:pt x="0" y="212"/>
                      <a:pt x="10" y="234"/>
                      <a:pt x="29" y="223"/>
                    </a:cubicBezTo>
                    <a:cubicBezTo>
                      <a:pt x="43" y="214"/>
                      <a:pt x="44" y="192"/>
                      <a:pt x="44" y="178"/>
                    </a:cubicBezTo>
                    <a:cubicBezTo>
                      <a:pt x="45" y="151"/>
                      <a:pt x="42" y="123"/>
                      <a:pt x="37" y="96"/>
                    </a:cubicBezTo>
                    <a:cubicBezTo>
                      <a:pt x="35" y="86"/>
                      <a:pt x="33" y="77"/>
                      <a:pt x="30" y="67"/>
                    </a:cubicBezTo>
                    <a:cubicBezTo>
                      <a:pt x="27" y="54"/>
                      <a:pt x="23" y="41"/>
                      <a:pt x="21" y="28"/>
                    </a:cubicBezTo>
                    <a:cubicBezTo>
                      <a:pt x="21" y="24"/>
                      <a:pt x="21" y="21"/>
                      <a:pt x="21" y="18"/>
                    </a:cubicBezTo>
                    <a:cubicBezTo>
                      <a:pt x="20" y="13"/>
                      <a:pt x="15" y="6"/>
                      <a:pt x="15" y="3"/>
                    </a:cubicBezTo>
                    <a:cubicBezTo>
                      <a:pt x="15" y="0"/>
                      <a:pt x="12" y="0"/>
                      <a:pt x="12" y="3"/>
                    </a:cubicBezTo>
                    <a:close/>
                  </a:path>
                </a:pathLst>
              </a:custGeom>
              <a:solidFill>
                <a:srgbClr val="04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287" name="Freeform 360">
                <a:extLst>
                  <a:ext uri="{FF2B5EF4-FFF2-40B4-BE49-F238E27FC236}">
                    <a16:creationId xmlns:a16="http://schemas.microsoft.com/office/drawing/2014/main" id="{C62759EA-BC54-495D-A47F-2D407E17039D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417" y="1536"/>
                <a:ext cx="76" cy="39"/>
              </a:xfrm>
              <a:custGeom>
                <a:avLst/>
                <a:gdLst>
                  <a:gd name="T0" fmla="*/ 29 w 72"/>
                  <a:gd name="T1" fmla="*/ 30 h 37"/>
                  <a:gd name="T2" fmla="*/ 7 w 72"/>
                  <a:gd name="T3" fmla="*/ 37 h 37"/>
                  <a:gd name="T4" fmla="*/ 6 w 72"/>
                  <a:gd name="T5" fmla="*/ 35 h 37"/>
                  <a:gd name="T6" fmla="*/ 10 w 72"/>
                  <a:gd name="T7" fmla="*/ 17 h 37"/>
                  <a:gd name="T8" fmla="*/ 29 w 72"/>
                  <a:gd name="T9" fmla="*/ 3 h 37"/>
                  <a:gd name="T10" fmla="*/ 55 w 72"/>
                  <a:gd name="T11" fmla="*/ 1 h 37"/>
                  <a:gd name="T12" fmla="*/ 71 w 72"/>
                  <a:gd name="T13" fmla="*/ 17 h 37"/>
                  <a:gd name="T14" fmla="*/ 29 w 72"/>
                  <a:gd name="T15" fmla="*/ 30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72" h="37">
                    <a:moveTo>
                      <a:pt x="29" y="30"/>
                    </a:moveTo>
                    <a:cubicBezTo>
                      <a:pt x="21" y="32"/>
                      <a:pt x="14" y="34"/>
                      <a:pt x="7" y="37"/>
                    </a:cubicBezTo>
                    <a:cubicBezTo>
                      <a:pt x="6" y="35"/>
                      <a:pt x="6" y="35"/>
                      <a:pt x="6" y="35"/>
                    </a:cubicBezTo>
                    <a:cubicBezTo>
                      <a:pt x="0" y="31"/>
                      <a:pt x="5" y="20"/>
                      <a:pt x="10" y="17"/>
                    </a:cubicBezTo>
                    <a:cubicBezTo>
                      <a:pt x="13" y="11"/>
                      <a:pt x="22" y="7"/>
                      <a:pt x="29" y="3"/>
                    </a:cubicBezTo>
                    <a:cubicBezTo>
                      <a:pt x="38" y="1"/>
                      <a:pt x="45" y="0"/>
                      <a:pt x="55" y="1"/>
                    </a:cubicBezTo>
                    <a:cubicBezTo>
                      <a:pt x="63" y="2"/>
                      <a:pt x="72" y="10"/>
                      <a:pt x="71" y="17"/>
                    </a:cubicBezTo>
                    <a:cubicBezTo>
                      <a:pt x="69" y="32"/>
                      <a:pt x="39" y="28"/>
                      <a:pt x="29" y="30"/>
                    </a:cubicBezTo>
                    <a:close/>
                  </a:path>
                </a:pathLst>
              </a:custGeom>
              <a:solidFill>
                <a:srgbClr val="F6B84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288" name="Freeform 361">
                <a:extLst>
                  <a:ext uri="{FF2B5EF4-FFF2-40B4-BE49-F238E27FC236}">
                    <a16:creationId xmlns:a16="http://schemas.microsoft.com/office/drawing/2014/main" id="{0481BB8F-6815-4DDC-94B7-6074C55C8CC7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452" y="1825"/>
                <a:ext cx="106" cy="110"/>
              </a:xfrm>
              <a:custGeom>
                <a:avLst/>
                <a:gdLst>
                  <a:gd name="T0" fmla="*/ 56 w 100"/>
                  <a:gd name="T1" fmla="*/ 0 h 104"/>
                  <a:gd name="T2" fmla="*/ 57 w 100"/>
                  <a:gd name="T3" fmla="*/ 7 h 104"/>
                  <a:gd name="T4" fmla="*/ 91 w 100"/>
                  <a:gd name="T5" fmla="*/ 27 h 104"/>
                  <a:gd name="T6" fmla="*/ 100 w 100"/>
                  <a:gd name="T7" fmla="*/ 60 h 104"/>
                  <a:gd name="T8" fmla="*/ 33 w 100"/>
                  <a:gd name="T9" fmla="*/ 97 h 104"/>
                  <a:gd name="T10" fmla="*/ 6 w 100"/>
                  <a:gd name="T11" fmla="*/ 44 h 104"/>
                  <a:gd name="T12" fmla="*/ 48 w 100"/>
                  <a:gd name="T13" fmla="*/ 9 h 104"/>
                  <a:gd name="T14" fmla="*/ 47 w 100"/>
                  <a:gd name="T15" fmla="*/ 2 h 104"/>
                  <a:gd name="T16" fmla="*/ 56 w 100"/>
                  <a:gd name="T17" fmla="*/ 0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00" h="104">
                    <a:moveTo>
                      <a:pt x="56" y="0"/>
                    </a:moveTo>
                    <a:cubicBezTo>
                      <a:pt x="57" y="7"/>
                      <a:pt x="57" y="7"/>
                      <a:pt x="57" y="7"/>
                    </a:cubicBezTo>
                    <a:cubicBezTo>
                      <a:pt x="68" y="12"/>
                      <a:pt x="86" y="14"/>
                      <a:pt x="91" y="27"/>
                    </a:cubicBezTo>
                    <a:cubicBezTo>
                      <a:pt x="93" y="37"/>
                      <a:pt x="100" y="50"/>
                      <a:pt x="100" y="60"/>
                    </a:cubicBezTo>
                    <a:cubicBezTo>
                      <a:pt x="96" y="92"/>
                      <a:pt x="59" y="104"/>
                      <a:pt x="33" y="97"/>
                    </a:cubicBezTo>
                    <a:cubicBezTo>
                      <a:pt x="8" y="92"/>
                      <a:pt x="0" y="65"/>
                      <a:pt x="6" y="44"/>
                    </a:cubicBezTo>
                    <a:cubicBezTo>
                      <a:pt x="14" y="23"/>
                      <a:pt x="29" y="13"/>
                      <a:pt x="48" y="9"/>
                    </a:cubicBezTo>
                    <a:cubicBezTo>
                      <a:pt x="47" y="2"/>
                      <a:pt x="47" y="2"/>
                      <a:pt x="47" y="2"/>
                    </a:cubicBezTo>
                    <a:cubicBezTo>
                      <a:pt x="50" y="1"/>
                      <a:pt x="53" y="0"/>
                      <a:pt x="56" y="0"/>
                    </a:cubicBezTo>
                    <a:close/>
                  </a:path>
                </a:pathLst>
              </a:custGeom>
              <a:solidFill>
                <a:srgbClr val="F6B84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289" name="Freeform 362">
                <a:extLst>
                  <a:ext uri="{FF2B5EF4-FFF2-40B4-BE49-F238E27FC236}">
                    <a16:creationId xmlns:a16="http://schemas.microsoft.com/office/drawing/2014/main" id="{B23603B1-1428-44AA-B843-47C7FB426DD0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594" y="1677"/>
                <a:ext cx="97" cy="107"/>
              </a:xfrm>
              <a:custGeom>
                <a:avLst/>
                <a:gdLst>
                  <a:gd name="T0" fmla="*/ 7 w 92"/>
                  <a:gd name="T1" fmla="*/ 35 h 101"/>
                  <a:gd name="T2" fmla="*/ 32 w 92"/>
                  <a:gd name="T3" fmla="*/ 3 h 101"/>
                  <a:gd name="T4" fmla="*/ 43 w 92"/>
                  <a:gd name="T5" fmla="*/ 4 h 101"/>
                  <a:gd name="T6" fmla="*/ 43 w 92"/>
                  <a:gd name="T7" fmla="*/ 0 h 101"/>
                  <a:gd name="T8" fmla="*/ 71 w 92"/>
                  <a:gd name="T9" fmla="*/ 15 h 101"/>
                  <a:gd name="T10" fmla="*/ 87 w 92"/>
                  <a:gd name="T11" fmla="*/ 44 h 101"/>
                  <a:gd name="T12" fmla="*/ 85 w 92"/>
                  <a:gd name="T13" fmla="*/ 84 h 101"/>
                  <a:gd name="T14" fmla="*/ 44 w 92"/>
                  <a:gd name="T15" fmla="*/ 99 h 101"/>
                  <a:gd name="T16" fmla="*/ 7 w 92"/>
                  <a:gd name="T17" fmla="*/ 35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92" h="101">
                    <a:moveTo>
                      <a:pt x="7" y="35"/>
                    </a:moveTo>
                    <a:cubicBezTo>
                      <a:pt x="9" y="23"/>
                      <a:pt x="18" y="6"/>
                      <a:pt x="32" y="3"/>
                    </a:cubicBezTo>
                    <a:cubicBezTo>
                      <a:pt x="36" y="2"/>
                      <a:pt x="39" y="4"/>
                      <a:pt x="43" y="4"/>
                    </a:cubicBezTo>
                    <a:cubicBezTo>
                      <a:pt x="43" y="0"/>
                      <a:pt x="43" y="0"/>
                      <a:pt x="43" y="0"/>
                    </a:cubicBezTo>
                    <a:cubicBezTo>
                      <a:pt x="54" y="1"/>
                      <a:pt x="63" y="8"/>
                      <a:pt x="71" y="15"/>
                    </a:cubicBezTo>
                    <a:cubicBezTo>
                      <a:pt x="80" y="23"/>
                      <a:pt x="84" y="32"/>
                      <a:pt x="87" y="44"/>
                    </a:cubicBezTo>
                    <a:cubicBezTo>
                      <a:pt x="89" y="56"/>
                      <a:pt x="92" y="72"/>
                      <a:pt x="85" y="84"/>
                    </a:cubicBezTo>
                    <a:cubicBezTo>
                      <a:pt x="78" y="97"/>
                      <a:pt x="59" y="101"/>
                      <a:pt x="44" y="99"/>
                    </a:cubicBezTo>
                    <a:cubicBezTo>
                      <a:pt x="18" y="94"/>
                      <a:pt x="0" y="61"/>
                      <a:pt x="7" y="35"/>
                    </a:cubicBezTo>
                    <a:close/>
                  </a:path>
                </a:pathLst>
              </a:custGeom>
              <a:solidFill>
                <a:srgbClr val="E840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290" name="Freeform 363">
                <a:extLst>
                  <a:ext uri="{FF2B5EF4-FFF2-40B4-BE49-F238E27FC236}">
                    <a16:creationId xmlns:a16="http://schemas.microsoft.com/office/drawing/2014/main" id="{6E72E33B-F4F7-47BC-9547-78B4818EB5B4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683" y="1571"/>
                <a:ext cx="92" cy="105"/>
              </a:xfrm>
              <a:custGeom>
                <a:avLst/>
                <a:gdLst>
                  <a:gd name="T0" fmla="*/ 36 w 87"/>
                  <a:gd name="T1" fmla="*/ 1 h 99"/>
                  <a:gd name="T2" fmla="*/ 82 w 87"/>
                  <a:gd name="T3" fmla="*/ 48 h 99"/>
                  <a:gd name="T4" fmla="*/ 75 w 87"/>
                  <a:gd name="T5" fmla="*/ 86 h 99"/>
                  <a:gd name="T6" fmla="*/ 34 w 87"/>
                  <a:gd name="T7" fmla="*/ 94 h 99"/>
                  <a:gd name="T8" fmla="*/ 11 w 87"/>
                  <a:gd name="T9" fmla="*/ 72 h 99"/>
                  <a:gd name="T10" fmla="*/ 2 w 87"/>
                  <a:gd name="T11" fmla="*/ 29 h 99"/>
                  <a:gd name="T12" fmla="*/ 36 w 87"/>
                  <a:gd name="T13" fmla="*/ 1 h 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7" h="99">
                    <a:moveTo>
                      <a:pt x="36" y="1"/>
                    </a:moveTo>
                    <a:cubicBezTo>
                      <a:pt x="65" y="0"/>
                      <a:pt x="77" y="22"/>
                      <a:pt x="82" y="48"/>
                    </a:cubicBezTo>
                    <a:cubicBezTo>
                      <a:pt x="87" y="62"/>
                      <a:pt x="87" y="76"/>
                      <a:pt x="75" y="86"/>
                    </a:cubicBezTo>
                    <a:cubicBezTo>
                      <a:pt x="64" y="95"/>
                      <a:pt x="48" y="99"/>
                      <a:pt x="34" y="94"/>
                    </a:cubicBezTo>
                    <a:cubicBezTo>
                      <a:pt x="22" y="91"/>
                      <a:pt x="15" y="81"/>
                      <a:pt x="11" y="72"/>
                    </a:cubicBezTo>
                    <a:cubicBezTo>
                      <a:pt x="5" y="58"/>
                      <a:pt x="0" y="42"/>
                      <a:pt x="2" y="29"/>
                    </a:cubicBezTo>
                    <a:cubicBezTo>
                      <a:pt x="4" y="14"/>
                      <a:pt x="19" y="1"/>
                      <a:pt x="36" y="1"/>
                    </a:cubicBezTo>
                    <a:close/>
                  </a:path>
                </a:pathLst>
              </a:custGeom>
              <a:solidFill>
                <a:srgbClr val="E840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291" name="Freeform 364">
                <a:extLst>
                  <a:ext uri="{FF2B5EF4-FFF2-40B4-BE49-F238E27FC236}">
                    <a16:creationId xmlns:a16="http://schemas.microsoft.com/office/drawing/2014/main" id="{D2FBEF73-9B62-4A89-9C53-59DC114F10E9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764" y="1486"/>
                <a:ext cx="102" cy="107"/>
              </a:xfrm>
              <a:custGeom>
                <a:avLst/>
                <a:gdLst>
                  <a:gd name="T0" fmla="*/ 54 w 96"/>
                  <a:gd name="T1" fmla="*/ 0 h 101"/>
                  <a:gd name="T2" fmla="*/ 88 w 96"/>
                  <a:gd name="T3" fmla="*/ 28 h 101"/>
                  <a:gd name="T4" fmla="*/ 94 w 96"/>
                  <a:gd name="T5" fmla="*/ 69 h 101"/>
                  <a:gd name="T6" fmla="*/ 67 w 96"/>
                  <a:gd name="T7" fmla="*/ 98 h 101"/>
                  <a:gd name="T8" fmla="*/ 30 w 96"/>
                  <a:gd name="T9" fmla="*/ 84 h 101"/>
                  <a:gd name="T10" fmla="*/ 26 w 96"/>
                  <a:gd name="T11" fmla="*/ 9 h 101"/>
                  <a:gd name="T12" fmla="*/ 44 w 96"/>
                  <a:gd name="T13" fmla="*/ 3 h 101"/>
                  <a:gd name="T14" fmla="*/ 53 w 96"/>
                  <a:gd name="T15" fmla="*/ 1 h 101"/>
                  <a:gd name="T16" fmla="*/ 54 w 96"/>
                  <a:gd name="T17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96" h="101">
                    <a:moveTo>
                      <a:pt x="54" y="0"/>
                    </a:moveTo>
                    <a:cubicBezTo>
                      <a:pt x="68" y="7"/>
                      <a:pt x="81" y="14"/>
                      <a:pt x="88" y="28"/>
                    </a:cubicBezTo>
                    <a:cubicBezTo>
                      <a:pt x="93" y="40"/>
                      <a:pt x="96" y="56"/>
                      <a:pt x="94" y="69"/>
                    </a:cubicBezTo>
                    <a:cubicBezTo>
                      <a:pt x="91" y="82"/>
                      <a:pt x="82" y="96"/>
                      <a:pt x="67" y="98"/>
                    </a:cubicBezTo>
                    <a:cubicBezTo>
                      <a:pt x="53" y="101"/>
                      <a:pt x="37" y="95"/>
                      <a:pt x="30" y="84"/>
                    </a:cubicBezTo>
                    <a:cubicBezTo>
                      <a:pt x="14" y="62"/>
                      <a:pt x="0" y="28"/>
                      <a:pt x="26" y="9"/>
                    </a:cubicBezTo>
                    <a:cubicBezTo>
                      <a:pt x="30" y="6"/>
                      <a:pt x="37" y="4"/>
                      <a:pt x="44" y="3"/>
                    </a:cubicBezTo>
                    <a:cubicBezTo>
                      <a:pt x="46" y="2"/>
                      <a:pt x="50" y="7"/>
                      <a:pt x="53" y="1"/>
                    </a:cubicBezTo>
                    <a:lnTo>
                      <a:pt x="54" y="0"/>
                    </a:lnTo>
                    <a:close/>
                  </a:path>
                </a:pathLst>
              </a:custGeom>
              <a:solidFill>
                <a:srgbClr val="E840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292" name="Freeform 365">
                <a:extLst>
                  <a:ext uri="{FF2B5EF4-FFF2-40B4-BE49-F238E27FC236}">
                    <a16:creationId xmlns:a16="http://schemas.microsoft.com/office/drawing/2014/main" id="{93FA3C58-90C3-4EBE-A0B3-17CE9B2DAF8A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026" y="1655"/>
                <a:ext cx="82" cy="86"/>
              </a:xfrm>
              <a:custGeom>
                <a:avLst/>
                <a:gdLst>
                  <a:gd name="T0" fmla="*/ 48 w 78"/>
                  <a:gd name="T1" fmla="*/ 6 h 82"/>
                  <a:gd name="T2" fmla="*/ 76 w 78"/>
                  <a:gd name="T3" fmla="*/ 45 h 82"/>
                  <a:gd name="T4" fmla="*/ 58 w 78"/>
                  <a:gd name="T5" fmla="*/ 68 h 82"/>
                  <a:gd name="T6" fmla="*/ 24 w 78"/>
                  <a:gd name="T7" fmla="*/ 82 h 82"/>
                  <a:gd name="T8" fmla="*/ 4 w 78"/>
                  <a:gd name="T9" fmla="*/ 27 h 82"/>
                  <a:gd name="T10" fmla="*/ 2 w 78"/>
                  <a:gd name="T11" fmla="*/ 25 h 82"/>
                  <a:gd name="T12" fmla="*/ 48 w 78"/>
                  <a:gd name="T13" fmla="*/ 6 h 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78" h="82">
                    <a:moveTo>
                      <a:pt x="48" y="6"/>
                    </a:moveTo>
                    <a:cubicBezTo>
                      <a:pt x="66" y="10"/>
                      <a:pt x="75" y="30"/>
                      <a:pt x="76" y="45"/>
                    </a:cubicBezTo>
                    <a:cubicBezTo>
                      <a:pt x="78" y="59"/>
                      <a:pt x="69" y="63"/>
                      <a:pt x="58" y="68"/>
                    </a:cubicBezTo>
                    <a:cubicBezTo>
                      <a:pt x="47" y="72"/>
                      <a:pt x="36" y="82"/>
                      <a:pt x="24" y="82"/>
                    </a:cubicBezTo>
                    <a:cubicBezTo>
                      <a:pt x="0" y="82"/>
                      <a:pt x="0" y="45"/>
                      <a:pt x="4" y="27"/>
                    </a:cubicBezTo>
                    <a:cubicBezTo>
                      <a:pt x="2" y="25"/>
                      <a:pt x="2" y="25"/>
                      <a:pt x="2" y="25"/>
                    </a:cubicBezTo>
                    <a:cubicBezTo>
                      <a:pt x="15" y="15"/>
                      <a:pt x="34" y="0"/>
                      <a:pt x="48" y="6"/>
                    </a:cubicBezTo>
                    <a:close/>
                  </a:path>
                </a:pathLst>
              </a:custGeom>
              <a:solidFill>
                <a:srgbClr val="21AAD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293" name="Freeform 366">
                <a:extLst>
                  <a:ext uri="{FF2B5EF4-FFF2-40B4-BE49-F238E27FC236}">
                    <a16:creationId xmlns:a16="http://schemas.microsoft.com/office/drawing/2014/main" id="{B03A470E-2BF5-46A3-B4C4-7FF57F861352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134" y="1716"/>
                <a:ext cx="72" cy="94"/>
              </a:xfrm>
              <a:custGeom>
                <a:avLst/>
                <a:gdLst>
                  <a:gd name="T0" fmla="*/ 28 w 68"/>
                  <a:gd name="T1" fmla="*/ 1 h 89"/>
                  <a:gd name="T2" fmla="*/ 38 w 68"/>
                  <a:gd name="T3" fmla="*/ 1 h 89"/>
                  <a:gd name="T4" fmla="*/ 57 w 68"/>
                  <a:gd name="T5" fmla="*/ 24 h 89"/>
                  <a:gd name="T6" fmla="*/ 64 w 68"/>
                  <a:gd name="T7" fmla="*/ 50 h 89"/>
                  <a:gd name="T8" fmla="*/ 59 w 68"/>
                  <a:gd name="T9" fmla="*/ 75 h 89"/>
                  <a:gd name="T10" fmla="*/ 31 w 68"/>
                  <a:gd name="T11" fmla="*/ 86 h 89"/>
                  <a:gd name="T12" fmla="*/ 25 w 68"/>
                  <a:gd name="T13" fmla="*/ 87 h 89"/>
                  <a:gd name="T14" fmla="*/ 2 w 68"/>
                  <a:gd name="T15" fmla="*/ 72 h 89"/>
                  <a:gd name="T16" fmla="*/ 3 w 68"/>
                  <a:gd name="T17" fmla="*/ 37 h 89"/>
                  <a:gd name="T18" fmla="*/ 3 w 68"/>
                  <a:gd name="T19" fmla="*/ 13 h 89"/>
                  <a:gd name="T20" fmla="*/ 4 w 68"/>
                  <a:gd name="T21" fmla="*/ 8 h 89"/>
                  <a:gd name="T22" fmla="*/ 28 w 68"/>
                  <a:gd name="T23" fmla="*/ 1 h 8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68" h="89">
                    <a:moveTo>
                      <a:pt x="28" y="1"/>
                    </a:moveTo>
                    <a:cubicBezTo>
                      <a:pt x="32" y="0"/>
                      <a:pt x="35" y="0"/>
                      <a:pt x="38" y="1"/>
                    </a:cubicBezTo>
                    <a:cubicBezTo>
                      <a:pt x="48" y="4"/>
                      <a:pt x="53" y="14"/>
                      <a:pt x="57" y="24"/>
                    </a:cubicBezTo>
                    <a:cubicBezTo>
                      <a:pt x="61" y="31"/>
                      <a:pt x="62" y="40"/>
                      <a:pt x="64" y="50"/>
                    </a:cubicBezTo>
                    <a:cubicBezTo>
                      <a:pt x="68" y="59"/>
                      <a:pt x="68" y="69"/>
                      <a:pt x="59" y="75"/>
                    </a:cubicBezTo>
                    <a:cubicBezTo>
                      <a:pt x="52" y="81"/>
                      <a:pt x="40" y="84"/>
                      <a:pt x="31" y="86"/>
                    </a:cubicBezTo>
                    <a:cubicBezTo>
                      <a:pt x="29" y="86"/>
                      <a:pt x="27" y="87"/>
                      <a:pt x="25" y="87"/>
                    </a:cubicBezTo>
                    <a:cubicBezTo>
                      <a:pt x="13" y="89"/>
                      <a:pt x="5" y="83"/>
                      <a:pt x="2" y="72"/>
                    </a:cubicBezTo>
                    <a:cubicBezTo>
                      <a:pt x="0" y="60"/>
                      <a:pt x="3" y="50"/>
                      <a:pt x="3" y="37"/>
                    </a:cubicBezTo>
                    <a:cubicBezTo>
                      <a:pt x="4" y="30"/>
                      <a:pt x="2" y="20"/>
                      <a:pt x="3" y="13"/>
                    </a:cubicBezTo>
                    <a:cubicBezTo>
                      <a:pt x="4" y="8"/>
                      <a:pt x="4" y="8"/>
                      <a:pt x="4" y="8"/>
                    </a:cubicBezTo>
                    <a:cubicBezTo>
                      <a:pt x="13" y="8"/>
                      <a:pt x="19" y="2"/>
                      <a:pt x="28" y="1"/>
                    </a:cubicBezTo>
                    <a:close/>
                  </a:path>
                </a:pathLst>
              </a:custGeom>
              <a:solidFill>
                <a:srgbClr val="21AAD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294" name="Freeform 367">
                <a:extLst>
                  <a:ext uri="{FF2B5EF4-FFF2-40B4-BE49-F238E27FC236}">
                    <a16:creationId xmlns:a16="http://schemas.microsoft.com/office/drawing/2014/main" id="{DA4FADDD-B0D7-4E9F-AF04-B8DC5EFCFA7B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182" y="1635"/>
                <a:ext cx="92" cy="69"/>
              </a:xfrm>
              <a:custGeom>
                <a:avLst/>
                <a:gdLst>
                  <a:gd name="T0" fmla="*/ 82 w 86"/>
                  <a:gd name="T1" fmla="*/ 49 h 65"/>
                  <a:gd name="T2" fmla="*/ 68 w 86"/>
                  <a:gd name="T3" fmla="*/ 57 h 65"/>
                  <a:gd name="T4" fmla="*/ 43 w 86"/>
                  <a:gd name="T5" fmla="*/ 62 h 65"/>
                  <a:gd name="T6" fmla="*/ 21 w 86"/>
                  <a:gd name="T7" fmla="*/ 64 h 65"/>
                  <a:gd name="T8" fmla="*/ 12 w 86"/>
                  <a:gd name="T9" fmla="*/ 56 h 65"/>
                  <a:gd name="T10" fmla="*/ 11 w 86"/>
                  <a:gd name="T11" fmla="*/ 54 h 65"/>
                  <a:gd name="T12" fmla="*/ 4 w 86"/>
                  <a:gd name="T13" fmla="*/ 28 h 65"/>
                  <a:gd name="T14" fmla="*/ 23 w 86"/>
                  <a:gd name="T15" fmla="*/ 15 h 65"/>
                  <a:gd name="T16" fmla="*/ 48 w 86"/>
                  <a:gd name="T17" fmla="*/ 5 h 65"/>
                  <a:gd name="T18" fmla="*/ 82 w 86"/>
                  <a:gd name="T19" fmla="*/ 13 h 65"/>
                  <a:gd name="T20" fmla="*/ 82 w 86"/>
                  <a:gd name="T21" fmla="*/ 49 h 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86" h="65">
                    <a:moveTo>
                      <a:pt x="82" y="49"/>
                    </a:moveTo>
                    <a:cubicBezTo>
                      <a:pt x="78" y="54"/>
                      <a:pt x="72" y="57"/>
                      <a:pt x="68" y="57"/>
                    </a:cubicBezTo>
                    <a:cubicBezTo>
                      <a:pt x="60" y="62"/>
                      <a:pt x="50" y="63"/>
                      <a:pt x="43" y="62"/>
                    </a:cubicBezTo>
                    <a:cubicBezTo>
                      <a:pt x="37" y="63"/>
                      <a:pt x="28" y="65"/>
                      <a:pt x="21" y="64"/>
                    </a:cubicBezTo>
                    <a:cubicBezTo>
                      <a:pt x="17" y="63"/>
                      <a:pt x="13" y="61"/>
                      <a:pt x="12" y="56"/>
                    </a:cubicBezTo>
                    <a:cubicBezTo>
                      <a:pt x="11" y="54"/>
                      <a:pt x="11" y="54"/>
                      <a:pt x="11" y="54"/>
                    </a:cubicBezTo>
                    <a:cubicBezTo>
                      <a:pt x="5" y="48"/>
                      <a:pt x="0" y="34"/>
                      <a:pt x="4" y="28"/>
                    </a:cubicBezTo>
                    <a:cubicBezTo>
                      <a:pt x="7" y="20"/>
                      <a:pt x="16" y="16"/>
                      <a:pt x="23" y="15"/>
                    </a:cubicBezTo>
                    <a:cubicBezTo>
                      <a:pt x="32" y="11"/>
                      <a:pt x="39" y="7"/>
                      <a:pt x="48" y="5"/>
                    </a:cubicBezTo>
                    <a:cubicBezTo>
                      <a:pt x="63" y="2"/>
                      <a:pt x="72" y="0"/>
                      <a:pt x="82" y="13"/>
                    </a:cubicBezTo>
                    <a:cubicBezTo>
                      <a:pt x="86" y="22"/>
                      <a:pt x="84" y="37"/>
                      <a:pt x="82" y="49"/>
                    </a:cubicBezTo>
                    <a:close/>
                  </a:path>
                </a:pathLst>
              </a:custGeom>
              <a:solidFill>
                <a:srgbClr val="21AAD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295" name="Freeform 368">
                <a:extLst>
                  <a:ext uri="{FF2B5EF4-FFF2-40B4-BE49-F238E27FC236}">
                    <a16:creationId xmlns:a16="http://schemas.microsoft.com/office/drawing/2014/main" id="{354F3799-55CF-41FB-8BA6-B87D212403F2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095" y="1548"/>
                <a:ext cx="84" cy="98"/>
              </a:xfrm>
              <a:custGeom>
                <a:avLst/>
                <a:gdLst>
                  <a:gd name="T0" fmla="*/ 49 w 80"/>
                  <a:gd name="T1" fmla="*/ 4 h 93"/>
                  <a:gd name="T2" fmla="*/ 70 w 80"/>
                  <a:gd name="T3" fmla="*/ 39 h 93"/>
                  <a:gd name="T4" fmla="*/ 76 w 80"/>
                  <a:gd name="T5" fmla="*/ 67 h 93"/>
                  <a:gd name="T6" fmla="*/ 79 w 80"/>
                  <a:gd name="T7" fmla="*/ 81 h 93"/>
                  <a:gd name="T8" fmla="*/ 49 w 80"/>
                  <a:gd name="T9" fmla="*/ 92 h 93"/>
                  <a:gd name="T10" fmla="*/ 24 w 80"/>
                  <a:gd name="T11" fmla="*/ 87 h 93"/>
                  <a:gd name="T12" fmla="*/ 21 w 80"/>
                  <a:gd name="T13" fmla="*/ 88 h 93"/>
                  <a:gd name="T14" fmla="*/ 17 w 80"/>
                  <a:gd name="T15" fmla="*/ 76 h 93"/>
                  <a:gd name="T16" fmla="*/ 8 w 80"/>
                  <a:gd name="T17" fmla="*/ 44 h 93"/>
                  <a:gd name="T18" fmla="*/ 49 w 80"/>
                  <a:gd name="T19" fmla="*/ 4 h 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80" h="93">
                    <a:moveTo>
                      <a:pt x="49" y="4"/>
                    </a:moveTo>
                    <a:cubicBezTo>
                      <a:pt x="68" y="0"/>
                      <a:pt x="68" y="27"/>
                      <a:pt x="70" y="39"/>
                    </a:cubicBezTo>
                    <a:cubicBezTo>
                      <a:pt x="72" y="48"/>
                      <a:pt x="74" y="58"/>
                      <a:pt x="76" y="67"/>
                    </a:cubicBezTo>
                    <a:cubicBezTo>
                      <a:pt x="77" y="72"/>
                      <a:pt x="80" y="76"/>
                      <a:pt x="79" y="81"/>
                    </a:cubicBezTo>
                    <a:cubicBezTo>
                      <a:pt x="75" y="89"/>
                      <a:pt x="56" y="90"/>
                      <a:pt x="49" y="92"/>
                    </a:cubicBezTo>
                    <a:cubicBezTo>
                      <a:pt x="41" y="91"/>
                      <a:pt x="32" y="93"/>
                      <a:pt x="24" y="87"/>
                    </a:cubicBezTo>
                    <a:cubicBezTo>
                      <a:pt x="21" y="88"/>
                      <a:pt x="21" y="88"/>
                      <a:pt x="21" y="88"/>
                    </a:cubicBezTo>
                    <a:cubicBezTo>
                      <a:pt x="20" y="84"/>
                      <a:pt x="17" y="80"/>
                      <a:pt x="17" y="76"/>
                    </a:cubicBezTo>
                    <a:cubicBezTo>
                      <a:pt x="12" y="67"/>
                      <a:pt x="10" y="55"/>
                      <a:pt x="8" y="44"/>
                    </a:cubicBezTo>
                    <a:cubicBezTo>
                      <a:pt x="0" y="18"/>
                      <a:pt x="30" y="7"/>
                      <a:pt x="49" y="4"/>
                    </a:cubicBezTo>
                    <a:close/>
                  </a:path>
                </a:pathLst>
              </a:custGeom>
              <a:solidFill>
                <a:srgbClr val="21AAD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296" name="Freeform 369">
                <a:extLst>
                  <a:ext uri="{FF2B5EF4-FFF2-40B4-BE49-F238E27FC236}">
                    <a16:creationId xmlns:a16="http://schemas.microsoft.com/office/drawing/2014/main" id="{14438A40-17BE-4EFE-83F0-8B43D5A2B392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602" y="1465"/>
                <a:ext cx="71" cy="86"/>
              </a:xfrm>
              <a:custGeom>
                <a:avLst/>
                <a:gdLst>
                  <a:gd name="T0" fmla="*/ 29 w 67"/>
                  <a:gd name="T1" fmla="*/ 4 h 81"/>
                  <a:gd name="T2" fmla="*/ 58 w 67"/>
                  <a:gd name="T3" fmla="*/ 13 h 81"/>
                  <a:gd name="T4" fmla="*/ 65 w 67"/>
                  <a:gd name="T5" fmla="*/ 49 h 81"/>
                  <a:gd name="T6" fmla="*/ 32 w 67"/>
                  <a:gd name="T7" fmla="*/ 80 h 81"/>
                  <a:gd name="T8" fmla="*/ 2 w 67"/>
                  <a:gd name="T9" fmla="*/ 39 h 81"/>
                  <a:gd name="T10" fmla="*/ 27 w 67"/>
                  <a:gd name="T11" fmla="*/ 0 h 81"/>
                  <a:gd name="T12" fmla="*/ 29 w 67"/>
                  <a:gd name="T13" fmla="*/ 4 h 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7" h="81">
                    <a:moveTo>
                      <a:pt x="29" y="4"/>
                    </a:moveTo>
                    <a:cubicBezTo>
                      <a:pt x="39" y="5"/>
                      <a:pt x="51" y="5"/>
                      <a:pt x="58" y="13"/>
                    </a:cubicBezTo>
                    <a:cubicBezTo>
                      <a:pt x="62" y="22"/>
                      <a:pt x="67" y="36"/>
                      <a:pt x="65" y="49"/>
                    </a:cubicBezTo>
                    <a:cubicBezTo>
                      <a:pt x="64" y="68"/>
                      <a:pt x="51" y="76"/>
                      <a:pt x="32" y="80"/>
                    </a:cubicBezTo>
                    <a:cubicBezTo>
                      <a:pt x="13" y="81"/>
                      <a:pt x="0" y="54"/>
                      <a:pt x="2" y="39"/>
                    </a:cubicBezTo>
                    <a:cubicBezTo>
                      <a:pt x="3" y="20"/>
                      <a:pt x="10" y="8"/>
                      <a:pt x="27" y="0"/>
                    </a:cubicBezTo>
                    <a:lnTo>
                      <a:pt x="29" y="4"/>
                    </a:lnTo>
                    <a:close/>
                  </a:path>
                </a:pathLst>
              </a:custGeom>
              <a:solidFill>
                <a:srgbClr val="21AAD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297" name="Freeform 370">
                <a:extLst>
                  <a:ext uri="{FF2B5EF4-FFF2-40B4-BE49-F238E27FC236}">
                    <a16:creationId xmlns:a16="http://schemas.microsoft.com/office/drawing/2014/main" id="{E5F7D1EF-D686-46F8-A215-DD2DA118B847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526" y="1551"/>
                <a:ext cx="76" cy="84"/>
              </a:xfrm>
              <a:custGeom>
                <a:avLst/>
                <a:gdLst>
                  <a:gd name="T0" fmla="*/ 41 w 72"/>
                  <a:gd name="T1" fmla="*/ 3 h 80"/>
                  <a:gd name="T2" fmla="*/ 72 w 72"/>
                  <a:gd name="T3" fmla="*/ 37 h 80"/>
                  <a:gd name="T4" fmla="*/ 57 w 72"/>
                  <a:gd name="T5" fmla="*/ 71 h 80"/>
                  <a:gd name="T6" fmla="*/ 29 w 72"/>
                  <a:gd name="T7" fmla="*/ 77 h 80"/>
                  <a:gd name="T8" fmla="*/ 10 w 72"/>
                  <a:gd name="T9" fmla="*/ 58 h 80"/>
                  <a:gd name="T10" fmla="*/ 20 w 72"/>
                  <a:gd name="T11" fmla="*/ 5 h 80"/>
                  <a:gd name="T12" fmla="*/ 41 w 72"/>
                  <a:gd name="T13" fmla="*/ 3 h 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72" h="80">
                    <a:moveTo>
                      <a:pt x="41" y="3"/>
                    </a:moveTo>
                    <a:cubicBezTo>
                      <a:pt x="54" y="1"/>
                      <a:pt x="70" y="25"/>
                      <a:pt x="72" y="37"/>
                    </a:cubicBezTo>
                    <a:cubicBezTo>
                      <a:pt x="72" y="49"/>
                      <a:pt x="68" y="64"/>
                      <a:pt x="57" y="71"/>
                    </a:cubicBezTo>
                    <a:cubicBezTo>
                      <a:pt x="48" y="78"/>
                      <a:pt x="39" y="80"/>
                      <a:pt x="29" y="77"/>
                    </a:cubicBezTo>
                    <a:cubicBezTo>
                      <a:pt x="10" y="58"/>
                      <a:pt x="10" y="58"/>
                      <a:pt x="10" y="58"/>
                    </a:cubicBezTo>
                    <a:cubicBezTo>
                      <a:pt x="0" y="41"/>
                      <a:pt x="3" y="18"/>
                      <a:pt x="20" y="5"/>
                    </a:cubicBezTo>
                    <a:cubicBezTo>
                      <a:pt x="26" y="2"/>
                      <a:pt x="35" y="0"/>
                      <a:pt x="41" y="3"/>
                    </a:cubicBezTo>
                    <a:close/>
                  </a:path>
                </a:pathLst>
              </a:custGeom>
              <a:solidFill>
                <a:srgbClr val="21AAD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298" name="Freeform 371">
                <a:extLst>
                  <a:ext uri="{FF2B5EF4-FFF2-40B4-BE49-F238E27FC236}">
                    <a16:creationId xmlns:a16="http://schemas.microsoft.com/office/drawing/2014/main" id="{9A8CBF7F-A40D-4485-A176-17ADD9546808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686" y="1390"/>
                <a:ext cx="75" cy="94"/>
              </a:xfrm>
              <a:custGeom>
                <a:avLst/>
                <a:gdLst>
                  <a:gd name="T0" fmla="*/ 65 w 71"/>
                  <a:gd name="T1" fmla="*/ 23 h 89"/>
                  <a:gd name="T2" fmla="*/ 46 w 71"/>
                  <a:gd name="T3" fmla="*/ 78 h 89"/>
                  <a:gd name="T4" fmla="*/ 1 w 71"/>
                  <a:gd name="T5" fmla="*/ 36 h 89"/>
                  <a:gd name="T6" fmla="*/ 7 w 71"/>
                  <a:gd name="T7" fmla="*/ 13 h 89"/>
                  <a:gd name="T8" fmla="*/ 15 w 71"/>
                  <a:gd name="T9" fmla="*/ 6 h 89"/>
                  <a:gd name="T10" fmla="*/ 65 w 71"/>
                  <a:gd name="T11" fmla="*/ 23 h 8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71" h="89">
                    <a:moveTo>
                      <a:pt x="65" y="23"/>
                    </a:moveTo>
                    <a:cubicBezTo>
                      <a:pt x="71" y="44"/>
                      <a:pt x="67" y="70"/>
                      <a:pt x="46" y="78"/>
                    </a:cubicBezTo>
                    <a:cubicBezTo>
                      <a:pt x="17" y="89"/>
                      <a:pt x="1" y="58"/>
                      <a:pt x="1" y="36"/>
                    </a:cubicBezTo>
                    <a:cubicBezTo>
                      <a:pt x="0" y="29"/>
                      <a:pt x="0" y="19"/>
                      <a:pt x="7" y="13"/>
                    </a:cubicBezTo>
                    <a:cubicBezTo>
                      <a:pt x="9" y="10"/>
                      <a:pt x="11" y="9"/>
                      <a:pt x="15" y="6"/>
                    </a:cubicBezTo>
                    <a:cubicBezTo>
                      <a:pt x="33" y="0"/>
                      <a:pt x="56" y="1"/>
                      <a:pt x="65" y="23"/>
                    </a:cubicBezTo>
                    <a:close/>
                  </a:path>
                </a:pathLst>
              </a:custGeom>
              <a:solidFill>
                <a:srgbClr val="21AAD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299" name="Freeform 372">
                <a:extLst>
                  <a:ext uri="{FF2B5EF4-FFF2-40B4-BE49-F238E27FC236}">
                    <a16:creationId xmlns:a16="http://schemas.microsoft.com/office/drawing/2014/main" id="{43431592-CC93-4BE5-B4AA-C6D97A63CB42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167" y="1675"/>
                <a:ext cx="140" cy="167"/>
              </a:xfrm>
              <a:custGeom>
                <a:avLst/>
                <a:gdLst>
                  <a:gd name="T0" fmla="*/ 0 w 133"/>
                  <a:gd name="T1" fmla="*/ 125 h 158"/>
                  <a:gd name="T2" fmla="*/ 28 w 133"/>
                  <a:gd name="T3" fmla="*/ 114 h 158"/>
                  <a:gd name="T4" fmla="*/ 33 w 133"/>
                  <a:gd name="T5" fmla="*/ 89 h 158"/>
                  <a:gd name="T6" fmla="*/ 26 w 133"/>
                  <a:gd name="T7" fmla="*/ 63 h 158"/>
                  <a:gd name="T8" fmla="*/ 7 w 133"/>
                  <a:gd name="T9" fmla="*/ 40 h 158"/>
                  <a:gd name="T10" fmla="*/ 36 w 133"/>
                  <a:gd name="T11" fmla="*/ 27 h 158"/>
                  <a:gd name="T12" fmla="*/ 58 w 133"/>
                  <a:gd name="T13" fmla="*/ 25 h 158"/>
                  <a:gd name="T14" fmla="*/ 83 w 133"/>
                  <a:gd name="T15" fmla="*/ 20 h 158"/>
                  <a:gd name="T16" fmla="*/ 97 w 133"/>
                  <a:gd name="T17" fmla="*/ 12 h 158"/>
                  <a:gd name="T18" fmla="*/ 99 w 133"/>
                  <a:gd name="T19" fmla="*/ 10 h 158"/>
                  <a:gd name="T20" fmla="*/ 124 w 133"/>
                  <a:gd name="T21" fmla="*/ 0 h 158"/>
                  <a:gd name="T22" fmla="*/ 100 w 133"/>
                  <a:gd name="T23" fmla="*/ 103 h 158"/>
                  <a:gd name="T24" fmla="*/ 62 w 133"/>
                  <a:gd name="T25" fmla="*/ 137 h 158"/>
                  <a:gd name="T26" fmla="*/ 38 w 133"/>
                  <a:gd name="T27" fmla="*/ 149 h 158"/>
                  <a:gd name="T28" fmla="*/ 5 w 133"/>
                  <a:gd name="T29" fmla="*/ 158 h 158"/>
                  <a:gd name="T30" fmla="*/ 0 w 133"/>
                  <a:gd name="T31" fmla="*/ 125 h 1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133" h="158">
                    <a:moveTo>
                      <a:pt x="0" y="125"/>
                    </a:moveTo>
                    <a:cubicBezTo>
                      <a:pt x="9" y="123"/>
                      <a:pt x="21" y="120"/>
                      <a:pt x="28" y="114"/>
                    </a:cubicBezTo>
                    <a:cubicBezTo>
                      <a:pt x="37" y="108"/>
                      <a:pt x="37" y="98"/>
                      <a:pt x="33" y="89"/>
                    </a:cubicBezTo>
                    <a:cubicBezTo>
                      <a:pt x="31" y="79"/>
                      <a:pt x="30" y="70"/>
                      <a:pt x="26" y="63"/>
                    </a:cubicBezTo>
                    <a:cubicBezTo>
                      <a:pt x="22" y="53"/>
                      <a:pt x="17" y="43"/>
                      <a:pt x="7" y="40"/>
                    </a:cubicBezTo>
                    <a:cubicBezTo>
                      <a:pt x="36" y="27"/>
                      <a:pt x="36" y="27"/>
                      <a:pt x="36" y="27"/>
                    </a:cubicBezTo>
                    <a:cubicBezTo>
                      <a:pt x="43" y="28"/>
                      <a:pt x="52" y="26"/>
                      <a:pt x="58" y="25"/>
                    </a:cubicBezTo>
                    <a:cubicBezTo>
                      <a:pt x="65" y="26"/>
                      <a:pt x="75" y="25"/>
                      <a:pt x="83" y="20"/>
                    </a:cubicBezTo>
                    <a:cubicBezTo>
                      <a:pt x="87" y="20"/>
                      <a:pt x="93" y="17"/>
                      <a:pt x="97" y="12"/>
                    </a:cubicBezTo>
                    <a:cubicBezTo>
                      <a:pt x="97" y="12"/>
                      <a:pt x="98" y="11"/>
                      <a:pt x="99" y="10"/>
                    </a:cubicBezTo>
                    <a:cubicBezTo>
                      <a:pt x="124" y="0"/>
                      <a:pt x="124" y="0"/>
                      <a:pt x="124" y="0"/>
                    </a:cubicBezTo>
                    <a:cubicBezTo>
                      <a:pt x="133" y="35"/>
                      <a:pt x="119" y="75"/>
                      <a:pt x="100" y="103"/>
                    </a:cubicBezTo>
                    <a:cubicBezTo>
                      <a:pt x="90" y="117"/>
                      <a:pt x="78" y="129"/>
                      <a:pt x="62" y="137"/>
                    </a:cubicBezTo>
                    <a:cubicBezTo>
                      <a:pt x="56" y="143"/>
                      <a:pt x="47" y="145"/>
                      <a:pt x="38" y="149"/>
                    </a:cubicBezTo>
                    <a:cubicBezTo>
                      <a:pt x="29" y="153"/>
                      <a:pt x="15" y="158"/>
                      <a:pt x="5" y="158"/>
                    </a:cubicBezTo>
                    <a:lnTo>
                      <a:pt x="0" y="125"/>
                    </a:lnTo>
                    <a:close/>
                  </a:path>
                </a:pathLst>
              </a:custGeom>
              <a:solidFill>
                <a:srgbClr val="3C3C3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300" name="Freeform 373">
                <a:extLst>
                  <a:ext uri="{FF2B5EF4-FFF2-40B4-BE49-F238E27FC236}">
                    <a16:creationId xmlns:a16="http://schemas.microsoft.com/office/drawing/2014/main" id="{D9784401-4BA4-4596-B914-BA4DCF2FCB26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856" y="1258"/>
                <a:ext cx="1364" cy="1207"/>
              </a:xfrm>
              <a:custGeom>
                <a:avLst/>
                <a:gdLst>
                  <a:gd name="T0" fmla="*/ 736 w 1287"/>
                  <a:gd name="T1" fmla="*/ 276 h 1141"/>
                  <a:gd name="T2" fmla="*/ 733 w 1287"/>
                  <a:gd name="T3" fmla="*/ 200 h 1141"/>
                  <a:gd name="T4" fmla="*/ 558 w 1287"/>
                  <a:gd name="T5" fmla="*/ 293 h 1141"/>
                  <a:gd name="T6" fmla="*/ 558 w 1287"/>
                  <a:gd name="T7" fmla="*/ 266 h 1141"/>
                  <a:gd name="T8" fmla="*/ 536 w 1287"/>
                  <a:gd name="T9" fmla="*/ 300 h 1141"/>
                  <a:gd name="T10" fmla="*/ 703 w 1287"/>
                  <a:gd name="T11" fmla="*/ 431 h 1141"/>
                  <a:gd name="T12" fmla="*/ 783 w 1287"/>
                  <a:gd name="T13" fmla="*/ 440 h 1141"/>
                  <a:gd name="T14" fmla="*/ 739 w 1287"/>
                  <a:gd name="T15" fmla="*/ 400 h 1141"/>
                  <a:gd name="T16" fmla="*/ 618 w 1287"/>
                  <a:gd name="T17" fmla="*/ 536 h 1141"/>
                  <a:gd name="T18" fmla="*/ 568 w 1287"/>
                  <a:gd name="T19" fmla="*/ 580 h 1141"/>
                  <a:gd name="T20" fmla="*/ 653 w 1287"/>
                  <a:gd name="T21" fmla="*/ 563 h 1141"/>
                  <a:gd name="T22" fmla="*/ 314 w 1287"/>
                  <a:gd name="T23" fmla="*/ 671 h 1141"/>
                  <a:gd name="T24" fmla="*/ 72 w 1287"/>
                  <a:gd name="T25" fmla="*/ 1110 h 1141"/>
                  <a:gd name="T26" fmla="*/ 48 w 1287"/>
                  <a:gd name="T27" fmla="*/ 523 h 1141"/>
                  <a:gd name="T28" fmla="*/ 546 w 1287"/>
                  <a:gd name="T29" fmla="*/ 7 h 1141"/>
                  <a:gd name="T30" fmla="*/ 896 w 1287"/>
                  <a:gd name="T31" fmla="*/ 105 h 1141"/>
                  <a:gd name="T32" fmla="*/ 1243 w 1287"/>
                  <a:gd name="T33" fmla="*/ 678 h 1141"/>
                  <a:gd name="T34" fmla="*/ 1194 w 1287"/>
                  <a:gd name="T35" fmla="*/ 930 h 1141"/>
                  <a:gd name="T36" fmla="*/ 905 w 1287"/>
                  <a:gd name="T37" fmla="*/ 576 h 1141"/>
                  <a:gd name="T38" fmla="*/ 765 w 1287"/>
                  <a:gd name="T39" fmla="*/ 700 h 1141"/>
                  <a:gd name="T40" fmla="*/ 448 w 1287"/>
                  <a:gd name="T41" fmla="*/ 743 h 1141"/>
                  <a:gd name="T42" fmla="*/ 265 w 1287"/>
                  <a:gd name="T43" fmla="*/ 446 h 1141"/>
                  <a:gd name="T44" fmla="*/ 287 w 1287"/>
                  <a:gd name="T45" fmla="*/ 520 h 1141"/>
                  <a:gd name="T46" fmla="*/ 331 w 1287"/>
                  <a:gd name="T47" fmla="*/ 543 h 1141"/>
                  <a:gd name="T48" fmla="*/ 417 w 1287"/>
                  <a:gd name="T49" fmla="*/ 394 h 1141"/>
                  <a:gd name="T50" fmla="*/ 390 w 1287"/>
                  <a:gd name="T51" fmla="*/ 370 h 1141"/>
                  <a:gd name="T52" fmla="*/ 312 w 1287"/>
                  <a:gd name="T53" fmla="*/ 385 h 1141"/>
                  <a:gd name="T54" fmla="*/ 329 w 1287"/>
                  <a:gd name="T55" fmla="*/ 421 h 1141"/>
                  <a:gd name="T56" fmla="*/ 266 w 1287"/>
                  <a:gd name="T57" fmla="*/ 441 h 1141"/>
                  <a:gd name="T58" fmla="*/ 242 w 1287"/>
                  <a:gd name="T59" fmla="*/ 350 h 1141"/>
                  <a:gd name="T60" fmla="*/ 274 w 1287"/>
                  <a:gd name="T61" fmla="*/ 366 h 1141"/>
                  <a:gd name="T62" fmla="*/ 295 w 1287"/>
                  <a:gd name="T63" fmla="*/ 313 h 1141"/>
                  <a:gd name="T64" fmla="*/ 184 w 1287"/>
                  <a:gd name="T65" fmla="*/ 457 h 1141"/>
                  <a:gd name="T66" fmla="*/ 208 w 1287"/>
                  <a:gd name="T67" fmla="*/ 381 h 1141"/>
                  <a:gd name="T68" fmla="*/ 911 w 1287"/>
                  <a:gd name="T69" fmla="*/ 216 h 1141"/>
                  <a:gd name="T70" fmla="*/ 883 w 1287"/>
                  <a:gd name="T71" fmla="*/ 225 h 1141"/>
                  <a:gd name="T72" fmla="*/ 951 w 1287"/>
                  <a:gd name="T73" fmla="*/ 285 h 1141"/>
                  <a:gd name="T74" fmla="*/ 829 w 1287"/>
                  <a:gd name="T75" fmla="*/ 203 h 1141"/>
                  <a:gd name="T76" fmla="*/ 790 w 1287"/>
                  <a:gd name="T77" fmla="*/ 138 h 1141"/>
                  <a:gd name="T78" fmla="*/ 862 w 1287"/>
                  <a:gd name="T79" fmla="*/ 344 h 1141"/>
                  <a:gd name="T80" fmla="*/ 791 w 1287"/>
                  <a:gd name="T81" fmla="*/ 368 h 1141"/>
                  <a:gd name="T82" fmla="*/ 862 w 1287"/>
                  <a:gd name="T83" fmla="*/ 344 h 1141"/>
                  <a:gd name="T84" fmla="*/ 652 w 1287"/>
                  <a:gd name="T85" fmla="*/ 282 h 1141"/>
                  <a:gd name="T86" fmla="*/ 689 w 1287"/>
                  <a:gd name="T87" fmla="*/ 348 h 11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1287" h="1141">
                    <a:moveTo>
                      <a:pt x="731" y="196"/>
                    </a:moveTo>
                    <a:cubicBezTo>
                      <a:pt x="714" y="204"/>
                      <a:pt x="707" y="216"/>
                      <a:pt x="706" y="235"/>
                    </a:cubicBezTo>
                    <a:cubicBezTo>
                      <a:pt x="704" y="250"/>
                      <a:pt x="717" y="277"/>
                      <a:pt x="736" y="276"/>
                    </a:cubicBezTo>
                    <a:cubicBezTo>
                      <a:pt x="755" y="272"/>
                      <a:pt x="768" y="264"/>
                      <a:pt x="769" y="245"/>
                    </a:cubicBezTo>
                    <a:cubicBezTo>
                      <a:pt x="771" y="232"/>
                      <a:pt x="766" y="218"/>
                      <a:pt x="762" y="209"/>
                    </a:cubicBezTo>
                    <a:cubicBezTo>
                      <a:pt x="755" y="201"/>
                      <a:pt x="743" y="201"/>
                      <a:pt x="733" y="200"/>
                    </a:cubicBezTo>
                    <a:lnTo>
                      <a:pt x="731" y="196"/>
                    </a:lnTo>
                    <a:close/>
                    <a:moveTo>
                      <a:pt x="536" y="300"/>
                    </a:moveTo>
                    <a:cubicBezTo>
                      <a:pt x="543" y="297"/>
                      <a:pt x="550" y="295"/>
                      <a:pt x="558" y="293"/>
                    </a:cubicBezTo>
                    <a:cubicBezTo>
                      <a:pt x="568" y="291"/>
                      <a:pt x="598" y="295"/>
                      <a:pt x="600" y="280"/>
                    </a:cubicBezTo>
                    <a:cubicBezTo>
                      <a:pt x="601" y="273"/>
                      <a:pt x="592" y="265"/>
                      <a:pt x="584" y="264"/>
                    </a:cubicBezTo>
                    <a:cubicBezTo>
                      <a:pt x="574" y="263"/>
                      <a:pt x="567" y="264"/>
                      <a:pt x="558" y="266"/>
                    </a:cubicBezTo>
                    <a:cubicBezTo>
                      <a:pt x="551" y="270"/>
                      <a:pt x="542" y="274"/>
                      <a:pt x="539" y="280"/>
                    </a:cubicBezTo>
                    <a:cubicBezTo>
                      <a:pt x="534" y="283"/>
                      <a:pt x="529" y="294"/>
                      <a:pt x="535" y="298"/>
                    </a:cubicBezTo>
                    <a:lnTo>
                      <a:pt x="536" y="300"/>
                    </a:lnTo>
                    <a:close/>
                    <a:moveTo>
                      <a:pt x="739" y="400"/>
                    </a:moveTo>
                    <a:cubicBezTo>
                      <a:pt x="735" y="400"/>
                      <a:pt x="732" y="398"/>
                      <a:pt x="728" y="399"/>
                    </a:cubicBezTo>
                    <a:cubicBezTo>
                      <a:pt x="714" y="402"/>
                      <a:pt x="705" y="419"/>
                      <a:pt x="703" y="431"/>
                    </a:cubicBezTo>
                    <a:cubicBezTo>
                      <a:pt x="696" y="457"/>
                      <a:pt x="714" y="490"/>
                      <a:pt x="740" y="495"/>
                    </a:cubicBezTo>
                    <a:cubicBezTo>
                      <a:pt x="755" y="497"/>
                      <a:pt x="774" y="493"/>
                      <a:pt x="781" y="480"/>
                    </a:cubicBezTo>
                    <a:cubicBezTo>
                      <a:pt x="788" y="468"/>
                      <a:pt x="785" y="452"/>
                      <a:pt x="783" y="440"/>
                    </a:cubicBezTo>
                    <a:cubicBezTo>
                      <a:pt x="780" y="428"/>
                      <a:pt x="776" y="419"/>
                      <a:pt x="767" y="411"/>
                    </a:cubicBezTo>
                    <a:cubicBezTo>
                      <a:pt x="759" y="404"/>
                      <a:pt x="750" y="397"/>
                      <a:pt x="739" y="396"/>
                    </a:cubicBezTo>
                    <a:lnTo>
                      <a:pt x="739" y="400"/>
                    </a:lnTo>
                    <a:close/>
                    <a:moveTo>
                      <a:pt x="653" y="563"/>
                    </a:moveTo>
                    <a:cubicBezTo>
                      <a:pt x="648" y="550"/>
                      <a:pt x="630" y="548"/>
                      <a:pt x="619" y="543"/>
                    </a:cubicBezTo>
                    <a:cubicBezTo>
                      <a:pt x="618" y="536"/>
                      <a:pt x="618" y="536"/>
                      <a:pt x="618" y="536"/>
                    </a:cubicBezTo>
                    <a:cubicBezTo>
                      <a:pt x="615" y="536"/>
                      <a:pt x="612" y="537"/>
                      <a:pt x="609" y="538"/>
                    </a:cubicBezTo>
                    <a:cubicBezTo>
                      <a:pt x="610" y="545"/>
                      <a:pt x="610" y="545"/>
                      <a:pt x="610" y="545"/>
                    </a:cubicBezTo>
                    <a:cubicBezTo>
                      <a:pt x="591" y="549"/>
                      <a:pt x="576" y="559"/>
                      <a:pt x="568" y="580"/>
                    </a:cubicBezTo>
                    <a:cubicBezTo>
                      <a:pt x="562" y="601"/>
                      <a:pt x="570" y="628"/>
                      <a:pt x="595" y="633"/>
                    </a:cubicBezTo>
                    <a:cubicBezTo>
                      <a:pt x="621" y="640"/>
                      <a:pt x="658" y="628"/>
                      <a:pt x="662" y="596"/>
                    </a:cubicBezTo>
                    <a:cubicBezTo>
                      <a:pt x="662" y="586"/>
                      <a:pt x="655" y="573"/>
                      <a:pt x="653" y="563"/>
                    </a:cubicBezTo>
                    <a:close/>
                    <a:moveTo>
                      <a:pt x="356" y="697"/>
                    </a:moveTo>
                    <a:cubicBezTo>
                      <a:pt x="342" y="688"/>
                      <a:pt x="329" y="678"/>
                      <a:pt x="316" y="669"/>
                    </a:cubicBezTo>
                    <a:cubicBezTo>
                      <a:pt x="314" y="671"/>
                      <a:pt x="314" y="671"/>
                      <a:pt x="314" y="671"/>
                    </a:cubicBezTo>
                    <a:cubicBezTo>
                      <a:pt x="305" y="737"/>
                      <a:pt x="293" y="802"/>
                      <a:pt x="276" y="865"/>
                    </a:cubicBezTo>
                    <a:cubicBezTo>
                      <a:pt x="256" y="939"/>
                      <a:pt x="233" y="1020"/>
                      <a:pt x="183" y="1078"/>
                    </a:cubicBezTo>
                    <a:cubicBezTo>
                      <a:pt x="156" y="1113"/>
                      <a:pt x="112" y="1141"/>
                      <a:pt x="72" y="1110"/>
                    </a:cubicBezTo>
                    <a:cubicBezTo>
                      <a:pt x="28" y="1074"/>
                      <a:pt x="15" y="1004"/>
                      <a:pt x="9" y="951"/>
                    </a:cubicBezTo>
                    <a:cubicBezTo>
                      <a:pt x="0" y="879"/>
                      <a:pt x="6" y="810"/>
                      <a:pt x="16" y="737"/>
                    </a:cubicBezTo>
                    <a:cubicBezTo>
                      <a:pt x="25" y="667"/>
                      <a:pt x="35" y="594"/>
                      <a:pt x="48" y="523"/>
                    </a:cubicBezTo>
                    <a:cubicBezTo>
                      <a:pt x="62" y="444"/>
                      <a:pt x="83" y="366"/>
                      <a:pt x="121" y="296"/>
                    </a:cubicBezTo>
                    <a:cubicBezTo>
                      <a:pt x="158" y="225"/>
                      <a:pt x="212" y="163"/>
                      <a:pt x="279" y="115"/>
                    </a:cubicBezTo>
                    <a:cubicBezTo>
                      <a:pt x="358" y="58"/>
                      <a:pt x="452" y="25"/>
                      <a:pt x="546" y="7"/>
                    </a:cubicBezTo>
                    <a:cubicBezTo>
                      <a:pt x="546" y="5"/>
                      <a:pt x="546" y="5"/>
                      <a:pt x="546" y="5"/>
                    </a:cubicBezTo>
                    <a:cubicBezTo>
                      <a:pt x="592" y="0"/>
                      <a:pt x="636" y="1"/>
                      <a:pt x="682" y="12"/>
                    </a:cubicBezTo>
                    <a:cubicBezTo>
                      <a:pt x="759" y="29"/>
                      <a:pt x="831" y="61"/>
                      <a:pt x="896" y="105"/>
                    </a:cubicBezTo>
                    <a:cubicBezTo>
                      <a:pt x="950" y="143"/>
                      <a:pt x="998" y="190"/>
                      <a:pt x="1035" y="244"/>
                    </a:cubicBezTo>
                    <a:cubicBezTo>
                      <a:pt x="1066" y="287"/>
                      <a:pt x="1092" y="331"/>
                      <a:pt x="1118" y="377"/>
                    </a:cubicBezTo>
                    <a:cubicBezTo>
                      <a:pt x="1171" y="472"/>
                      <a:pt x="1204" y="578"/>
                      <a:pt x="1243" y="678"/>
                    </a:cubicBezTo>
                    <a:cubicBezTo>
                      <a:pt x="1263" y="733"/>
                      <a:pt x="1287" y="792"/>
                      <a:pt x="1284" y="851"/>
                    </a:cubicBezTo>
                    <a:cubicBezTo>
                      <a:pt x="1281" y="873"/>
                      <a:pt x="1276" y="899"/>
                      <a:pt x="1257" y="915"/>
                    </a:cubicBezTo>
                    <a:cubicBezTo>
                      <a:pt x="1241" y="933"/>
                      <a:pt x="1217" y="935"/>
                      <a:pt x="1194" y="930"/>
                    </a:cubicBezTo>
                    <a:cubicBezTo>
                      <a:pt x="1158" y="920"/>
                      <a:pt x="1126" y="894"/>
                      <a:pt x="1097" y="870"/>
                    </a:cubicBezTo>
                    <a:cubicBezTo>
                      <a:pt x="1064" y="838"/>
                      <a:pt x="1035" y="802"/>
                      <a:pt x="1010" y="763"/>
                    </a:cubicBezTo>
                    <a:cubicBezTo>
                      <a:pt x="969" y="703"/>
                      <a:pt x="935" y="640"/>
                      <a:pt x="905" y="576"/>
                    </a:cubicBezTo>
                    <a:cubicBezTo>
                      <a:pt x="902" y="583"/>
                      <a:pt x="899" y="590"/>
                      <a:pt x="894" y="597"/>
                    </a:cubicBezTo>
                    <a:cubicBezTo>
                      <a:pt x="877" y="625"/>
                      <a:pt x="857" y="646"/>
                      <a:pt x="834" y="663"/>
                    </a:cubicBezTo>
                    <a:cubicBezTo>
                      <a:pt x="812" y="677"/>
                      <a:pt x="787" y="689"/>
                      <a:pt x="765" y="700"/>
                    </a:cubicBezTo>
                    <a:cubicBezTo>
                      <a:pt x="745" y="709"/>
                      <a:pt x="727" y="718"/>
                      <a:pt x="706" y="722"/>
                    </a:cubicBezTo>
                    <a:cubicBezTo>
                      <a:pt x="664" y="735"/>
                      <a:pt x="622" y="743"/>
                      <a:pt x="581" y="746"/>
                    </a:cubicBezTo>
                    <a:cubicBezTo>
                      <a:pt x="535" y="750"/>
                      <a:pt x="492" y="756"/>
                      <a:pt x="448" y="743"/>
                    </a:cubicBezTo>
                    <a:cubicBezTo>
                      <a:pt x="417" y="732"/>
                      <a:pt x="384" y="716"/>
                      <a:pt x="356" y="697"/>
                    </a:cubicBezTo>
                    <a:close/>
                    <a:moveTo>
                      <a:pt x="266" y="441"/>
                    </a:moveTo>
                    <a:cubicBezTo>
                      <a:pt x="265" y="446"/>
                      <a:pt x="265" y="446"/>
                      <a:pt x="265" y="446"/>
                    </a:cubicBezTo>
                    <a:cubicBezTo>
                      <a:pt x="264" y="453"/>
                      <a:pt x="266" y="463"/>
                      <a:pt x="265" y="470"/>
                    </a:cubicBezTo>
                    <a:cubicBezTo>
                      <a:pt x="265" y="483"/>
                      <a:pt x="262" y="493"/>
                      <a:pt x="264" y="505"/>
                    </a:cubicBezTo>
                    <a:cubicBezTo>
                      <a:pt x="267" y="516"/>
                      <a:pt x="275" y="522"/>
                      <a:pt x="287" y="520"/>
                    </a:cubicBezTo>
                    <a:cubicBezTo>
                      <a:pt x="289" y="520"/>
                      <a:pt x="291" y="519"/>
                      <a:pt x="293" y="519"/>
                    </a:cubicBezTo>
                    <a:cubicBezTo>
                      <a:pt x="298" y="552"/>
                      <a:pt x="298" y="552"/>
                      <a:pt x="298" y="552"/>
                    </a:cubicBezTo>
                    <a:cubicBezTo>
                      <a:pt x="308" y="552"/>
                      <a:pt x="322" y="547"/>
                      <a:pt x="331" y="543"/>
                    </a:cubicBezTo>
                    <a:cubicBezTo>
                      <a:pt x="340" y="539"/>
                      <a:pt x="349" y="537"/>
                      <a:pt x="355" y="531"/>
                    </a:cubicBezTo>
                    <a:cubicBezTo>
                      <a:pt x="371" y="523"/>
                      <a:pt x="383" y="511"/>
                      <a:pt x="393" y="497"/>
                    </a:cubicBezTo>
                    <a:cubicBezTo>
                      <a:pt x="412" y="469"/>
                      <a:pt x="426" y="429"/>
                      <a:pt x="417" y="394"/>
                    </a:cubicBezTo>
                    <a:cubicBezTo>
                      <a:pt x="392" y="404"/>
                      <a:pt x="392" y="404"/>
                      <a:pt x="392" y="404"/>
                    </a:cubicBezTo>
                    <a:cubicBezTo>
                      <a:pt x="391" y="405"/>
                      <a:pt x="390" y="406"/>
                      <a:pt x="390" y="406"/>
                    </a:cubicBezTo>
                    <a:cubicBezTo>
                      <a:pt x="392" y="394"/>
                      <a:pt x="394" y="379"/>
                      <a:pt x="390" y="370"/>
                    </a:cubicBezTo>
                    <a:cubicBezTo>
                      <a:pt x="380" y="357"/>
                      <a:pt x="371" y="359"/>
                      <a:pt x="356" y="362"/>
                    </a:cubicBezTo>
                    <a:cubicBezTo>
                      <a:pt x="347" y="364"/>
                      <a:pt x="340" y="368"/>
                      <a:pt x="331" y="372"/>
                    </a:cubicBezTo>
                    <a:cubicBezTo>
                      <a:pt x="324" y="373"/>
                      <a:pt x="315" y="377"/>
                      <a:pt x="312" y="385"/>
                    </a:cubicBezTo>
                    <a:cubicBezTo>
                      <a:pt x="308" y="391"/>
                      <a:pt x="313" y="405"/>
                      <a:pt x="319" y="411"/>
                    </a:cubicBezTo>
                    <a:cubicBezTo>
                      <a:pt x="320" y="413"/>
                      <a:pt x="320" y="413"/>
                      <a:pt x="320" y="413"/>
                    </a:cubicBezTo>
                    <a:cubicBezTo>
                      <a:pt x="321" y="418"/>
                      <a:pt x="325" y="420"/>
                      <a:pt x="329" y="421"/>
                    </a:cubicBezTo>
                    <a:cubicBezTo>
                      <a:pt x="300" y="434"/>
                      <a:pt x="300" y="434"/>
                      <a:pt x="300" y="434"/>
                    </a:cubicBezTo>
                    <a:cubicBezTo>
                      <a:pt x="297" y="433"/>
                      <a:pt x="294" y="433"/>
                      <a:pt x="290" y="434"/>
                    </a:cubicBezTo>
                    <a:cubicBezTo>
                      <a:pt x="281" y="435"/>
                      <a:pt x="275" y="441"/>
                      <a:pt x="266" y="441"/>
                    </a:cubicBezTo>
                    <a:close/>
                    <a:moveTo>
                      <a:pt x="274" y="278"/>
                    </a:moveTo>
                    <a:cubicBezTo>
                      <a:pt x="255" y="281"/>
                      <a:pt x="225" y="292"/>
                      <a:pt x="233" y="318"/>
                    </a:cubicBezTo>
                    <a:cubicBezTo>
                      <a:pt x="235" y="329"/>
                      <a:pt x="237" y="341"/>
                      <a:pt x="242" y="350"/>
                    </a:cubicBezTo>
                    <a:cubicBezTo>
                      <a:pt x="242" y="354"/>
                      <a:pt x="245" y="358"/>
                      <a:pt x="246" y="362"/>
                    </a:cubicBezTo>
                    <a:cubicBezTo>
                      <a:pt x="249" y="361"/>
                      <a:pt x="249" y="361"/>
                      <a:pt x="249" y="361"/>
                    </a:cubicBezTo>
                    <a:cubicBezTo>
                      <a:pt x="257" y="367"/>
                      <a:pt x="266" y="365"/>
                      <a:pt x="274" y="366"/>
                    </a:cubicBezTo>
                    <a:cubicBezTo>
                      <a:pt x="281" y="364"/>
                      <a:pt x="300" y="363"/>
                      <a:pt x="304" y="355"/>
                    </a:cubicBezTo>
                    <a:cubicBezTo>
                      <a:pt x="305" y="350"/>
                      <a:pt x="302" y="346"/>
                      <a:pt x="301" y="341"/>
                    </a:cubicBezTo>
                    <a:cubicBezTo>
                      <a:pt x="299" y="332"/>
                      <a:pt x="297" y="322"/>
                      <a:pt x="295" y="313"/>
                    </a:cubicBezTo>
                    <a:cubicBezTo>
                      <a:pt x="293" y="301"/>
                      <a:pt x="293" y="274"/>
                      <a:pt x="274" y="278"/>
                    </a:cubicBezTo>
                    <a:close/>
                    <a:moveTo>
                      <a:pt x="164" y="402"/>
                    </a:moveTo>
                    <a:cubicBezTo>
                      <a:pt x="160" y="420"/>
                      <a:pt x="160" y="457"/>
                      <a:pt x="184" y="457"/>
                    </a:cubicBezTo>
                    <a:cubicBezTo>
                      <a:pt x="196" y="457"/>
                      <a:pt x="207" y="447"/>
                      <a:pt x="218" y="443"/>
                    </a:cubicBezTo>
                    <a:cubicBezTo>
                      <a:pt x="229" y="438"/>
                      <a:pt x="238" y="434"/>
                      <a:pt x="236" y="420"/>
                    </a:cubicBezTo>
                    <a:cubicBezTo>
                      <a:pt x="235" y="405"/>
                      <a:pt x="226" y="385"/>
                      <a:pt x="208" y="381"/>
                    </a:cubicBezTo>
                    <a:cubicBezTo>
                      <a:pt x="194" y="375"/>
                      <a:pt x="175" y="390"/>
                      <a:pt x="162" y="400"/>
                    </a:cubicBezTo>
                    <a:lnTo>
                      <a:pt x="164" y="402"/>
                    </a:lnTo>
                    <a:close/>
                    <a:moveTo>
                      <a:pt x="911" y="216"/>
                    </a:moveTo>
                    <a:cubicBezTo>
                      <a:pt x="910" y="217"/>
                      <a:pt x="910" y="217"/>
                      <a:pt x="910" y="217"/>
                    </a:cubicBezTo>
                    <a:cubicBezTo>
                      <a:pt x="907" y="223"/>
                      <a:pt x="903" y="218"/>
                      <a:pt x="901" y="219"/>
                    </a:cubicBezTo>
                    <a:cubicBezTo>
                      <a:pt x="894" y="220"/>
                      <a:pt x="887" y="222"/>
                      <a:pt x="883" y="225"/>
                    </a:cubicBezTo>
                    <a:cubicBezTo>
                      <a:pt x="857" y="244"/>
                      <a:pt x="871" y="278"/>
                      <a:pt x="887" y="300"/>
                    </a:cubicBezTo>
                    <a:cubicBezTo>
                      <a:pt x="894" y="311"/>
                      <a:pt x="910" y="317"/>
                      <a:pt x="924" y="314"/>
                    </a:cubicBezTo>
                    <a:cubicBezTo>
                      <a:pt x="939" y="312"/>
                      <a:pt x="948" y="298"/>
                      <a:pt x="951" y="285"/>
                    </a:cubicBezTo>
                    <a:cubicBezTo>
                      <a:pt x="953" y="272"/>
                      <a:pt x="950" y="256"/>
                      <a:pt x="945" y="244"/>
                    </a:cubicBezTo>
                    <a:cubicBezTo>
                      <a:pt x="938" y="230"/>
                      <a:pt x="925" y="223"/>
                      <a:pt x="911" y="216"/>
                    </a:cubicBezTo>
                    <a:close/>
                    <a:moveTo>
                      <a:pt x="829" y="203"/>
                    </a:moveTo>
                    <a:cubicBezTo>
                      <a:pt x="850" y="195"/>
                      <a:pt x="854" y="169"/>
                      <a:pt x="848" y="148"/>
                    </a:cubicBezTo>
                    <a:cubicBezTo>
                      <a:pt x="839" y="126"/>
                      <a:pt x="816" y="125"/>
                      <a:pt x="798" y="131"/>
                    </a:cubicBezTo>
                    <a:cubicBezTo>
                      <a:pt x="794" y="134"/>
                      <a:pt x="792" y="135"/>
                      <a:pt x="790" y="138"/>
                    </a:cubicBezTo>
                    <a:cubicBezTo>
                      <a:pt x="783" y="144"/>
                      <a:pt x="783" y="154"/>
                      <a:pt x="784" y="161"/>
                    </a:cubicBezTo>
                    <a:cubicBezTo>
                      <a:pt x="784" y="183"/>
                      <a:pt x="800" y="214"/>
                      <a:pt x="829" y="203"/>
                    </a:cubicBezTo>
                    <a:close/>
                    <a:moveTo>
                      <a:pt x="862" y="344"/>
                    </a:moveTo>
                    <a:cubicBezTo>
                      <a:pt x="857" y="318"/>
                      <a:pt x="845" y="296"/>
                      <a:pt x="816" y="297"/>
                    </a:cubicBezTo>
                    <a:cubicBezTo>
                      <a:pt x="799" y="297"/>
                      <a:pt x="784" y="310"/>
                      <a:pt x="782" y="325"/>
                    </a:cubicBezTo>
                    <a:cubicBezTo>
                      <a:pt x="780" y="338"/>
                      <a:pt x="785" y="354"/>
                      <a:pt x="791" y="368"/>
                    </a:cubicBezTo>
                    <a:cubicBezTo>
                      <a:pt x="795" y="377"/>
                      <a:pt x="802" y="387"/>
                      <a:pt x="814" y="390"/>
                    </a:cubicBezTo>
                    <a:cubicBezTo>
                      <a:pt x="828" y="395"/>
                      <a:pt x="844" y="391"/>
                      <a:pt x="855" y="382"/>
                    </a:cubicBezTo>
                    <a:cubicBezTo>
                      <a:pt x="867" y="372"/>
                      <a:pt x="867" y="358"/>
                      <a:pt x="862" y="344"/>
                    </a:cubicBezTo>
                    <a:close/>
                    <a:moveTo>
                      <a:pt x="704" y="314"/>
                    </a:moveTo>
                    <a:cubicBezTo>
                      <a:pt x="702" y="302"/>
                      <a:pt x="686" y="278"/>
                      <a:pt x="673" y="280"/>
                    </a:cubicBezTo>
                    <a:cubicBezTo>
                      <a:pt x="667" y="277"/>
                      <a:pt x="658" y="279"/>
                      <a:pt x="652" y="282"/>
                    </a:cubicBezTo>
                    <a:cubicBezTo>
                      <a:pt x="635" y="295"/>
                      <a:pt x="632" y="318"/>
                      <a:pt x="642" y="335"/>
                    </a:cubicBezTo>
                    <a:cubicBezTo>
                      <a:pt x="661" y="354"/>
                      <a:pt x="661" y="354"/>
                      <a:pt x="661" y="354"/>
                    </a:cubicBezTo>
                    <a:cubicBezTo>
                      <a:pt x="671" y="357"/>
                      <a:pt x="680" y="355"/>
                      <a:pt x="689" y="348"/>
                    </a:cubicBezTo>
                    <a:cubicBezTo>
                      <a:pt x="700" y="341"/>
                      <a:pt x="704" y="326"/>
                      <a:pt x="704" y="314"/>
                    </a:cubicBezTo>
                    <a:close/>
                  </a:path>
                </a:pathLst>
              </a:custGeom>
              <a:solidFill>
                <a:srgbClr val="3C3C3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301" name="Freeform 374">
                <a:extLst>
                  <a:ext uri="{FF2B5EF4-FFF2-40B4-BE49-F238E27FC236}">
                    <a16:creationId xmlns:a16="http://schemas.microsoft.com/office/drawing/2014/main" id="{F5C08F3E-3852-41DA-92F0-86EEB5781F6D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431" y="1253"/>
                <a:ext cx="811" cy="1024"/>
              </a:xfrm>
              <a:custGeom>
                <a:avLst/>
                <a:gdLst>
                  <a:gd name="T0" fmla="*/ 2 w 765"/>
                  <a:gd name="T1" fmla="*/ 19 h 967"/>
                  <a:gd name="T2" fmla="*/ 82 w 765"/>
                  <a:gd name="T3" fmla="*/ 16 h 967"/>
                  <a:gd name="T4" fmla="*/ 186 w 765"/>
                  <a:gd name="T5" fmla="*/ 35 h 967"/>
                  <a:gd name="T6" fmla="*/ 342 w 765"/>
                  <a:gd name="T7" fmla="*/ 104 h 967"/>
                  <a:gd name="T8" fmla="*/ 571 w 765"/>
                  <a:gd name="T9" fmla="*/ 363 h 967"/>
                  <a:gd name="T10" fmla="*/ 709 w 765"/>
                  <a:gd name="T11" fmla="*/ 683 h 967"/>
                  <a:gd name="T12" fmla="*/ 751 w 765"/>
                  <a:gd name="T13" fmla="*/ 867 h 967"/>
                  <a:gd name="T14" fmla="*/ 700 w 765"/>
                  <a:gd name="T15" fmla="*/ 938 h 967"/>
                  <a:gd name="T16" fmla="*/ 609 w 765"/>
                  <a:gd name="T17" fmla="*/ 907 h 967"/>
                  <a:gd name="T18" fmla="*/ 485 w 765"/>
                  <a:gd name="T19" fmla="*/ 771 h 967"/>
                  <a:gd name="T20" fmla="*/ 380 w 765"/>
                  <a:gd name="T21" fmla="*/ 582 h 967"/>
                  <a:gd name="T22" fmla="*/ 373 w 765"/>
                  <a:gd name="T23" fmla="*/ 585 h 967"/>
                  <a:gd name="T24" fmla="*/ 469 w 765"/>
                  <a:gd name="T25" fmla="*/ 759 h 967"/>
                  <a:gd name="T26" fmla="*/ 585 w 765"/>
                  <a:gd name="T27" fmla="*/ 898 h 967"/>
                  <a:gd name="T28" fmla="*/ 722 w 765"/>
                  <a:gd name="T29" fmla="*/ 937 h 967"/>
                  <a:gd name="T30" fmla="*/ 755 w 765"/>
                  <a:gd name="T31" fmla="*/ 802 h 967"/>
                  <a:gd name="T32" fmla="*/ 692 w 765"/>
                  <a:gd name="T33" fmla="*/ 616 h 967"/>
                  <a:gd name="T34" fmla="*/ 617 w 765"/>
                  <a:gd name="T35" fmla="*/ 431 h 967"/>
                  <a:gd name="T36" fmla="*/ 395 w 765"/>
                  <a:gd name="T37" fmla="*/ 131 h 967"/>
                  <a:gd name="T38" fmla="*/ 215 w 765"/>
                  <a:gd name="T39" fmla="*/ 35 h 967"/>
                  <a:gd name="T40" fmla="*/ 1 w 765"/>
                  <a:gd name="T41" fmla="*/ 17 h 967"/>
                  <a:gd name="T42" fmla="*/ 2 w 765"/>
                  <a:gd name="T43" fmla="*/ 19 h 9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765" h="967">
                    <a:moveTo>
                      <a:pt x="2" y="19"/>
                    </a:moveTo>
                    <a:cubicBezTo>
                      <a:pt x="28" y="18"/>
                      <a:pt x="55" y="15"/>
                      <a:pt x="82" y="16"/>
                    </a:cubicBezTo>
                    <a:cubicBezTo>
                      <a:pt x="117" y="18"/>
                      <a:pt x="152" y="25"/>
                      <a:pt x="186" y="35"/>
                    </a:cubicBezTo>
                    <a:cubicBezTo>
                      <a:pt x="241" y="50"/>
                      <a:pt x="294" y="74"/>
                      <a:pt x="342" y="104"/>
                    </a:cubicBezTo>
                    <a:cubicBezTo>
                      <a:pt x="445" y="166"/>
                      <a:pt x="512" y="261"/>
                      <a:pt x="571" y="363"/>
                    </a:cubicBezTo>
                    <a:cubicBezTo>
                      <a:pt x="630" y="464"/>
                      <a:pt x="667" y="574"/>
                      <a:pt x="709" y="683"/>
                    </a:cubicBezTo>
                    <a:cubicBezTo>
                      <a:pt x="730" y="740"/>
                      <a:pt x="759" y="804"/>
                      <a:pt x="751" y="867"/>
                    </a:cubicBezTo>
                    <a:cubicBezTo>
                      <a:pt x="748" y="897"/>
                      <a:pt x="733" y="931"/>
                      <a:pt x="700" y="938"/>
                    </a:cubicBezTo>
                    <a:cubicBezTo>
                      <a:pt x="667" y="944"/>
                      <a:pt x="634" y="925"/>
                      <a:pt x="609" y="907"/>
                    </a:cubicBezTo>
                    <a:cubicBezTo>
                      <a:pt x="557" y="871"/>
                      <a:pt x="519" y="823"/>
                      <a:pt x="485" y="771"/>
                    </a:cubicBezTo>
                    <a:cubicBezTo>
                      <a:pt x="445" y="711"/>
                      <a:pt x="410" y="648"/>
                      <a:pt x="380" y="582"/>
                    </a:cubicBezTo>
                    <a:cubicBezTo>
                      <a:pt x="378" y="578"/>
                      <a:pt x="371" y="580"/>
                      <a:pt x="373" y="585"/>
                    </a:cubicBezTo>
                    <a:cubicBezTo>
                      <a:pt x="401" y="645"/>
                      <a:pt x="432" y="704"/>
                      <a:pt x="469" y="759"/>
                    </a:cubicBezTo>
                    <a:cubicBezTo>
                      <a:pt x="502" y="810"/>
                      <a:pt x="537" y="860"/>
                      <a:pt x="585" y="898"/>
                    </a:cubicBezTo>
                    <a:cubicBezTo>
                      <a:pt x="620" y="926"/>
                      <a:pt x="677" y="967"/>
                      <a:pt x="722" y="937"/>
                    </a:cubicBezTo>
                    <a:cubicBezTo>
                      <a:pt x="765" y="907"/>
                      <a:pt x="764" y="847"/>
                      <a:pt x="755" y="802"/>
                    </a:cubicBezTo>
                    <a:cubicBezTo>
                      <a:pt x="743" y="738"/>
                      <a:pt x="714" y="677"/>
                      <a:pt x="692" y="616"/>
                    </a:cubicBezTo>
                    <a:cubicBezTo>
                      <a:pt x="669" y="554"/>
                      <a:pt x="646" y="491"/>
                      <a:pt x="617" y="431"/>
                    </a:cubicBezTo>
                    <a:cubicBezTo>
                      <a:pt x="563" y="319"/>
                      <a:pt x="493" y="208"/>
                      <a:pt x="395" y="131"/>
                    </a:cubicBezTo>
                    <a:cubicBezTo>
                      <a:pt x="341" y="89"/>
                      <a:pt x="279" y="57"/>
                      <a:pt x="215" y="35"/>
                    </a:cubicBezTo>
                    <a:cubicBezTo>
                      <a:pt x="147" y="13"/>
                      <a:pt x="72" y="0"/>
                      <a:pt x="1" y="17"/>
                    </a:cubicBezTo>
                    <a:cubicBezTo>
                      <a:pt x="0" y="17"/>
                      <a:pt x="0" y="19"/>
                      <a:pt x="2" y="19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302" name="Freeform 375">
                <a:extLst>
                  <a:ext uri="{FF2B5EF4-FFF2-40B4-BE49-F238E27FC236}">
                    <a16:creationId xmlns:a16="http://schemas.microsoft.com/office/drawing/2014/main" id="{E7893E05-B80E-4B4D-A09E-3B24F486AA55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869" y="1267"/>
                <a:ext cx="588" cy="1221"/>
              </a:xfrm>
              <a:custGeom>
                <a:avLst/>
                <a:gdLst>
                  <a:gd name="T0" fmla="*/ 549 w 555"/>
                  <a:gd name="T1" fmla="*/ 1 h 1153"/>
                  <a:gd name="T2" fmla="*/ 202 w 555"/>
                  <a:gd name="T3" fmla="*/ 176 h 1153"/>
                  <a:gd name="T4" fmla="*/ 45 w 555"/>
                  <a:gd name="T5" fmla="*/ 524 h 1153"/>
                  <a:gd name="T6" fmla="*/ 12 w 555"/>
                  <a:gd name="T7" fmla="*/ 750 h 1153"/>
                  <a:gd name="T8" fmla="*/ 8 w 555"/>
                  <a:gd name="T9" fmla="*/ 959 h 1153"/>
                  <a:gd name="T10" fmla="*/ 60 w 555"/>
                  <a:gd name="T11" fmla="*/ 1099 h 1153"/>
                  <a:gd name="T12" fmla="*/ 182 w 555"/>
                  <a:gd name="T13" fmla="*/ 1089 h 1153"/>
                  <a:gd name="T14" fmla="*/ 272 w 555"/>
                  <a:gd name="T15" fmla="*/ 907 h 1153"/>
                  <a:gd name="T16" fmla="*/ 322 w 555"/>
                  <a:gd name="T17" fmla="*/ 670 h 1153"/>
                  <a:gd name="T18" fmla="*/ 313 w 555"/>
                  <a:gd name="T19" fmla="*/ 668 h 1153"/>
                  <a:gd name="T20" fmla="*/ 275 w 555"/>
                  <a:gd name="T21" fmla="*/ 861 h 1153"/>
                  <a:gd name="T22" fmla="*/ 215 w 555"/>
                  <a:gd name="T23" fmla="*/ 1026 h 1153"/>
                  <a:gd name="T24" fmla="*/ 70 w 555"/>
                  <a:gd name="T25" fmla="*/ 1097 h 1153"/>
                  <a:gd name="T26" fmla="*/ 18 w 555"/>
                  <a:gd name="T27" fmla="*/ 953 h 1153"/>
                  <a:gd name="T28" fmla="*/ 22 w 555"/>
                  <a:gd name="T29" fmla="*/ 750 h 1153"/>
                  <a:gd name="T30" fmla="*/ 51 w 555"/>
                  <a:gd name="T31" fmla="*/ 551 h 1153"/>
                  <a:gd name="T32" fmla="*/ 194 w 555"/>
                  <a:gd name="T33" fmla="*/ 199 h 1153"/>
                  <a:gd name="T34" fmla="*/ 550 w 555"/>
                  <a:gd name="T35" fmla="*/ 8 h 1153"/>
                  <a:gd name="T36" fmla="*/ 549 w 555"/>
                  <a:gd name="T37" fmla="*/ 1 h 11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555" h="1153">
                    <a:moveTo>
                      <a:pt x="549" y="1"/>
                    </a:moveTo>
                    <a:cubicBezTo>
                      <a:pt x="419" y="24"/>
                      <a:pt x="294" y="78"/>
                      <a:pt x="202" y="176"/>
                    </a:cubicBezTo>
                    <a:cubicBezTo>
                      <a:pt x="111" y="272"/>
                      <a:pt x="68" y="396"/>
                      <a:pt x="45" y="524"/>
                    </a:cubicBezTo>
                    <a:cubicBezTo>
                      <a:pt x="31" y="599"/>
                      <a:pt x="22" y="674"/>
                      <a:pt x="12" y="750"/>
                    </a:cubicBezTo>
                    <a:cubicBezTo>
                      <a:pt x="3" y="820"/>
                      <a:pt x="0" y="889"/>
                      <a:pt x="8" y="959"/>
                    </a:cubicBezTo>
                    <a:cubicBezTo>
                      <a:pt x="14" y="1008"/>
                      <a:pt x="26" y="1062"/>
                      <a:pt x="60" y="1099"/>
                    </a:cubicBezTo>
                    <a:cubicBezTo>
                      <a:pt x="98" y="1140"/>
                      <a:pt x="147" y="1126"/>
                      <a:pt x="182" y="1089"/>
                    </a:cubicBezTo>
                    <a:cubicBezTo>
                      <a:pt x="228" y="1038"/>
                      <a:pt x="253" y="972"/>
                      <a:pt x="272" y="907"/>
                    </a:cubicBezTo>
                    <a:cubicBezTo>
                      <a:pt x="294" y="829"/>
                      <a:pt x="310" y="750"/>
                      <a:pt x="322" y="670"/>
                    </a:cubicBezTo>
                    <a:cubicBezTo>
                      <a:pt x="323" y="664"/>
                      <a:pt x="313" y="662"/>
                      <a:pt x="313" y="668"/>
                    </a:cubicBezTo>
                    <a:cubicBezTo>
                      <a:pt x="303" y="733"/>
                      <a:pt x="292" y="798"/>
                      <a:pt x="275" y="861"/>
                    </a:cubicBezTo>
                    <a:cubicBezTo>
                      <a:pt x="260" y="918"/>
                      <a:pt x="244" y="975"/>
                      <a:pt x="215" y="1026"/>
                    </a:cubicBezTo>
                    <a:cubicBezTo>
                      <a:pt x="189" y="1073"/>
                      <a:pt x="127" y="1153"/>
                      <a:pt x="70" y="1097"/>
                    </a:cubicBezTo>
                    <a:cubicBezTo>
                      <a:pt x="34" y="1060"/>
                      <a:pt x="24" y="1002"/>
                      <a:pt x="18" y="953"/>
                    </a:cubicBezTo>
                    <a:cubicBezTo>
                      <a:pt x="10" y="885"/>
                      <a:pt x="14" y="818"/>
                      <a:pt x="22" y="750"/>
                    </a:cubicBezTo>
                    <a:cubicBezTo>
                      <a:pt x="31" y="684"/>
                      <a:pt x="39" y="617"/>
                      <a:pt x="51" y="551"/>
                    </a:cubicBezTo>
                    <a:cubicBezTo>
                      <a:pt x="72" y="424"/>
                      <a:pt x="108" y="299"/>
                      <a:pt x="194" y="199"/>
                    </a:cubicBezTo>
                    <a:cubicBezTo>
                      <a:pt x="286" y="93"/>
                      <a:pt x="415" y="37"/>
                      <a:pt x="550" y="8"/>
                    </a:cubicBezTo>
                    <a:cubicBezTo>
                      <a:pt x="555" y="7"/>
                      <a:pt x="554" y="0"/>
                      <a:pt x="549" y="1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303" name="Freeform 376">
                <a:extLst>
                  <a:ext uri="{FF2B5EF4-FFF2-40B4-BE49-F238E27FC236}">
                    <a16:creationId xmlns:a16="http://schemas.microsoft.com/office/drawing/2014/main" id="{3261BE76-15BC-4FAE-BE60-9071DBB4DC0F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683" y="1779"/>
                <a:ext cx="302" cy="177"/>
              </a:xfrm>
              <a:custGeom>
                <a:avLst/>
                <a:gdLst>
                  <a:gd name="T0" fmla="*/ 282 w 285"/>
                  <a:gd name="T1" fmla="*/ 0 h 167"/>
                  <a:gd name="T2" fmla="*/ 147 w 285"/>
                  <a:gd name="T3" fmla="*/ 55 h 167"/>
                  <a:gd name="T4" fmla="*/ 70 w 285"/>
                  <a:gd name="T5" fmla="*/ 112 h 167"/>
                  <a:gd name="T6" fmla="*/ 2 w 285"/>
                  <a:gd name="T7" fmla="*/ 163 h 167"/>
                  <a:gd name="T8" fmla="*/ 4 w 285"/>
                  <a:gd name="T9" fmla="*/ 166 h 167"/>
                  <a:gd name="T10" fmla="*/ 65 w 285"/>
                  <a:gd name="T11" fmla="*/ 122 h 167"/>
                  <a:gd name="T12" fmla="*/ 140 w 285"/>
                  <a:gd name="T13" fmla="*/ 70 h 167"/>
                  <a:gd name="T14" fmla="*/ 205 w 285"/>
                  <a:gd name="T15" fmla="*/ 27 h 167"/>
                  <a:gd name="T16" fmla="*/ 240 w 285"/>
                  <a:gd name="T17" fmla="*/ 13 h 167"/>
                  <a:gd name="T18" fmla="*/ 282 w 285"/>
                  <a:gd name="T19" fmla="*/ 4 h 167"/>
                  <a:gd name="T20" fmla="*/ 282 w 285"/>
                  <a:gd name="T21" fmla="*/ 0 h 1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285" h="167">
                    <a:moveTo>
                      <a:pt x="282" y="0"/>
                    </a:moveTo>
                    <a:cubicBezTo>
                      <a:pt x="234" y="2"/>
                      <a:pt x="184" y="23"/>
                      <a:pt x="147" y="55"/>
                    </a:cubicBezTo>
                    <a:cubicBezTo>
                      <a:pt x="123" y="76"/>
                      <a:pt x="95" y="93"/>
                      <a:pt x="70" y="112"/>
                    </a:cubicBezTo>
                    <a:cubicBezTo>
                      <a:pt x="47" y="129"/>
                      <a:pt x="24" y="146"/>
                      <a:pt x="2" y="163"/>
                    </a:cubicBezTo>
                    <a:cubicBezTo>
                      <a:pt x="0" y="164"/>
                      <a:pt x="2" y="167"/>
                      <a:pt x="4" y="166"/>
                    </a:cubicBezTo>
                    <a:cubicBezTo>
                      <a:pt x="25" y="153"/>
                      <a:pt x="45" y="137"/>
                      <a:pt x="65" y="122"/>
                    </a:cubicBezTo>
                    <a:cubicBezTo>
                      <a:pt x="90" y="104"/>
                      <a:pt x="116" y="88"/>
                      <a:pt x="140" y="70"/>
                    </a:cubicBezTo>
                    <a:cubicBezTo>
                      <a:pt x="162" y="53"/>
                      <a:pt x="180" y="38"/>
                      <a:pt x="205" y="27"/>
                    </a:cubicBezTo>
                    <a:cubicBezTo>
                      <a:pt x="217" y="22"/>
                      <a:pt x="228" y="17"/>
                      <a:pt x="240" y="13"/>
                    </a:cubicBezTo>
                    <a:cubicBezTo>
                      <a:pt x="254" y="8"/>
                      <a:pt x="269" y="9"/>
                      <a:pt x="282" y="4"/>
                    </a:cubicBezTo>
                    <a:cubicBezTo>
                      <a:pt x="285" y="3"/>
                      <a:pt x="284" y="0"/>
                      <a:pt x="282" y="0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304" name="Freeform 377">
                <a:extLst>
                  <a:ext uri="{FF2B5EF4-FFF2-40B4-BE49-F238E27FC236}">
                    <a16:creationId xmlns:a16="http://schemas.microsoft.com/office/drawing/2014/main" id="{72BB9977-22F2-4723-B2AF-6347D4524054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060" y="1921"/>
                <a:ext cx="580" cy="93"/>
              </a:xfrm>
              <a:custGeom>
                <a:avLst/>
                <a:gdLst>
                  <a:gd name="T0" fmla="*/ 546 w 548"/>
                  <a:gd name="T1" fmla="*/ 53 h 88"/>
                  <a:gd name="T2" fmla="*/ 409 w 548"/>
                  <a:gd name="T3" fmla="*/ 79 h 88"/>
                  <a:gd name="T4" fmla="*/ 334 w 548"/>
                  <a:gd name="T5" fmla="*/ 80 h 88"/>
                  <a:gd name="T6" fmla="*/ 258 w 548"/>
                  <a:gd name="T7" fmla="*/ 65 h 88"/>
                  <a:gd name="T8" fmla="*/ 128 w 548"/>
                  <a:gd name="T9" fmla="*/ 24 h 88"/>
                  <a:gd name="T10" fmla="*/ 67 w 548"/>
                  <a:gd name="T11" fmla="*/ 5 h 88"/>
                  <a:gd name="T12" fmla="*/ 3 w 548"/>
                  <a:gd name="T13" fmla="*/ 3 h 88"/>
                  <a:gd name="T14" fmla="*/ 4 w 548"/>
                  <a:gd name="T15" fmla="*/ 9 h 88"/>
                  <a:gd name="T16" fmla="*/ 81 w 548"/>
                  <a:gd name="T17" fmla="*/ 16 h 88"/>
                  <a:gd name="T18" fmla="*/ 149 w 548"/>
                  <a:gd name="T19" fmla="*/ 38 h 88"/>
                  <a:gd name="T20" fmla="*/ 278 w 548"/>
                  <a:gd name="T21" fmla="*/ 77 h 88"/>
                  <a:gd name="T22" fmla="*/ 417 w 548"/>
                  <a:gd name="T23" fmla="*/ 84 h 88"/>
                  <a:gd name="T24" fmla="*/ 547 w 548"/>
                  <a:gd name="T25" fmla="*/ 54 h 88"/>
                  <a:gd name="T26" fmla="*/ 546 w 548"/>
                  <a:gd name="T27" fmla="*/ 53 h 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548" h="88">
                    <a:moveTo>
                      <a:pt x="546" y="53"/>
                    </a:moveTo>
                    <a:cubicBezTo>
                      <a:pt x="505" y="71"/>
                      <a:pt x="454" y="76"/>
                      <a:pt x="409" y="79"/>
                    </a:cubicBezTo>
                    <a:cubicBezTo>
                      <a:pt x="385" y="80"/>
                      <a:pt x="359" y="83"/>
                      <a:pt x="334" y="80"/>
                    </a:cubicBezTo>
                    <a:cubicBezTo>
                      <a:pt x="309" y="77"/>
                      <a:pt x="283" y="72"/>
                      <a:pt x="258" y="65"/>
                    </a:cubicBezTo>
                    <a:cubicBezTo>
                      <a:pt x="214" y="53"/>
                      <a:pt x="172" y="37"/>
                      <a:pt x="128" y="24"/>
                    </a:cubicBezTo>
                    <a:cubicBezTo>
                      <a:pt x="108" y="17"/>
                      <a:pt x="88" y="9"/>
                      <a:pt x="67" y="5"/>
                    </a:cubicBezTo>
                    <a:cubicBezTo>
                      <a:pt x="46" y="0"/>
                      <a:pt x="24" y="0"/>
                      <a:pt x="3" y="3"/>
                    </a:cubicBezTo>
                    <a:cubicBezTo>
                      <a:pt x="0" y="3"/>
                      <a:pt x="0" y="9"/>
                      <a:pt x="4" y="9"/>
                    </a:cubicBezTo>
                    <a:cubicBezTo>
                      <a:pt x="30" y="9"/>
                      <a:pt x="55" y="8"/>
                      <a:pt x="81" y="16"/>
                    </a:cubicBezTo>
                    <a:cubicBezTo>
                      <a:pt x="103" y="24"/>
                      <a:pt x="126" y="30"/>
                      <a:pt x="149" y="38"/>
                    </a:cubicBezTo>
                    <a:cubicBezTo>
                      <a:pt x="192" y="53"/>
                      <a:pt x="234" y="67"/>
                      <a:pt x="278" y="77"/>
                    </a:cubicBezTo>
                    <a:cubicBezTo>
                      <a:pt x="325" y="88"/>
                      <a:pt x="369" y="88"/>
                      <a:pt x="417" y="84"/>
                    </a:cubicBezTo>
                    <a:cubicBezTo>
                      <a:pt x="459" y="80"/>
                      <a:pt x="508" y="73"/>
                      <a:pt x="547" y="54"/>
                    </a:cubicBezTo>
                    <a:cubicBezTo>
                      <a:pt x="548" y="54"/>
                      <a:pt x="547" y="53"/>
                      <a:pt x="546" y="53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305" name="Freeform 378">
                <a:extLst>
                  <a:ext uri="{FF2B5EF4-FFF2-40B4-BE49-F238E27FC236}">
                    <a16:creationId xmlns:a16="http://schemas.microsoft.com/office/drawing/2014/main" id="{3254CB0B-47A3-49F3-AD65-F45DA1615578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164" y="1843"/>
                <a:ext cx="676" cy="222"/>
              </a:xfrm>
              <a:custGeom>
                <a:avLst/>
                <a:gdLst>
                  <a:gd name="T0" fmla="*/ 634 w 638"/>
                  <a:gd name="T1" fmla="*/ 2 h 210"/>
                  <a:gd name="T2" fmla="*/ 531 w 638"/>
                  <a:gd name="T3" fmla="*/ 128 h 210"/>
                  <a:gd name="T4" fmla="*/ 348 w 638"/>
                  <a:gd name="T5" fmla="*/ 190 h 210"/>
                  <a:gd name="T6" fmla="*/ 158 w 638"/>
                  <a:gd name="T7" fmla="*/ 186 h 210"/>
                  <a:gd name="T8" fmla="*/ 8 w 638"/>
                  <a:gd name="T9" fmla="*/ 95 h 210"/>
                  <a:gd name="T10" fmla="*/ 4 w 638"/>
                  <a:gd name="T11" fmla="*/ 103 h 210"/>
                  <a:gd name="T12" fmla="*/ 165 w 638"/>
                  <a:gd name="T13" fmla="*/ 198 h 210"/>
                  <a:gd name="T14" fmla="*/ 260 w 638"/>
                  <a:gd name="T15" fmla="*/ 208 h 210"/>
                  <a:gd name="T16" fmla="*/ 357 w 638"/>
                  <a:gd name="T17" fmla="*/ 198 h 210"/>
                  <a:gd name="T18" fmla="*/ 541 w 638"/>
                  <a:gd name="T19" fmla="*/ 130 h 210"/>
                  <a:gd name="T20" fmla="*/ 638 w 638"/>
                  <a:gd name="T21" fmla="*/ 3 h 210"/>
                  <a:gd name="T22" fmla="*/ 634 w 638"/>
                  <a:gd name="T23" fmla="*/ 2 h 2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638" h="210">
                    <a:moveTo>
                      <a:pt x="634" y="2"/>
                    </a:moveTo>
                    <a:cubicBezTo>
                      <a:pt x="621" y="59"/>
                      <a:pt x="580" y="101"/>
                      <a:pt x="531" y="128"/>
                    </a:cubicBezTo>
                    <a:cubicBezTo>
                      <a:pt x="473" y="160"/>
                      <a:pt x="413" y="180"/>
                      <a:pt x="348" y="190"/>
                    </a:cubicBezTo>
                    <a:cubicBezTo>
                      <a:pt x="287" y="200"/>
                      <a:pt x="217" y="210"/>
                      <a:pt x="158" y="186"/>
                    </a:cubicBezTo>
                    <a:cubicBezTo>
                      <a:pt x="103" y="165"/>
                      <a:pt x="58" y="128"/>
                      <a:pt x="8" y="95"/>
                    </a:cubicBezTo>
                    <a:cubicBezTo>
                      <a:pt x="4" y="92"/>
                      <a:pt x="0" y="100"/>
                      <a:pt x="4" y="103"/>
                    </a:cubicBezTo>
                    <a:cubicBezTo>
                      <a:pt x="55" y="139"/>
                      <a:pt x="105" y="177"/>
                      <a:pt x="165" y="198"/>
                    </a:cubicBezTo>
                    <a:cubicBezTo>
                      <a:pt x="196" y="209"/>
                      <a:pt x="228" y="210"/>
                      <a:pt x="260" y="208"/>
                    </a:cubicBezTo>
                    <a:cubicBezTo>
                      <a:pt x="293" y="206"/>
                      <a:pt x="325" y="203"/>
                      <a:pt x="357" y="198"/>
                    </a:cubicBezTo>
                    <a:cubicBezTo>
                      <a:pt x="423" y="186"/>
                      <a:pt x="484" y="164"/>
                      <a:pt x="541" y="130"/>
                    </a:cubicBezTo>
                    <a:cubicBezTo>
                      <a:pt x="584" y="105"/>
                      <a:pt x="637" y="56"/>
                      <a:pt x="638" y="3"/>
                    </a:cubicBezTo>
                    <a:cubicBezTo>
                      <a:pt x="638" y="0"/>
                      <a:pt x="634" y="0"/>
                      <a:pt x="634" y="2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306" name="Freeform 379">
                <a:extLst>
                  <a:ext uri="{FF2B5EF4-FFF2-40B4-BE49-F238E27FC236}">
                    <a16:creationId xmlns:a16="http://schemas.microsoft.com/office/drawing/2014/main" id="{6ED54A43-91CF-46E0-9E2A-CC3098AEE388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982" y="2001"/>
                <a:ext cx="119" cy="326"/>
              </a:xfrm>
              <a:custGeom>
                <a:avLst/>
                <a:gdLst>
                  <a:gd name="T0" fmla="*/ 109 w 112"/>
                  <a:gd name="T1" fmla="*/ 2 h 308"/>
                  <a:gd name="T2" fmla="*/ 62 w 112"/>
                  <a:gd name="T3" fmla="*/ 137 h 308"/>
                  <a:gd name="T4" fmla="*/ 2 w 112"/>
                  <a:gd name="T5" fmla="*/ 304 h 308"/>
                  <a:gd name="T6" fmla="*/ 5 w 112"/>
                  <a:gd name="T7" fmla="*/ 306 h 308"/>
                  <a:gd name="T8" fmla="*/ 61 w 112"/>
                  <a:gd name="T9" fmla="*/ 165 h 308"/>
                  <a:gd name="T10" fmla="*/ 112 w 112"/>
                  <a:gd name="T11" fmla="*/ 3 h 308"/>
                  <a:gd name="T12" fmla="*/ 109 w 112"/>
                  <a:gd name="T13" fmla="*/ 2 h 3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12" h="308">
                    <a:moveTo>
                      <a:pt x="109" y="2"/>
                    </a:moveTo>
                    <a:cubicBezTo>
                      <a:pt x="90" y="45"/>
                      <a:pt x="71" y="91"/>
                      <a:pt x="62" y="137"/>
                    </a:cubicBezTo>
                    <a:cubicBezTo>
                      <a:pt x="49" y="196"/>
                      <a:pt x="39" y="255"/>
                      <a:pt x="2" y="304"/>
                    </a:cubicBezTo>
                    <a:cubicBezTo>
                      <a:pt x="0" y="306"/>
                      <a:pt x="3" y="308"/>
                      <a:pt x="5" y="306"/>
                    </a:cubicBezTo>
                    <a:cubicBezTo>
                      <a:pt x="39" y="266"/>
                      <a:pt x="50" y="215"/>
                      <a:pt x="61" y="165"/>
                    </a:cubicBezTo>
                    <a:cubicBezTo>
                      <a:pt x="73" y="110"/>
                      <a:pt x="90" y="55"/>
                      <a:pt x="112" y="3"/>
                    </a:cubicBezTo>
                    <a:cubicBezTo>
                      <a:pt x="112" y="1"/>
                      <a:pt x="110" y="0"/>
                      <a:pt x="109" y="2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307" name="Freeform 380">
                <a:extLst>
                  <a:ext uri="{FF2B5EF4-FFF2-40B4-BE49-F238E27FC236}">
                    <a16:creationId xmlns:a16="http://schemas.microsoft.com/office/drawing/2014/main" id="{DBCA862D-1B17-43A2-9176-30B08096490D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901" y="1860"/>
                <a:ext cx="178" cy="269"/>
              </a:xfrm>
              <a:custGeom>
                <a:avLst/>
                <a:gdLst>
                  <a:gd name="T0" fmla="*/ 1 w 168"/>
                  <a:gd name="T1" fmla="*/ 2 h 254"/>
                  <a:gd name="T2" fmla="*/ 65 w 168"/>
                  <a:gd name="T3" fmla="*/ 129 h 254"/>
                  <a:gd name="T4" fmla="*/ 161 w 168"/>
                  <a:gd name="T5" fmla="*/ 251 h 254"/>
                  <a:gd name="T6" fmla="*/ 166 w 168"/>
                  <a:gd name="T7" fmla="*/ 247 h 254"/>
                  <a:gd name="T8" fmla="*/ 69 w 168"/>
                  <a:gd name="T9" fmla="*/ 123 h 254"/>
                  <a:gd name="T10" fmla="*/ 4 w 168"/>
                  <a:gd name="T11" fmla="*/ 1 h 254"/>
                  <a:gd name="T12" fmla="*/ 1 w 168"/>
                  <a:gd name="T13" fmla="*/ 2 h 2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68" h="254">
                    <a:moveTo>
                      <a:pt x="1" y="2"/>
                    </a:moveTo>
                    <a:cubicBezTo>
                      <a:pt x="26" y="43"/>
                      <a:pt x="41" y="89"/>
                      <a:pt x="65" y="129"/>
                    </a:cubicBezTo>
                    <a:cubicBezTo>
                      <a:pt x="92" y="173"/>
                      <a:pt x="125" y="215"/>
                      <a:pt x="161" y="251"/>
                    </a:cubicBezTo>
                    <a:cubicBezTo>
                      <a:pt x="164" y="254"/>
                      <a:pt x="168" y="250"/>
                      <a:pt x="166" y="247"/>
                    </a:cubicBezTo>
                    <a:cubicBezTo>
                      <a:pt x="131" y="207"/>
                      <a:pt x="96" y="168"/>
                      <a:pt x="69" y="123"/>
                    </a:cubicBezTo>
                    <a:cubicBezTo>
                      <a:pt x="45" y="83"/>
                      <a:pt x="31" y="38"/>
                      <a:pt x="4" y="1"/>
                    </a:cubicBezTo>
                    <a:cubicBezTo>
                      <a:pt x="3" y="0"/>
                      <a:pt x="0" y="1"/>
                      <a:pt x="1" y="2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308" name="Freeform 381">
                <a:extLst>
                  <a:ext uri="{FF2B5EF4-FFF2-40B4-BE49-F238E27FC236}">
                    <a16:creationId xmlns:a16="http://schemas.microsoft.com/office/drawing/2014/main" id="{18E195D3-BCE1-45AD-B6A9-ED31531F96DB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069" y="2134"/>
                <a:ext cx="31" cy="23"/>
              </a:xfrm>
              <a:custGeom>
                <a:avLst/>
                <a:gdLst>
                  <a:gd name="T0" fmla="*/ 3 w 29"/>
                  <a:gd name="T1" fmla="*/ 7 h 22"/>
                  <a:gd name="T2" fmla="*/ 24 w 29"/>
                  <a:gd name="T3" fmla="*/ 21 h 22"/>
                  <a:gd name="T4" fmla="*/ 27 w 29"/>
                  <a:gd name="T5" fmla="*/ 16 h 22"/>
                  <a:gd name="T6" fmla="*/ 6 w 29"/>
                  <a:gd name="T7" fmla="*/ 2 h 22"/>
                  <a:gd name="T8" fmla="*/ 3 w 29"/>
                  <a:gd name="T9" fmla="*/ 7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9" h="22">
                    <a:moveTo>
                      <a:pt x="3" y="7"/>
                    </a:moveTo>
                    <a:cubicBezTo>
                      <a:pt x="9" y="12"/>
                      <a:pt x="16" y="18"/>
                      <a:pt x="24" y="21"/>
                    </a:cubicBezTo>
                    <a:cubicBezTo>
                      <a:pt x="27" y="22"/>
                      <a:pt x="29" y="18"/>
                      <a:pt x="27" y="16"/>
                    </a:cubicBezTo>
                    <a:cubicBezTo>
                      <a:pt x="21" y="10"/>
                      <a:pt x="13" y="6"/>
                      <a:pt x="6" y="2"/>
                    </a:cubicBezTo>
                    <a:cubicBezTo>
                      <a:pt x="3" y="0"/>
                      <a:pt x="0" y="5"/>
                      <a:pt x="3" y="7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309" name="Freeform 382">
                <a:extLst>
                  <a:ext uri="{FF2B5EF4-FFF2-40B4-BE49-F238E27FC236}">
                    <a16:creationId xmlns:a16="http://schemas.microsoft.com/office/drawing/2014/main" id="{F66F56AC-E7E0-4FD7-BFFE-9F899D146373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103" y="2161"/>
                <a:ext cx="17" cy="12"/>
              </a:xfrm>
              <a:custGeom>
                <a:avLst/>
                <a:gdLst>
                  <a:gd name="T0" fmla="*/ 3 w 16"/>
                  <a:gd name="T1" fmla="*/ 8 h 12"/>
                  <a:gd name="T2" fmla="*/ 10 w 16"/>
                  <a:gd name="T3" fmla="*/ 12 h 12"/>
                  <a:gd name="T4" fmla="*/ 15 w 16"/>
                  <a:gd name="T5" fmla="*/ 10 h 12"/>
                  <a:gd name="T6" fmla="*/ 12 w 16"/>
                  <a:gd name="T7" fmla="*/ 6 h 12"/>
                  <a:gd name="T8" fmla="*/ 6 w 16"/>
                  <a:gd name="T9" fmla="*/ 2 h 12"/>
                  <a:gd name="T10" fmla="*/ 3 w 16"/>
                  <a:gd name="T11" fmla="*/ 8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6" h="12">
                    <a:moveTo>
                      <a:pt x="3" y="8"/>
                    </a:moveTo>
                    <a:cubicBezTo>
                      <a:pt x="5" y="10"/>
                      <a:pt x="7" y="11"/>
                      <a:pt x="10" y="12"/>
                    </a:cubicBezTo>
                    <a:cubicBezTo>
                      <a:pt x="11" y="12"/>
                      <a:pt x="14" y="12"/>
                      <a:pt x="15" y="10"/>
                    </a:cubicBezTo>
                    <a:cubicBezTo>
                      <a:pt x="16" y="7"/>
                      <a:pt x="14" y="6"/>
                      <a:pt x="12" y="6"/>
                    </a:cubicBezTo>
                    <a:cubicBezTo>
                      <a:pt x="10" y="5"/>
                      <a:pt x="8" y="4"/>
                      <a:pt x="6" y="2"/>
                    </a:cubicBezTo>
                    <a:cubicBezTo>
                      <a:pt x="3" y="0"/>
                      <a:pt x="0" y="6"/>
                      <a:pt x="3" y="8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310" name="Freeform 383">
                <a:extLst>
                  <a:ext uri="{FF2B5EF4-FFF2-40B4-BE49-F238E27FC236}">
                    <a16:creationId xmlns:a16="http://schemas.microsoft.com/office/drawing/2014/main" id="{5BC0F5FA-6400-4413-B78B-C1BA1826F67A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137" y="2176"/>
                <a:ext cx="4" cy="4"/>
              </a:xfrm>
              <a:custGeom>
                <a:avLst/>
                <a:gdLst>
                  <a:gd name="T0" fmla="*/ 2 w 4"/>
                  <a:gd name="T1" fmla="*/ 3 h 3"/>
                  <a:gd name="T2" fmla="*/ 2 w 4"/>
                  <a:gd name="T3" fmla="*/ 0 h 3"/>
                  <a:gd name="T4" fmla="*/ 2 w 4"/>
                  <a:gd name="T5" fmla="*/ 3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4" h="3">
                    <a:moveTo>
                      <a:pt x="2" y="3"/>
                    </a:moveTo>
                    <a:cubicBezTo>
                      <a:pt x="3" y="3"/>
                      <a:pt x="4" y="0"/>
                      <a:pt x="2" y="0"/>
                    </a:cubicBezTo>
                    <a:cubicBezTo>
                      <a:pt x="0" y="0"/>
                      <a:pt x="0" y="3"/>
                      <a:pt x="2" y="3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311" name="Freeform 384">
                <a:extLst>
                  <a:ext uri="{FF2B5EF4-FFF2-40B4-BE49-F238E27FC236}">
                    <a16:creationId xmlns:a16="http://schemas.microsoft.com/office/drawing/2014/main" id="{C1198DFD-B6E1-4025-9EF2-DDEC1E3836CF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789" y="1487"/>
                <a:ext cx="98" cy="121"/>
              </a:xfrm>
              <a:custGeom>
                <a:avLst/>
                <a:gdLst>
                  <a:gd name="T0" fmla="*/ 45 w 93"/>
                  <a:gd name="T1" fmla="*/ 6 h 114"/>
                  <a:gd name="T2" fmla="*/ 29 w 93"/>
                  <a:gd name="T3" fmla="*/ 7 h 114"/>
                  <a:gd name="T4" fmla="*/ 11 w 93"/>
                  <a:gd name="T5" fmla="*/ 16 h 114"/>
                  <a:gd name="T6" fmla="*/ 0 w 93"/>
                  <a:gd name="T7" fmla="*/ 47 h 114"/>
                  <a:gd name="T8" fmla="*/ 42 w 93"/>
                  <a:gd name="T9" fmla="*/ 107 h 114"/>
                  <a:gd name="T10" fmla="*/ 91 w 93"/>
                  <a:gd name="T11" fmla="*/ 69 h 114"/>
                  <a:gd name="T12" fmla="*/ 43 w 93"/>
                  <a:gd name="T13" fmla="*/ 1 h 114"/>
                  <a:gd name="T14" fmla="*/ 41 w 93"/>
                  <a:gd name="T15" fmla="*/ 8 h 114"/>
                  <a:gd name="T16" fmla="*/ 81 w 93"/>
                  <a:gd name="T17" fmla="*/ 57 h 114"/>
                  <a:gd name="T18" fmla="*/ 70 w 93"/>
                  <a:gd name="T19" fmla="*/ 94 h 114"/>
                  <a:gd name="T20" fmla="*/ 25 w 93"/>
                  <a:gd name="T21" fmla="*/ 87 h 114"/>
                  <a:gd name="T22" fmla="*/ 8 w 93"/>
                  <a:gd name="T23" fmla="*/ 35 h 114"/>
                  <a:gd name="T24" fmla="*/ 38 w 93"/>
                  <a:gd name="T25" fmla="*/ 10 h 114"/>
                  <a:gd name="T26" fmla="*/ 46 w 93"/>
                  <a:gd name="T27" fmla="*/ 7 h 114"/>
                  <a:gd name="T28" fmla="*/ 45 w 93"/>
                  <a:gd name="T29" fmla="*/ 6 h 1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93" h="114">
                    <a:moveTo>
                      <a:pt x="45" y="6"/>
                    </a:moveTo>
                    <a:cubicBezTo>
                      <a:pt x="42" y="8"/>
                      <a:pt x="33" y="7"/>
                      <a:pt x="29" y="7"/>
                    </a:cubicBezTo>
                    <a:cubicBezTo>
                      <a:pt x="22" y="8"/>
                      <a:pt x="16" y="11"/>
                      <a:pt x="11" y="16"/>
                    </a:cubicBezTo>
                    <a:cubicBezTo>
                      <a:pt x="3" y="24"/>
                      <a:pt x="0" y="35"/>
                      <a:pt x="0" y="47"/>
                    </a:cubicBezTo>
                    <a:cubicBezTo>
                      <a:pt x="2" y="70"/>
                      <a:pt x="18" y="101"/>
                      <a:pt x="42" y="107"/>
                    </a:cubicBezTo>
                    <a:cubicBezTo>
                      <a:pt x="68" y="114"/>
                      <a:pt x="89" y="94"/>
                      <a:pt x="91" y="69"/>
                    </a:cubicBezTo>
                    <a:cubicBezTo>
                      <a:pt x="93" y="36"/>
                      <a:pt x="74" y="11"/>
                      <a:pt x="43" y="1"/>
                    </a:cubicBezTo>
                    <a:cubicBezTo>
                      <a:pt x="39" y="0"/>
                      <a:pt x="38" y="6"/>
                      <a:pt x="41" y="8"/>
                    </a:cubicBezTo>
                    <a:cubicBezTo>
                      <a:pt x="63" y="20"/>
                      <a:pt x="79" y="30"/>
                      <a:pt x="81" y="57"/>
                    </a:cubicBezTo>
                    <a:cubicBezTo>
                      <a:pt x="83" y="70"/>
                      <a:pt x="81" y="85"/>
                      <a:pt x="70" y="94"/>
                    </a:cubicBezTo>
                    <a:cubicBezTo>
                      <a:pt x="56" y="106"/>
                      <a:pt x="36" y="100"/>
                      <a:pt x="25" y="87"/>
                    </a:cubicBezTo>
                    <a:cubicBezTo>
                      <a:pt x="15" y="74"/>
                      <a:pt x="4" y="53"/>
                      <a:pt x="8" y="35"/>
                    </a:cubicBezTo>
                    <a:cubicBezTo>
                      <a:pt x="11" y="18"/>
                      <a:pt x="24" y="15"/>
                      <a:pt x="38" y="10"/>
                    </a:cubicBezTo>
                    <a:cubicBezTo>
                      <a:pt x="45" y="8"/>
                      <a:pt x="40" y="13"/>
                      <a:pt x="46" y="7"/>
                    </a:cubicBezTo>
                    <a:lnTo>
                      <a:pt x="45" y="6"/>
                    </a:ln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312" name="Freeform 385">
                <a:extLst>
                  <a:ext uri="{FF2B5EF4-FFF2-40B4-BE49-F238E27FC236}">
                    <a16:creationId xmlns:a16="http://schemas.microsoft.com/office/drawing/2014/main" id="{FF929CA2-CFE4-4A92-A6BD-E156BDF09527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671" y="1573"/>
                <a:ext cx="124" cy="123"/>
              </a:xfrm>
              <a:custGeom>
                <a:avLst/>
                <a:gdLst>
                  <a:gd name="T0" fmla="*/ 62 w 117"/>
                  <a:gd name="T1" fmla="*/ 4 h 116"/>
                  <a:gd name="T2" fmla="*/ 80 w 117"/>
                  <a:gd name="T3" fmla="*/ 103 h 116"/>
                  <a:gd name="T4" fmla="*/ 111 w 117"/>
                  <a:gd name="T5" fmla="*/ 84 h 116"/>
                  <a:gd name="T6" fmla="*/ 110 w 117"/>
                  <a:gd name="T7" fmla="*/ 46 h 116"/>
                  <a:gd name="T8" fmla="*/ 62 w 117"/>
                  <a:gd name="T9" fmla="*/ 2 h 116"/>
                  <a:gd name="T10" fmla="*/ 62 w 117"/>
                  <a:gd name="T11" fmla="*/ 8 h 116"/>
                  <a:gd name="T12" fmla="*/ 99 w 117"/>
                  <a:gd name="T13" fmla="*/ 35 h 116"/>
                  <a:gd name="T14" fmla="*/ 88 w 117"/>
                  <a:gd name="T15" fmla="*/ 94 h 116"/>
                  <a:gd name="T16" fmla="*/ 62 w 117"/>
                  <a:gd name="T17" fmla="*/ 6 h 116"/>
                  <a:gd name="T18" fmla="*/ 62 w 117"/>
                  <a:gd name="T19" fmla="*/ 4 h 1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17" h="116">
                    <a:moveTo>
                      <a:pt x="62" y="4"/>
                    </a:moveTo>
                    <a:cubicBezTo>
                      <a:pt x="0" y="7"/>
                      <a:pt x="24" y="110"/>
                      <a:pt x="80" y="103"/>
                    </a:cubicBezTo>
                    <a:cubicBezTo>
                      <a:pt x="92" y="101"/>
                      <a:pt x="105" y="95"/>
                      <a:pt x="111" y="84"/>
                    </a:cubicBezTo>
                    <a:cubicBezTo>
                      <a:pt x="117" y="72"/>
                      <a:pt x="113" y="59"/>
                      <a:pt x="110" y="46"/>
                    </a:cubicBezTo>
                    <a:cubicBezTo>
                      <a:pt x="104" y="22"/>
                      <a:pt x="90" y="0"/>
                      <a:pt x="62" y="2"/>
                    </a:cubicBezTo>
                    <a:cubicBezTo>
                      <a:pt x="58" y="2"/>
                      <a:pt x="58" y="8"/>
                      <a:pt x="62" y="8"/>
                    </a:cubicBezTo>
                    <a:cubicBezTo>
                      <a:pt x="80" y="10"/>
                      <a:pt x="92" y="18"/>
                      <a:pt x="99" y="35"/>
                    </a:cubicBezTo>
                    <a:cubicBezTo>
                      <a:pt x="108" y="56"/>
                      <a:pt x="114" y="83"/>
                      <a:pt x="88" y="94"/>
                    </a:cubicBezTo>
                    <a:cubicBezTo>
                      <a:pt x="35" y="116"/>
                      <a:pt x="5" y="17"/>
                      <a:pt x="62" y="6"/>
                    </a:cubicBezTo>
                    <a:cubicBezTo>
                      <a:pt x="64" y="6"/>
                      <a:pt x="63" y="4"/>
                      <a:pt x="62" y="4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313" name="Freeform 386">
                <a:extLst>
                  <a:ext uri="{FF2B5EF4-FFF2-40B4-BE49-F238E27FC236}">
                    <a16:creationId xmlns:a16="http://schemas.microsoft.com/office/drawing/2014/main" id="{0DDCA1D8-0602-4151-8577-756807A6322B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593" y="1679"/>
                <a:ext cx="142" cy="118"/>
              </a:xfrm>
              <a:custGeom>
                <a:avLst/>
                <a:gdLst>
                  <a:gd name="T0" fmla="*/ 61 w 134"/>
                  <a:gd name="T1" fmla="*/ 6 h 112"/>
                  <a:gd name="T2" fmla="*/ 64 w 134"/>
                  <a:gd name="T3" fmla="*/ 107 h 112"/>
                  <a:gd name="T4" fmla="*/ 55 w 134"/>
                  <a:gd name="T5" fmla="*/ 1 h 112"/>
                  <a:gd name="T6" fmla="*/ 54 w 134"/>
                  <a:gd name="T7" fmla="*/ 7 h 112"/>
                  <a:gd name="T8" fmla="*/ 100 w 134"/>
                  <a:gd name="T9" fmla="*/ 54 h 112"/>
                  <a:gd name="T10" fmla="*/ 60 w 134"/>
                  <a:gd name="T11" fmla="*/ 100 h 112"/>
                  <a:gd name="T12" fmla="*/ 25 w 134"/>
                  <a:gd name="T13" fmla="*/ 55 h 112"/>
                  <a:gd name="T14" fmla="*/ 61 w 134"/>
                  <a:gd name="T15" fmla="*/ 9 h 112"/>
                  <a:gd name="T16" fmla="*/ 61 w 134"/>
                  <a:gd name="T17" fmla="*/ 6 h 1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34" h="112">
                    <a:moveTo>
                      <a:pt x="61" y="6"/>
                    </a:moveTo>
                    <a:cubicBezTo>
                      <a:pt x="0" y="0"/>
                      <a:pt x="8" y="103"/>
                      <a:pt x="64" y="107"/>
                    </a:cubicBezTo>
                    <a:cubicBezTo>
                      <a:pt x="134" y="112"/>
                      <a:pt x="114" y="2"/>
                      <a:pt x="55" y="1"/>
                    </a:cubicBezTo>
                    <a:cubicBezTo>
                      <a:pt x="51" y="1"/>
                      <a:pt x="51" y="7"/>
                      <a:pt x="54" y="7"/>
                    </a:cubicBezTo>
                    <a:cubicBezTo>
                      <a:pt x="80" y="12"/>
                      <a:pt x="96" y="29"/>
                      <a:pt x="100" y="54"/>
                    </a:cubicBezTo>
                    <a:cubicBezTo>
                      <a:pt x="105" y="81"/>
                      <a:pt x="91" y="106"/>
                      <a:pt x="60" y="100"/>
                    </a:cubicBezTo>
                    <a:cubicBezTo>
                      <a:pt x="40" y="96"/>
                      <a:pt x="26" y="74"/>
                      <a:pt x="25" y="55"/>
                    </a:cubicBezTo>
                    <a:cubicBezTo>
                      <a:pt x="23" y="31"/>
                      <a:pt x="36" y="12"/>
                      <a:pt x="61" y="9"/>
                    </a:cubicBezTo>
                    <a:cubicBezTo>
                      <a:pt x="63" y="9"/>
                      <a:pt x="62" y="7"/>
                      <a:pt x="61" y="6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314" name="Freeform 387">
                <a:extLst>
                  <a:ext uri="{FF2B5EF4-FFF2-40B4-BE49-F238E27FC236}">
                    <a16:creationId xmlns:a16="http://schemas.microsoft.com/office/drawing/2014/main" id="{23B377B6-22F4-46C7-B8FD-BD6AAEA78F8C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467" y="1834"/>
                <a:ext cx="111" cy="106"/>
              </a:xfrm>
              <a:custGeom>
                <a:avLst/>
                <a:gdLst>
                  <a:gd name="T0" fmla="*/ 48 w 104"/>
                  <a:gd name="T1" fmla="*/ 5 h 100"/>
                  <a:gd name="T2" fmla="*/ 1 w 104"/>
                  <a:gd name="T3" fmla="*/ 58 h 100"/>
                  <a:gd name="T4" fmla="*/ 48 w 104"/>
                  <a:gd name="T5" fmla="*/ 100 h 100"/>
                  <a:gd name="T6" fmla="*/ 103 w 104"/>
                  <a:gd name="T7" fmla="*/ 60 h 100"/>
                  <a:gd name="T8" fmla="*/ 92 w 104"/>
                  <a:gd name="T9" fmla="*/ 19 h 100"/>
                  <a:gd name="T10" fmla="*/ 59 w 104"/>
                  <a:gd name="T11" fmla="*/ 1 h 100"/>
                  <a:gd name="T12" fmla="*/ 56 w 104"/>
                  <a:gd name="T13" fmla="*/ 8 h 100"/>
                  <a:gd name="T14" fmla="*/ 77 w 104"/>
                  <a:gd name="T15" fmla="*/ 16 h 100"/>
                  <a:gd name="T16" fmla="*/ 94 w 104"/>
                  <a:gd name="T17" fmla="*/ 45 h 100"/>
                  <a:gd name="T18" fmla="*/ 58 w 104"/>
                  <a:gd name="T19" fmla="*/ 93 h 100"/>
                  <a:gd name="T20" fmla="*/ 7 w 104"/>
                  <a:gd name="T21" fmla="*/ 56 h 100"/>
                  <a:gd name="T22" fmla="*/ 49 w 104"/>
                  <a:gd name="T23" fmla="*/ 8 h 100"/>
                  <a:gd name="T24" fmla="*/ 48 w 104"/>
                  <a:gd name="T25" fmla="*/ 5 h 1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04" h="100">
                    <a:moveTo>
                      <a:pt x="48" y="5"/>
                    </a:moveTo>
                    <a:cubicBezTo>
                      <a:pt x="21" y="8"/>
                      <a:pt x="0" y="30"/>
                      <a:pt x="1" y="58"/>
                    </a:cubicBezTo>
                    <a:cubicBezTo>
                      <a:pt x="3" y="84"/>
                      <a:pt x="22" y="100"/>
                      <a:pt x="48" y="100"/>
                    </a:cubicBezTo>
                    <a:cubicBezTo>
                      <a:pt x="72" y="100"/>
                      <a:pt x="99" y="86"/>
                      <a:pt x="103" y="60"/>
                    </a:cubicBezTo>
                    <a:cubicBezTo>
                      <a:pt x="104" y="48"/>
                      <a:pt x="98" y="30"/>
                      <a:pt x="92" y="19"/>
                    </a:cubicBezTo>
                    <a:cubicBezTo>
                      <a:pt x="85" y="8"/>
                      <a:pt x="70" y="5"/>
                      <a:pt x="59" y="1"/>
                    </a:cubicBezTo>
                    <a:cubicBezTo>
                      <a:pt x="55" y="0"/>
                      <a:pt x="52" y="6"/>
                      <a:pt x="56" y="8"/>
                    </a:cubicBezTo>
                    <a:cubicBezTo>
                      <a:pt x="63" y="11"/>
                      <a:pt x="71" y="12"/>
                      <a:pt x="77" y="16"/>
                    </a:cubicBezTo>
                    <a:cubicBezTo>
                      <a:pt x="88" y="22"/>
                      <a:pt x="90" y="34"/>
                      <a:pt x="94" y="45"/>
                    </a:cubicBezTo>
                    <a:cubicBezTo>
                      <a:pt x="102" y="70"/>
                      <a:pt x="82" y="89"/>
                      <a:pt x="58" y="93"/>
                    </a:cubicBezTo>
                    <a:cubicBezTo>
                      <a:pt x="33" y="97"/>
                      <a:pt x="8" y="83"/>
                      <a:pt x="7" y="56"/>
                    </a:cubicBezTo>
                    <a:cubicBezTo>
                      <a:pt x="7" y="31"/>
                      <a:pt x="27" y="15"/>
                      <a:pt x="49" y="8"/>
                    </a:cubicBezTo>
                    <a:cubicBezTo>
                      <a:pt x="50" y="7"/>
                      <a:pt x="49" y="5"/>
                      <a:pt x="48" y="5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315" name="Freeform 388">
                <a:extLst>
                  <a:ext uri="{FF2B5EF4-FFF2-40B4-BE49-F238E27FC236}">
                    <a16:creationId xmlns:a16="http://schemas.microsoft.com/office/drawing/2014/main" id="{6A183D2E-96FD-49D2-A653-058186C319AF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348" y="1818"/>
                <a:ext cx="339" cy="92"/>
              </a:xfrm>
              <a:custGeom>
                <a:avLst/>
                <a:gdLst>
                  <a:gd name="T0" fmla="*/ 3 w 320"/>
                  <a:gd name="T1" fmla="*/ 86 h 87"/>
                  <a:gd name="T2" fmla="*/ 56 w 320"/>
                  <a:gd name="T3" fmla="*/ 50 h 87"/>
                  <a:gd name="T4" fmla="*/ 139 w 320"/>
                  <a:gd name="T5" fmla="*/ 22 h 87"/>
                  <a:gd name="T6" fmla="*/ 316 w 320"/>
                  <a:gd name="T7" fmla="*/ 33 h 87"/>
                  <a:gd name="T8" fmla="*/ 318 w 320"/>
                  <a:gd name="T9" fmla="*/ 29 h 87"/>
                  <a:gd name="T10" fmla="*/ 138 w 320"/>
                  <a:gd name="T11" fmla="*/ 17 h 87"/>
                  <a:gd name="T12" fmla="*/ 95 w 320"/>
                  <a:gd name="T13" fmla="*/ 28 h 87"/>
                  <a:gd name="T14" fmla="*/ 64 w 320"/>
                  <a:gd name="T15" fmla="*/ 38 h 87"/>
                  <a:gd name="T16" fmla="*/ 1 w 320"/>
                  <a:gd name="T17" fmla="*/ 84 h 87"/>
                  <a:gd name="T18" fmla="*/ 3 w 320"/>
                  <a:gd name="T19" fmla="*/ 86 h 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20" h="87">
                    <a:moveTo>
                      <a:pt x="3" y="86"/>
                    </a:moveTo>
                    <a:cubicBezTo>
                      <a:pt x="21" y="75"/>
                      <a:pt x="38" y="62"/>
                      <a:pt x="56" y="50"/>
                    </a:cubicBezTo>
                    <a:cubicBezTo>
                      <a:pt x="81" y="34"/>
                      <a:pt x="110" y="29"/>
                      <a:pt x="139" y="22"/>
                    </a:cubicBezTo>
                    <a:cubicBezTo>
                      <a:pt x="200" y="8"/>
                      <a:pt x="257" y="9"/>
                      <a:pt x="316" y="33"/>
                    </a:cubicBezTo>
                    <a:cubicBezTo>
                      <a:pt x="318" y="34"/>
                      <a:pt x="320" y="30"/>
                      <a:pt x="318" y="29"/>
                    </a:cubicBezTo>
                    <a:cubicBezTo>
                      <a:pt x="262" y="0"/>
                      <a:pt x="197" y="4"/>
                      <a:pt x="138" y="17"/>
                    </a:cubicBezTo>
                    <a:cubicBezTo>
                      <a:pt x="123" y="20"/>
                      <a:pt x="110" y="25"/>
                      <a:pt x="95" y="28"/>
                    </a:cubicBezTo>
                    <a:cubicBezTo>
                      <a:pt x="84" y="30"/>
                      <a:pt x="74" y="32"/>
                      <a:pt x="64" y="38"/>
                    </a:cubicBezTo>
                    <a:cubicBezTo>
                      <a:pt x="42" y="52"/>
                      <a:pt x="18" y="65"/>
                      <a:pt x="1" y="84"/>
                    </a:cubicBezTo>
                    <a:cubicBezTo>
                      <a:pt x="0" y="86"/>
                      <a:pt x="2" y="87"/>
                      <a:pt x="3" y="86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316" name="Freeform 389">
                <a:extLst>
                  <a:ext uri="{FF2B5EF4-FFF2-40B4-BE49-F238E27FC236}">
                    <a16:creationId xmlns:a16="http://schemas.microsoft.com/office/drawing/2014/main" id="{A26EBB0A-DF7B-4C42-9CDC-92FCCBB7494B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700" y="1392"/>
                <a:ext cx="81" cy="101"/>
              </a:xfrm>
              <a:custGeom>
                <a:avLst/>
                <a:gdLst>
                  <a:gd name="T0" fmla="*/ 17 w 77"/>
                  <a:gd name="T1" fmla="*/ 10 h 95"/>
                  <a:gd name="T2" fmla="*/ 1 w 77"/>
                  <a:gd name="T3" fmla="*/ 34 h 95"/>
                  <a:gd name="T4" fmla="*/ 6 w 77"/>
                  <a:gd name="T5" fmla="*/ 66 h 95"/>
                  <a:gd name="T6" fmla="*/ 55 w 77"/>
                  <a:gd name="T7" fmla="*/ 83 h 95"/>
                  <a:gd name="T8" fmla="*/ 69 w 77"/>
                  <a:gd name="T9" fmla="*/ 25 h 95"/>
                  <a:gd name="T10" fmla="*/ 16 w 77"/>
                  <a:gd name="T11" fmla="*/ 8 h 95"/>
                  <a:gd name="T12" fmla="*/ 18 w 77"/>
                  <a:gd name="T13" fmla="*/ 13 h 95"/>
                  <a:gd name="T14" fmla="*/ 65 w 77"/>
                  <a:gd name="T15" fmla="*/ 32 h 95"/>
                  <a:gd name="T16" fmla="*/ 42 w 77"/>
                  <a:gd name="T17" fmla="*/ 82 h 95"/>
                  <a:gd name="T18" fmla="*/ 8 w 77"/>
                  <a:gd name="T19" fmla="*/ 55 h 95"/>
                  <a:gd name="T20" fmla="*/ 18 w 77"/>
                  <a:gd name="T21" fmla="*/ 11 h 95"/>
                  <a:gd name="T22" fmla="*/ 17 w 77"/>
                  <a:gd name="T23" fmla="*/ 10 h 9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77" h="95">
                    <a:moveTo>
                      <a:pt x="17" y="10"/>
                    </a:moveTo>
                    <a:cubicBezTo>
                      <a:pt x="7" y="16"/>
                      <a:pt x="1" y="22"/>
                      <a:pt x="1" y="34"/>
                    </a:cubicBezTo>
                    <a:cubicBezTo>
                      <a:pt x="0" y="44"/>
                      <a:pt x="2" y="56"/>
                      <a:pt x="6" y="66"/>
                    </a:cubicBezTo>
                    <a:cubicBezTo>
                      <a:pt x="15" y="84"/>
                      <a:pt x="36" y="95"/>
                      <a:pt x="55" y="83"/>
                    </a:cubicBezTo>
                    <a:cubicBezTo>
                      <a:pt x="73" y="71"/>
                      <a:pt x="77" y="43"/>
                      <a:pt x="69" y="25"/>
                    </a:cubicBezTo>
                    <a:cubicBezTo>
                      <a:pt x="60" y="5"/>
                      <a:pt x="35" y="0"/>
                      <a:pt x="16" y="8"/>
                    </a:cubicBezTo>
                    <a:cubicBezTo>
                      <a:pt x="14" y="10"/>
                      <a:pt x="15" y="14"/>
                      <a:pt x="18" y="13"/>
                    </a:cubicBezTo>
                    <a:cubicBezTo>
                      <a:pt x="37" y="10"/>
                      <a:pt x="59" y="9"/>
                      <a:pt x="65" y="32"/>
                    </a:cubicBezTo>
                    <a:cubicBezTo>
                      <a:pt x="70" y="51"/>
                      <a:pt x="64" y="77"/>
                      <a:pt x="42" y="82"/>
                    </a:cubicBezTo>
                    <a:cubicBezTo>
                      <a:pt x="24" y="85"/>
                      <a:pt x="12" y="70"/>
                      <a:pt x="8" y="55"/>
                    </a:cubicBezTo>
                    <a:cubicBezTo>
                      <a:pt x="3" y="38"/>
                      <a:pt x="4" y="22"/>
                      <a:pt x="18" y="11"/>
                    </a:cubicBezTo>
                    <a:cubicBezTo>
                      <a:pt x="18" y="11"/>
                      <a:pt x="18" y="10"/>
                      <a:pt x="17" y="10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317" name="Freeform 390">
                <a:extLst>
                  <a:ext uri="{FF2B5EF4-FFF2-40B4-BE49-F238E27FC236}">
                    <a16:creationId xmlns:a16="http://schemas.microsoft.com/office/drawing/2014/main" id="{4057221B-04B2-40F6-A01A-98EA8FE257DF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611" y="1470"/>
                <a:ext cx="80" cy="96"/>
              </a:xfrm>
              <a:custGeom>
                <a:avLst/>
                <a:gdLst>
                  <a:gd name="T0" fmla="*/ 35 w 76"/>
                  <a:gd name="T1" fmla="*/ 0 h 90"/>
                  <a:gd name="T2" fmla="*/ 8 w 76"/>
                  <a:gd name="T3" fmla="*/ 43 h 90"/>
                  <a:gd name="T4" fmla="*/ 34 w 76"/>
                  <a:gd name="T5" fmla="*/ 82 h 90"/>
                  <a:gd name="T6" fmla="*/ 74 w 76"/>
                  <a:gd name="T7" fmla="*/ 54 h 90"/>
                  <a:gd name="T8" fmla="*/ 66 w 76"/>
                  <a:gd name="T9" fmla="*/ 14 h 90"/>
                  <a:gd name="T10" fmla="*/ 37 w 76"/>
                  <a:gd name="T11" fmla="*/ 4 h 90"/>
                  <a:gd name="T12" fmla="*/ 36 w 76"/>
                  <a:gd name="T13" fmla="*/ 7 h 90"/>
                  <a:gd name="T14" fmla="*/ 67 w 76"/>
                  <a:gd name="T15" fmla="*/ 24 h 90"/>
                  <a:gd name="T16" fmla="*/ 70 w 76"/>
                  <a:gd name="T17" fmla="*/ 50 h 90"/>
                  <a:gd name="T18" fmla="*/ 21 w 76"/>
                  <a:gd name="T19" fmla="*/ 72 h 90"/>
                  <a:gd name="T20" fmla="*/ 36 w 76"/>
                  <a:gd name="T21" fmla="*/ 2 h 90"/>
                  <a:gd name="T22" fmla="*/ 35 w 76"/>
                  <a:gd name="T23" fmla="*/ 0 h 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76" h="90">
                    <a:moveTo>
                      <a:pt x="35" y="0"/>
                    </a:moveTo>
                    <a:cubicBezTo>
                      <a:pt x="17" y="9"/>
                      <a:pt x="8" y="23"/>
                      <a:pt x="8" y="43"/>
                    </a:cubicBezTo>
                    <a:cubicBezTo>
                      <a:pt x="8" y="58"/>
                      <a:pt x="17" y="79"/>
                      <a:pt x="34" y="82"/>
                    </a:cubicBezTo>
                    <a:cubicBezTo>
                      <a:pt x="52" y="85"/>
                      <a:pt x="70" y="72"/>
                      <a:pt x="74" y="54"/>
                    </a:cubicBezTo>
                    <a:cubicBezTo>
                      <a:pt x="76" y="42"/>
                      <a:pt x="74" y="24"/>
                      <a:pt x="66" y="14"/>
                    </a:cubicBezTo>
                    <a:cubicBezTo>
                      <a:pt x="59" y="5"/>
                      <a:pt x="47" y="4"/>
                      <a:pt x="37" y="4"/>
                    </a:cubicBezTo>
                    <a:cubicBezTo>
                      <a:pt x="34" y="4"/>
                      <a:pt x="34" y="7"/>
                      <a:pt x="36" y="7"/>
                    </a:cubicBezTo>
                    <a:cubicBezTo>
                      <a:pt x="50" y="9"/>
                      <a:pt x="61" y="11"/>
                      <a:pt x="67" y="24"/>
                    </a:cubicBezTo>
                    <a:cubicBezTo>
                      <a:pt x="71" y="32"/>
                      <a:pt x="71" y="41"/>
                      <a:pt x="70" y="50"/>
                    </a:cubicBezTo>
                    <a:cubicBezTo>
                      <a:pt x="68" y="71"/>
                      <a:pt x="39" y="90"/>
                      <a:pt x="21" y="72"/>
                    </a:cubicBezTo>
                    <a:cubicBezTo>
                      <a:pt x="0" y="49"/>
                      <a:pt x="10" y="15"/>
                      <a:pt x="36" y="2"/>
                    </a:cubicBezTo>
                    <a:cubicBezTo>
                      <a:pt x="37" y="1"/>
                      <a:pt x="36" y="0"/>
                      <a:pt x="35" y="0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318" name="Freeform 391">
                <a:extLst>
                  <a:ext uri="{FF2B5EF4-FFF2-40B4-BE49-F238E27FC236}">
                    <a16:creationId xmlns:a16="http://schemas.microsoft.com/office/drawing/2014/main" id="{82E300C2-AE38-4C82-A3CA-4977EEB69C0A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541" y="1552"/>
                <a:ext cx="46" cy="70"/>
              </a:xfrm>
              <a:custGeom>
                <a:avLst/>
                <a:gdLst>
                  <a:gd name="T0" fmla="*/ 43 w 44"/>
                  <a:gd name="T1" fmla="*/ 8 h 66"/>
                  <a:gd name="T2" fmla="*/ 7 w 44"/>
                  <a:gd name="T3" fmla="*/ 22 h 66"/>
                  <a:gd name="T4" fmla="*/ 10 w 44"/>
                  <a:gd name="T5" fmla="*/ 65 h 66"/>
                  <a:gd name="T6" fmla="*/ 13 w 44"/>
                  <a:gd name="T7" fmla="*/ 63 h 66"/>
                  <a:gd name="T8" fmla="*/ 9 w 44"/>
                  <a:gd name="T9" fmla="*/ 32 h 66"/>
                  <a:gd name="T10" fmla="*/ 42 w 44"/>
                  <a:gd name="T11" fmla="*/ 10 h 66"/>
                  <a:gd name="T12" fmla="*/ 43 w 44"/>
                  <a:gd name="T13" fmla="*/ 8 h 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4" h="66">
                    <a:moveTo>
                      <a:pt x="43" y="8"/>
                    </a:moveTo>
                    <a:cubicBezTo>
                      <a:pt x="29" y="0"/>
                      <a:pt x="14" y="9"/>
                      <a:pt x="7" y="22"/>
                    </a:cubicBezTo>
                    <a:cubicBezTo>
                      <a:pt x="0" y="36"/>
                      <a:pt x="2" y="52"/>
                      <a:pt x="10" y="65"/>
                    </a:cubicBezTo>
                    <a:cubicBezTo>
                      <a:pt x="11" y="66"/>
                      <a:pt x="14" y="65"/>
                      <a:pt x="13" y="63"/>
                    </a:cubicBezTo>
                    <a:cubicBezTo>
                      <a:pt x="8" y="54"/>
                      <a:pt x="6" y="43"/>
                      <a:pt x="9" y="32"/>
                    </a:cubicBezTo>
                    <a:cubicBezTo>
                      <a:pt x="13" y="19"/>
                      <a:pt x="27" y="4"/>
                      <a:pt x="42" y="10"/>
                    </a:cubicBezTo>
                    <a:cubicBezTo>
                      <a:pt x="43" y="11"/>
                      <a:pt x="44" y="9"/>
                      <a:pt x="43" y="8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319" name="Freeform 392">
                <a:extLst>
                  <a:ext uri="{FF2B5EF4-FFF2-40B4-BE49-F238E27FC236}">
                    <a16:creationId xmlns:a16="http://schemas.microsoft.com/office/drawing/2014/main" id="{DC148E83-BD5B-41CE-B0C7-A1B0ED112B2C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572" y="1549"/>
                <a:ext cx="53" cy="97"/>
              </a:xfrm>
              <a:custGeom>
                <a:avLst/>
                <a:gdLst>
                  <a:gd name="T0" fmla="*/ 0 w 50"/>
                  <a:gd name="T1" fmla="*/ 86 h 92"/>
                  <a:gd name="T2" fmla="*/ 44 w 50"/>
                  <a:gd name="T3" fmla="*/ 45 h 92"/>
                  <a:gd name="T4" fmla="*/ 8 w 50"/>
                  <a:gd name="T5" fmla="*/ 10 h 92"/>
                  <a:gd name="T6" fmla="*/ 10 w 50"/>
                  <a:gd name="T7" fmla="*/ 15 h 92"/>
                  <a:gd name="T8" fmla="*/ 41 w 50"/>
                  <a:gd name="T9" fmla="*/ 41 h 92"/>
                  <a:gd name="T10" fmla="*/ 0 w 50"/>
                  <a:gd name="T11" fmla="*/ 85 h 92"/>
                  <a:gd name="T12" fmla="*/ 0 w 50"/>
                  <a:gd name="T13" fmla="*/ 86 h 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50" h="92">
                    <a:moveTo>
                      <a:pt x="0" y="86"/>
                    </a:moveTo>
                    <a:cubicBezTo>
                      <a:pt x="24" y="92"/>
                      <a:pt x="47" y="71"/>
                      <a:pt x="44" y="45"/>
                    </a:cubicBezTo>
                    <a:cubicBezTo>
                      <a:pt x="43" y="32"/>
                      <a:pt x="25" y="0"/>
                      <a:pt x="8" y="10"/>
                    </a:cubicBezTo>
                    <a:cubicBezTo>
                      <a:pt x="6" y="12"/>
                      <a:pt x="8" y="15"/>
                      <a:pt x="10" y="15"/>
                    </a:cubicBezTo>
                    <a:cubicBezTo>
                      <a:pt x="23" y="16"/>
                      <a:pt x="36" y="28"/>
                      <a:pt x="41" y="41"/>
                    </a:cubicBezTo>
                    <a:cubicBezTo>
                      <a:pt x="50" y="66"/>
                      <a:pt x="23" y="89"/>
                      <a:pt x="0" y="85"/>
                    </a:cubicBezTo>
                    <a:lnTo>
                      <a:pt x="0" y="86"/>
                    </a:ln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320" name="Freeform 393">
                <a:extLst>
                  <a:ext uri="{FF2B5EF4-FFF2-40B4-BE49-F238E27FC236}">
                    <a16:creationId xmlns:a16="http://schemas.microsoft.com/office/drawing/2014/main" id="{D38DFF35-B0B5-4C64-B934-673BC1F6D117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422" y="1533"/>
                <a:ext cx="94" cy="55"/>
              </a:xfrm>
              <a:custGeom>
                <a:avLst/>
                <a:gdLst>
                  <a:gd name="T0" fmla="*/ 8 w 89"/>
                  <a:gd name="T1" fmla="*/ 52 h 52"/>
                  <a:gd name="T2" fmla="*/ 48 w 89"/>
                  <a:gd name="T3" fmla="*/ 42 h 52"/>
                  <a:gd name="T4" fmla="*/ 71 w 89"/>
                  <a:gd name="T5" fmla="*/ 40 h 52"/>
                  <a:gd name="T6" fmla="*/ 78 w 89"/>
                  <a:gd name="T7" fmla="*/ 13 h 52"/>
                  <a:gd name="T8" fmla="*/ 27 w 89"/>
                  <a:gd name="T9" fmla="*/ 15 h 52"/>
                  <a:gd name="T10" fmla="*/ 14 w 89"/>
                  <a:gd name="T11" fmla="*/ 47 h 52"/>
                  <a:gd name="T12" fmla="*/ 18 w 89"/>
                  <a:gd name="T13" fmla="*/ 43 h 52"/>
                  <a:gd name="T14" fmla="*/ 50 w 89"/>
                  <a:gd name="T15" fmla="*/ 15 h 52"/>
                  <a:gd name="T16" fmla="*/ 59 w 89"/>
                  <a:gd name="T17" fmla="*/ 14 h 52"/>
                  <a:gd name="T18" fmla="*/ 67 w 89"/>
                  <a:gd name="T19" fmla="*/ 15 h 52"/>
                  <a:gd name="T20" fmla="*/ 73 w 89"/>
                  <a:gd name="T21" fmla="*/ 24 h 52"/>
                  <a:gd name="T22" fmla="*/ 69 w 89"/>
                  <a:gd name="T23" fmla="*/ 34 h 52"/>
                  <a:gd name="T24" fmla="*/ 60 w 89"/>
                  <a:gd name="T25" fmla="*/ 35 h 52"/>
                  <a:gd name="T26" fmla="*/ 41 w 89"/>
                  <a:gd name="T27" fmla="*/ 37 h 52"/>
                  <a:gd name="T28" fmla="*/ 7 w 89"/>
                  <a:gd name="T29" fmla="*/ 50 h 52"/>
                  <a:gd name="T30" fmla="*/ 8 w 89"/>
                  <a:gd name="T31" fmla="*/ 52 h 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89" h="52">
                    <a:moveTo>
                      <a:pt x="8" y="52"/>
                    </a:moveTo>
                    <a:cubicBezTo>
                      <a:pt x="21" y="47"/>
                      <a:pt x="34" y="42"/>
                      <a:pt x="48" y="42"/>
                    </a:cubicBezTo>
                    <a:cubicBezTo>
                      <a:pt x="56" y="42"/>
                      <a:pt x="64" y="42"/>
                      <a:pt x="71" y="40"/>
                    </a:cubicBezTo>
                    <a:cubicBezTo>
                      <a:pt x="84" y="36"/>
                      <a:pt x="89" y="24"/>
                      <a:pt x="78" y="13"/>
                    </a:cubicBezTo>
                    <a:cubicBezTo>
                      <a:pt x="65" y="0"/>
                      <a:pt x="40" y="7"/>
                      <a:pt x="27" y="15"/>
                    </a:cubicBezTo>
                    <a:cubicBezTo>
                      <a:pt x="19" y="20"/>
                      <a:pt x="0" y="38"/>
                      <a:pt x="14" y="47"/>
                    </a:cubicBezTo>
                    <a:cubicBezTo>
                      <a:pt x="17" y="49"/>
                      <a:pt x="20" y="45"/>
                      <a:pt x="18" y="43"/>
                    </a:cubicBezTo>
                    <a:cubicBezTo>
                      <a:pt x="12" y="27"/>
                      <a:pt x="40" y="16"/>
                      <a:pt x="50" y="15"/>
                    </a:cubicBezTo>
                    <a:cubicBezTo>
                      <a:pt x="53" y="14"/>
                      <a:pt x="56" y="14"/>
                      <a:pt x="59" y="14"/>
                    </a:cubicBezTo>
                    <a:cubicBezTo>
                      <a:pt x="62" y="13"/>
                      <a:pt x="64" y="14"/>
                      <a:pt x="67" y="15"/>
                    </a:cubicBezTo>
                    <a:cubicBezTo>
                      <a:pt x="73" y="15"/>
                      <a:pt x="75" y="18"/>
                      <a:pt x="73" y="24"/>
                    </a:cubicBezTo>
                    <a:cubicBezTo>
                      <a:pt x="74" y="34"/>
                      <a:pt x="75" y="30"/>
                      <a:pt x="69" y="34"/>
                    </a:cubicBezTo>
                    <a:cubicBezTo>
                      <a:pt x="67" y="35"/>
                      <a:pt x="62" y="35"/>
                      <a:pt x="60" y="35"/>
                    </a:cubicBezTo>
                    <a:cubicBezTo>
                      <a:pt x="53" y="36"/>
                      <a:pt x="47" y="36"/>
                      <a:pt x="41" y="37"/>
                    </a:cubicBezTo>
                    <a:cubicBezTo>
                      <a:pt x="29" y="39"/>
                      <a:pt x="18" y="45"/>
                      <a:pt x="7" y="50"/>
                    </a:cubicBezTo>
                    <a:cubicBezTo>
                      <a:pt x="6" y="50"/>
                      <a:pt x="6" y="52"/>
                      <a:pt x="8" y="52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321" name="Freeform 394">
                <a:extLst>
                  <a:ext uri="{FF2B5EF4-FFF2-40B4-BE49-F238E27FC236}">
                    <a16:creationId xmlns:a16="http://schemas.microsoft.com/office/drawing/2014/main" id="{94B80794-8AFF-4DA2-8DC4-D24FF217CBE9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513" y="1451"/>
                <a:ext cx="40" cy="33"/>
              </a:xfrm>
              <a:custGeom>
                <a:avLst/>
                <a:gdLst>
                  <a:gd name="T0" fmla="*/ 4 w 38"/>
                  <a:gd name="T1" fmla="*/ 17 h 31"/>
                  <a:gd name="T2" fmla="*/ 29 w 38"/>
                  <a:gd name="T3" fmla="*/ 10 h 31"/>
                  <a:gd name="T4" fmla="*/ 21 w 38"/>
                  <a:gd name="T5" fmla="*/ 24 h 31"/>
                  <a:gd name="T6" fmla="*/ 13 w 38"/>
                  <a:gd name="T7" fmla="*/ 12 h 31"/>
                  <a:gd name="T8" fmla="*/ 5 w 38"/>
                  <a:gd name="T9" fmla="*/ 13 h 31"/>
                  <a:gd name="T10" fmla="*/ 21 w 38"/>
                  <a:gd name="T11" fmla="*/ 30 h 31"/>
                  <a:gd name="T12" fmla="*/ 37 w 38"/>
                  <a:gd name="T13" fmla="*/ 13 h 31"/>
                  <a:gd name="T14" fmla="*/ 21 w 38"/>
                  <a:gd name="T15" fmla="*/ 1 h 31"/>
                  <a:gd name="T16" fmla="*/ 1 w 38"/>
                  <a:gd name="T17" fmla="*/ 16 h 31"/>
                  <a:gd name="T18" fmla="*/ 4 w 38"/>
                  <a:gd name="T19" fmla="*/ 17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8" h="31">
                    <a:moveTo>
                      <a:pt x="4" y="17"/>
                    </a:moveTo>
                    <a:cubicBezTo>
                      <a:pt x="9" y="11"/>
                      <a:pt x="21" y="0"/>
                      <a:pt x="29" y="10"/>
                    </a:cubicBezTo>
                    <a:cubicBezTo>
                      <a:pt x="33" y="15"/>
                      <a:pt x="28" y="24"/>
                      <a:pt x="21" y="24"/>
                    </a:cubicBezTo>
                    <a:cubicBezTo>
                      <a:pt x="14" y="24"/>
                      <a:pt x="15" y="17"/>
                      <a:pt x="13" y="12"/>
                    </a:cubicBezTo>
                    <a:cubicBezTo>
                      <a:pt x="12" y="8"/>
                      <a:pt x="4" y="8"/>
                      <a:pt x="5" y="13"/>
                    </a:cubicBezTo>
                    <a:cubicBezTo>
                      <a:pt x="5" y="22"/>
                      <a:pt x="11" y="31"/>
                      <a:pt x="21" y="30"/>
                    </a:cubicBezTo>
                    <a:cubicBezTo>
                      <a:pt x="30" y="29"/>
                      <a:pt x="38" y="22"/>
                      <a:pt x="37" y="13"/>
                    </a:cubicBezTo>
                    <a:cubicBezTo>
                      <a:pt x="36" y="5"/>
                      <a:pt x="29" y="1"/>
                      <a:pt x="21" y="1"/>
                    </a:cubicBezTo>
                    <a:cubicBezTo>
                      <a:pt x="11" y="1"/>
                      <a:pt x="6" y="7"/>
                      <a:pt x="1" y="16"/>
                    </a:cubicBezTo>
                    <a:cubicBezTo>
                      <a:pt x="0" y="18"/>
                      <a:pt x="2" y="19"/>
                      <a:pt x="4" y="17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322" name="Freeform 395">
                <a:extLst>
                  <a:ext uri="{FF2B5EF4-FFF2-40B4-BE49-F238E27FC236}">
                    <a16:creationId xmlns:a16="http://schemas.microsoft.com/office/drawing/2014/main" id="{72F0D694-2F98-4790-9B12-79C68809E294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387" y="1486"/>
                <a:ext cx="25" cy="25"/>
              </a:xfrm>
              <a:custGeom>
                <a:avLst/>
                <a:gdLst>
                  <a:gd name="T0" fmla="*/ 9 w 24"/>
                  <a:gd name="T1" fmla="*/ 13 h 23"/>
                  <a:gd name="T2" fmla="*/ 9 w 24"/>
                  <a:gd name="T3" fmla="*/ 10 h 23"/>
                  <a:gd name="T4" fmla="*/ 14 w 24"/>
                  <a:gd name="T5" fmla="*/ 8 h 23"/>
                  <a:gd name="T6" fmla="*/ 15 w 24"/>
                  <a:gd name="T7" fmla="*/ 8 h 23"/>
                  <a:gd name="T8" fmla="*/ 15 w 24"/>
                  <a:gd name="T9" fmla="*/ 8 h 23"/>
                  <a:gd name="T10" fmla="*/ 15 w 24"/>
                  <a:gd name="T11" fmla="*/ 8 h 23"/>
                  <a:gd name="T12" fmla="*/ 15 w 24"/>
                  <a:gd name="T13" fmla="*/ 8 h 23"/>
                  <a:gd name="T14" fmla="*/ 15 w 24"/>
                  <a:gd name="T15" fmla="*/ 8 h 23"/>
                  <a:gd name="T16" fmla="*/ 15 w 24"/>
                  <a:gd name="T17" fmla="*/ 8 h 23"/>
                  <a:gd name="T18" fmla="*/ 15 w 24"/>
                  <a:gd name="T19" fmla="*/ 8 h 23"/>
                  <a:gd name="T20" fmla="*/ 15 w 24"/>
                  <a:gd name="T21" fmla="*/ 9 h 23"/>
                  <a:gd name="T22" fmla="*/ 16 w 24"/>
                  <a:gd name="T23" fmla="*/ 10 h 23"/>
                  <a:gd name="T24" fmla="*/ 15 w 24"/>
                  <a:gd name="T25" fmla="*/ 10 h 23"/>
                  <a:gd name="T26" fmla="*/ 15 w 24"/>
                  <a:gd name="T27" fmla="*/ 12 h 23"/>
                  <a:gd name="T28" fmla="*/ 14 w 24"/>
                  <a:gd name="T29" fmla="*/ 15 h 23"/>
                  <a:gd name="T30" fmla="*/ 13 w 24"/>
                  <a:gd name="T31" fmla="*/ 15 h 23"/>
                  <a:gd name="T32" fmla="*/ 13 w 24"/>
                  <a:gd name="T33" fmla="*/ 15 h 23"/>
                  <a:gd name="T34" fmla="*/ 13 w 24"/>
                  <a:gd name="T35" fmla="*/ 15 h 23"/>
                  <a:gd name="T36" fmla="*/ 12 w 24"/>
                  <a:gd name="T37" fmla="*/ 15 h 23"/>
                  <a:gd name="T38" fmla="*/ 12 w 24"/>
                  <a:gd name="T39" fmla="*/ 15 h 23"/>
                  <a:gd name="T40" fmla="*/ 8 w 24"/>
                  <a:gd name="T41" fmla="*/ 14 h 23"/>
                  <a:gd name="T42" fmla="*/ 5 w 24"/>
                  <a:gd name="T43" fmla="*/ 17 h 23"/>
                  <a:gd name="T44" fmla="*/ 5 w 24"/>
                  <a:gd name="T45" fmla="*/ 19 h 23"/>
                  <a:gd name="T46" fmla="*/ 6 w 24"/>
                  <a:gd name="T47" fmla="*/ 21 h 23"/>
                  <a:gd name="T48" fmla="*/ 13 w 24"/>
                  <a:gd name="T49" fmla="*/ 23 h 23"/>
                  <a:gd name="T50" fmla="*/ 19 w 24"/>
                  <a:gd name="T51" fmla="*/ 21 h 23"/>
                  <a:gd name="T52" fmla="*/ 23 w 24"/>
                  <a:gd name="T53" fmla="*/ 11 h 23"/>
                  <a:gd name="T54" fmla="*/ 19 w 24"/>
                  <a:gd name="T55" fmla="*/ 1 h 23"/>
                  <a:gd name="T56" fmla="*/ 12 w 24"/>
                  <a:gd name="T57" fmla="*/ 1 h 23"/>
                  <a:gd name="T58" fmla="*/ 6 w 24"/>
                  <a:gd name="T59" fmla="*/ 4 h 23"/>
                  <a:gd name="T60" fmla="*/ 7 w 24"/>
                  <a:gd name="T61" fmla="*/ 18 h 23"/>
                  <a:gd name="T62" fmla="*/ 9 w 24"/>
                  <a:gd name="T63" fmla="*/ 13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24" h="23">
                    <a:moveTo>
                      <a:pt x="9" y="13"/>
                    </a:moveTo>
                    <a:cubicBezTo>
                      <a:pt x="7" y="13"/>
                      <a:pt x="8" y="11"/>
                      <a:pt x="9" y="10"/>
                    </a:cubicBezTo>
                    <a:cubicBezTo>
                      <a:pt x="10" y="9"/>
                      <a:pt x="12" y="8"/>
                      <a:pt x="14" y="8"/>
                    </a:cubicBezTo>
                    <a:cubicBezTo>
                      <a:pt x="14" y="8"/>
                      <a:pt x="15" y="8"/>
                      <a:pt x="15" y="8"/>
                    </a:cubicBezTo>
                    <a:cubicBezTo>
                      <a:pt x="15" y="8"/>
                      <a:pt x="15" y="8"/>
                      <a:pt x="15" y="8"/>
                    </a:cubicBezTo>
                    <a:cubicBezTo>
                      <a:pt x="15" y="8"/>
                      <a:pt x="14" y="8"/>
                      <a:pt x="15" y="8"/>
                    </a:cubicBezTo>
                    <a:cubicBezTo>
                      <a:pt x="16" y="8"/>
                      <a:pt x="15" y="7"/>
                      <a:pt x="15" y="8"/>
                    </a:cubicBezTo>
                    <a:cubicBezTo>
                      <a:pt x="15" y="8"/>
                      <a:pt x="15" y="8"/>
                      <a:pt x="15" y="8"/>
                    </a:cubicBezTo>
                    <a:cubicBezTo>
                      <a:pt x="15" y="7"/>
                      <a:pt x="15" y="8"/>
                      <a:pt x="15" y="8"/>
                    </a:cubicBezTo>
                    <a:cubicBezTo>
                      <a:pt x="15" y="9"/>
                      <a:pt x="15" y="7"/>
                      <a:pt x="15" y="8"/>
                    </a:cubicBezTo>
                    <a:cubicBezTo>
                      <a:pt x="15" y="9"/>
                      <a:pt x="15" y="9"/>
                      <a:pt x="15" y="9"/>
                    </a:cubicBezTo>
                    <a:cubicBezTo>
                      <a:pt x="15" y="10"/>
                      <a:pt x="16" y="11"/>
                      <a:pt x="16" y="10"/>
                    </a:cubicBezTo>
                    <a:cubicBezTo>
                      <a:pt x="15" y="10"/>
                      <a:pt x="15" y="10"/>
                      <a:pt x="15" y="10"/>
                    </a:cubicBezTo>
                    <a:cubicBezTo>
                      <a:pt x="15" y="11"/>
                      <a:pt x="15" y="12"/>
                      <a:pt x="15" y="12"/>
                    </a:cubicBezTo>
                    <a:cubicBezTo>
                      <a:pt x="15" y="13"/>
                      <a:pt x="15" y="13"/>
                      <a:pt x="14" y="15"/>
                    </a:cubicBezTo>
                    <a:cubicBezTo>
                      <a:pt x="15" y="14"/>
                      <a:pt x="13" y="15"/>
                      <a:pt x="13" y="15"/>
                    </a:cubicBezTo>
                    <a:cubicBezTo>
                      <a:pt x="14" y="15"/>
                      <a:pt x="13" y="15"/>
                      <a:pt x="13" y="15"/>
                    </a:cubicBezTo>
                    <a:cubicBezTo>
                      <a:pt x="12" y="15"/>
                      <a:pt x="14" y="15"/>
                      <a:pt x="13" y="15"/>
                    </a:cubicBezTo>
                    <a:cubicBezTo>
                      <a:pt x="12" y="15"/>
                      <a:pt x="14" y="15"/>
                      <a:pt x="12" y="15"/>
                    </a:cubicBezTo>
                    <a:cubicBezTo>
                      <a:pt x="12" y="15"/>
                      <a:pt x="11" y="15"/>
                      <a:pt x="12" y="15"/>
                    </a:cubicBezTo>
                    <a:cubicBezTo>
                      <a:pt x="10" y="15"/>
                      <a:pt x="10" y="14"/>
                      <a:pt x="8" y="14"/>
                    </a:cubicBezTo>
                    <a:cubicBezTo>
                      <a:pt x="6" y="15"/>
                      <a:pt x="5" y="16"/>
                      <a:pt x="5" y="17"/>
                    </a:cubicBezTo>
                    <a:cubicBezTo>
                      <a:pt x="5" y="17"/>
                      <a:pt x="5" y="18"/>
                      <a:pt x="5" y="19"/>
                    </a:cubicBezTo>
                    <a:cubicBezTo>
                      <a:pt x="5" y="19"/>
                      <a:pt x="6" y="20"/>
                      <a:pt x="6" y="21"/>
                    </a:cubicBezTo>
                    <a:cubicBezTo>
                      <a:pt x="6" y="23"/>
                      <a:pt x="11" y="23"/>
                      <a:pt x="13" y="23"/>
                    </a:cubicBezTo>
                    <a:cubicBezTo>
                      <a:pt x="15" y="23"/>
                      <a:pt x="17" y="22"/>
                      <a:pt x="19" y="21"/>
                    </a:cubicBezTo>
                    <a:cubicBezTo>
                      <a:pt x="22" y="19"/>
                      <a:pt x="23" y="15"/>
                      <a:pt x="23" y="11"/>
                    </a:cubicBezTo>
                    <a:cubicBezTo>
                      <a:pt x="24" y="7"/>
                      <a:pt x="22" y="3"/>
                      <a:pt x="19" y="1"/>
                    </a:cubicBezTo>
                    <a:cubicBezTo>
                      <a:pt x="17" y="0"/>
                      <a:pt x="14" y="0"/>
                      <a:pt x="12" y="1"/>
                    </a:cubicBezTo>
                    <a:cubicBezTo>
                      <a:pt x="10" y="1"/>
                      <a:pt x="8" y="2"/>
                      <a:pt x="6" y="4"/>
                    </a:cubicBezTo>
                    <a:cubicBezTo>
                      <a:pt x="1" y="7"/>
                      <a:pt x="0" y="16"/>
                      <a:pt x="7" y="18"/>
                    </a:cubicBezTo>
                    <a:cubicBezTo>
                      <a:pt x="10" y="19"/>
                      <a:pt x="11" y="15"/>
                      <a:pt x="9" y="13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323" name="Freeform 396">
                <a:extLst>
                  <a:ext uri="{FF2B5EF4-FFF2-40B4-BE49-F238E27FC236}">
                    <a16:creationId xmlns:a16="http://schemas.microsoft.com/office/drawing/2014/main" id="{3336225C-B49C-4D49-8A32-23B86D99FA15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103" y="1545"/>
                <a:ext cx="96" cy="115"/>
              </a:xfrm>
              <a:custGeom>
                <a:avLst/>
                <a:gdLst>
                  <a:gd name="T0" fmla="*/ 31 w 91"/>
                  <a:gd name="T1" fmla="*/ 98 h 108"/>
                  <a:gd name="T2" fmla="*/ 17 w 91"/>
                  <a:gd name="T3" fmla="*/ 48 h 108"/>
                  <a:gd name="T4" fmla="*/ 36 w 91"/>
                  <a:gd name="T5" fmla="*/ 22 h 108"/>
                  <a:gd name="T6" fmla="*/ 70 w 91"/>
                  <a:gd name="T7" fmla="*/ 25 h 108"/>
                  <a:gd name="T8" fmla="*/ 78 w 91"/>
                  <a:gd name="T9" fmla="*/ 65 h 108"/>
                  <a:gd name="T10" fmla="*/ 68 w 91"/>
                  <a:gd name="T11" fmla="*/ 96 h 108"/>
                  <a:gd name="T12" fmla="*/ 32 w 91"/>
                  <a:gd name="T13" fmla="*/ 93 h 108"/>
                  <a:gd name="T14" fmla="*/ 29 w 91"/>
                  <a:gd name="T15" fmla="*/ 98 h 108"/>
                  <a:gd name="T16" fmla="*/ 89 w 91"/>
                  <a:gd name="T17" fmla="*/ 91 h 108"/>
                  <a:gd name="T18" fmla="*/ 87 w 91"/>
                  <a:gd name="T19" fmla="*/ 77 h 108"/>
                  <a:gd name="T20" fmla="*/ 81 w 91"/>
                  <a:gd name="T21" fmla="*/ 46 h 108"/>
                  <a:gd name="T22" fmla="*/ 72 w 91"/>
                  <a:gd name="T23" fmla="*/ 15 h 108"/>
                  <a:gd name="T24" fmla="*/ 20 w 91"/>
                  <a:gd name="T25" fmla="*/ 24 h 108"/>
                  <a:gd name="T26" fmla="*/ 27 w 91"/>
                  <a:gd name="T27" fmla="*/ 99 h 108"/>
                  <a:gd name="T28" fmla="*/ 31 w 91"/>
                  <a:gd name="T29" fmla="*/ 98 h 1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91" h="108">
                    <a:moveTo>
                      <a:pt x="31" y="98"/>
                    </a:moveTo>
                    <a:cubicBezTo>
                      <a:pt x="28" y="81"/>
                      <a:pt x="18" y="65"/>
                      <a:pt x="17" y="48"/>
                    </a:cubicBezTo>
                    <a:cubicBezTo>
                      <a:pt x="17" y="34"/>
                      <a:pt x="24" y="27"/>
                      <a:pt x="36" y="22"/>
                    </a:cubicBezTo>
                    <a:cubicBezTo>
                      <a:pt x="46" y="17"/>
                      <a:pt x="64" y="13"/>
                      <a:pt x="70" y="25"/>
                    </a:cubicBezTo>
                    <a:cubicBezTo>
                      <a:pt x="75" y="36"/>
                      <a:pt x="76" y="53"/>
                      <a:pt x="78" y="65"/>
                    </a:cubicBezTo>
                    <a:cubicBezTo>
                      <a:pt x="80" y="78"/>
                      <a:pt x="83" y="90"/>
                      <a:pt x="68" y="96"/>
                    </a:cubicBezTo>
                    <a:cubicBezTo>
                      <a:pt x="57" y="99"/>
                      <a:pt x="42" y="97"/>
                      <a:pt x="32" y="93"/>
                    </a:cubicBezTo>
                    <a:cubicBezTo>
                      <a:pt x="29" y="91"/>
                      <a:pt x="26" y="96"/>
                      <a:pt x="29" y="98"/>
                    </a:cubicBezTo>
                    <a:cubicBezTo>
                      <a:pt x="41" y="105"/>
                      <a:pt x="81" y="108"/>
                      <a:pt x="89" y="91"/>
                    </a:cubicBezTo>
                    <a:cubicBezTo>
                      <a:pt x="91" y="86"/>
                      <a:pt x="88" y="81"/>
                      <a:pt x="87" y="77"/>
                    </a:cubicBezTo>
                    <a:cubicBezTo>
                      <a:pt x="84" y="67"/>
                      <a:pt x="82" y="57"/>
                      <a:pt x="81" y="46"/>
                    </a:cubicBezTo>
                    <a:cubicBezTo>
                      <a:pt x="79" y="36"/>
                      <a:pt x="79" y="23"/>
                      <a:pt x="72" y="15"/>
                    </a:cubicBezTo>
                    <a:cubicBezTo>
                      <a:pt x="60" y="0"/>
                      <a:pt x="31" y="14"/>
                      <a:pt x="20" y="24"/>
                    </a:cubicBezTo>
                    <a:cubicBezTo>
                      <a:pt x="0" y="43"/>
                      <a:pt x="16" y="79"/>
                      <a:pt x="27" y="99"/>
                    </a:cubicBezTo>
                    <a:cubicBezTo>
                      <a:pt x="28" y="101"/>
                      <a:pt x="31" y="100"/>
                      <a:pt x="31" y="98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324" name="Freeform 397">
                <a:extLst>
                  <a:ext uri="{FF2B5EF4-FFF2-40B4-BE49-F238E27FC236}">
                    <a16:creationId xmlns:a16="http://schemas.microsoft.com/office/drawing/2014/main" id="{826F4262-F917-4712-AC34-B736EF4B45C3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195" y="1640"/>
                <a:ext cx="100" cy="62"/>
              </a:xfrm>
              <a:custGeom>
                <a:avLst/>
                <a:gdLst>
                  <a:gd name="T0" fmla="*/ 16 w 94"/>
                  <a:gd name="T1" fmla="*/ 55 h 59"/>
                  <a:gd name="T2" fmla="*/ 20 w 94"/>
                  <a:gd name="T3" fmla="*/ 22 h 59"/>
                  <a:gd name="T4" fmla="*/ 54 w 94"/>
                  <a:gd name="T5" fmla="*/ 10 h 59"/>
                  <a:gd name="T6" fmla="*/ 82 w 94"/>
                  <a:gd name="T7" fmla="*/ 17 h 59"/>
                  <a:gd name="T8" fmla="*/ 82 w 94"/>
                  <a:gd name="T9" fmla="*/ 52 h 59"/>
                  <a:gd name="T10" fmla="*/ 88 w 94"/>
                  <a:gd name="T11" fmla="*/ 53 h 59"/>
                  <a:gd name="T12" fmla="*/ 84 w 94"/>
                  <a:gd name="T13" fmla="*/ 11 h 59"/>
                  <a:gd name="T14" fmla="*/ 46 w 94"/>
                  <a:gd name="T15" fmla="*/ 6 h 59"/>
                  <a:gd name="T16" fmla="*/ 5 w 94"/>
                  <a:gd name="T17" fmla="*/ 29 h 59"/>
                  <a:gd name="T18" fmla="*/ 13 w 94"/>
                  <a:gd name="T19" fmla="*/ 57 h 59"/>
                  <a:gd name="T20" fmla="*/ 16 w 94"/>
                  <a:gd name="T21" fmla="*/ 55 h 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94" h="59">
                    <a:moveTo>
                      <a:pt x="16" y="55"/>
                    </a:moveTo>
                    <a:cubicBezTo>
                      <a:pt x="8" y="45"/>
                      <a:pt x="6" y="29"/>
                      <a:pt x="20" y="22"/>
                    </a:cubicBezTo>
                    <a:cubicBezTo>
                      <a:pt x="31" y="17"/>
                      <a:pt x="43" y="12"/>
                      <a:pt x="54" y="10"/>
                    </a:cubicBezTo>
                    <a:cubicBezTo>
                      <a:pt x="64" y="7"/>
                      <a:pt x="76" y="6"/>
                      <a:pt x="82" y="17"/>
                    </a:cubicBezTo>
                    <a:cubicBezTo>
                      <a:pt x="87" y="27"/>
                      <a:pt x="83" y="42"/>
                      <a:pt x="82" y="52"/>
                    </a:cubicBezTo>
                    <a:cubicBezTo>
                      <a:pt x="81" y="56"/>
                      <a:pt x="87" y="57"/>
                      <a:pt x="88" y="53"/>
                    </a:cubicBezTo>
                    <a:cubicBezTo>
                      <a:pt x="91" y="40"/>
                      <a:pt x="94" y="21"/>
                      <a:pt x="84" y="11"/>
                    </a:cubicBezTo>
                    <a:cubicBezTo>
                      <a:pt x="74" y="0"/>
                      <a:pt x="58" y="3"/>
                      <a:pt x="46" y="6"/>
                    </a:cubicBezTo>
                    <a:cubicBezTo>
                      <a:pt x="34" y="10"/>
                      <a:pt x="11" y="16"/>
                      <a:pt x="5" y="29"/>
                    </a:cubicBezTo>
                    <a:cubicBezTo>
                      <a:pt x="0" y="39"/>
                      <a:pt x="6" y="50"/>
                      <a:pt x="13" y="57"/>
                    </a:cubicBezTo>
                    <a:cubicBezTo>
                      <a:pt x="15" y="59"/>
                      <a:pt x="17" y="57"/>
                      <a:pt x="16" y="55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325" name="Freeform 398">
                <a:extLst>
                  <a:ext uri="{FF2B5EF4-FFF2-40B4-BE49-F238E27FC236}">
                    <a16:creationId xmlns:a16="http://schemas.microsoft.com/office/drawing/2014/main" id="{2E38C966-E63F-49D2-A4FE-EE1BA31F6C16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209" y="1687"/>
                <a:ext cx="83" cy="31"/>
              </a:xfrm>
              <a:custGeom>
                <a:avLst/>
                <a:gdLst>
                  <a:gd name="T0" fmla="*/ 1 w 78"/>
                  <a:gd name="T1" fmla="*/ 14 h 29"/>
                  <a:gd name="T2" fmla="*/ 33 w 78"/>
                  <a:gd name="T3" fmla="*/ 24 h 29"/>
                  <a:gd name="T4" fmla="*/ 77 w 78"/>
                  <a:gd name="T5" fmla="*/ 6 h 29"/>
                  <a:gd name="T6" fmla="*/ 71 w 78"/>
                  <a:gd name="T7" fmla="*/ 2 h 29"/>
                  <a:gd name="T8" fmla="*/ 36 w 78"/>
                  <a:gd name="T9" fmla="*/ 17 h 29"/>
                  <a:gd name="T10" fmla="*/ 3 w 78"/>
                  <a:gd name="T11" fmla="*/ 13 h 29"/>
                  <a:gd name="T12" fmla="*/ 1 w 78"/>
                  <a:gd name="T13" fmla="*/ 14 h 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78" h="29">
                    <a:moveTo>
                      <a:pt x="1" y="14"/>
                    </a:moveTo>
                    <a:cubicBezTo>
                      <a:pt x="4" y="29"/>
                      <a:pt x="22" y="24"/>
                      <a:pt x="33" y="24"/>
                    </a:cubicBezTo>
                    <a:cubicBezTo>
                      <a:pt x="48" y="23"/>
                      <a:pt x="68" y="20"/>
                      <a:pt x="77" y="6"/>
                    </a:cubicBezTo>
                    <a:cubicBezTo>
                      <a:pt x="78" y="3"/>
                      <a:pt x="74" y="0"/>
                      <a:pt x="71" y="2"/>
                    </a:cubicBezTo>
                    <a:cubicBezTo>
                      <a:pt x="61" y="11"/>
                      <a:pt x="50" y="15"/>
                      <a:pt x="36" y="17"/>
                    </a:cubicBezTo>
                    <a:cubicBezTo>
                      <a:pt x="27" y="18"/>
                      <a:pt x="8" y="24"/>
                      <a:pt x="3" y="13"/>
                    </a:cubicBezTo>
                    <a:cubicBezTo>
                      <a:pt x="3" y="11"/>
                      <a:pt x="0" y="12"/>
                      <a:pt x="1" y="14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326" name="Freeform 399">
                <a:extLst>
                  <a:ext uri="{FF2B5EF4-FFF2-40B4-BE49-F238E27FC236}">
                    <a16:creationId xmlns:a16="http://schemas.microsoft.com/office/drawing/2014/main" id="{5834F105-9899-4ACA-86A4-BF404FAFEA64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147" y="1717"/>
                <a:ext cx="86" cy="109"/>
              </a:xfrm>
              <a:custGeom>
                <a:avLst/>
                <a:gdLst>
                  <a:gd name="T0" fmla="*/ 4 w 81"/>
                  <a:gd name="T1" fmla="*/ 15 h 103"/>
                  <a:gd name="T2" fmla="*/ 49 w 81"/>
                  <a:gd name="T3" fmla="*/ 17 h 103"/>
                  <a:gd name="T4" fmla="*/ 60 w 81"/>
                  <a:gd name="T5" fmla="*/ 40 h 103"/>
                  <a:gd name="T6" fmla="*/ 62 w 81"/>
                  <a:gd name="T7" fmla="*/ 51 h 103"/>
                  <a:gd name="T8" fmla="*/ 59 w 81"/>
                  <a:gd name="T9" fmla="*/ 71 h 103"/>
                  <a:gd name="T10" fmla="*/ 35 w 81"/>
                  <a:gd name="T11" fmla="*/ 87 h 103"/>
                  <a:gd name="T12" fmla="*/ 20 w 81"/>
                  <a:gd name="T13" fmla="*/ 89 h 103"/>
                  <a:gd name="T14" fmla="*/ 7 w 81"/>
                  <a:gd name="T15" fmla="*/ 71 h 103"/>
                  <a:gd name="T16" fmla="*/ 9 w 81"/>
                  <a:gd name="T17" fmla="*/ 19 h 103"/>
                  <a:gd name="T18" fmla="*/ 2 w 81"/>
                  <a:gd name="T19" fmla="*/ 18 h 103"/>
                  <a:gd name="T20" fmla="*/ 0 w 81"/>
                  <a:gd name="T21" fmla="*/ 65 h 103"/>
                  <a:gd name="T22" fmla="*/ 7 w 81"/>
                  <a:gd name="T23" fmla="*/ 91 h 103"/>
                  <a:gd name="T24" fmla="*/ 64 w 81"/>
                  <a:gd name="T25" fmla="*/ 83 h 103"/>
                  <a:gd name="T26" fmla="*/ 59 w 81"/>
                  <a:gd name="T27" fmla="*/ 22 h 103"/>
                  <a:gd name="T28" fmla="*/ 41 w 81"/>
                  <a:gd name="T29" fmla="*/ 4 h 103"/>
                  <a:gd name="T30" fmla="*/ 4 w 81"/>
                  <a:gd name="T31" fmla="*/ 12 h 103"/>
                  <a:gd name="T32" fmla="*/ 4 w 81"/>
                  <a:gd name="T33" fmla="*/ 15 h 1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81" h="103">
                    <a:moveTo>
                      <a:pt x="4" y="15"/>
                    </a:moveTo>
                    <a:cubicBezTo>
                      <a:pt x="20" y="15"/>
                      <a:pt x="35" y="2"/>
                      <a:pt x="49" y="17"/>
                    </a:cubicBezTo>
                    <a:cubicBezTo>
                      <a:pt x="54" y="22"/>
                      <a:pt x="57" y="33"/>
                      <a:pt x="60" y="40"/>
                    </a:cubicBezTo>
                    <a:cubicBezTo>
                      <a:pt x="61" y="43"/>
                      <a:pt x="61" y="47"/>
                      <a:pt x="62" y="51"/>
                    </a:cubicBezTo>
                    <a:cubicBezTo>
                      <a:pt x="65" y="61"/>
                      <a:pt x="65" y="60"/>
                      <a:pt x="59" y="71"/>
                    </a:cubicBezTo>
                    <a:cubicBezTo>
                      <a:pt x="52" y="84"/>
                      <a:pt x="48" y="84"/>
                      <a:pt x="35" y="87"/>
                    </a:cubicBezTo>
                    <a:cubicBezTo>
                      <a:pt x="31" y="88"/>
                      <a:pt x="23" y="90"/>
                      <a:pt x="20" y="89"/>
                    </a:cubicBezTo>
                    <a:cubicBezTo>
                      <a:pt x="12" y="86"/>
                      <a:pt x="8" y="78"/>
                      <a:pt x="7" y="71"/>
                    </a:cubicBezTo>
                    <a:cubicBezTo>
                      <a:pt x="6" y="55"/>
                      <a:pt x="8" y="35"/>
                      <a:pt x="9" y="19"/>
                    </a:cubicBezTo>
                    <a:cubicBezTo>
                      <a:pt x="9" y="14"/>
                      <a:pt x="2" y="13"/>
                      <a:pt x="2" y="18"/>
                    </a:cubicBezTo>
                    <a:cubicBezTo>
                      <a:pt x="1" y="34"/>
                      <a:pt x="0" y="50"/>
                      <a:pt x="0" y="65"/>
                    </a:cubicBezTo>
                    <a:cubicBezTo>
                      <a:pt x="0" y="74"/>
                      <a:pt x="1" y="84"/>
                      <a:pt x="7" y="91"/>
                    </a:cubicBezTo>
                    <a:cubicBezTo>
                      <a:pt x="20" y="103"/>
                      <a:pt x="52" y="93"/>
                      <a:pt x="64" y="83"/>
                    </a:cubicBezTo>
                    <a:cubicBezTo>
                      <a:pt x="81" y="69"/>
                      <a:pt x="67" y="39"/>
                      <a:pt x="59" y="22"/>
                    </a:cubicBezTo>
                    <a:cubicBezTo>
                      <a:pt x="55" y="14"/>
                      <a:pt x="50" y="7"/>
                      <a:pt x="41" y="4"/>
                    </a:cubicBezTo>
                    <a:cubicBezTo>
                      <a:pt x="28" y="0"/>
                      <a:pt x="17" y="11"/>
                      <a:pt x="4" y="12"/>
                    </a:cubicBezTo>
                    <a:cubicBezTo>
                      <a:pt x="2" y="12"/>
                      <a:pt x="2" y="15"/>
                      <a:pt x="4" y="15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327" name="Freeform 400">
                <a:extLst>
                  <a:ext uri="{FF2B5EF4-FFF2-40B4-BE49-F238E27FC236}">
                    <a16:creationId xmlns:a16="http://schemas.microsoft.com/office/drawing/2014/main" id="{7BA67D7E-7A4E-40A6-8266-FE53FFD6EDC4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034" y="1652"/>
                <a:ext cx="102" cy="103"/>
              </a:xfrm>
              <a:custGeom>
                <a:avLst/>
                <a:gdLst>
                  <a:gd name="T0" fmla="*/ 7 w 96"/>
                  <a:gd name="T1" fmla="*/ 37 h 97"/>
                  <a:gd name="T2" fmla="*/ 62 w 96"/>
                  <a:gd name="T3" fmla="*/ 21 h 97"/>
                  <a:gd name="T4" fmla="*/ 78 w 96"/>
                  <a:gd name="T5" fmla="*/ 48 h 97"/>
                  <a:gd name="T6" fmla="*/ 75 w 96"/>
                  <a:gd name="T7" fmla="*/ 66 h 97"/>
                  <a:gd name="T8" fmla="*/ 63 w 96"/>
                  <a:gd name="T9" fmla="*/ 73 h 97"/>
                  <a:gd name="T10" fmla="*/ 16 w 96"/>
                  <a:gd name="T11" fmla="*/ 74 h 97"/>
                  <a:gd name="T12" fmla="*/ 14 w 96"/>
                  <a:gd name="T13" fmla="*/ 35 h 97"/>
                  <a:gd name="T14" fmla="*/ 8 w 96"/>
                  <a:gd name="T15" fmla="*/ 34 h 97"/>
                  <a:gd name="T16" fmla="*/ 16 w 96"/>
                  <a:gd name="T17" fmla="*/ 88 h 97"/>
                  <a:gd name="T18" fmla="*/ 42 w 96"/>
                  <a:gd name="T19" fmla="*/ 93 h 97"/>
                  <a:gd name="T20" fmla="*/ 63 w 96"/>
                  <a:gd name="T21" fmla="*/ 82 h 97"/>
                  <a:gd name="T22" fmla="*/ 81 w 96"/>
                  <a:gd name="T23" fmla="*/ 73 h 97"/>
                  <a:gd name="T24" fmla="*/ 71 w 96"/>
                  <a:gd name="T25" fmla="*/ 19 h 97"/>
                  <a:gd name="T26" fmla="*/ 6 w 96"/>
                  <a:gd name="T27" fmla="*/ 36 h 97"/>
                  <a:gd name="T28" fmla="*/ 7 w 96"/>
                  <a:gd name="T29" fmla="*/ 37 h 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96" h="97">
                    <a:moveTo>
                      <a:pt x="7" y="37"/>
                    </a:moveTo>
                    <a:cubicBezTo>
                      <a:pt x="22" y="25"/>
                      <a:pt x="42" y="7"/>
                      <a:pt x="62" y="21"/>
                    </a:cubicBezTo>
                    <a:cubicBezTo>
                      <a:pt x="71" y="27"/>
                      <a:pt x="76" y="37"/>
                      <a:pt x="78" y="48"/>
                    </a:cubicBezTo>
                    <a:cubicBezTo>
                      <a:pt x="79" y="53"/>
                      <a:pt x="79" y="62"/>
                      <a:pt x="75" y="66"/>
                    </a:cubicBezTo>
                    <a:cubicBezTo>
                      <a:pt x="72" y="69"/>
                      <a:pt x="67" y="71"/>
                      <a:pt x="63" y="73"/>
                    </a:cubicBezTo>
                    <a:cubicBezTo>
                      <a:pt x="48" y="80"/>
                      <a:pt x="25" y="97"/>
                      <a:pt x="16" y="74"/>
                    </a:cubicBezTo>
                    <a:cubicBezTo>
                      <a:pt x="11" y="61"/>
                      <a:pt x="16" y="48"/>
                      <a:pt x="14" y="35"/>
                    </a:cubicBezTo>
                    <a:cubicBezTo>
                      <a:pt x="13" y="32"/>
                      <a:pt x="9" y="32"/>
                      <a:pt x="8" y="34"/>
                    </a:cubicBezTo>
                    <a:cubicBezTo>
                      <a:pt x="0" y="48"/>
                      <a:pt x="4" y="77"/>
                      <a:pt x="16" y="88"/>
                    </a:cubicBezTo>
                    <a:cubicBezTo>
                      <a:pt x="23" y="95"/>
                      <a:pt x="33" y="95"/>
                      <a:pt x="42" y="93"/>
                    </a:cubicBezTo>
                    <a:cubicBezTo>
                      <a:pt x="49" y="90"/>
                      <a:pt x="56" y="85"/>
                      <a:pt x="63" y="82"/>
                    </a:cubicBezTo>
                    <a:cubicBezTo>
                      <a:pt x="69" y="79"/>
                      <a:pt x="76" y="77"/>
                      <a:pt x="81" y="73"/>
                    </a:cubicBezTo>
                    <a:cubicBezTo>
                      <a:pt x="96" y="59"/>
                      <a:pt x="84" y="30"/>
                      <a:pt x="71" y="19"/>
                    </a:cubicBezTo>
                    <a:cubicBezTo>
                      <a:pt x="48" y="0"/>
                      <a:pt x="24" y="21"/>
                      <a:pt x="6" y="36"/>
                    </a:cubicBezTo>
                    <a:cubicBezTo>
                      <a:pt x="5" y="37"/>
                      <a:pt x="6" y="38"/>
                      <a:pt x="7" y="37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328" name="Freeform 401">
                <a:extLst>
                  <a:ext uri="{FF2B5EF4-FFF2-40B4-BE49-F238E27FC236}">
                    <a16:creationId xmlns:a16="http://schemas.microsoft.com/office/drawing/2014/main" id="{0732C6F2-505F-4352-9972-9B5E70FE1CCE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192" y="1535"/>
                <a:ext cx="108" cy="81"/>
              </a:xfrm>
              <a:custGeom>
                <a:avLst/>
                <a:gdLst>
                  <a:gd name="T0" fmla="*/ 2 w 102"/>
                  <a:gd name="T1" fmla="*/ 3 h 77"/>
                  <a:gd name="T2" fmla="*/ 97 w 102"/>
                  <a:gd name="T3" fmla="*/ 74 h 77"/>
                  <a:gd name="T4" fmla="*/ 102 w 102"/>
                  <a:gd name="T5" fmla="*/ 73 h 77"/>
                  <a:gd name="T6" fmla="*/ 2 w 102"/>
                  <a:gd name="T7" fmla="*/ 0 h 77"/>
                  <a:gd name="T8" fmla="*/ 2 w 102"/>
                  <a:gd name="T9" fmla="*/ 3 h 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2" h="77">
                    <a:moveTo>
                      <a:pt x="2" y="3"/>
                    </a:moveTo>
                    <a:cubicBezTo>
                      <a:pt x="45" y="7"/>
                      <a:pt x="83" y="32"/>
                      <a:pt x="97" y="74"/>
                    </a:cubicBezTo>
                    <a:cubicBezTo>
                      <a:pt x="98" y="77"/>
                      <a:pt x="102" y="76"/>
                      <a:pt x="102" y="73"/>
                    </a:cubicBezTo>
                    <a:cubicBezTo>
                      <a:pt x="94" y="27"/>
                      <a:pt x="44" y="2"/>
                      <a:pt x="2" y="0"/>
                    </a:cubicBezTo>
                    <a:cubicBezTo>
                      <a:pt x="0" y="0"/>
                      <a:pt x="0" y="3"/>
                      <a:pt x="2" y="3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329" name="Freeform 402">
                <a:extLst>
                  <a:ext uri="{FF2B5EF4-FFF2-40B4-BE49-F238E27FC236}">
                    <a16:creationId xmlns:a16="http://schemas.microsoft.com/office/drawing/2014/main" id="{2780D90F-D916-4447-A8FF-99BEA782ECF1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185" y="1680"/>
                <a:ext cx="143" cy="172"/>
              </a:xfrm>
              <a:custGeom>
                <a:avLst/>
                <a:gdLst>
                  <a:gd name="T0" fmla="*/ 120 w 135"/>
                  <a:gd name="T1" fmla="*/ 2 h 163"/>
                  <a:gd name="T2" fmla="*/ 3 w 135"/>
                  <a:gd name="T3" fmla="*/ 157 h 163"/>
                  <a:gd name="T4" fmla="*/ 3 w 135"/>
                  <a:gd name="T5" fmla="*/ 162 h 163"/>
                  <a:gd name="T6" fmla="*/ 94 w 135"/>
                  <a:gd name="T7" fmla="*/ 114 h 163"/>
                  <a:gd name="T8" fmla="*/ 123 w 135"/>
                  <a:gd name="T9" fmla="*/ 1 h 163"/>
                  <a:gd name="T10" fmla="*/ 120 w 135"/>
                  <a:gd name="T11" fmla="*/ 2 h 1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35" h="163">
                    <a:moveTo>
                      <a:pt x="120" y="2"/>
                    </a:moveTo>
                    <a:cubicBezTo>
                      <a:pt x="135" y="74"/>
                      <a:pt x="75" y="149"/>
                      <a:pt x="3" y="157"/>
                    </a:cubicBezTo>
                    <a:cubicBezTo>
                      <a:pt x="0" y="157"/>
                      <a:pt x="0" y="162"/>
                      <a:pt x="3" y="162"/>
                    </a:cubicBezTo>
                    <a:cubicBezTo>
                      <a:pt x="35" y="163"/>
                      <a:pt x="75" y="138"/>
                      <a:pt x="94" y="114"/>
                    </a:cubicBezTo>
                    <a:cubicBezTo>
                      <a:pt x="119" y="82"/>
                      <a:pt x="133" y="40"/>
                      <a:pt x="123" y="1"/>
                    </a:cubicBezTo>
                    <a:cubicBezTo>
                      <a:pt x="123" y="0"/>
                      <a:pt x="120" y="0"/>
                      <a:pt x="120" y="2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330" name="Freeform 403">
                <a:extLst>
                  <a:ext uri="{FF2B5EF4-FFF2-40B4-BE49-F238E27FC236}">
                    <a16:creationId xmlns:a16="http://schemas.microsoft.com/office/drawing/2014/main" id="{BDA0F6D0-F27A-41C3-90FC-837794C91CED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007" y="1639"/>
                <a:ext cx="136" cy="212"/>
              </a:xfrm>
              <a:custGeom>
                <a:avLst/>
                <a:gdLst>
                  <a:gd name="T0" fmla="*/ 128 w 129"/>
                  <a:gd name="T1" fmla="*/ 198 h 201"/>
                  <a:gd name="T2" fmla="*/ 69 w 129"/>
                  <a:gd name="T3" fmla="*/ 175 h 201"/>
                  <a:gd name="T4" fmla="*/ 35 w 129"/>
                  <a:gd name="T5" fmla="*/ 133 h 201"/>
                  <a:gd name="T6" fmla="*/ 26 w 129"/>
                  <a:gd name="T7" fmla="*/ 2 h 201"/>
                  <a:gd name="T8" fmla="*/ 24 w 129"/>
                  <a:gd name="T9" fmla="*/ 1 h 201"/>
                  <a:gd name="T10" fmla="*/ 24 w 129"/>
                  <a:gd name="T11" fmla="*/ 127 h 201"/>
                  <a:gd name="T12" fmla="*/ 71 w 129"/>
                  <a:gd name="T13" fmla="*/ 186 h 201"/>
                  <a:gd name="T14" fmla="*/ 127 w 129"/>
                  <a:gd name="T15" fmla="*/ 201 h 201"/>
                  <a:gd name="T16" fmla="*/ 128 w 129"/>
                  <a:gd name="T17" fmla="*/ 198 h 2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29" h="201">
                    <a:moveTo>
                      <a:pt x="128" y="198"/>
                    </a:moveTo>
                    <a:cubicBezTo>
                      <a:pt x="105" y="195"/>
                      <a:pt x="86" y="191"/>
                      <a:pt x="69" y="175"/>
                    </a:cubicBezTo>
                    <a:cubicBezTo>
                      <a:pt x="56" y="163"/>
                      <a:pt x="45" y="147"/>
                      <a:pt x="35" y="133"/>
                    </a:cubicBezTo>
                    <a:cubicBezTo>
                      <a:pt x="4" y="93"/>
                      <a:pt x="2" y="47"/>
                      <a:pt x="26" y="2"/>
                    </a:cubicBezTo>
                    <a:cubicBezTo>
                      <a:pt x="27" y="1"/>
                      <a:pt x="25" y="0"/>
                      <a:pt x="24" y="1"/>
                    </a:cubicBezTo>
                    <a:cubicBezTo>
                      <a:pt x="1" y="42"/>
                      <a:pt x="0" y="86"/>
                      <a:pt x="24" y="127"/>
                    </a:cubicBezTo>
                    <a:cubicBezTo>
                      <a:pt x="37" y="147"/>
                      <a:pt x="52" y="171"/>
                      <a:pt x="71" y="186"/>
                    </a:cubicBezTo>
                    <a:cubicBezTo>
                      <a:pt x="88" y="199"/>
                      <a:pt x="107" y="201"/>
                      <a:pt x="127" y="201"/>
                    </a:cubicBezTo>
                    <a:cubicBezTo>
                      <a:pt x="129" y="201"/>
                      <a:pt x="129" y="199"/>
                      <a:pt x="128" y="198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331" name="Freeform 404">
                <a:extLst>
                  <a:ext uri="{FF2B5EF4-FFF2-40B4-BE49-F238E27FC236}">
                    <a16:creationId xmlns:a16="http://schemas.microsoft.com/office/drawing/2014/main" id="{E9036453-807F-4517-82D0-461DDBD32C10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058" y="1565"/>
                <a:ext cx="40" cy="33"/>
              </a:xfrm>
              <a:custGeom>
                <a:avLst/>
                <a:gdLst>
                  <a:gd name="T0" fmla="*/ 3 w 37"/>
                  <a:gd name="T1" fmla="*/ 31 h 32"/>
                  <a:gd name="T2" fmla="*/ 22 w 37"/>
                  <a:gd name="T3" fmla="*/ 17 h 32"/>
                  <a:gd name="T4" fmla="*/ 37 w 37"/>
                  <a:gd name="T5" fmla="*/ 2 h 32"/>
                  <a:gd name="T6" fmla="*/ 35 w 37"/>
                  <a:gd name="T7" fmla="*/ 1 h 32"/>
                  <a:gd name="T8" fmla="*/ 17 w 37"/>
                  <a:gd name="T9" fmla="*/ 17 h 32"/>
                  <a:gd name="T10" fmla="*/ 1 w 37"/>
                  <a:gd name="T11" fmla="*/ 30 h 32"/>
                  <a:gd name="T12" fmla="*/ 3 w 37"/>
                  <a:gd name="T13" fmla="*/ 31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7" h="32">
                    <a:moveTo>
                      <a:pt x="3" y="31"/>
                    </a:moveTo>
                    <a:cubicBezTo>
                      <a:pt x="9" y="25"/>
                      <a:pt x="16" y="22"/>
                      <a:pt x="22" y="17"/>
                    </a:cubicBezTo>
                    <a:cubicBezTo>
                      <a:pt x="27" y="12"/>
                      <a:pt x="32" y="7"/>
                      <a:pt x="37" y="2"/>
                    </a:cubicBezTo>
                    <a:cubicBezTo>
                      <a:pt x="37" y="1"/>
                      <a:pt x="36" y="0"/>
                      <a:pt x="35" y="1"/>
                    </a:cubicBezTo>
                    <a:cubicBezTo>
                      <a:pt x="29" y="6"/>
                      <a:pt x="24" y="13"/>
                      <a:pt x="17" y="17"/>
                    </a:cubicBezTo>
                    <a:cubicBezTo>
                      <a:pt x="12" y="21"/>
                      <a:pt x="6" y="25"/>
                      <a:pt x="1" y="30"/>
                    </a:cubicBezTo>
                    <a:cubicBezTo>
                      <a:pt x="0" y="30"/>
                      <a:pt x="2" y="32"/>
                      <a:pt x="3" y="31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332" name="Freeform 405">
                <a:extLst>
                  <a:ext uri="{FF2B5EF4-FFF2-40B4-BE49-F238E27FC236}">
                    <a16:creationId xmlns:a16="http://schemas.microsoft.com/office/drawing/2014/main" id="{F5CFC318-5154-4699-AFAF-6C0DBA4DD51B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118" y="1542"/>
                <a:ext cx="14" cy="16"/>
              </a:xfrm>
              <a:custGeom>
                <a:avLst/>
                <a:gdLst>
                  <a:gd name="T0" fmla="*/ 1 w 13"/>
                  <a:gd name="T1" fmla="*/ 4 h 15"/>
                  <a:gd name="T2" fmla="*/ 9 w 13"/>
                  <a:gd name="T3" fmla="*/ 14 h 15"/>
                  <a:gd name="T4" fmla="*/ 11 w 13"/>
                  <a:gd name="T5" fmla="*/ 10 h 15"/>
                  <a:gd name="T6" fmla="*/ 5 w 13"/>
                  <a:gd name="T7" fmla="*/ 3 h 15"/>
                  <a:gd name="T8" fmla="*/ 1 w 13"/>
                  <a:gd name="T9" fmla="*/ 4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3" h="15">
                    <a:moveTo>
                      <a:pt x="1" y="4"/>
                    </a:moveTo>
                    <a:cubicBezTo>
                      <a:pt x="2" y="8"/>
                      <a:pt x="5" y="12"/>
                      <a:pt x="9" y="14"/>
                    </a:cubicBezTo>
                    <a:cubicBezTo>
                      <a:pt x="11" y="15"/>
                      <a:pt x="13" y="12"/>
                      <a:pt x="11" y="10"/>
                    </a:cubicBezTo>
                    <a:cubicBezTo>
                      <a:pt x="9" y="8"/>
                      <a:pt x="6" y="6"/>
                      <a:pt x="5" y="3"/>
                    </a:cubicBezTo>
                    <a:cubicBezTo>
                      <a:pt x="4" y="0"/>
                      <a:pt x="0" y="1"/>
                      <a:pt x="1" y="4"/>
                    </a:cubicBezTo>
                    <a:close/>
                  </a:path>
                </a:pathLst>
              </a:custGeom>
              <a:solidFill>
                <a:srgbClr val="1C1D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</p:grpSp>
        <p:sp>
          <p:nvSpPr>
            <p:cNvPr id="10" name="Freeform 407">
              <a:extLst>
                <a:ext uri="{FF2B5EF4-FFF2-40B4-BE49-F238E27FC236}">
                  <a16:creationId xmlns:a16="http://schemas.microsoft.com/office/drawing/2014/main" id="{E04E991C-87FE-4D5F-989E-81D26618B71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806575" y="2439988"/>
              <a:ext cx="17463" cy="12700"/>
            </a:xfrm>
            <a:custGeom>
              <a:avLst/>
              <a:gdLst>
                <a:gd name="T0" fmla="*/ 2 w 10"/>
                <a:gd name="T1" fmla="*/ 3 h 8"/>
                <a:gd name="T2" fmla="*/ 4 w 10"/>
                <a:gd name="T3" fmla="*/ 5 h 8"/>
                <a:gd name="T4" fmla="*/ 7 w 10"/>
                <a:gd name="T5" fmla="*/ 6 h 8"/>
                <a:gd name="T6" fmla="*/ 9 w 10"/>
                <a:gd name="T7" fmla="*/ 6 h 8"/>
                <a:gd name="T8" fmla="*/ 3 w 10"/>
                <a:gd name="T9" fmla="*/ 1 h 8"/>
                <a:gd name="T10" fmla="*/ 2 w 10"/>
                <a:gd name="T11" fmla="*/ 3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0" h="8">
                  <a:moveTo>
                    <a:pt x="2" y="3"/>
                  </a:moveTo>
                  <a:cubicBezTo>
                    <a:pt x="2" y="4"/>
                    <a:pt x="3" y="4"/>
                    <a:pt x="4" y="5"/>
                  </a:cubicBezTo>
                  <a:cubicBezTo>
                    <a:pt x="5" y="5"/>
                    <a:pt x="6" y="5"/>
                    <a:pt x="7" y="6"/>
                  </a:cubicBezTo>
                  <a:cubicBezTo>
                    <a:pt x="7" y="8"/>
                    <a:pt x="10" y="8"/>
                    <a:pt x="9" y="6"/>
                  </a:cubicBezTo>
                  <a:cubicBezTo>
                    <a:pt x="8" y="3"/>
                    <a:pt x="6" y="3"/>
                    <a:pt x="3" y="1"/>
                  </a:cubicBezTo>
                  <a:cubicBezTo>
                    <a:pt x="2" y="0"/>
                    <a:pt x="0" y="3"/>
                    <a:pt x="2" y="3"/>
                  </a:cubicBezTo>
                  <a:close/>
                </a:path>
              </a:pathLst>
            </a:custGeom>
            <a:solidFill>
              <a:srgbClr val="1C1D1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1" name="Freeform 408">
              <a:extLst>
                <a:ext uri="{FF2B5EF4-FFF2-40B4-BE49-F238E27FC236}">
                  <a16:creationId xmlns:a16="http://schemas.microsoft.com/office/drawing/2014/main" id="{F53C2412-FA5B-43F3-9F13-AE44F63E654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65338" y="1031875"/>
              <a:ext cx="188913" cy="1022350"/>
            </a:xfrm>
            <a:custGeom>
              <a:avLst/>
              <a:gdLst>
                <a:gd name="T0" fmla="*/ 9 w 112"/>
                <a:gd name="T1" fmla="*/ 1 h 608"/>
                <a:gd name="T2" fmla="*/ 1 w 112"/>
                <a:gd name="T3" fmla="*/ 88 h 608"/>
                <a:gd name="T4" fmla="*/ 17 w 112"/>
                <a:gd name="T5" fmla="*/ 181 h 608"/>
                <a:gd name="T6" fmla="*/ 85 w 112"/>
                <a:gd name="T7" fmla="*/ 269 h 608"/>
                <a:gd name="T8" fmla="*/ 61 w 112"/>
                <a:gd name="T9" fmla="*/ 247 h 608"/>
                <a:gd name="T10" fmla="*/ 57 w 112"/>
                <a:gd name="T11" fmla="*/ 311 h 608"/>
                <a:gd name="T12" fmla="*/ 63 w 112"/>
                <a:gd name="T13" fmla="*/ 406 h 608"/>
                <a:gd name="T14" fmla="*/ 68 w 112"/>
                <a:gd name="T15" fmla="*/ 456 h 608"/>
                <a:gd name="T16" fmla="*/ 73 w 112"/>
                <a:gd name="T17" fmla="*/ 511 h 608"/>
                <a:gd name="T18" fmla="*/ 78 w 112"/>
                <a:gd name="T19" fmla="*/ 561 h 608"/>
                <a:gd name="T20" fmla="*/ 89 w 112"/>
                <a:gd name="T21" fmla="*/ 601 h 608"/>
                <a:gd name="T22" fmla="*/ 100 w 112"/>
                <a:gd name="T23" fmla="*/ 595 h 608"/>
                <a:gd name="T24" fmla="*/ 91 w 112"/>
                <a:gd name="T25" fmla="*/ 559 h 608"/>
                <a:gd name="T26" fmla="*/ 85 w 112"/>
                <a:gd name="T27" fmla="*/ 510 h 608"/>
                <a:gd name="T28" fmla="*/ 79 w 112"/>
                <a:gd name="T29" fmla="*/ 453 h 608"/>
                <a:gd name="T30" fmla="*/ 73 w 112"/>
                <a:gd name="T31" fmla="*/ 412 h 608"/>
                <a:gd name="T32" fmla="*/ 73 w 112"/>
                <a:gd name="T33" fmla="*/ 369 h 608"/>
                <a:gd name="T34" fmla="*/ 69 w 112"/>
                <a:gd name="T35" fmla="*/ 334 h 608"/>
                <a:gd name="T36" fmla="*/ 67 w 112"/>
                <a:gd name="T37" fmla="*/ 268 h 608"/>
                <a:gd name="T38" fmla="*/ 72 w 112"/>
                <a:gd name="T39" fmla="*/ 249 h 608"/>
                <a:gd name="T40" fmla="*/ 70 w 112"/>
                <a:gd name="T41" fmla="*/ 261 h 608"/>
                <a:gd name="T42" fmla="*/ 62 w 112"/>
                <a:gd name="T43" fmla="*/ 256 h 608"/>
                <a:gd name="T44" fmla="*/ 41 w 112"/>
                <a:gd name="T45" fmla="*/ 220 h 608"/>
                <a:gd name="T46" fmla="*/ 16 w 112"/>
                <a:gd name="T47" fmla="*/ 142 h 608"/>
                <a:gd name="T48" fmla="*/ 7 w 112"/>
                <a:gd name="T49" fmla="*/ 67 h 608"/>
                <a:gd name="T50" fmla="*/ 10 w 112"/>
                <a:gd name="T51" fmla="*/ 1 h 608"/>
                <a:gd name="T52" fmla="*/ 9 w 112"/>
                <a:gd name="T53" fmla="*/ 1 h 6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112" h="608">
                  <a:moveTo>
                    <a:pt x="9" y="1"/>
                  </a:moveTo>
                  <a:cubicBezTo>
                    <a:pt x="5" y="31"/>
                    <a:pt x="0" y="58"/>
                    <a:pt x="1" y="88"/>
                  </a:cubicBezTo>
                  <a:cubicBezTo>
                    <a:pt x="3" y="120"/>
                    <a:pt x="8" y="151"/>
                    <a:pt x="17" y="181"/>
                  </a:cubicBezTo>
                  <a:cubicBezTo>
                    <a:pt x="24" y="201"/>
                    <a:pt x="48" y="293"/>
                    <a:pt x="85" y="269"/>
                  </a:cubicBezTo>
                  <a:cubicBezTo>
                    <a:pt x="112" y="252"/>
                    <a:pt x="77" y="219"/>
                    <a:pt x="61" y="247"/>
                  </a:cubicBezTo>
                  <a:cubicBezTo>
                    <a:pt x="51" y="265"/>
                    <a:pt x="57" y="292"/>
                    <a:pt x="57" y="311"/>
                  </a:cubicBezTo>
                  <a:cubicBezTo>
                    <a:pt x="58" y="343"/>
                    <a:pt x="62" y="374"/>
                    <a:pt x="63" y="406"/>
                  </a:cubicBezTo>
                  <a:cubicBezTo>
                    <a:pt x="63" y="423"/>
                    <a:pt x="67" y="439"/>
                    <a:pt x="68" y="456"/>
                  </a:cubicBezTo>
                  <a:cubicBezTo>
                    <a:pt x="69" y="474"/>
                    <a:pt x="70" y="492"/>
                    <a:pt x="73" y="511"/>
                  </a:cubicBezTo>
                  <a:cubicBezTo>
                    <a:pt x="76" y="528"/>
                    <a:pt x="77" y="544"/>
                    <a:pt x="78" y="561"/>
                  </a:cubicBezTo>
                  <a:cubicBezTo>
                    <a:pt x="79" y="575"/>
                    <a:pt x="82" y="588"/>
                    <a:pt x="89" y="601"/>
                  </a:cubicBezTo>
                  <a:cubicBezTo>
                    <a:pt x="93" y="608"/>
                    <a:pt x="104" y="602"/>
                    <a:pt x="100" y="595"/>
                  </a:cubicBezTo>
                  <a:cubicBezTo>
                    <a:pt x="94" y="584"/>
                    <a:pt x="92" y="572"/>
                    <a:pt x="91" y="559"/>
                  </a:cubicBezTo>
                  <a:cubicBezTo>
                    <a:pt x="89" y="542"/>
                    <a:pt x="88" y="528"/>
                    <a:pt x="85" y="510"/>
                  </a:cubicBezTo>
                  <a:cubicBezTo>
                    <a:pt x="81" y="490"/>
                    <a:pt x="80" y="472"/>
                    <a:pt x="79" y="453"/>
                  </a:cubicBezTo>
                  <a:cubicBezTo>
                    <a:pt x="77" y="439"/>
                    <a:pt x="74" y="425"/>
                    <a:pt x="73" y="412"/>
                  </a:cubicBezTo>
                  <a:cubicBezTo>
                    <a:pt x="73" y="398"/>
                    <a:pt x="75" y="383"/>
                    <a:pt x="73" y="369"/>
                  </a:cubicBezTo>
                  <a:cubicBezTo>
                    <a:pt x="72" y="357"/>
                    <a:pt x="69" y="346"/>
                    <a:pt x="69" y="334"/>
                  </a:cubicBezTo>
                  <a:cubicBezTo>
                    <a:pt x="67" y="313"/>
                    <a:pt x="66" y="290"/>
                    <a:pt x="67" y="268"/>
                  </a:cubicBezTo>
                  <a:cubicBezTo>
                    <a:pt x="67" y="265"/>
                    <a:pt x="71" y="248"/>
                    <a:pt x="72" y="249"/>
                  </a:cubicBezTo>
                  <a:cubicBezTo>
                    <a:pt x="72" y="253"/>
                    <a:pt x="71" y="257"/>
                    <a:pt x="70" y="261"/>
                  </a:cubicBezTo>
                  <a:cubicBezTo>
                    <a:pt x="67" y="260"/>
                    <a:pt x="65" y="258"/>
                    <a:pt x="62" y="256"/>
                  </a:cubicBezTo>
                  <a:cubicBezTo>
                    <a:pt x="52" y="247"/>
                    <a:pt x="46" y="232"/>
                    <a:pt x="41" y="220"/>
                  </a:cubicBezTo>
                  <a:cubicBezTo>
                    <a:pt x="31" y="194"/>
                    <a:pt x="21" y="169"/>
                    <a:pt x="16" y="142"/>
                  </a:cubicBezTo>
                  <a:cubicBezTo>
                    <a:pt x="11" y="117"/>
                    <a:pt x="8" y="92"/>
                    <a:pt x="7" y="67"/>
                  </a:cubicBezTo>
                  <a:cubicBezTo>
                    <a:pt x="7" y="45"/>
                    <a:pt x="11" y="23"/>
                    <a:pt x="10" y="1"/>
                  </a:cubicBezTo>
                  <a:cubicBezTo>
                    <a:pt x="10" y="0"/>
                    <a:pt x="9" y="0"/>
                    <a:pt x="9" y="1"/>
                  </a:cubicBezTo>
                  <a:close/>
                </a:path>
              </a:pathLst>
            </a:custGeom>
            <a:solidFill>
              <a:srgbClr val="04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2" name="Freeform 409">
              <a:extLst>
                <a:ext uri="{FF2B5EF4-FFF2-40B4-BE49-F238E27FC236}">
                  <a16:creationId xmlns:a16="http://schemas.microsoft.com/office/drawing/2014/main" id="{877BE9CC-B8A7-4A73-896A-8CD91905477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826000" y="2355850"/>
              <a:ext cx="214313" cy="71438"/>
            </a:xfrm>
            <a:custGeom>
              <a:avLst/>
              <a:gdLst>
                <a:gd name="T0" fmla="*/ 4 w 127"/>
                <a:gd name="T1" fmla="*/ 11 h 42"/>
                <a:gd name="T2" fmla="*/ 26 w 127"/>
                <a:gd name="T3" fmla="*/ 9 h 42"/>
                <a:gd name="T4" fmla="*/ 26 w 127"/>
                <a:gd name="T5" fmla="*/ 0 h 42"/>
                <a:gd name="T6" fmla="*/ 17 w 127"/>
                <a:gd name="T7" fmla="*/ 0 h 42"/>
                <a:gd name="T8" fmla="*/ 16 w 127"/>
                <a:gd name="T9" fmla="*/ 9 h 42"/>
                <a:gd name="T10" fmla="*/ 66 w 127"/>
                <a:gd name="T11" fmla="*/ 22 h 42"/>
                <a:gd name="T12" fmla="*/ 114 w 127"/>
                <a:gd name="T13" fmla="*/ 39 h 42"/>
                <a:gd name="T14" fmla="*/ 121 w 127"/>
                <a:gd name="T15" fmla="*/ 26 h 42"/>
                <a:gd name="T16" fmla="*/ 51 w 127"/>
                <a:gd name="T17" fmla="*/ 1 h 42"/>
                <a:gd name="T18" fmla="*/ 50 w 127"/>
                <a:gd name="T19" fmla="*/ 14 h 42"/>
                <a:gd name="T20" fmla="*/ 89 w 127"/>
                <a:gd name="T21" fmla="*/ 22 h 42"/>
                <a:gd name="T22" fmla="*/ 114 w 127"/>
                <a:gd name="T23" fmla="*/ 34 h 42"/>
                <a:gd name="T24" fmla="*/ 127 w 127"/>
                <a:gd name="T25" fmla="*/ 30 h 42"/>
                <a:gd name="T26" fmla="*/ 127 w 127"/>
                <a:gd name="T27" fmla="*/ 28 h 42"/>
                <a:gd name="T28" fmla="*/ 113 w 127"/>
                <a:gd name="T29" fmla="*/ 29 h 42"/>
                <a:gd name="T30" fmla="*/ 113 w 127"/>
                <a:gd name="T31" fmla="*/ 31 h 42"/>
                <a:gd name="T32" fmla="*/ 126 w 127"/>
                <a:gd name="T33" fmla="*/ 27 h 42"/>
                <a:gd name="T34" fmla="*/ 95 w 127"/>
                <a:gd name="T35" fmla="*/ 10 h 42"/>
                <a:gd name="T36" fmla="*/ 48 w 127"/>
                <a:gd name="T37" fmla="*/ 1 h 42"/>
                <a:gd name="T38" fmla="*/ 47 w 127"/>
                <a:gd name="T39" fmla="*/ 13 h 42"/>
                <a:gd name="T40" fmla="*/ 111 w 127"/>
                <a:gd name="T41" fmla="*/ 37 h 42"/>
                <a:gd name="T42" fmla="*/ 119 w 127"/>
                <a:gd name="T43" fmla="*/ 25 h 42"/>
                <a:gd name="T44" fmla="*/ 71 w 127"/>
                <a:gd name="T45" fmla="*/ 9 h 42"/>
                <a:gd name="T46" fmla="*/ 18 w 127"/>
                <a:gd name="T47" fmla="*/ 0 h 42"/>
                <a:gd name="T48" fmla="*/ 18 w 127"/>
                <a:gd name="T49" fmla="*/ 9 h 42"/>
                <a:gd name="T50" fmla="*/ 27 w 127"/>
                <a:gd name="T51" fmla="*/ 9 h 42"/>
                <a:gd name="T52" fmla="*/ 26 w 127"/>
                <a:gd name="T53" fmla="*/ 0 h 42"/>
                <a:gd name="T54" fmla="*/ 3 w 127"/>
                <a:gd name="T55" fmla="*/ 5 h 42"/>
                <a:gd name="T56" fmla="*/ 4 w 127"/>
                <a:gd name="T57" fmla="*/ 11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27" h="42">
                  <a:moveTo>
                    <a:pt x="4" y="11"/>
                  </a:moveTo>
                  <a:cubicBezTo>
                    <a:pt x="11" y="11"/>
                    <a:pt x="18" y="8"/>
                    <a:pt x="26" y="9"/>
                  </a:cubicBezTo>
                  <a:cubicBezTo>
                    <a:pt x="32" y="10"/>
                    <a:pt x="33" y="0"/>
                    <a:pt x="26" y="0"/>
                  </a:cubicBezTo>
                  <a:cubicBezTo>
                    <a:pt x="23" y="0"/>
                    <a:pt x="20" y="0"/>
                    <a:pt x="17" y="0"/>
                  </a:cubicBezTo>
                  <a:cubicBezTo>
                    <a:pt x="12" y="0"/>
                    <a:pt x="11" y="8"/>
                    <a:pt x="16" y="9"/>
                  </a:cubicBezTo>
                  <a:cubicBezTo>
                    <a:pt x="32" y="14"/>
                    <a:pt x="50" y="17"/>
                    <a:pt x="66" y="22"/>
                  </a:cubicBezTo>
                  <a:cubicBezTo>
                    <a:pt x="82" y="28"/>
                    <a:pt x="98" y="35"/>
                    <a:pt x="114" y="39"/>
                  </a:cubicBezTo>
                  <a:cubicBezTo>
                    <a:pt x="123" y="42"/>
                    <a:pt x="127" y="32"/>
                    <a:pt x="121" y="26"/>
                  </a:cubicBezTo>
                  <a:cubicBezTo>
                    <a:pt x="103" y="9"/>
                    <a:pt x="73" y="11"/>
                    <a:pt x="51" y="1"/>
                  </a:cubicBezTo>
                  <a:cubicBezTo>
                    <a:pt x="51" y="6"/>
                    <a:pt x="50" y="10"/>
                    <a:pt x="50" y="14"/>
                  </a:cubicBezTo>
                  <a:cubicBezTo>
                    <a:pt x="62" y="12"/>
                    <a:pt x="77" y="18"/>
                    <a:pt x="89" y="22"/>
                  </a:cubicBezTo>
                  <a:cubicBezTo>
                    <a:pt x="97" y="24"/>
                    <a:pt x="109" y="26"/>
                    <a:pt x="114" y="34"/>
                  </a:cubicBezTo>
                  <a:cubicBezTo>
                    <a:pt x="118" y="40"/>
                    <a:pt x="127" y="37"/>
                    <a:pt x="127" y="30"/>
                  </a:cubicBezTo>
                  <a:cubicBezTo>
                    <a:pt x="127" y="30"/>
                    <a:pt x="127" y="29"/>
                    <a:pt x="127" y="28"/>
                  </a:cubicBezTo>
                  <a:cubicBezTo>
                    <a:pt x="127" y="20"/>
                    <a:pt x="113" y="20"/>
                    <a:pt x="113" y="29"/>
                  </a:cubicBezTo>
                  <a:cubicBezTo>
                    <a:pt x="113" y="30"/>
                    <a:pt x="113" y="30"/>
                    <a:pt x="113" y="31"/>
                  </a:cubicBezTo>
                  <a:cubicBezTo>
                    <a:pt x="118" y="29"/>
                    <a:pt x="122" y="28"/>
                    <a:pt x="126" y="27"/>
                  </a:cubicBezTo>
                  <a:cubicBezTo>
                    <a:pt x="119" y="17"/>
                    <a:pt x="107" y="13"/>
                    <a:pt x="95" y="10"/>
                  </a:cubicBezTo>
                  <a:cubicBezTo>
                    <a:pt x="80" y="6"/>
                    <a:pt x="64" y="0"/>
                    <a:pt x="48" y="1"/>
                  </a:cubicBezTo>
                  <a:cubicBezTo>
                    <a:pt x="41" y="2"/>
                    <a:pt x="42" y="11"/>
                    <a:pt x="47" y="13"/>
                  </a:cubicBezTo>
                  <a:cubicBezTo>
                    <a:pt x="66" y="22"/>
                    <a:pt x="97" y="21"/>
                    <a:pt x="111" y="37"/>
                  </a:cubicBezTo>
                  <a:cubicBezTo>
                    <a:pt x="114" y="33"/>
                    <a:pt x="117" y="29"/>
                    <a:pt x="119" y="25"/>
                  </a:cubicBezTo>
                  <a:cubicBezTo>
                    <a:pt x="103" y="19"/>
                    <a:pt x="88" y="13"/>
                    <a:pt x="71" y="9"/>
                  </a:cubicBezTo>
                  <a:cubicBezTo>
                    <a:pt x="54" y="4"/>
                    <a:pt x="36" y="4"/>
                    <a:pt x="18" y="0"/>
                  </a:cubicBezTo>
                  <a:cubicBezTo>
                    <a:pt x="18" y="3"/>
                    <a:pt x="18" y="6"/>
                    <a:pt x="18" y="9"/>
                  </a:cubicBezTo>
                  <a:cubicBezTo>
                    <a:pt x="21" y="9"/>
                    <a:pt x="24" y="9"/>
                    <a:pt x="27" y="9"/>
                  </a:cubicBezTo>
                  <a:cubicBezTo>
                    <a:pt x="27" y="6"/>
                    <a:pt x="26" y="3"/>
                    <a:pt x="26" y="0"/>
                  </a:cubicBezTo>
                  <a:cubicBezTo>
                    <a:pt x="17" y="1"/>
                    <a:pt x="12" y="3"/>
                    <a:pt x="3" y="5"/>
                  </a:cubicBezTo>
                  <a:cubicBezTo>
                    <a:pt x="0" y="6"/>
                    <a:pt x="0" y="11"/>
                    <a:pt x="4" y="11"/>
                  </a:cubicBezTo>
                  <a:close/>
                </a:path>
              </a:pathLst>
            </a:custGeom>
            <a:solidFill>
              <a:srgbClr val="3C3C3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4" name="Freeform 410">
              <a:extLst>
                <a:ext uri="{FF2B5EF4-FFF2-40B4-BE49-F238E27FC236}">
                  <a16:creationId xmlns:a16="http://schemas.microsoft.com/office/drawing/2014/main" id="{02280066-4D7C-4237-88B0-1E2B11B3CAF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565650" y="2889250"/>
              <a:ext cx="188913" cy="142875"/>
            </a:xfrm>
            <a:custGeom>
              <a:avLst/>
              <a:gdLst>
                <a:gd name="T0" fmla="*/ 57 w 113"/>
                <a:gd name="T1" fmla="*/ 80 h 85"/>
                <a:gd name="T2" fmla="*/ 22 w 113"/>
                <a:gd name="T3" fmla="*/ 76 h 85"/>
                <a:gd name="T4" fmla="*/ 13 w 113"/>
                <a:gd name="T5" fmla="*/ 28 h 85"/>
                <a:gd name="T6" fmla="*/ 25 w 113"/>
                <a:gd name="T7" fmla="*/ 4 h 85"/>
                <a:gd name="T8" fmla="*/ 47 w 113"/>
                <a:gd name="T9" fmla="*/ 3 h 85"/>
                <a:gd name="T10" fmla="*/ 75 w 113"/>
                <a:gd name="T11" fmla="*/ 11 h 85"/>
                <a:gd name="T12" fmla="*/ 88 w 113"/>
                <a:gd name="T13" fmla="*/ 15 h 85"/>
                <a:gd name="T14" fmla="*/ 88 w 113"/>
                <a:gd name="T15" fmla="*/ 17 h 85"/>
                <a:gd name="T16" fmla="*/ 97 w 113"/>
                <a:gd name="T17" fmla="*/ 33 h 85"/>
                <a:gd name="T18" fmla="*/ 108 w 113"/>
                <a:gd name="T19" fmla="*/ 57 h 85"/>
                <a:gd name="T20" fmla="*/ 89 w 113"/>
                <a:gd name="T21" fmla="*/ 71 h 85"/>
                <a:gd name="T22" fmla="*/ 77 w 113"/>
                <a:gd name="T23" fmla="*/ 84 h 85"/>
                <a:gd name="T24" fmla="*/ 73 w 113"/>
                <a:gd name="T25" fmla="*/ 85 h 85"/>
                <a:gd name="T26" fmla="*/ 57 w 113"/>
                <a:gd name="T27" fmla="*/ 80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13" h="85">
                  <a:moveTo>
                    <a:pt x="57" y="80"/>
                  </a:moveTo>
                  <a:cubicBezTo>
                    <a:pt x="45" y="77"/>
                    <a:pt x="34" y="79"/>
                    <a:pt x="22" y="76"/>
                  </a:cubicBezTo>
                  <a:cubicBezTo>
                    <a:pt x="0" y="71"/>
                    <a:pt x="10" y="43"/>
                    <a:pt x="13" y="28"/>
                  </a:cubicBezTo>
                  <a:cubicBezTo>
                    <a:pt x="15" y="20"/>
                    <a:pt x="17" y="9"/>
                    <a:pt x="25" y="4"/>
                  </a:cubicBezTo>
                  <a:cubicBezTo>
                    <a:pt x="31" y="0"/>
                    <a:pt x="40" y="2"/>
                    <a:pt x="47" y="3"/>
                  </a:cubicBezTo>
                  <a:cubicBezTo>
                    <a:pt x="57" y="6"/>
                    <a:pt x="67" y="8"/>
                    <a:pt x="75" y="11"/>
                  </a:cubicBezTo>
                  <a:cubicBezTo>
                    <a:pt x="79" y="12"/>
                    <a:pt x="84" y="15"/>
                    <a:pt x="88" y="15"/>
                  </a:cubicBezTo>
                  <a:cubicBezTo>
                    <a:pt x="88" y="17"/>
                    <a:pt x="88" y="17"/>
                    <a:pt x="88" y="17"/>
                  </a:cubicBezTo>
                  <a:cubicBezTo>
                    <a:pt x="90" y="23"/>
                    <a:pt x="93" y="27"/>
                    <a:pt x="97" y="33"/>
                  </a:cubicBezTo>
                  <a:cubicBezTo>
                    <a:pt x="100" y="38"/>
                    <a:pt x="113" y="49"/>
                    <a:pt x="108" y="57"/>
                  </a:cubicBezTo>
                  <a:cubicBezTo>
                    <a:pt x="103" y="61"/>
                    <a:pt x="95" y="67"/>
                    <a:pt x="89" y="71"/>
                  </a:cubicBezTo>
                  <a:cubicBezTo>
                    <a:pt x="85" y="73"/>
                    <a:pt x="80" y="79"/>
                    <a:pt x="77" y="84"/>
                  </a:cubicBezTo>
                  <a:cubicBezTo>
                    <a:pt x="73" y="85"/>
                    <a:pt x="73" y="85"/>
                    <a:pt x="73" y="85"/>
                  </a:cubicBezTo>
                  <a:cubicBezTo>
                    <a:pt x="67" y="83"/>
                    <a:pt x="63" y="81"/>
                    <a:pt x="57" y="80"/>
                  </a:cubicBezTo>
                  <a:close/>
                </a:path>
              </a:pathLst>
            </a:custGeom>
            <a:solidFill>
              <a:srgbClr val="E840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6" name="Freeform 411">
              <a:extLst>
                <a:ext uri="{FF2B5EF4-FFF2-40B4-BE49-F238E27FC236}">
                  <a16:creationId xmlns:a16="http://schemas.microsoft.com/office/drawing/2014/main" id="{25C5B7FA-5525-42D6-A521-6E5C4CD3038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694238" y="3048000"/>
              <a:ext cx="155575" cy="169863"/>
            </a:xfrm>
            <a:custGeom>
              <a:avLst/>
              <a:gdLst>
                <a:gd name="T0" fmla="*/ 42 w 92"/>
                <a:gd name="T1" fmla="*/ 7 h 101"/>
                <a:gd name="T2" fmla="*/ 56 w 92"/>
                <a:gd name="T3" fmla="*/ 1 h 101"/>
                <a:gd name="T4" fmla="*/ 66 w 92"/>
                <a:gd name="T5" fmla="*/ 7 h 101"/>
                <a:gd name="T6" fmla="*/ 89 w 92"/>
                <a:gd name="T7" fmla="*/ 31 h 101"/>
                <a:gd name="T8" fmla="*/ 92 w 92"/>
                <a:gd name="T9" fmla="*/ 32 h 101"/>
                <a:gd name="T10" fmla="*/ 85 w 92"/>
                <a:gd name="T11" fmla="*/ 64 h 101"/>
                <a:gd name="T12" fmla="*/ 80 w 92"/>
                <a:gd name="T13" fmla="*/ 82 h 101"/>
                <a:gd name="T14" fmla="*/ 71 w 92"/>
                <a:gd name="T15" fmla="*/ 96 h 101"/>
                <a:gd name="T16" fmla="*/ 41 w 92"/>
                <a:gd name="T17" fmla="*/ 97 h 101"/>
                <a:gd name="T18" fmla="*/ 6 w 92"/>
                <a:gd name="T19" fmla="*/ 86 h 101"/>
                <a:gd name="T20" fmla="*/ 1 w 92"/>
                <a:gd name="T21" fmla="*/ 86 h 101"/>
                <a:gd name="T22" fmla="*/ 2 w 92"/>
                <a:gd name="T23" fmla="*/ 74 h 101"/>
                <a:gd name="T24" fmla="*/ 5 w 92"/>
                <a:gd name="T25" fmla="*/ 40 h 101"/>
                <a:gd name="T26" fmla="*/ 7 w 92"/>
                <a:gd name="T27" fmla="*/ 34 h 101"/>
                <a:gd name="T28" fmla="*/ 17 w 92"/>
                <a:gd name="T29" fmla="*/ 21 h 101"/>
                <a:gd name="T30" fmla="*/ 42 w 92"/>
                <a:gd name="T31" fmla="*/ 7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92" h="101">
                  <a:moveTo>
                    <a:pt x="42" y="7"/>
                  </a:moveTo>
                  <a:cubicBezTo>
                    <a:pt x="47" y="4"/>
                    <a:pt x="51" y="0"/>
                    <a:pt x="56" y="1"/>
                  </a:cubicBezTo>
                  <a:cubicBezTo>
                    <a:pt x="58" y="1"/>
                    <a:pt x="62" y="4"/>
                    <a:pt x="66" y="7"/>
                  </a:cubicBezTo>
                  <a:cubicBezTo>
                    <a:pt x="73" y="12"/>
                    <a:pt x="87" y="22"/>
                    <a:pt x="89" y="31"/>
                  </a:cubicBezTo>
                  <a:cubicBezTo>
                    <a:pt x="92" y="32"/>
                    <a:pt x="92" y="32"/>
                    <a:pt x="92" y="32"/>
                  </a:cubicBezTo>
                  <a:cubicBezTo>
                    <a:pt x="90" y="42"/>
                    <a:pt x="87" y="53"/>
                    <a:pt x="85" y="64"/>
                  </a:cubicBezTo>
                  <a:cubicBezTo>
                    <a:pt x="84" y="70"/>
                    <a:pt x="81" y="75"/>
                    <a:pt x="80" y="82"/>
                  </a:cubicBezTo>
                  <a:cubicBezTo>
                    <a:pt x="78" y="87"/>
                    <a:pt x="76" y="92"/>
                    <a:pt x="71" y="96"/>
                  </a:cubicBezTo>
                  <a:cubicBezTo>
                    <a:pt x="61" y="101"/>
                    <a:pt x="51" y="99"/>
                    <a:pt x="41" y="97"/>
                  </a:cubicBezTo>
                  <a:cubicBezTo>
                    <a:pt x="29" y="94"/>
                    <a:pt x="18" y="90"/>
                    <a:pt x="6" y="86"/>
                  </a:cubicBezTo>
                  <a:cubicBezTo>
                    <a:pt x="1" y="86"/>
                    <a:pt x="1" y="86"/>
                    <a:pt x="1" y="86"/>
                  </a:cubicBezTo>
                  <a:cubicBezTo>
                    <a:pt x="0" y="83"/>
                    <a:pt x="3" y="78"/>
                    <a:pt x="2" y="74"/>
                  </a:cubicBezTo>
                  <a:cubicBezTo>
                    <a:pt x="4" y="62"/>
                    <a:pt x="5" y="52"/>
                    <a:pt x="5" y="40"/>
                  </a:cubicBezTo>
                  <a:cubicBezTo>
                    <a:pt x="6" y="38"/>
                    <a:pt x="6" y="36"/>
                    <a:pt x="7" y="34"/>
                  </a:cubicBezTo>
                  <a:cubicBezTo>
                    <a:pt x="9" y="29"/>
                    <a:pt x="12" y="25"/>
                    <a:pt x="17" y="21"/>
                  </a:cubicBezTo>
                  <a:cubicBezTo>
                    <a:pt x="25" y="15"/>
                    <a:pt x="35" y="11"/>
                    <a:pt x="42" y="7"/>
                  </a:cubicBezTo>
                  <a:close/>
                </a:path>
              </a:pathLst>
            </a:custGeom>
            <a:solidFill>
              <a:srgbClr val="E840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7" name="Freeform 412">
              <a:extLst>
                <a:ext uri="{FF2B5EF4-FFF2-40B4-BE49-F238E27FC236}">
                  <a16:creationId xmlns:a16="http://schemas.microsoft.com/office/drawing/2014/main" id="{27EBDAE6-30E0-4EE0-B3C8-B7CD4B9EC65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851400" y="2944813"/>
              <a:ext cx="174625" cy="157163"/>
            </a:xfrm>
            <a:custGeom>
              <a:avLst/>
              <a:gdLst>
                <a:gd name="T0" fmla="*/ 98 w 104"/>
                <a:gd name="T1" fmla="*/ 12 h 94"/>
                <a:gd name="T2" fmla="*/ 101 w 104"/>
                <a:gd name="T3" fmla="*/ 32 h 94"/>
                <a:gd name="T4" fmla="*/ 90 w 104"/>
                <a:gd name="T5" fmla="*/ 83 h 94"/>
                <a:gd name="T6" fmla="*/ 89 w 104"/>
                <a:gd name="T7" fmla="*/ 84 h 94"/>
                <a:gd name="T8" fmla="*/ 77 w 104"/>
                <a:gd name="T9" fmla="*/ 92 h 94"/>
                <a:gd name="T10" fmla="*/ 48 w 104"/>
                <a:gd name="T11" fmla="*/ 86 h 94"/>
                <a:gd name="T12" fmla="*/ 28 w 104"/>
                <a:gd name="T13" fmla="*/ 84 h 94"/>
                <a:gd name="T14" fmla="*/ 26 w 104"/>
                <a:gd name="T15" fmla="*/ 83 h 94"/>
                <a:gd name="T16" fmla="*/ 17 w 104"/>
                <a:gd name="T17" fmla="*/ 76 h 94"/>
                <a:gd name="T18" fmla="*/ 11 w 104"/>
                <a:gd name="T19" fmla="*/ 55 h 94"/>
                <a:gd name="T20" fmla="*/ 3 w 104"/>
                <a:gd name="T21" fmla="*/ 40 h 94"/>
                <a:gd name="T22" fmla="*/ 0 w 104"/>
                <a:gd name="T23" fmla="*/ 39 h 94"/>
                <a:gd name="T24" fmla="*/ 25 w 104"/>
                <a:gd name="T25" fmla="*/ 12 h 94"/>
                <a:gd name="T26" fmla="*/ 76 w 104"/>
                <a:gd name="T27" fmla="*/ 7 h 94"/>
                <a:gd name="T28" fmla="*/ 98 w 104"/>
                <a:gd name="T29" fmla="*/ 12 h 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04" h="94">
                  <a:moveTo>
                    <a:pt x="98" y="12"/>
                  </a:moveTo>
                  <a:cubicBezTo>
                    <a:pt x="104" y="17"/>
                    <a:pt x="102" y="25"/>
                    <a:pt x="101" y="32"/>
                  </a:cubicBezTo>
                  <a:cubicBezTo>
                    <a:pt x="99" y="49"/>
                    <a:pt x="95" y="66"/>
                    <a:pt x="90" y="83"/>
                  </a:cubicBezTo>
                  <a:cubicBezTo>
                    <a:pt x="89" y="84"/>
                    <a:pt x="89" y="84"/>
                    <a:pt x="89" y="84"/>
                  </a:cubicBezTo>
                  <a:cubicBezTo>
                    <a:pt x="86" y="91"/>
                    <a:pt x="84" y="94"/>
                    <a:pt x="77" y="92"/>
                  </a:cubicBezTo>
                  <a:cubicBezTo>
                    <a:pt x="67" y="90"/>
                    <a:pt x="58" y="89"/>
                    <a:pt x="48" y="86"/>
                  </a:cubicBezTo>
                  <a:cubicBezTo>
                    <a:pt x="42" y="85"/>
                    <a:pt x="34" y="85"/>
                    <a:pt x="28" y="84"/>
                  </a:cubicBezTo>
                  <a:cubicBezTo>
                    <a:pt x="27" y="84"/>
                    <a:pt x="27" y="84"/>
                    <a:pt x="26" y="83"/>
                  </a:cubicBezTo>
                  <a:cubicBezTo>
                    <a:pt x="23" y="82"/>
                    <a:pt x="19" y="80"/>
                    <a:pt x="17" y="76"/>
                  </a:cubicBezTo>
                  <a:cubicBezTo>
                    <a:pt x="15" y="70"/>
                    <a:pt x="13" y="61"/>
                    <a:pt x="11" y="55"/>
                  </a:cubicBezTo>
                  <a:cubicBezTo>
                    <a:pt x="8" y="51"/>
                    <a:pt x="8" y="44"/>
                    <a:pt x="3" y="40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10" y="32"/>
                    <a:pt x="17" y="19"/>
                    <a:pt x="25" y="12"/>
                  </a:cubicBezTo>
                  <a:cubicBezTo>
                    <a:pt x="40" y="0"/>
                    <a:pt x="60" y="6"/>
                    <a:pt x="76" y="7"/>
                  </a:cubicBezTo>
                  <a:cubicBezTo>
                    <a:pt x="83" y="7"/>
                    <a:pt x="94" y="6"/>
                    <a:pt x="98" y="12"/>
                  </a:cubicBezTo>
                  <a:close/>
                </a:path>
              </a:pathLst>
            </a:custGeom>
            <a:solidFill>
              <a:srgbClr val="E840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8" name="Freeform 413">
              <a:extLst>
                <a:ext uri="{FF2B5EF4-FFF2-40B4-BE49-F238E27FC236}">
                  <a16:creationId xmlns:a16="http://schemas.microsoft.com/office/drawing/2014/main" id="{00265340-D048-4DD9-A5F0-4CAC16C5230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767263" y="2768600"/>
              <a:ext cx="134938" cy="168275"/>
            </a:xfrm>
            <a:custGeom>
              <a:avLst/>
              <a:gdLst>
                <a:gd name="T0" fmla="*/ 1 w 80"/>
                <a:gd name="T1" fmla="*/ 56 h 100"/>
                <a:gd name="T2" fmla="*/ 0 w 80"/>
                <a:gd name="T3" fmla="*/ 55 h 100"/>
                <a:gd name="T4" fmla="*/ 2 w 80"/>
                <a:gd name="T5" fmla="*/ 36 h 100"/>
                <a:gd name="T6" fmla="*/ 7 w 80"/>
                <a:gd name="T7" fmla="*/ 6 h 100"/>
                <a:gd name="T8" fmla="*/ 29 w 80"/>
                <a:gd name="T9" fmla="*/ 1 h 100"/>
                <a:gd name="T10" fmla="*/ 57 w 80"/>
                <a:gd name="T11" fmla="*/ 1 h 100"/>
                <a:gd name="T12" fmla="*/ 80 w 80"/>
                <a:gd name="T13" fmla="*/ 34 h 100"/>
                <a:gd name="T14" fmla="*/ 77 w 80"/>
                <a:gd name="T15" fmla="*/ 74 h 100"/>
                <a:gd name="T16" fmla="*/ 71 w 80"/>
                <a:gd name="T17" fmla="*/ 78 h 100"/>
                <a:gd name="T18" fmla="*/ 45 w 80"/>
                <a:gd name="T19" fmla="*/ 92 h 100"/>
                <a:gd name="T20" fmla="*/ 33 w 80"/>
                <a:gd name="T21" fmla="*/ 97 h 100"/>
                <a:gd name="T22" fmla="*/ 27 w 80"/>
                <a:gd name="T23" fmla="*/ 99 h 100"/>
                <a:gd name="T24" fmla="*/ 17 w 80"/>
                <a:gd name="T25" fmla="*/ 90 h 100"/>
                <a:gd name="T26" fmla="*/ 11 w 80"/>
                <a:gd name="T27" fmla="*/ 76 h 100"/>
                <a:gd name="T28" fmla="*/ 2 w 80"/>
                <a:gd name="T29" fmla="*/ 62 h 100"/>
                <a:gd name="T30" fmla="*/ 1 w 80"/>
                <a:gd name="T31" fmla="*/ 56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80" h="100">
                  <a:moveTo>
                    <a:pt x="1" y="56"/>
                  </a:moveTo>
                  <a:cubicBezTo>
                    <a:pt x="0" y="55"/>
                    <a:pt x="0" y="55"/>
                    <a:pt x="0" y="55"/>
                  </a:cubicBezTo>
                  <a:cubicBezTo>
                    <a:pt x="1" y="49"/>
                    <a:pt x="1" y="41"/>
                    <a:pt x="2" y="36"/>
                  </a:cubicBezTo>
                  <a:cubicBezTo>
                    <a:pt x="2" y="27"/>
                    <a:pt x="1" y="14"/>
                    <a:pt x="7" y="6"/>
                  </a:cubicBezTo>
                  <a:cubicBezTo>
                    <a:pt x="11" y="0"/>
                    <a:pt x="22" y="1"/>
                    <a:pt x="29" y="1"/>
                  </a:cubicBezTo>
                  <a:cubicBezTo>
                    <a:pt x="38" y="1"/>
                    <a:pt x="49" y="0"/>
                    <a:pt x="57" y="1"/>
                  </a:cubicBezTo>
                  <a:cubicBezTo>
                    <a:pt x="76" y="4"/>
                    <a:pt x="80" y="19"/>
                    <a:pt x="80" y="34"/>
                  </a:cubicBezTo>
                  <a:cubicBezTo>
                    <a:pt x="79" y="48"/>
                    <a:pt x="80" y="61"/>
                    <a:pt x="77" y="74"/>
                  </a:cubicBezTo>
                  <a:cubicBezTo>
                    <a:pt x="71" y="78"/>
                    <a:pt x="71" y="78"/>
                    <a:pt x="71" y="78"/>
                  </a:cubicBezTo>
                  <a:cubicBezTo>
                    <a:pt x="67" y="87"/>
                    <a:pt x="52" y="90"/>
                    <a:pt x="45" y="92"/>
                  </a:cubicBezTo>
                  <a:cubicBezTo>
                    <a:pt x="41" y="93"/>
                    <a:pt x="37" y="94"/>
                    <a:pt x="33" y="97"/>
                  </a:cubicBezTo>
                  <a:cubicBezTo>
                    <a:pt x="32" y="97"/>
                    <a:pt x="29" y="100"/>
                    <a:pt x="27" y="99"/>
                  </a:cubicBezTo>
                  <a:cubicBezTo>
                    <a:pt x="22" y="100"/>
                    <a:pt x="20" y="94"/>
                    <a:pt x="17" y="90"/>
                  </a:cubicBezTo>
                  <a:cubicBezTo>
                    <a:pt x="14" y="86"/>
                    <a:pt x="13" y="82"/>
                    <a:pt x="11" y="76"/>
                  </a:cubicBezTo>
                  <a:cubicBezTo>
                    <a:pt x="7" y="72"/>
                    <a:pt x="2" y="67"/>
                    <a:pt x="2" y="62"/>
                  </a:cubicBezTo>
                  <a:cubicBezTo>
                    <a:pt x="1" y="59"/>
                    <a:pt x="1" y="58"/>
                    <a:pt x="1" y="56"/>
                  </a:cubicBezTo>
                  <a:close/>
                </a:path>
              </a:pathLst>
            </a:custGeom>
            <a:solidFill>
              <a:srgbClr val="E840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9" name="Freeform 414">
              <a:extLst>
                <a:ext uri="{FF2B5EF4-FFF2-40B4-BE49-F238E27FC236}">
                  <a16:creationId xmlns:a16="http://schemas.microsoft.com/office/drawing/2014/main" id="{476ACF38-1327-4E53-937D-DC5AEBDE1AE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484813" y="3317875"/>
              <a:ext cx="192088" cy="209550"/>
            </a:xfrm>
            <a:custGeom>
              <a:avLst/>
              <a:gdLst>
                <a:gd name="T0" fmla="*/ 74 w 114"/>
                <a:gd name="T1" fmla="*/ 118 h 125"/>
                <a:gd name="T2" fmla="*/ 13 w 114"/>
                <a:gd name="T3" fmla="*/ 94 h 125"/>
                <a:gd name="T4" fmla="*/ 2 w 114"/>
                <a:gd name="T5" fmla="*/ 64 h 125"/>
                <a:gd name="T6" fmla="*/ 10 w 114"/>
                <a:gd name="T7" fmla="*/ 35 h 125"/>
                <a:gd name="T8" fmla="*/ 69 w 114"/>
                <a:gd name="T9" fmla="*/ 5 h 125"/>
                <a:gd name="T10" fmla="*/ 75 w 114"/>
                <a:gd name="T11" fmla="*/ 5 h 125"/>
                <a:gd name="T12" fmla="*/ 105 w 114"/>
                <a:gd name="T13" fmla="*/ 29 h 125"/>
                <a:gd name="T14" fmla="*/ 112 w 114"/>
                <a:gd name="T15" fmla="*/ 60 h 125"/>
                <a:gd name="T16" fmla="*/ 74 w 114"/>
                <a:gd name="T17" fmla="*/ 118 h 1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14" h="125">
                  <a:moveTo>
                    <a:pt x="74" y="118"/>
                  </a:moveTo>
                  <a:cubicBezTo>
                    <a:pt x="51" y="125"/>
                    <a:pt x="29" y="112"/>
                    <a:pt x="13" y="94"/>
                  </a:cubicBezTo>
                  <a:cubicBezTo>
                    <a:pt x="6" y="86"/>
                    <a:pt x="0" y="75"/>
                    <a:pt x="2" y="64"/>
                  </a:cubicBezTo>
                  <a:cubicBezTo>
                    <a:pt x="2" y="55"/>
                    <a:pt x="6" y="43"/>
                    <a:pt x="10" y="35"/>
                  </a:cubicBezTo>
                  <a:cubicBezTo>
                    <a:pt x="22" y="13"/>
                    <a:pt x="44" y="0"/>
                    <a:pt x="69" y="5"/>
                  </a:cubicBezTo>
                  <a:cubicBezTo>
                    <a:pt x="75" y="5"/>
                    <a:pt x="75" y="5"/>
                    <a:pt x="75" y="5"/>
                  </a:cubicBezTo>
                  <a:cubicBezTo>
                    <a:pt x="88" y="10"/>
                    <a:pt x="99" y="16"/>
                    <a:pt x="105" y="29"/>
                  </a:cubicBezTo>
                  <a:cubicBezTo>
                    <a:pt x="110" y="37"/>
                    <a:pt x="113" y="48"/>
                    <a:pt x="112" y="60"/>
                  </a:cubicBezTo>
                  <a:cubicBezTo>
                    <a:pt x="114" y="86"/>
                    <a:pt x="98" y="109"/>
                    <a:pt x="74" y="118"/>
                  </a:cubicBezTo>
                  <a:close/>
                </a:path>
              </a:pathLst>
            </a:custGeom>
            <a:solidFill>
              <a:srgbClr val="E840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0" name="Freeform 415">
              <a:extLst>
                <a:ext uri="{FF2B5EF4-FFF2-40B4-BE49-F238E27FC236}">
                  <a16:creationId xmlns:a16="http://schemas.microsoft.com/office/drawing/2014/main" id="{6755F251-8274-4ADA-B14A-C3EB6E3268F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161088" y="3232150"/>
              <a:ext cx="150813" cy="136525"/>
            </a:xfrm>
            <a:custGeom>
              <a:avLst/>
              <a:gdLst>
                <a:gd name="T0" fmla="*/ 87 w 89"/>
                <a:gd name="T1" fmla="*/ 27 h 82"/>
                <a:gd name="T2" fmla="*/ 80 w 89"/>
                <a:gd name="T3" fmla="*/ 54 h 82"/>
                <a:gd name="T4" fmla="*/ 26 w 89"/>
                <a:gd name="T5" fmla="*/ 72 h 82"/>
                <a:gd name="T6" fmla="*/ 19 w 89"/>
                <a:gd name="T7" fmla="*/ 13 h 82"/>
                <a:gd name="T8" fmla="*/ 66 w 89"/>
                <a:gd name="T9" fmla="*/ 8 h 82"/>
                <a:gd name="T10" fmla="*/ 75 w 89"/>
                <a:gd name="T11" fmla="*/ 7 h 82"/>
                <a:gd name="T12" fmla="*/ 87 w 89"/>
                <a:gd name="T13" fmla="*/ 27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9" h="82">
                  <a:moveTo>
                    <a:pt x="87" y="27"/>
                  </a:moveTo>
                  <a:cubicBezTo>
                    <a:pt x="89" y="36"/>
                    <a:pt x="85" y="46"/>
                    <a:pt x="80" y="54"/>
                  </a:cubicBezTo>
                  <a:cubicBezTo>
                    <a:pt x="70" y="73"/>
                    <a:pt x="45" y="82"/>
                    <a:pt x="26" y="72"/>
                  </a:cubicBezTo>
                  <a:cubicBezTo>
                    <a:pt x="4" y="61"/>
                    <a:pt x="0" y="28"/>
                    <a:pt x="19" y="13"/>
                  </a:cubicBezTo>
                  <a:cubicBezTo>
                    <a:pt x="32" y="1"/>
                    <a:pt x="52" y="0"/>
                    <a:pt x="66" y="8"/>
                  </a:cubicBezTo>
                  <a:cubicBezTo>
                    <a:pt x="75" y="7"/>
                    <a:pt x="75" y="7"/>
                    <a:pt x="75" y="7"/>
                  </a:cubicBezTo>
                  <a:cubicBezTo>
                    <a:pt x="80" y="13"/>
                    <a:pt x="85" y="19"/>
                    <a:pt x="87" y="27"/>
                  </a:cubicBezTo>
                  <a:close/>
                </a:path>
              </a:pathLst>
            </a:custGeom>
            <a:solidFill>
              <a:srgbClr val="E840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1" name="Freeform 416">
              <a:extLst>
                <a:ext uri="{FF2B5EF4-FFF2-40B4-BE49-F238E27FC236}">
                  <a16:creationId xmlns:a16="http://schemas.microsoft.com/office/drawing/2014/main" id="{5DCC5939-5550-4229-8A02-4ED57D2EEC0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343650" y="3465513"/>
              <a:ext cx="133350" cy="141288"/>
            </a:xfrm>
            <a:custGeom>
              <a:avLst/>
              <a:gdLst>
                <a:gd name="T0" fmla="*/ 1 w 80"/>
                <a:gd name="T1" fmla="*/ 41 h 84"/>
                <a:gd name="T2" fmla="*/ 46 w 80"/>
                <a:gd name="T3" fmla="*/ 5 h 84"/>
                <a:gd name="T4" fmla="*/ 48 w 80"/>
                <a:gd name="T5" fmla="*/ 0 h 84"/>
                <a:gd name="T6" fmla="*/ 75 w 80"/>
                <a:gd name="T7" fmla="*/ 27 h 84"/>
                <a:gd name="T8" fmla="*/ 71 w 80"/>
                <a:gd name="T9" fmla="*/ 65 h 84"/>
                <a:gd name="T10" fmla="*/ 51 w 80"/>
                <a:gd name="T11" fmla="*/ 82 h 84"/>
                <a:gd name="T12" fmla="*/ 28 w 80"/>
                <a:gd name="T13" fmla="*/ 81 h 84"/>
                <a:gd name="T14" fmla="*/ 8 w 80"/>
                <a:gd name="T15" fmla="*/ 69 h 84"/>
                <a:gd name="T16" fmla="*/ 1 w 80"/>
                <a:gd name="T17" fmla="*/ 41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0" h="84">
                  <a:moveTo>
                    <a:pt x="1" y="41"/>
                  </a:moveTo>
                  <a:cubicBezTo>
                    <a:pt x="2" y="20"/>
                    <a:pt x="25" y="4"/>
                    <a:pt x="46" y="5"/>
                  </a:cubicBezTo>
                  <a:cubicBezTo>
                    <a:pt x="48" y="0"/>
                    <a:pt x="48" y="0"/>
                    <a:pt x="48" y="0"/>
                  </a:cubicBezTo>
                  <a:cubicBezTo>
                    <a:pt x="61" y="5"/>
                    <a:pt x="71" y="13"/>
                    <a:pt x="75" y="27"/>
                  </a:cubicBezTo>
                  <a:cubicBezTo>
                    <a:pt x="80" y="38"/>
                    <a:pt x="79" y="52"/>
                    <a:pt x="71" y="65"/>
                  </a:cubicBezTo>
                  <a:cubicBezTo>
                    <a:pt x="65" y="72"/>
                    <a:pt x="59" y="80"/>
                    <a:pt x="51" y="82"/>
                  </a:cubicBezTo>
                  <a:cubicBezTo>
                    <a:pt x="44" y="84"/>
                    <a:pt x="35" y="82"/>
                    <a:pt x="28" y="81"/>
                  </a:cubicBezTo>
                  <a:cubicBezTo>
                    <a:pt x="20" y="79"/>
                    <a:pt x="12" y="75"/>
                    <a:pt x="8" y="69"/>
                  </a:cubicBezTo>
                  <a:cubicBezTo>
                    <a:pt x="2" y="61"/>
                    <a:pt x="0" y="50"/>
                    <a:pt x="1" y="41"/>
                  </a:cubicBezTo>
                  <a:close/>
                </a:path>
              </a:pathLst>
            </a:custGeom>
            <a:solidFill>
              <a:srgbClr val="E840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2" name="Freeform 417">
              <a:extLst>
                <a:ext uri="{FF2B5EF4-FFF2-40B4-BE49-F238E27FC236}">
                  <a16:creationId xmlns:a16="http://schemas.microsoft.com/office/drawing/2014/main" id="{C35B5789-923A-4D37-83B1-55E44D1C4DD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64313" y="3309938"/>
              <a:ext cx="155575" cy="163513"/>
            </a:xfrm>
            <a:custGeom>
              <a:avLst/>
              <a:gdLst>
                <a:gd name="T0" fmla="*/ 63 w 93"/>
                <a:gd name="T1" fmla="*/ 14 h 97"/>
                <a:gd name="T2" fmla="*/ 64 w 93"/>
                <a:gd name="T3" fmla="*/ 13 h 97"/>
                <a:gd name="T4" fmla="*/ 91 w 93"/>
                <a:gd name="T5" fmla="*/ 37 h 97"/>
                <a:gd name="T6" fmla="*/ 82 w 93"/>
                <a:gd name="T7" fmla="*/ 69 h 97"/>
                <a:gd name="T8" fmla="*/ 23 w 93"/>
                <a:gd name="T9" fmla="*/ 86 h 97"/>
                <a:gd name="T10" fmla="*/ 11 w 93"/>
                <a:gd name="T11" fmla="*/ 29 h 97"/>
                <a:gd name="T12" fmla="*/ 63 w 93"/>
                <a:gd name="T13" fmla="*/ 14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3" h="97">
                  <a:moveTo>
                    <a:pt x="63" y="14"/>
                  </a:moveTo>
                  <a:cubicBezTo>
                    <a:pt x="64" y="13"/>
                    <a:pt x="64" y="13"/>
                    <a:pt x="64" y="13"/>
                  </a:cubicBezTo>
                  <a:cubicBezTo>
                    <a:pt x="73" y="19"/>
                    <a:pt x="86" y="25"/>
                    <a:pt x="91" y="37"/>
                  </a:cubicBezTo>
                  <a:cubicBezTo>
                    <a:pt x="93" y="48"/>
                    <a:pt x="89" y="59"/>
                    <a:pt x="82" y="69"/>
                  </a:cubicBezTo>
                  <a:cubicBezTo>
                    <a:pt x="70" y="85"/>
                    <a:pt x="42" y="97"/>
                    <a:pt x="23" y="86"/>
                  </a:cubicBezTo>
                  <a:cubicBezTo>
                    <a:pt x="5" y="73"/>
                    <a:pt x="0" y="46"/>
                    <a:pt x="11" y="29"/>
                  </a:cubicBezTo>
                  <a:cubicBezTo>
                    <a:pt x="22" y="10"/>
                    <a:pt x="46" y="0"/>
                    <a:pt x="63" y="14"/>
                  </a:cubicBezTo>
                  <a:close/>
                </a:path>
              </a:pathLst>
            </a:custGeom>
            <a:solidFill>
              <a:srgbClr val="E840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3" name="Freeform 418">
              <a:extLst>
                <a:ext uri="{FF2B5EF4-FFF2-40B4-BE49-F238E27FC236}">
                  <a16:creationId xmlns:a16="http://schemas.microsoft.com/office/drawing/2014/main" id="{22F6E37C-9359-490A-A937-2DAC496CE1E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421438" y="3098800"/>
              <a:ext cx="123825" cy="114300"/>
            </a:xfrm>
            <a:custGeom>
              <a:avLst/>
              <a:gdLst>
                <a:gd name="T0" fmla="*/ 13 w 73"/>
                <a:gd name="T1" fmla="*/ 14 h 68"/>
                <a:gd name="T2" fmla="*/ 52 w 73"/>
                <a:gd name="T3" fmla="*/ 6 h 68"/>
                <a:gd name="T4" fmla="*/ 59 w 73"/>
                <a:gd name="T5" fmla="*/ 5 h 68"/>
                <a:gd name="T6" fmla="*/ 71 w 73"/>
                <a:gd name="T7" fmla="*/ 24 h 68"/>
                <a:gd name="T8" fmla="*/ 68 w 73"/>
                <a:gd name="T9" fmla="*/ 47 h 68"/>
                <a:gd name="T10" fmla="*/ 21 w 73"/>
                <a:gd name="T11" fmla="*/ 60 h 68"/>
                <a:gd name="T12" fmla="*/ 13 w 73"/>
                <a:gd name="T13" fmla="*/ 14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3" h="68">
                  <a:moveTo>
                    <a:pt x="13" y="14"/>
                  </a:moveTo>
                  <a:cubicBezTo>
                    <a:pt x="23" y="3"/>
                    <a:pt x="39" y="0"/>
                    <a:pt x="52" y="6"/>
                  </a:cubicBezTo>
                  <a:cubicBezTo>
                    <a:pt x="59" y="5"/>
                    <a:pt x="59" y="5"/>
                    <a:pt x="59" y="5"/>
                  </a:cubicBezTo>
                  <a:cubicBezTo>
                    <a:pt x="64" y="10"/>
                    <a:pt x="70" y="16"/>
                    <a:pt x="71" y="24"/>
                  </a:cubicBezTo>
                  <a:cubicBezTo>
                    <a:pt x="73" y="32"/>
                    <a:pt x="71" y="40"/>
                    <a:pt x="68" y="47"/>
                  </a:cubicBezTo>
                  <a:cubicBezTo>
                    <a:pt x="61" y="63"/>
                    <a:pt x="36" y="68"/>
                    <a:pt x="21" y="60"/>
                  </a:cubicBezTo>
                  <a:cubicBezTo>
                    <a:pt x="4" y="51"/>
                    <a:pt x="0" y="27"/>
                    <a:pt x="13" y="14"/>
                  </a:cubicBezTo>
                  <a:close/>
                </a:path>
              </a:pathLst>
            </a:custGeom>
            <a:solidFill>
              <a:srgbClr val="E840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4" name="Freeform 419">
              <a:extLst>
                <a:ext uri="{FF2B5EF4-FFF2-40B4-BE49-F238E27FC236}">
                  <a16:creationId xmlns:a16="http://schemas.microsoft.com/office/drawing/2014/main" id="{14A12CAD-6725-404E-8E78-E6E541C5417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278438" y="3116263"/>
              <a:ext cx="174625" cy="90488"/>
            </a:xfrm>
            <a:custGeom>
              <a:avLst/>
              <a:gdLst>
                <a:gd name="T0" fmla="*/ 81 w 104"/>
                <a:gd name="T1" fmla="*/ 8 h 54"/>
                <a:gd name="T2" fmla="*/ 72 w 104"/>
                <a:gd name="T3" fmla="*/ 52 h 54"/>
                <a:gd name="T4" fmla="*/ 44 w 104"/>
                <a:gd name="T5" fmla="*/ 48 h 54"/>
                <a:gd name="T6" fmla="*/ 16 w 104"/>
                <a:gd name="T7" fmla="*/ 40 h 54"/>
                <a:gd name="T8" fmla="*/ 0 w 104"/>
                <a:gd name="T9" fmla="*/ 21 h 54"/>
                <a:gd name="T10" fmla="*/ 8 w 104"/>
                <a:gd name="T11" fmla="*/ 1 h 54"/>
                <a:gd name="T12" fmla="*/ 40 w 104"/>
                <a:gd name="T13" fmla="*/ 1 h 54"/>
                <a:gd name="T14" fmla="*/ 81 w 104"/>
                <a:gd name="T15" fmla="*/ 8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04" h="54">
                  <a:moveTo>
                    <a:pt x="81" y="8"/>
                  </a:moveTo>
                  <a:cubicBezTo>
                    <a:pt x="104" y="18"/>
                    <a:pt x="92" y="47"/>
                    <a:pt x="72" y="52"/>
                  </a:cubicBezTo>
                  <a:cubicBezTo>
                    <a:pt x="62" y="54"/>
                    <a:pt x="53" y="50"/>
                    <a:pt x="44" y="48"/>
                  </a:cubicBezTo>
                  <a:cubicBezTo>
                    <a:pt x="34" y="46"/>
                    <a:pt x="24" y="44"/>
                    <a:pt x="16" y="40"/>
                  </a:cubicBezTo>
                  <a:cubicBezTo>
                    <a:pt x="8" y="37"/>
                    <a:pt x="0" y="30"/>
                    <a:pt x="0" y="21"/>
                  </a:cubicBezTo>
                  <a:cubicBezTo>
                    <a:pt x="0" y="14"/>
                    <a:pt x="5" y="7"/>
                    <a:pt x="8" y="1"/>
                  </a:cubicBezTo>
                  <a:cubicBezTo>
                    <a:pt x="19" y="0"/>
                    <a:pt x="29" y="0"/>
                    <a:pt x="40" y="1"/>
                  </a:cubicBezTo>
                  <a:cubicBezTo>
                    <a:pt x="54" y="2"/>
                    <a:pt x="68" y="3"/>
                    <a:pt x="81" y="8"/>
                  </a:cubicBezTo>
                  <a:close/>
                </a:path>
              </a:pathLst>
            </a:custGeom>
            <a:solidFill>
              <a:srgbClr val="21AAD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5" name="Freeform 420">
              <a:extLst>
                <a:ext uri="{FF2B5EF4-FFF2-40B4-BE49-F238E27FC236}">
                  <a16:creationId xmlns:a16="http://schemas.microsoft.com/office/drawing/2014/main" id="{AB479263-E844-4BF4-AAB5-3894E797650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772150" y="3209925"/>
              <a:ext cx="138113" cy="90488"/>
            </a:xfrm>
            <a:custGeom>
              <a:avLst/>
              <a:gdLst>
                <a:gd name="T0" fmla="*/ 42 w 82"/>
                <a:gd name="T1" fmla="*/ 15 h 54"/>
                <a:gd name="T2" fmla="*/ 82 w 82"/>
                <a:gd name="T3" fmla="*/ 45 h 54"/>
                <a:gd name="T4" fmla="*/ 82 w 82"/>
                <a:gd name="T5" fmla="*/ 51 h 54"/>
                <a:gd name="T6" fmla="*/ 56 w 82"/>
                <a:gd name="T7" fmla="*/ 51 h 54"/>
                <a:gd name="T8" fmla="*/ 32 w 82"/>
                <a:gd name="T9" fmla="*/ 54 h 54"/>
                <a:gd name="T10" fmla="*/ 13 w 82"/>
                <a:gd name="T11" fmla="*/ 53 h 54"/>
                <a:gd name="T12" fmla="*/ 12 w 82"/>
                <a:gd name="T13" fmla="*/ 23 h 54"/>
                <a:gd name="T14" fmla="*/ 21 w 82"/>
                <a:gd name="T15" fmla="*/ 0 h 54"/>
                <a:gd name="T16" fmla="*/ 42 w 82"/>
                <a:gd name="T17" fmla="*/ 15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2" h="54">
                  <a:moveTo>
                    <a:pt x="42" y="15"/>
                  </a:moveTo>
                  <a:cubicBezTo>
                    <a:pt x="54" y="25"/>
                    <a:pt x="67" y="38"/>
                    <a:pt x="82" y="45"/>
                  </a:cubicBezTo>
                  <a:cubicBezTo>
                    <a:pt x="82" y="51"/>
                    <a:pt x="82" y="51"/>
                    <a:pt x="82" y="51"/>
                  </a:cubicBezTo>
                  <a:cubicBezTo>
                    <a:pt x="74" y="51"/>
                    <a:pt x="65" y="52"/>
                    <a:pt x="56" y="51"/>
                  </a:cubicBezTo>
                  <a:cubicBezTo>
                    <a:pt x="49" y="52"/>
                    <a:pt x="39" y="53"/>
                    <a:pt x="32" y="54"/>
                  </a:cubicBezTo>
                  <a:cubicBezTo>
                    <a:pt x="27" y="53"/>
                    <a:pt x="18" y="54"/>
                    <a:pt x="13" y="53"/>
                  </a:cubicBezTo>
                  <a:cubicBezTo>
                    <a:pt x="0" y="48"/>
                    <a:pt x="11" y="31"/>
                    <a:pt x="12" y="23"/>
                  </a:cubicBezTo>
                  <a:cubicBezTo>
                    <a:pt x="14" y="14"/>
                    <a:pt x="17" y="8"/>
                    <a:pt x="21" y="0"/>
                  </a:cubicBezTo>
                  <a:cubicBezTo>
                    <a:pt x="29" y="1"/>
                    <a:pt x="38" y="10"/>
                    <a:pt x="42" y="15"/>
                  </a:cubicBezTo>
                  <a:close/>
                </a:path>
              </a:pathLst>
            </a:custGeom>
            <a:solidFill>
              <a:srgbClr val="21AAD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6" name="Freeform 421">
              <a:extLst>
                <a:ext uri="{FF2B5EF4-FFF2-40B4-BE49-F238E27FC236}">
                  <a16:creationId xmlns:a16="http://schemas.microsoft.com/office/drawing/2014/main" id="{2E7B00E4-16E8-4F8C-9E0D-2D819E35696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629150" y="3082925"/>
              <a:ext cx="350838" cy="236538"/>
            </a:xfrm>
            <a:custGeom>
              <a:avLst/>
              <a:gdLst>
                <a:gd name="T0" fmla="*/ 13 w 209"/>
                <a:gd name="T1" fmla="*/ 32 h 140"/>
                <a:gd name="T2" fmla="*/ 19 w 209"/>
                <a:gd name="T3" fmla="*/ 10 h 140"/>
                <a:gd name="T4" fmla="*/ 46 w 209"/>
                <a:gd name="T5" fmla="*/ 13 h 140"/>
                <a:gd name="T6" fmla="*/ 44 w 209"/>
                <a:gd name="T7" fmla="*/ 19 h 140"/>
                <a:gd name="T8" fmla="*/ 41 w 209"/>
                <a:gd name="T9" fmla="*/ 53 h 140"/>
                <a:gd name="T10" fmla="*/ 40 w 209"/>
                <a:gd name="T11" fmla="*/ 65 h 140"/>
                <a:gd name="T12" fmla="*/ 45 w 209"/>
                <a:gd name="T13" fmla="*/ 65 h 140"/>
                <a:gd name="T14" fmla="*/ 80 w 209"/>
                <a:gd name="T15" fmla="*/ 76 h 140"/>
                <a:gd name="T16" fmla="*/ 110 w 209"/>
                <a:gd name="T17" fmla="*/ 75 h 140"/>
                <a:gd name="T18" fmla="*/ 119 w 209"/>
                <a:gd name="T19" fmla="*/ 61 h 140"/>
                <a:gd name="T20" fmla="*/ 124 w 209"/>
                <a:gd name="T21" fmla="*/ 43 h 140"/>
                <a:gd name="T22" fmla="*/ 131 w 209"/>
                <a:gd name="T23" fmla="*/ 11 h 140"/>
                <a:gd name="T24" fmla="*/ 132 w 209"/>
                <a:gd name="T25" fmla="*/ 7 h 140"/>
                <a:gd name="T26" fmla="*/ 158 w 209"/>
                <a:gd name="T27" fmla="*/ 0 h 140"/>
                <a:gd name="T28" fmla="*/ 160 w 209"/>
                <a:gd name="T29" fmla="*/ 1 h 140"/>
                <a:gd name="T30" fmla="*/ 180 w 209"/>
                <a:gd name="T31" fmla="*/ 3 h 140"/>
                <a:gd name="T32" fmla="*/ 209 w 209"/>
                <a:gd name="T33" fmla="*/ 9 h 140"/>
                <a:gd name="T34" fmla="*/ 206 w 209"/>
                <a:gd name="T35" fmla="*/ 37 h 140"/>
                <a:gd name="T36" fmla="*/ 160 w 209"/>
                <a:gd name="T37" fmla="*/ 34 h 140"/>
                <a:gd name="T38" fmla="*/ 155 w 209"/>
                <a:gd name="T39" fmla="*/ 71 h 140"/>
                <a:gd name="T40" fmla="*/ 144 w 209"/>
                <a:gd name="T41" fmla="*/ 123 h 140"/>
                <a:gd name="T42" fmla="*/ 129 w 209"/>
                <a:gd name="T43" fmla="*/ 139 h 140"/>
                <a:gd name="T44" fmla="*/ 86 w 209"/>
                <a:gd name="T45" fmla="*/ 137 h 140"/>
                <a:gd name="T46" fmla="*/ 54 w 209"/>
                <a:gd name="T47" fmla="*/ 136 h 140"/>
                <a:gd name="T48" fmla="*/ 1 w 209"/>
                <a:gd name="T49" fmla="*/ 98 h 140"/>
                <a:gd name="T50" fmla="*/ 13 w 209"/>
                <a:gd name="T51" fmla="*/ 32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209" h="140">
                  <a:moveTo>
                    <a:pt x="13" y="32"/>
                  </a:moveTo>
                  <a:cubicBezTo>
                    <a:pt x="15" y="24"/>
                    <a:pt x="16" y="17"/>
                    <a:pt x="19" y="10"/>
                  </a:cubicBezTo>
                  <a:cubicBezTo>
                    <a:pt x="46" y="13"/>
                    <a:pt x="46" y="13"/>
                    <a:pt x="46" y="13"/>
                  </a:cubicBezTo>
                  <a:cubicBezTo>
                    <a:pt x="45" y="15"/>
                    <a:pt x="45" y="17"/>
                    <a:pt x="44" y="19"/>
                  </a:cubicBezTo>
                  <a:cubicBezTo>
                    <a:pt x="44" y="31"/>
                    <a:pt x="43" y="41"/>
                    <a:pt x="41" y="53"/>
                  </a:cubicBezTo>
                  <a:cubicBezTo>
                    <a:pt x="42" y="57"/>
                    <a:pt x="39" y="62"/>
                    <a:pt x="40" y="65"/>
                  </a:cubicBezTo>
                  <a:cubicBezTo>
                    <a:pt x="45" y="65"/>
                    <a:pt x="45" y="65"/>
                    <a:pt x="45" y="65"/>
                  </a:cubicBezTo>
                  <a:cubicBezTo>
                    <a:pt x="57" y="69"/>
                    <a:pt x="68" y="73"/>
                    <a:pt x="80" y="76"/>
                  </a:cubicBezTo>
                  <a:cubicBezTo>
                    <a:pt x="90" y="78"/>
                    <a:pt x="100" y="80"/>
                    <a:pt x="110" y="75"/>
                  </a:cubicBezTo>
                  <a:cubicBezTo>
                    <a:pt x="115" y="71"/>
                    <a:pt x="117" y="66"/>
                    <a:pt x="119" y="61"/>
                  </a:cubicBezTo>
                  <a:cubicBezTo>
                    <a:pt x="120" y="54"/>
                    <a:pt x="123" y="49"/>
                    <a:pt x="124" y="43"/>
                  </a:cubicBezTo>
                  <a:cubicBezTo>
                    <a:pt x="126" y="32"/>
                    <a:pt x="129" y="21"/>
                    <a:pt x="131" y="11"/>
                  </a:cubicBezTo>
                  <a:cubicBezTo>
                    <a:pt x="131" y="9"/>
                    <a:pt x="132" y="8"/>
                    <a:pt x="132" y="7"/>
                  </a:cubicBezTo>
                  <a:cubicBezTo>
                    <a:pt x="158" y="0"/>
                    <a:pt x="158" y="0"/>
                    <a:pt x="158" y="0"/>
                  </a:cubicBezTo>
                  <a:cubicBezTo>
                    <a:pt x="159" y="1"/>
                    <a:pt x="159" y="1"/>
                    <a:pt x="160" y="1"/>
                  </a:cubicBezTo>
                  <a:cubicBezTo>
                    <a:pt x="166" y="2"/>
                    <a:pt x="174" y="2"/>
                    <a:pt x="180" y="3"/>
                  </a:cubicBezTo>
                  <a:cubicBezTo>
                    <a:pt x="190" y="6"/>
                    <a:pt x="199" y="7"/>
                    <a:pt x="209" y="9"/>
                  </a:cubicBezTo>
                  <a:cubicBezTo>
                    <a:pt x="206" y="37"/>
                    <a:pt x="206" y="37"/>
                    <a:pt x="206" y="37"/>
                  </a:cubicBezTo>
                  <a:cubicBezTo>
                    <a:pt x="190" y="36"/>
                    <a:pt x="175" y="34"/>
                    <a:pt x="160" y="34"/>
                  </a:cubicBezTo>
                  <a:cubicBezTo>
                    <a:pt x="159" y="46"/>
                    <a:pt x="158" y="58"/>
                    <a:pt x="155" y="71"/>
                  </a:cubicBezTo>
                  <a:cubicBezTo>
                    <a:pt x="152" y="87"/>
                    <a:pt x="148" y="104"/>
                    <a:pt x="144" y="123"/>
                  </a:cubicBezTo>
                  <a:cubicBezTo>
                    <a:pt x="142" y="133"/>
                    <a:pt x="141" y="140"/>
                    <a:pt x="129" y="139"/>
                  </a:cubicBezTo>
                  <a:cubicBezTo>
                    <a:pt x="114" y="140"/>
                    <a:pt x="101" y="137"/>
                    <a:pt x="86" y="137"/>
                  </a:cubicBezTo>
                  <a:cubicBezTo>
                    <a:pt x="77" y="137"/>
                    <a:pt x="66" y="137"/>
                    <a:pt x="54" y="136"/>
                  </a:cubicBezTo>
                  <a:cubicBezTo>
                    <a:pt x="29" y="135"/>
                    <a:pt x="3" y="128"/>
                    <a:pt x="1" y="98"/>
                  </a:cubicBezTo>
                  <a:cubicBezTo>
                    <a:pt x="0" y="77"/>
                    <a:pt x="9" y="54"/>
                    <a:pt x="13" y="32"/>
                  </a:cubicBezTo>
                  <a:close/>
                </a:path>
              </a:pathLst>
            </a:custGeom>
            <a:solidFill>
              <a:srgbClr val="21AAD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7" name="Freeform 422">
              <a:extLst>
                <a:ext uri="{FF2B5EF4-FFF2-40B4-BE49-F238E27FC236}">
                  <a16:creationId xmlns:a16="http://schemas.microsoft.com/office/drawing/2014/main" id="{38CD7DEC-1D94-4322-96EF-D07904E5ED4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468813" y="2659063"/>
              <a:ext cx="679450" cy="506413"/>
            </a:xfrm>
            <a:custGeom>
              <a:avLst/>
              <a:gdLst>
                <a:gd name="T0" fmla="*/ 178 w 404"/>
                <a:gd name="T1" fmla="*/ 122 h 302"/>
                <a:gd name="T2" fmla="*/ 188 w 404"/>
                <a:gd name="T3" fmla="*/ 142 h 302"/>
                <a:gd name="T4" fmla="*/ 204 w 404"/>
                <a:gd name="T5" fmla="*/ 165 h 302"/>
                <a:gd name="T6" fmla="*/ 222 w 404"/>
                <a:gd name="T7" fmla="*/ 158 h 302"/>
                <a:gd name="T8" fmla="*/ 254 w 404"/>
                <a:gd name="T9" fmla="*/ 140 h 302"/>
                <a:gd name="T10" fmla="*/ 234 w 404"/>
                <a:gd name="T11" fmla="*/ 67 h 302"/>
                <a:gd name="T12" fmla="*/ 184 w 404"/>
                <a:gd name="T13" fmla="*/ 72 h 302"/>
                <a:gd name="T14" fmla="*/ 177 w 404"/>
                <a:gd name="T15" fmla="*/ 121 h 302"/>
                <a:gd name="T16" fmla="*/ 132 w 404"/>
                <a:gd name="T17" fmla="*/ 148 h 302"/>
                <a:gd name="T18" fmla="*/ 82 w 404"/>
                <a:gd name="T19" fmla="*/ 141 h 302"/>
                <a:gd name="T20" fmla="*/ 79 w 404"/>
                <a:gd name="T21" fmla="*/ 213 h 302"/>
                <a:gd name="T22" fmla="*/ 130 w 404"/>
                <a:gd name="T23" fmla="*/ 222 h 302"/>
                <a:gd name="T24" fmla="*/ 146 w 404"/>
                <a:gd name="T25" fmla="*/ 208 h 302"/>
                <a:gd name="T26" fmla="*/ 154 w 404"/>
                <a:gd name="T27" fmla="*/ 170 h 302"/>
                <a:gd name="T28" fmla="*/ 145 w 404"/>
                <a:gd name="T29" fmla="*/ 152 h 302"/>
                <a:gd name="T30" fmla="*/ 147 w 404"/>
                <a:gd name="T31" fmla="*/ 95 h 302"/>
                <a:gd name="T32" fmla="*/ 170 w 404"/>
                <a:gd name="T33" fmla="*/ 11 h 302"/>
                <a:gd name="T34" fmla="*/ 258 w 404"/>
                <a:gd name="T35" fmla="*/ 11 h 302"/>
                <a:gd name="T36" fmla="*/ 305 w 404"/>
                <a:gd name="T37" fmla="*/ 22 h 302"/>
                <a:gd name="T38" fmla="*/ 309 w 404"/>
                <a:gd name="T39" fmla="*/ 39 h 302"/>
                <a:gd name="T40" fmla="*/ 289 w 404"/>
                <a:gd name="T41" fmla="*/ 132 h 302"/>
                <a:gd name="T42" fmla="*/ 296 w 404"/>
                <a:gd name="T43" fmla="*/ 141 h 302"/>
                <a:gd name="T44" fmla="*/ 384 w 404"/>
                <a:gd name="T45" fmla="*/ 159 h 302"/>
                <a:gd name="T46" fmla="*/ 380 w 404"/>
                <a:gd name="T47" fmla="*/ 264 h 302"/>
                <a:gd name="T48" fmla="*/ 341 w 404"/>
                <a:gd name="T49" fmla="*/ 297 h 302"/>
                <a:gd name="T50" fmla="*/ 301 w 404"/>
                <a:gd name="T51" fmla="*/ 290 h 302"/>
                <a:gd name="T52" fmla="*/ 316 w 404"/>
                <a:gd name="T53" fmla="*/ 254 h 302"/>
                <a:gd name="T54" fmla="*/ 328 w 404"/>
                <a:gd name="T55" fmla="*/ 202 h 302"/>
                <a:gd name="T56" fmla="*/ 303 w 404"/>
                <a:gd name="T57" fmla="*/ 177 h 302"/>
                <a:gd name="T58" fmla="*/ 227 w 404"/>
                <a:gd name="T59" fmla="*/ 209 h 302"/>
                <a:gd name="T60" fmla="*/ 238 w 404"/>
                <a:gd name="T61" fmla="*/ 225 h 302"/>
                <a:gd name="T62" fmla="*/ 253 w 404"/>
                <a:gd name="T63" fmla="*/ 253 h 302"/>
                <a:gd name="T64" fmla="*/ 226 w 404"/>
                <a:gd name="T65" fmla="*/ 264 h 302"/>
                <a:gd name="T66" fmla="*/ 200 w 404"/>
                <a:gd name="T67" fmla="*/ 239 h 302"/>
                <a:gd name="T68" fmla="*/ 176 w 404"/>
                <a:gd name="T69" fmla="*/ 239 h 302"/>
                <a:gd name="T70" fmla="*/ 141 w 404"/>
                <a:gd name="T71" fmla="*/ 266 h 302"/>
                <a:gd name="T72" fmla="*/ 116 w 404"/>
                <a:gd name="T73" fmla="*/ 258 h 302"/>
                <a:gd name="T74" fmla="*/ 47 w 404"/>
                <a:gd name="T75" fmla="*/ 243 h 302"/>
                <a:gd name="T76" fmla="*/ 7 w 404"/>
                <a:gd name="T77" fmla="*/ 182 h 302"/>
                <a:gd name="T78" fmla="*/ 26 w 404"/>
                <a:gd name="T79" fmla="*/ 106 h 302"/>
                <a:gd name="T80" fmla="*/ 115 w 404"/>
                <a:gd name="T81" fmla="*/ 106 h 3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404" h="302">
                  <a:moveTo>
                    <a:pt x="177" y="121"/>
                  </a:moveTo>
                  <a:cubicBezTo>
                    <a:pt x="178" y="122"/>
                    <a:pt x="178" y="122"/>
                    <a:pt x="178" y="122"/>
                  </a:cubicBezTo>
                  <a:cubicBezTo>
                    <a:pt x="178" y="124"/>
                    <a:pt x="178" y="125"/>
                    <a:pt x="179" y="128"/>
                  </a:cubicBezTo>
                  <a:cubicBezTo>
                    <a:pt x="179" y="133"/>
                    <a:pt x="184" y="138"/>
                    <a:pt x="188" y="142"/>
                  </a:cubicBezTo>
                  <a:cubicBezTo>
                    <a:pt x="190" y="148"/>
                    <a:pt x="191" y="152"/>
                    <a:pt x="194" y="156"/>
                  </a:cubicBezTo>
                  <a:cubicBezTo>
                    <a:pt x="197" y="160"/>
                    <a:pt x="199" y="166"/>
                    <a:pt x="204" y="165"/>
                  </a:cubicBezTo>
                  <a:cubicBezTo>
                    <a:pt x="206" y="166"/>
                    <a:pt x="209" y="163"/>
                    <a:pt x="210" y="163"/>
                  </a:cubicBezTo>
                  <a:cubicBezTo>
                    <a:pt x="214" y="160"/>
                    <a:pt x="218" y="159"/>
                    <a:pt x="222" y="158"/>
                  </a:cubicBezTo>
                  <a:cubicBezTo>
                    <a:pt x="229" y="156"/>
                    <a:pt x="244" y="153"/>
                    <a:pt x="248" y="144"/>
                  </a:cubicBezTo>
                  <a:cubicBezTo>
                    <a:pt x="254" y="140"/>
                    <a:pt x="254" y="140"/>
                    <a:pt x="254" y="140"/>
                  </a:cubicBezTo>
                  <a:cubicBezTo>
                    <a:pt x="257" y="127"/>
                    <a:pt x="256" y="114"/>
                    <a:pt x="257" y="100"/>
                  </a:cubicBezTo>
                  <a:cubicBezTo>
                    <a:pt x="257" y="85"/>
                    <a:pt x="253" y="70"/>
                    <a:pt x="234" y="67"/>
                  </a:cubicBezTo>
                  <a:cubicBezTo>
                    <a:pt x="226" y="66"/>
                    <a:pt x="215" y="67"/>
                    <a:pt x="206" y="67"/>
                  </a:cubicBezTo>
                  <a:cubicBezTo>
                    <a:pt x="199" y="67"/>
                    <a:pt x="188" y="66"/>
                    <a:pt x="184" y="72"/>
                  </a:cubicBezTo>
                  <a:cubicBezTo>
                    <a:pt x="178" y="80"/>
                    <a:pt x="179" y="93"/>
                    <a:pt x="179" y="102"/>
                  </a:cubicBezTo>
                  <a:cubicBezTo>
                    <a:pt x="178" y="107"/>
                    <a:pt x="178" y="115"/>
                    <a:pt x="177" y="121"/>
                  </a:cubicBezTo>
                  <a:close/>
                  <a:moveTo>
                    <a:pt x="145" y="152"/>
                  </a:moveTo>
                  <a:cubicBezTo>
                    <a:pt x="141" y="152"/>
                    <a:pt x="136" y="149"/>
                    <a:pt x="132" y="148"/>
                  </a:cubicBezTo>
                  <a:cubicBezTo>
                    <a:pt x="124" y="145"/>
                    <a:pt x="114" y="143"/>
                    <a:pt x="104" y="140"/>
                  </a:cubicBezTo>
                  <a:cubicBezTo>
                    <a:pt x="97" y="139"/>
                    <a:pt x="88" y="137"/>
                    <a:pt x="82" y="141"/>
                  </a:cubicBezTo>
                  <a:cubicBezTo>
                    <a:pt x="74" y="146"/>
                    <a:pt x="72" y="157"/>
                    <a:pt x="70" y="165"/>
                  </a:cubicBezTo>
                  <a:cubicBezTo>
                    <a:pt x="67" y="180"/>
                    <a:pt x="57" y="208"/>
                    <a:pt x="79" y="213"/>
                  </a:cubicBezTo>
                  <a:cubicBezTo>
                    <a:pt x="91" y="216"/>
                    <a:pt x="102" y="214"/>
                    <a:pt x="114" y="217"/>
                  </a:cubicBezTo>
                  <a:cubicBezTo>
                    <a:pt x="120" y="218"/>
                    <a:pt x="124" y="220"/>
                    <a:pt x="130" y="222"/>
                  </a:cubicBezTo>
                  <a:cubicBezTo>
                    <a:pt x="134" y="221"/>
                    <a:pt x="134" y="221"/>
                    <a:pt x="134" y="221"/>
                  </a:cubicBezTo>
                  <a:cubicBezTo>
                    <a:pt x="137" y="216"/>
                    <a:pt x="142" y="210"/>
                    <a:pt x="146" y="208"/>
                  </a:cubicBezTo>
                  <a:cubicBezTo>
                    <a:pt x="152" y="204"/>
                    <a:pt x="160" y="198"/>
                    <a:pt x="165" y="194"/>
                  </a:cubicBezTo>
                  <a:cubicBezTo>
                    <a:pt x="170" y="186"/>
                    <a:pt x="157" y="175"/>
                    <a:pt x="154" y="170"/>
                  </a:cubicBezTo>
                  <a:cubicBezTo>
                    <a:pt x="150" y="164"/>
                    <a:pt x="147" y="160"/>
                    <a:pt x="145" y="154"/>
                  </a:cubicBezTo>
                  <a:lnTo>
                    <a:pt x="145" y="152"/>
                  </a:lnTo>
                  <a:close/>
                  <a:moveTo>
                    <a:pt x="142" y="115"/>
                  </a:moveTo>
                  <a:cubicBezTo>
                    <a:pt x="145" y="109"/>
                    <a:pt x="146" y="101"/>
                    <a:pt x="147" y="95"/>
                  </a:cubicBezTo>
                  <a:cubicBezTo>
                    <a:pt x="148" y="81"/>
                    <a:pt x="151" y="69"/>
                    <a:pt x="155" y="56"/>
                  </a:cubicBezTo>
                  <a:cubicBezTo>
                    <a:pt x="158" y="42"/>
                    <a:pt x="160" y="23"/>
                    <a:pt x="170" y="11"/>
                  </a:cubicBezTo>
                  <a:cubicBezTo>
                    <a:pt x="178" y="0"/>
                    <a:pt x="193" y="4"/>
                    <a:pt x="205" y="3"/>
                  </a:cubicBezTo>
                  <a:cubicBezTo>
                    <a:pt x="223" y="3"/>
                    <a:pt x="242" y="5"/>
                    <a:pt x="258" y="11"/>
                  </a:cubicBezTo>
                  <a:cubicBezTo>
                    <a:pt x="269" y="13"/>
                    <a:pt x="277" y="16"/>
                    <a:pt x="285" y="18"/>
                  </a:cubicBezTo>
                  <a:cubicBezTo>
                    <a:pt x="292" y="19"/>
                    <a:pt x="299" y="19"/>
                    <a:pt x="305" y="22"/>
                  </a:cubicBezTo>
                  <a:cubicBezTo>
                    <a:pt x="307" y="23"/>
                    <a:pt x="307" y="24"/>
                    <a:pt x="308" y="25"/>
                  </a:cubicBezTo>
                  <a:cubicBezTo>
                    <a:pt x="310" y="29"/>
                    <a:pt x="310" y="34"/>
                    <a:pt x="309" y="39"/>
                  </a:cubicBezTo>
                  <a:cubicBezTo>
                    <a:pt x="308" y="51"/>
                    <a:pt x="304" y="64"/>
                    <a:pt x="301" y="78"/>
                  </a:cubicBezTo>
                  <a:cubicBezTo>
                    <a:pt x="297" y="95"/>
                    <a:pt x="292" y="113"/>
                    <a:pt x="289" y="132"/>
                  </a:cubicBezTo>
                  <a:cubicBezTo>
                    <a:pt x="289" y="134"/>
                    <a:pt x="289" y="134"/>
                    <a:pt x="289" y="134"/>
                  </a:cubicBezTo>
                  <a:cubicBezTo>
                    <a:pt x="288" y="139"/>
                    <a:pt x="293" y="140"/>
                    <a:pt x="296" y="141"/>
                  </a:cubicBezTo>
                  <a:cubicBezTo>
                    <a:pt x="309" y="141"/>
                    <a:pt x="321" y="142"/>
                    <a:pt x="333" y="145"/>
                  </a:cubicBezTo>
                  <a:cubicBezTo>
                    <a:pt x="349" y="148"/>
                    <a:pt x="368" y="151"/>
                    <a:pt x="384" y="159"/>
                  </a:cubicBezTo>
                  <a:cubicBezTo>
                    <a:pt x="404" y="169"/>
                    <a:pt x="398" y="189"/>
                    <a:pt x="392" y="207"/>
                  </a:cubicBezTo>
                  <a:cubicBezTo>
                    <a:pt x="386" y="225"/>
                    <a:pt x="384" y="244"/>
                    <a:pt x="380" y="264"/>
                  </a:cubicBezTo>
                  <a:cubicBezTo>
                    <a:pt x="378" y="274"/>
                    <a:pt x="378" y="298"/>
                    <a:pt x="365" y="300"/>
                  </a:cubicBezTo>
                  <a:cubicBezTo>
                    <a:pt x="358" y="302"/>
                    <a:pt x="348" y="298"/>
                    <a:pt x="341" y="297"/>
                  </a:cubicBezTo>
                  <a:cubicBezTo>
                    <a:pt x="329" y="294"/>
                    <a:pt x="317" y="293"/>
                    <a:pt x="305" y="291"/>
                  </a:cubicBezTo>
                  <a:cubicBezTo>
                    <a:pt x="304" y="291"/>
                    <a:pt x="302" y="291"/>
                    <a:pt x="301" y="290"/>
                  </a:cubicBezTo>
                  <a:cubicBezTo>
                    <a:pt x="304" y="262"/>
                    <a:pt x="304" y="262"/>
                    <a:pt x="304" y="262"/>
                  </a:cubicBezTo>
                  <a:cubicBezTo>
                    <a:pt x="311" y="264"/>
                    <a:pt x="313" y="261"/>
                    <a:pt x="316" y="254"/>
                  </a:cubicBezTo>
                  <a:cubicBezTo>
                    <a:pt x="317" y="253"/>
                    <a:pt x="317" y="253"/>
                    <a:pt x="317" y="253"/>
                  </a:cubicBezTo>
                  <a:cubicBezTo>
                    <a:pt x="322" y="236"/>
                    <a:pt x="326" y="219"/>
                    <a:pt x="328" y="202"/>
                  </a:cubicBezTo>
                  <a:cubicBezTo>
                    <a:pt x="329" y="195"/>
                    <a:pt x="331" y="187"/>
                    <a:pt x="325" y="182"/>
                  </a:cubicBezTo>
                  <a:cubicBezTo>
                    <a:pt x="321" y="176"/>
                    <a:pt x="310" y="177"/>
                    <a:pt x="303" y="177"/>
                  </a:cubicBezTo>
                  <a:cubicBezTo>
                    <a:pt x="287" y="176"/>
                    <a:pt x="267" y="170"/>
                    <a:pt x="252" y="182"/>
                  </a:cubicBezTo>
                  <a:cubicBezTo>
                    <a:pt x="244" y="189"/>
                    <a:pt x="237" y="202"/>
                    <a:pt x="227" y="209"/>
                  </a:cubicBezTo>
                  <a:cubicBezTo>
                    <a:pt x="230" y="210"/>
                    <a:pt x="230" y="210"/>
                    <a:pt x="230" y="210"/>
                  </a:cubicBezTo>
                  <a:cubicBezTo>
                    <a:pt x="235" y="214"/>
                    <a:pt x="235" y="221"/>
                    <a:pt x="238" y="225"/>
                  </a:cubicBezTo>
                  <a:cubicBezTo>
                    <a:pt x="240" y="231"/>
                    <a:pt x="242" y="240"/>
                    <a:pt x="244" y="246"/>
                  </a:cubicBezTo>
                  <a:cubicBezTo>
                    <a:pt x="246" y="250"/>
                    <a:pt x="250" y="252"/>
                    <a:pt x="253" y="253"/>
                  </a:cubicBezTo>
                  <a:cubicBezTo>
                    <a:pt x="227" y="260"/>
                    <a:pt x="227" y="260"/>
                    <a:pt x="227" y="260"/>
                  </a:cubicBezTo>
                  <a:cubicBezTo>
                    <a:pt x="227" y="261"/>
                    <a:pt x="226" y="262"/>
                    <a:pt x="226" y="264"/>
                  </a:cubicBezTo>
                  <a:cubicBezTo>
                    <a:pt x="223" y="263"/>
                    <a:pt x="223" y="263"/>
                    <a:pt x="223" y="263"/>
                  </a:cubicBezTo>
                  <a:cubicBezTo>
                    <a:pt x="221" y="254"/>
                    <a:pt x="207" y="244"/>
                    <a:pt x="200" y="239"/>
                  </a:cubicBezTo>
                  <a:cubicBezTo>
                    <a:pt x="196" y="236"/>
                    <a:pt x="192" y="233"/>
                    <a:pt x="190" y="233"/>
                  </a:cubicBezTo>
                  <a:cubicBezTo>
                    <a:pt x="185" y="232"/>
                    <a:pt x="181" y="236"/>
                    <a:pt x="176" y="239"/>
                  </a:cubicBezTo>
                  <a:cubicBezTo>
                    <a:pt x="169" y="243"/>
                    <a:pt x="159" y="247"/>
                    <a:pt x="151" y="253"/>
                  </a:cubicBezTo>
                  <a:cubicBezTo>
                    <a:pt x="146" y="257"/>
                    <a:pt x="143" y="261"/>
                    <a:pt x="141" y="266"/>
                  </a:cubicBezTo>
                  <a:cubicBezTo>
                    <a:pt x="114" y="263"/>
                    <a:pt x="114" y="263"/>
                    <a:pt x="114" y="263"/>
                  </a:cubicBezTo>
                  <a:cubicBezTo>
                    <a:pt x="114" y="262"/>
                    <a:pt x="115" y="260"/>
                    <a:pt x="116" y="258"/>
                  </a:cubicBezTo>
                  <a:cubicBezTo>
                    <a:pt x="109" y="256"/>
                    <a:pt x="104" y="255"/>
                    <a:pt x="97" y="254"/>
                  </a:cubicBezTo>
                  <a:cubicBezTo>
                    <a:pt x="80" y="250"/>
                    <a:pt x="63" y="247"/>
                    <a:pt x="47" y="243"/>
                  </a:cubicBezTo>
                  <a:cubicBezTo>
                    <a:pt x="33" y="240"/>
                    <a:pt x="16" y="238"/>
                    <a:pt x="8" y="226"/>
                  </a:cubicBezTo>
                  <a:cubicBezTo>
                    <a:pt x="0" y="214"/>
                    <a:pt x="3" y="197"/>
                    <a:pt x="7" y="182"/>
                  </a:cubicBezTo>
                  <a:cubicBezTo>
                    <a:pt x="9" y="170"/>
                    <a:pt x="12" y="156"/>
                    <a:pt x="14" y="144"/>
                  </a:cubicBezTo>
                  <a:cubicBezTo>
                    <a:pt x="17" y="131"/>
                    <a:pt x="20" y="117"/>
                    <a:pt x="26" y="106"/>
                  </a:cubicBezTo>
                  <a:cubicBezTo>
                    <a:pt x="35" y="87"/>
                    <a:pt x="52" y="92"/>
                    <a:pt x="69" y="98"/>
                  </a:cubicBezTo>
                  <a:cubicBezTo>
                    <a:pt x="83" y="102"/>
                    <a:pt x="99" y="102"/>
                    <a:pt x="115" y="106"/>
                  </a:cubicBezTo>
                  <a:cubicBezTo>
                    <a:pt x="124" y="109"/>
                    <a:pt x="132" y="113"/>
                    <a:pt x="142" y="115"/>
                  </a:cubicBezTo>
                  <a:close/>
                </a:path>
              </a:pathLst>
            </a:custGeom>
            <a:solidFill>
              <a:srgbClr val="21AAD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8" name="Freeform 423">
              <a:extLst>
                <a:ext uri="{FF2B5EF4-FFF2-40B4-BE49-F238E27FC236}">
                  <a16:creationId xmlns:a16="http://schemas.microsoft.com/office/drawing/2014/main" id="{42D5438C-55FB-4011-9B0F-C89F40A70713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096000" y="3014663"/>
              <a:ext cx="682625" cy="649288"/>
            </a:xfrm>
            <a:custGeom>
              <a:avLst/>
              <a:gdLst>
                <a:gd name="T0" fmla="*/ 246 w 406"/>
                <a:gd name="T1" fmla="*/ 56 h 386"/>
                <a:gd name="T2" fmla="*/ 215 w 406"/>
                <a:gd name="T3" fmla="*/ 110 h 386"/>
                <a:gd name="T4" fmla="*/ 265 w 406"/>
                <a:gd name="T5" fmla="*/ 74 h 386"/>
                <a:gd name="T6" fmla="*/ 200 w 406"/>
                <a:gd name="T7" fmla="*/ 382 h 386"/>
                <a:gd name="T8" fmla="*/ 105 w 406"/>
                <a:gd name="T9" fmla="*/ 348 h 386"/>
                <a:gd name="T10" fmla="*/ 111 w 406"/>
                <a:gd name="T11" fmla="*/ 268 h 386"/>
                <a:gd name="T12" fmla="*/ 98 w 406"/>
                <a:gd name="T13" fmla="*/ 257 h 386"/>
                <a:gd name="T14" fmla="*/ 10 w 406"/>
                <a:gd name="T15" fmla="*/ 218 h 386"/>
                <a:gd name="T16" fmla="*/ 27 w 406"/>
                <a:gd name="T17" fmla="*/ 114 h 386"/>
                <a:gd name="T18" fmla="*/ 73 w 406"/>
                <a:gd name="T19" fmla="*/ 92 h 386"/>
                <a:gd name="T20" fmla="*/ 142 w 406"/>
                <a:gd name="T21" fmla="*/ 108 h 386"/>
                <a:gd name="T22" fmla="*/ 155 w 406"/>
                <a:gd name="T23" fmla="*/ 111 h 386"/>
                <a:gd name="T24" fmla="*/ 169 w 406"/>
                <a:gd name="T25" fmla="*/ 31 h 386"/>
                <a:gd name="T26" fmla="*/ 225 w 406"/>
                <a:gd name="T27" fmla="*/ 0 h 386"/>
                <a:gd name="T28" fmla="*/ 297 w 406"/>
                <a:gd name="T29" fmla="*/ 26 h 386"/>
                <a:gd name="T30" fmla="*/ 299 w 406"/>
                <a:gd name="T31" fmla="*/ 134 h 386"/>
                <a:gd name="T32" fmla="*/ 345 w 406"/>
                <a:gd name="T33" fmla="*/ 149 h 386"/>
                <a:gd name="T34" fmla="*/ 404 w 406"/>
                <a:gd name="T35" fmla="*/ 194 h 386"/>
                <a:gd name="T36" fmla="*/ 389 w 406"/>
                <a:gd name="T37" fmla="*/ 275 h 386"/>
                <a:gd name="T38" fmla="*/ 320 w 406"/>
                <a:gd name="T39" fmla="*/ 298 h 386"/>
                <a:gd name="T40" fmla="*/ 264 w 406"/>
                <a:gd name="T41" fmla="*/ 294 h 386"/>
                <a:gd name="T42" fmla="*/ 237 w 406"/>
                <a:gd name="T43" fmla="*/ 374 h 386"/>
                <a:gd name="T44" fmla="*/ 195 w 406"/>
                <a:gd name="T45" fmla="*/ 268 h 386"/>
                <a:gd name="T46" fmla="*/ 148 w 406"/>
                <a:gd name="T47" fmla="*/ 309 h 386"/>
                <a:gd name="T48" fmla="*/ 175 w 406"/>
                <a:gd name="T49" fmla="*/ 349 h 386"/>
                <a:gd name="T50" fmla="*/ 218 w 406"/>
                <a:gd name="T51" fmla="*/ 333 h 386"/>
                <a:gd name="T52" fmla="*/ 195 w 406"/>
                <a:gd name="T53" fmla="*/ 268 h 386"/>
                <a:gd name="T54" fmla="*/ 105 w 406"/>
                <a:gd name="T55" fmla="*/ 137 h 386"/>
                <a:gd name="T56" fmla="*/ 65 w 406"/>
                <a:gd name="T57" fmla="*/ 201 h 386"/>
                <a:gd name="T58" fmla="*/ 126 w 406"/>
                <a:gd name="T59" fmla="*/ 156 h 386"/>
                <a:gd name="T60" fmla="*/ 360 w 406"/>
                <a:gd name="T61" fmla="*/ 245 h 386"/>
                <a:gd name="T62" fmla="*/ 342 w 406"/>
                <a:gd name="T63" fmla="*/ 189 h 386"/>
                <a:gd name="T64" fmla="*/ 289 w 406"/>
                <a:gd name="T65" fmla="*/ 205 h 386"/>
                <a:gd name="T66" fmla="*/ 360 w 406"/>
                <a:gd name="T67" fmla="*/ 245 h 3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406" h="386">
                  <a:moveTo>
                    <a:pt x="253" y="55"/>
                  </a:moveTo>
                  <a:cubicBezTo>
                    <a:pt x="246" y="56"/>
                    <a:pt x="246" y="56"/>
                    <a:pt x="246" y="56"/>
                  </a:cubicBezTo>
                  <a:cubicBezTo>
                    <a:pt x="233" y="50"/>
                    <a:pt x="217" y="53"/>
                    <a:pt x="207" y="64"/>
                  </a:cubicBezTo>
                  <a:cubicBezTo>
                    <a:pt x="194" y="77"/>
                    <a:pt x="198" y="101"/>
                    <a:pt x="215" y="110"/>
                  </a:cubicBezTo>
                  <a:cubicBezTo>
                    <a:pt x="230" y="118"/>
                    <a:pt x="255" y="113"/>
                    <a:pt x="262" y="97"/>
                  </a:cubicBezTo>
                  <a:cubicBezTo>
                    <a:pt x="265" y="90"/>
                    <a:pt x="267" y="82"/>
                    <a:pt x="265" y="74"/>
                  </a:cubicBezTo>
                  <a:cubicBezTo>
                    <a:pt x="264" y="66"/>
                    <a:pt x="258" y="60"/>
                    <a:pt x="253" y="55"/>
                  </a:cubicBezTo>
                  <a:close/>
                  <a:moveTo>
                    <a:pt x="200" y="382"/>
                  </a:moveTo>
                  <a:cubicBezTo>
                    <a:pt x="179" y="381"/>
                    <a:pt x="156" y="380"/>
                    <a:pt x="136" y="374"/>
                  </a:cubicBezTo>
                  <a:cubicBezTo>
                    <a:pt x="121" y="371"/>
                    <a:pt x="107" y="364"/>
                    <a:pt x="105" y="348"/>
                  </a:cubicBezTo>
                  <a:cubicBezTo>
                    <a:pt x="102" y="335"/>
                    <a:pt x="105" y="320"/>
                    <a:pt x="108" y="308"/>
                  </a:cubicBezTo>
                  <a:cubicBezTo>
                    <a:pt x="111" y="294"/>
                    <a:pt x="114" y="281"/>
                    <a:pt x="111" y="268"/>
                  </a:cubicBezTo>
                  <a:cubicBezTo>
                    <a:pt x="110" y="259"/>
                    <a:pt x="105" y="256"/>
                    <a:pt x="98" y="256"/>
                  </a:cubicBezTo>
                  <a:cubicBezTo>
                    <a:pt x="98" y="257"/>
                    <a:pt x="98" y="257"/>
                    <a:pt x="98" y="257"/>
                  </a:cubicBezTo>
                  <a:cubicBezTo>
                    <a:pt x="78" y="250"/>
                    <a:pt x="59" y="244"/>
                    <a:pt x="40" y="237"/>
                  </a:cubicBezTo>
                  <a:cubicBezTo>
                    <a:pt x="28" y="233"/>
                    <a:pt x="19" y="227"/>
                    <a:pt x="10" y="218"/>
                  </a:cubicBezTo>
                  <a:cubicBezTo>
                    <a:pt x="0" y="207"/>
                    <a:pt x="5" y="196"/>
                    <a:pt x="9" y="182"/>
                  </a:cubicBezTo>
                  <a:cubicBezTo>
                    <a:pt x="14" y="160"/>
                    <a:pt x="16" y="134"/>
                    <a:pt x="27" y="114"/>
                  </a:cubicBezTo>
                  <a:cubicBezTo>
                    <a:pt x="31" y="104"/>
                    <a:pt x="38" y="95"/>
                    <a:pt x="48" y="92"/>
                  </a:cubicBezTo>
                  <a:cubicBezTo>
                    <a:pt x="56" y="88"/>
                    <a:pt x="64" y="90"/>
                    <a:pt x="73" y="92"/>
                  </a:cubicBezTo>
                  <a:cubicBezTo>
                    <a:pt x="84" y="94"/>
                    <a:pt x="98" y="97"/>
                    <a:pt x="111" y="100"/>
                  </a:cubicBezTo>
                  <a:cubicBezTo>
                    <a:pt x="121" y="104"/>
                    <a:pt x="131" y="106"/>
                    <a:pt x="142" y="108"/>
                  </a:cubicBezTo>
                  <a:cubicBezTo>
                    <a:pt x="143" y="108"/>
                    <a:pt x="146" y="110"/>
                    <a:pt x="149" y="111"/>
                  </a:cubicBezTo>
                  <a:cubicBezTo>
                    <a:pt x="155" y="111"/>
                    <a:pt x="155" y="111"/>
                    <a:pt x="155" y="111"/>
                  </a:cubicBezTo>
                  <a:cubicBezTo>
                    <a:pt x="157" y="102"/>
                    <a:pt x="158" y="96"/>
                    <a:pt x="158" y="87"/>
                  </a:cubicBezTo>
                  <a:cubicBezTo>
                    <a:pt x="161" y="68"/>
                    <a:pt x="165" y="49"/>
                    <a:pt x="169" y="31"/>
                  </a:cubicBezTo>
                  <a:cubicBezTo>
                    <a:pt x="171" y="21"/>
                    <a:pt x="171" y="12"/>
                    <a:pt x="182" y="7"/>
                  </a:cubicBezTo>
                  <a:cubicBezTo>
                    <a:pt x="194" y="1"/>
                    <a:pt x="210" y="1"/>
                    <a:pt x="225" y="0"/>
                  </a:cubicBezTo>
                  <a:cubicBezTo>
                    <a:pt x="240" y="2"/>
                    <a:pt x="256" y="3"/>
                    <a:pt x="268" y="9"/>
                  </a:cubicBezTo>
                  <a:cubicBezTo>
                    <a:pt x="278" y="15"/>
                    <a:pt x="289" y="21"/>
                    <a:pt x="297" y="26"/>
                  </a:cubicBezTo>
                  <a:cubicBezTo>
                    <a:pt x="312" y="36"/>
                    <a:pt x="309" y="60"/>
                    <a:pt x="307" y="76"/>
                  </a:cubicBezTo>
                  <a:cubicBezTo>
                    <a:pt x="305" y="95"/>
                    <a:pt x="301" y="115"/>
                    <a:pt x="299" y="134"/>
                  </a:cubicBezTo>
                  <a:cubicBezTo>
                    <a:pt x="298" y="138"/>
                    <a:pt x="298" y="138"/>
                    <a:pt x="298" y="138"/>
                  </a:cubicBezTo>
                  <a:cubicBezTo>
                    <a:pt x="312" y="144"/>
                    <a:pt x="328" y="146"/>
                    <a:pt x="345" y="149"/>
                  </a:cubicBezTo>
                  <a:cubicBezTo>
                    <a:pt x="360" y="153"/>
                    <a:pt x="384" y="154"/>
                    <a:pt x="398" y="166"/>
                  </a:cubicBezTo>
                  <a:cubicBezTo>
                    <a:pt x="405" y="175"/>
                    <a:pt x="404" y="185"/>
                    <a:pt x="404" y="194"/>
                  </a:cubicBezTo>
                  <a:cubicBezTo>
                    <a:pt x="405" y="208"/>
                    <a:pt x="406" y="221"/>
                    <a:pt x="402" y="236"/>
                  </a:cubicBezTo>
                  <a:cubicBezTo>
                    <a:pt x="400" y="249"/>
                    <a:pt x="393" y="262"/>
                    <a:pt x="389" y="275"/>
                  </a:cubicBezTo>
                  <a:cubicBezTo>
                    <a:pt x="385" y="285"/>
                    <a:pt x="380" y="293"/>
                    <a:pt x="369" y="296"/>
                  </a:cubicBezTo>
                  <a:cubicBezTo>
                    <a:pt x="353" y="301"/>
                    <a:pt x="336" y="300"/>
                    <a:pt x="320" y="298"/>
                  </a:cubicBezTo>
                  <a:cubicBezTo>
                    <a:pt x="303" y="298"/>
                    <a:pt x="287" y="296"/>
                    <a:pt x="270" y="296"/>
                  </a:cubicBezTo>
                  <a:cubicBezTo>
                    <a:pt x="264" y="294"/>
                    <a:pt x="264" y="294"/>
                    <a:pt x="264" y="294"/>
                  </a:cubicBezTo>
                  <a:cubicBezTo>
                    <a:pt x="260" y="307"/>
                    <a:pt x="256" y="319"/>
                    <a:pt x="253" y="331"/>
                  </a:cubicBezTo>
                  <a:cubicBezTo>
                    <a:pt x="249" y="345"/>
                    <a:pt x="245" y="363"/>
                    <a:pt x="237" y="374"/>
                  </a:cubicBezTo>
                  <a:cubicBezTo>
                    <a:pt x="227" y="386"/>
                    <a:pt x="212" y="383"/>
                    <a:pt x="200" y="382"/>
                  </a:cubicBezTo>
                  <a:close/>
                  <a:moveTo>
                    <a:pt x="195" y="268"/>
                  </a:moveTo>
                  <a:cubicBezTo>
                    <a:pt x="193" y="273"/>
                    <a:pt x="193" y="273"/>
                    <a:pt x="193" y="273"/>
                  </a:cubicBezTo>
                  <a:cubicBezTo>
                    <a:pt x="172" y="272"/>
                    <a:pt x="149" y="288"/>
                    <a:pt x="148" y="309"/>
                  </a:cubicBezTo>
                  <a:cubicBezTo>
                    <a:pt x="147" y="318"/>
                    <a:pt x="149" y="329"/>
                    <a:pt x="155" y="337"/>
                  </a:cubicBezTo>
                  <a:cubicBezTo>
                    <a:pt x="159" y="343"/>
                    <a:pt x="167" y="347"/>
                    <a:pt x="175" y="349"/>
                  </a:cubicBezTo>
                  <a:cubicBezTo>
                    <a:pt x="182" y="350"/>
                    <a:pt x="191" y="352"/>
                    <a:pt x="198" y="350"/>
                  </a:cubicBezTo>
                  <a:cubicBezTo>
                    <a:pt x="206" y="348"/>
                    <a:pt x="212" y="340"/>
                    <a:pt x="218" y="333"/>
                  </a:cubicBezTo>
                  <a:cubicBezTo>
                    <a:pt x="226" y="320"/>
                    <a:pt x="227" y="306"/>
                    <a:pt x="222" y="295"/>
                  </a:cubicBezTo>
                  <a:cubicBezTo>
                    <a:pt x="218" y="281"/>
                    <a:pt x="208" y="273"/>
                    <a:pt x="195" y="268"/>
                  </a:cubicBezTo>
                  <a:close/>
                  <a:moveTo>
                    <a:pt x="114" y="136"/>
                  </a:moveTo>
                  <a:cubicBezTo>
                    <a:pt x="105" y="137"/>
                    <a:pt x="105" y="137"/>
                    <a:pt x="105" y="137"/>
                  </a:cubicBezTo>
                  <a:cubicBezTo>
                    <a:pt x="91" y="129"/>
                    <a:pt x="71" y="130"/>
                    <a:pt x="58" y="142"/>
                  </a:cubicBezTo>
                  <a:cubicBezTo>
                    <a:pt x="39" y="157"/>
                    <a:pt x="43" y="190"/>
                    <a:pt x="65" y="201"/>
                  </a:cubicBezTo>
                  <a:cubicBezTo>
                    <a:pt x="84" y="211"/>
                    <a:pt x="109" y="202"/>
                    <a:pt x="119" y="183"/>
                  </a:cubicBezTo>
                  <a:cubicBezTo>
                    <a:pt x="124" y="175"/>
                    <a:pt x="128" y="165"/>
                    <a:pt x="126" y="156"/>
                  </a:cubicBezTo>
                  <a:cubicBezTo>
                    <a:pt x="124" y="148"/>
                    <a:pt x="119" y="142"/>
                    <a:pt x="114" y="136"/>
                  </a:cubicBezTo>
                  <a:close/>
                  <a:moveTo>
                    <a:pt x="360" y="245"/>
                  </a:moveTo>
                  <a:cubicBezTo>
                    <a:pt x="367" y="235"/>
                    <a:pt x="371" y="224"/>
                    <a:pt x="369" y="213"/>
                  </a:cubicBezTo>
                  <a:cubicBezTo>
                    <a:pt x="364" y="201"/>
                    <a:pt x="351" y="195"/>
                    <a:pt x="342" y="189"/>
                  </a:cubicBezTo>
                  <a:cubicBezTo>
                    <a:pt x="341" y="190"/>
                    <a:pt x="341" y="190"/>
                    <a:pt x="341" y="190"/>
                  </a:cubicBezTo>
                  <a:cubicBezTo>
                    <a:pt x="324" y="176"/>
                    <a:pt x="300" y="186"/>
                    <a:pt x="289" y="205"/>
                  </a:cubicBezTo>
                  <a:cubicBezTo>
                    <a:pt x="278" y="222"/>
                    <a:pt x="283" y="249"/>
                    <a:pt x="301" y="262"/>
                  </a:cubicBezTo>
                  <a:cubicBezTo>
                    <a:pt x="320" y="273"/>
                    <a:pt x="348" y="261"/>
                    <a:pt x="360" y="245"/>
                  </a:cubicBezTo>
                  <a:close/>
                </a:path>
              </a:pathLst>
            </a:custGeom>
            <a:solidFill>
              <a:srgbClr val="21AAD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9" name="Freeform 424">
              <a:extLst>
                <a:ext uri="{FF2B5EF4-FFF2-40B4-BE49-F238E27FC236}">
                  <a16:creationId xmlns:a16="http://schemas.microsoft.com/office/drawing/2014/main" id="{69367FCF-6538-43BC-A033-C245AA4E9AC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113338" y="2674938"/>
              <a:ext cx="1171575" cy="325438"/>
            </a:xfrm>
            <a:custGeom>
              <a:avLst/>
              <a:gdLst>
                <a:gd name="T0" fmla="*/ 2 w 696"/>
                <a:gd name="T1" fmla="*/ 13 h 193"/>
                <a:gd name="T2" fmla="*/ 0 w 696"/>
                <a:gd name="T3" fmla="*/ 0 h 193"/>
                <a:gd name="T4" fmla="*/ 16 w 696"/>
                <a:gd name="T5" fmla="*/ 4 h 193"/>
                <a:gd name="T6" fmla="*/ 52 w 696"/>
                <a:gd name="T7" fmla="*/ 11 h 193"/>
                <a:gd name="T8" fmla="*/ 104 w 696"/>
                <a:gd name="T9" fmla="*/ 23 h 193"/>
                <a:gd name="T10" fmla="*/ 156 w 696"/>
                <a:gd name="T11" fmla="*/ 35 h 193"/>
                <a:gd name="T12" fmla="*/ 186 w 696"/>
                <a:gd name="T13" fmla="*/ 43 h 193"/>
                <a:gd name="T14" fmla="*/ 254 w 696"/>
                <a:gd name="T15" fmla="*/ 56 h 193"/>
                <a:gd name="T16" fmla="*/ 289 w 696"/>
                <a:gd name="T17" fmla="*/ 69 h 193"/>
                <a:gd name="T18" fmla="*/ 316 w 696"/>
                <a:gd name="T19" fmla="*/ 83 h 193"/>
                <a:gd name="T20" fmla="*/ 380 w 696"/>
                <a:gd name="T21" fmla="*/ 97 h 193"/>
                <a:gd name="T22" fmla="*/ 397 w 696"/>
                <a:gd name="T23" fmla="*/ 99 h 193"/>
                <a:gd name="T24" fmla="*/ 408 w 696"/>
                <a:gd name="T25" fmla="*/ 92 h 193"/>
                <a:gd name="T26" fmla="*/ 437 w 696"/>
                <a:gd name="T27" fmla="*/ 95 h 193"/>
                <a:gd name="T28" fmla="*/ 473 w 696"/>
                <a:gd name="T29" fmla="*/ 101 h 193"/>
                <a:gd name="T30" fmla="*/ 517 w 696"/>
                <a:gd name="T31" fmla="*/ 110 h 193"/>
                <a:gd name="T32" fmla="*/ 586 w 696"/>
                <a:gd name="T33" fmla="*/ 125 h 193"/>
                <a:gd name="T34" fmla="*/ 648 w 696"/>
                <a:gd name="T35" fmla="*/ 140 h 193"/>
                <a:gd name="T36" fmla="*/ 696 w 696"/>
                <a:gd name="T37" fmla="*/ 150 h 193"/>
                <a:gd name="T38" fmla="*/ 691 w 696"/>
                <a:gd name="T39" fmla="*/ 159 h 193"/>
                <a:gd name="T40" fmla="*/ 635 w 696"/>
                <a:gd name="T41" fmla="*/ 193 h 193"/>
                <a:gd name="T42" fmla="*/ 632 w 696"/>
                <a:gd name="T43" fmla="*/ 186 h 193"/>
                <a:gd name="T44" fmla="*/ 623 w 696"/>
                <a:gd name="T45" fmla="*/ 186 h 193"/>
                <a:gd name="T46" fmla="*/ 613 w 696"/>
                <a:gd name="T47" fmla="*/ 184 h 193"/>
                <a:gd name="T48" fmla="*/ 586 w 696"/>
                <a:gd name="T49" fmla="*/ 178 h 193"/>
                <a:gd name="T50" fmla="*/ 528 w 696"/>
                <a:gd name="T51" fmla="*/ 166 h 193"/>
                <a:gd name="T52" fmla="*/ 411 w 696"/>
                <a:gd name="T53" fmla="*/ 141 h 193"/>
                <a:gd name="T54" fmla="*/ 340 w 696"/>
                <a:gd name="T55" fmla="*/ 126 h 193"/>
                <a:gd name="T56" fmla="*/ 312 w 696"/>
                <a:gd name="T57" fmla="*/ 120 h 193"/>
                <a:gd name="T58" fmla="*/ 282 w 696"/>
                <a:gd name="T59" fmla="*/ 115 h 193"/>
                <a:gd name="T60" fmla="*/ 247 w 696"/>
                <a:gd name="T61" fmla="*/ 108 h 193"/>
                <a:gd name="T62" fmla="*/ 208 w 696"/>
                <a:gd name="T63" fmla="*/ 99 h 193"/>
                <a:gd name="T64" fmla="*/ 131 w 696"/>
                <a:gd name="T65" fmla="*/ 81 h 193"/>
                <a:gd name="T66" fmla="*/ 67 w 696"/>
                <a:gd name="T67" fmla="*/ 66 h 193"/>
                <a:gd name="T68" fmla="*/ 43 w 696"/>
                <a:gd name="T69" fmla="*/ 63 h 193"/>
                <a:gd name="T70" fmla="*/ 35 w 696"/>
                <a:gd name="T71" fmla="*/ 59 h 193"/>
                <a:gd name="T72" fmla="*/ 34 w 696"/>
                <a:gd name="T73" fmla="*/ 59 h 193"/>
                <a:gd name="T74" fmla="*/ 0 w 696"/>
                <a:gd name="T75" fmla="*/ 17 h 193"/>
                <a:gd name="T76" fmla="*/ 3 w 696"/>
                <a:gd name="T77" fmla="*/ 14 h 193"/>
                <a:gd name="T78" fmla="*/ 2 w 696"/>
                <a:gd name="T79" fmla="*/ 13 h 1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696" h="193">
                  <a:moveTo>
                    <a:pt x="2" y="13"/>
                  </a:moveTo>
                  <a:cubicBezTo>
                    <a:pt x="1" y="9"/>
                    <a:pt x="0" y="5"/>
                    <a:pt x="0" y="0"/>
                  </a:cubicBezTo>
                  <a:cubicBezTo>
                    <a:pt x="5" y="3"/>
                    <a:pt x="12" y="3"/>
                    <a:pt x="16" y="4"/>
                  </a:cubicBezTo>
                  <a:cubicBezTo>
                    <a:pt x="28" y="6"/>
                    <a:pt x="40" y="9"/>
                    <a:pt x="52" y="11"/>
                  </a:cubicBezTo>
                  <a:cubicBezTo>
                    <a:pt x="69" y="13"/>
                    <a:pt x="87" y="19"/>
                    <a:pt x="104" y="23"/>
                  </a:cubicBezTo>
                  <a:cubicBezTo>
                    <a:pt x="121" y="28"/>
                    <a:pt x="138" y="30"/>
                    <a:pt x="156" y="35"/>
                  </a:cubicBezTo>
                  <a:cubicBezTo>
                    <a:pt x="166" y="39"/>
                    <a:pt x="176" y="41"/>
                    <a:pt x="186" y="43"/>
                  </a:cubicBezTo>
                  <a:cubicBezTo>
                    <a:pt x="208" y="48"/>
                    <a:pt x="231" y="51"/>
                    <a:pt x="254" y="56"/>
                  </a:cubicBezTo>
                  <a:cubicBezTo>
                    <a:pt x="266" y="59"/>
                    <a:pt x="278" y="61"/>
                    <a:pt x="289" y="69"/>
                  </a:cubicBezTo>
                  <a:cubicBezTo>
                    <a:pt x="298" y="76"/>
                    <a:pt x="306" y="81"/>
                    <a:pt x="316" y="83"/>
                  </a:cubicBezTo>
                  <a:cubicBezTo>
                    <a:pt x="337" y="90"/>
                    <a:pt x="360" y="91"/>
                    <a:pt x="380" y="97"/>
                  </a:cubicBezTo>
                  <a:cubicBezTo>
                    <a:pt x="387" y="98"/>
                    <a:pt x="392" y="101"/>
                    <a:pt x="397" y="99"/>
                  </a:cubicBezTo>
                  <a:cubicBezTo>
                    <a:pt x="401" y="98"/>
                    <a:pt x="404" y="93"/>
                    <a:pt x="408" y="92"/>
                  </a:cubicBezTo>
                  <a:cubicBezTo>
                    <a:pt x="415" y="89"/>
                    <a:pt x="430" y="94"/>
                    <a:pt x="437" y="95"/>
                  </a:cubicBezTo>
                  <a:cubicBezTo>
                    <a:pt x="449" y="98"/>
                    <a:pt x="461" y="98"/>
                    <a:pt x="473" y="101"/>
                  </a:cubicBezTo>
                  <a:cubicBezTo>
                    <a:pt x="486" y="104"/>
                    <a:pt x="502" y="107"/>
                    <a:pt x="517" y="110"/>
                  </a:cubicBezTo>
                  <a:cubicBezTo>
                    <a:pt x="541" y="115"/>
                    <a:pt x="563" y="120"/>
                    <a:pt x="586" y="125"/>
                  </a:cubicBezTo>
                  <a:cubicBezTo>
                    <a:pt x="607" y="129"/>
                    <a:pt x="626" y="135"/>
                    <a:pt x="648" y="140"/>
                  </a:cubicBezTo>
                  <a:cubicBezTo>
                    <a:pt x="663" y="143"/>
                    <a:pt x="679" y="146"/>
                    <a:pt x="696" y="150"/>
                  </a:cubicBezTo>
                  <a:cubicBezTo>
                    <a:pt x="694" y="153"/>
                    <a:pt x="692" y="156"/>
                    <a:pt x="691" y="159"/>
                  </a:cubicBezTo>
                  <a:cubicBezTo>
                    <a:pt x="671" y="168"/>
                    <a:pt x="652" y="180"/>
                    <a:pt x="635" y="193"/>
                  </a:cubicBezTo>
                  <a:cubicBezTo>
                    <a:pt x="632" y="186"/>
                    <a:pt x="632" y="186"/>
                    <a:pt x="632" y="186"/>
                  </a:cubicBezTo>
                  <a:cubicBezTo>
                    <a:pt x="628" y="185"/>
                    <a:pt x="625" y="186"/>
                    <a:pt x="623" y="186"/>
                  </a:cubicBezTo>
                  <a:cubicBezTo>
                    <a:pt x="619" y="185"/>
                    <a:pt x="616" y="184"/>
                    <a:pt x="613" y="184"/>
                  </a:cubicBezTo>
                  <a:cubicBezTo>
                    <a:pt x="604" y="182"/>
                    <a:pt x="594" y="180"/>
                    <a:pt x="586" y="178"/>
                  </a:cubicBezTo>
                  <a:cubicBezTo>
                    <a:pt x="567" y="174"/>
                    <a:pt x="547" y="170"/>
                    <a:pt x="528" y="166"/>
                  </a:cubicBezTo>
                  <a:cubicBezTo>
                    <a:pt x="489" y="157"/>
                    <a:pt x="450" y="149"/>
                    <a:pt x="411" y="141"/>
                  </a:cubicBezTo>
                  <a:cubicBezTo>
                    <a:pt x="388" y="136"/>
                    <a:pt x="364" y="129"/>
                    <a:pt x="340" y="126"/>
                  </a:cubicBezTo>
                  <a:cubicBezTo>
                    <a:pt x="330" y="125"/>
                    <a:pt x="321" y="123"/>
                    <a:pt x="312" y="120"/>
                  </a:cubicBezTo>
                  <a:cubicBezTo>
                    <a:pt x="301" y="117"/>
                    <a:pt x="293" y="116"/>
                    <a:pt x="282" y="115"/>
                  </a:cubicBezTo>
                  <a:cubicBezTo>
                    <a:pt x="270" y="114"/>
                    <a:pt x="259" y="110"/>
                    <a:pt x="247" y="108"/>
                  </a:cubicBezTo>
                  <a:cubicBezTo>
                    <a:pt x="233" y="105"/>
                    <a:pt x="222" y="102"/>
                    <a:pt x="208" y="99"/>
                  </a:cubicBezTo>
                  <a:cubicBezTo>
                    <a:pt x="183" y="94"/>
                    <a:pt x="158" y="87"/>
                    <a:pt x="131" y="81"/>
                  </a:cubicBezTo>
                  <a:cubicBezTo>
                    <a:pt x="110" y="77"/>
                    <a:pt x="89" y="71"/>
                    <a:pt x="67" y="66"/>
                  </a:cubicBezTo>
                  <a:cubicBezTo>
                    <a:pt x="60" y="64"/>
                    <a:pt x="51" y="64"/>
                    <a:pt x="43" y="63"/>
                  </a:cubicBezTo>
                  <a:cubicBezTo>
                    <a:pt x="39" y="62"/>
                    <a:pt x="36" y="61"/>
                    <a:pt x="35" y="59"/>
                  </a:cubicBezTo>
                  <a:cubicBezTo>
                    <a:pt x="34" y="59"/>
                    <a:pt x="34" y="59"/>
                    <a:pt x="34" y="59"/>
                  </a:cubicBezTo>
                  <a:cubicBezTo>
                    <a:pt x="24" y="44"/>
                    <a:pt x="12" y="30"/>
                    <a:pt x="0" y="17"/>
                  </a:cubicBezTo>
                  <a:cubicBezTo>
                    <a:pt x="3" y="14"/>
                    <a:pt x="3" y="14"/>
                    <a:pt x="3" y="14"/>
                  </a:cubicBezTo>
                  <a:lnTo>
                    <a:pt x="2" y="13"/>
                  </a:lnTo>
                  <a:close/>
                </a:path>
              </a:pathLst>
            </a:custGeom>
            <a:solidFill>
              <a:srgbClr val="21AAD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0" name="Freeform 425">
              <a:extLst>
                <a:ext uri="{FF2B5EF4-FFF2-40B4-BE49-F238E27FC236}">
                  <a16:creationId xmlns:a16="http://schemas.microsoft.com/office/drawing/2014/main" id="{E293D541-1DCF-4A02-B3CE-4FA2C5A7CDC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5656263" y="3384550"/>
              <a:ext cx="587375" cy="593725"/>
            </a:xfrm>
            <a:custGeom>
              <a:avLst/>
              <a:gdLst>
                <a:gd name="T0" fmla="*/ 210 w 349"/>
                <a:gd name="T1" fmla="*/ 12 h 353"/>
                <a:gd name="T2" fmla="*/ 231 w 349"/>
                <a:gd name="T3" fmla="*/ 20 h 353"/>
                <a:gd name="T4" fmla="*/ 232 w 349"/>
                <a:gd name="T5" fmla="*/ 19 h 353"/>
                <a:gd name="T6" fmla="*/ 320 w 349"/>
                <a:gd name="T7" fmla="*/ 102 h 353"/>
                <a:gd name="T8" fmla="*/ 340 w 349"/>
                <a:gd name="T9" fmla="*/ 208 h 353"/>
                <a:gd name="T10" fmla="*/ 339 w 349"/>
                <a:gd name="T11" fmla="*/ 210 h 353"/>
                <a:gd name="T12" fmla="*/ 290 w 349"/>
                <a:gd name="T13" fmla="*/ 295 h 353"/>
                <a:gd name="T14" fmla="*/ 174 w 349"/>
                <a:gd name="T15" fmla="*/ 349 h 353"/>
                <a:gd name="T16" fmla="*/ 82 w 349"/>
                <a:gd name="T17" fmla="*/ 333 h 353"/>
                <a:gd name="T18" fmla="*/ 19 w 349"/>
                <a:gd name="T19" fmla="*/ 261 h 353"/>
                <a:gd name="T20" fmla="*/ 4 w 349"/>
                <a:gd name="T21" fmla="*/ 216 h 353"/>
                <a:gd name="T22" fmla="*/ 0 w 349"/>
                <a:gd name="T23" fmla="*/ 184 h 353"/>
                <a:gd name="T24" fmla="*/ 1 w 349"/>
                <a:gd name="T25" fmla="*/ 163 h 353"/>
                <a:gd name="T26" fmla="*/ 37 w 349"/>
                <a:gd name="T27" fmla="*/ 77 h 353"/>
                <a:gd name="T28" fmla="*/ 126 w 349"/>
                <a:gd name="T29" fmla="*/ 10 h 353"/>
                <a:gd name="T30" fmla="*/ 210 w 349"/>
                <a:gd name="T31" fmla="*/ 12 h 353"/>
                <a:gd name="T32" fmla="*/ 303 w 349"/>
                <a:gd name="T33" fmla="*/ 201 h 353"/>
                <a:gd name="T34" fmla="*/ 283 w 349"/>
                <a:gd name="T35" fmla="*/ 110 h 353"/>
                <a:gd name="T36" fmla="*/ 250 w 349"/>
                <a:gd name="T37" fmla="*/ 71 h 353"/>
                <a:gd name="T38" fmla="*/ 210 w 349"/>
                <a:gd name="T39" fmla="*/ 52 h 353"/>
                <a:gd name="T40" fmla="*/ 209 w 349"/>
                <a:gd name="T41" fmla="*/ 55 h 353"/>
                <a:gd name="T42" fmla="*/ 148 w 349"/>
                <a:gd name="T43" fmla="*/ 44 h 353"/>
                <a:gd name="T44" fmla="*/ 68 w 349"/>
                <a:gd name="T45" fmla="*/ 88 h 353"/>
                <a:gd name="T46" fmla="*/ 41 w 349"/>
                <a:gd name="T47" fmla="*/ 227 h 353"/>
                <a:gd name="T48" fmla="*/ 170 w 349"/>
                <a:gd name="T49" fmla="*/ 309 h 353"/>
                <a:gd name="T50" fmla="*/ 258 w 349"/>
                <a:gd name="T51" fmla="*/ 269 h 353"/>
                <a:gd name="T52" fmla="*/ 303 w 349"/>
                <a:gd name="T53" fmla="*/ 201 h 3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349" h="353">
                  <a:moveTo>
                    <a:pt x="210" y="12"/>
                  </a:moveTo>
                  <a:cubicBezTo>
                    <a:pt x="217" y="15"/>
                    <a:pt x="224" y="17"/>
                    <a:pt x="231" y="20"/>
                  </a:cubicBezTo>
                  <a:cubicBezTo>
                    <a:pt x="232" y="19"/>
                    <a:pt x="232" y="19"/>
                    <a:pt x="232" y="19"/>
                  </a:cubicBezTo>
                  <a:cubicBezTo>
                    <a:pt x="264" y="43"/>
                    <a:pt x="299" y="67"/>
                    <a:pt x="320" y="102"/>
                  </a:cubicBezTo>
                  <a:cubicBezTo>
                    <a:pt x="341" y="134"/>
                    <a:pt x="349" y="172"/>
                    <a:pt x="340" y="208"/>
                  </a:cubicBezTo>
                  <a:cubicBezTo>
                    <a:pt x="340" y="209"/>
                    <a:pt x="340" y="210"/>
                    <a:pt x="339" y="210"/>
                  </a:cubicBezTo>
                  <a:cubicBezTo>
                    <a:pt x="332" y="244"/>
                    <a:pt x="314" y="272"/>
                    <a:pt x="290" y="295"/>
                  </a:cubicBezTo>
                  <a:cubicBezTo>
                    <a:pt x="258" y="324"/>
                    <a:pt x="216" y="344"/>
                    <a:pt x="174" y="349"/>
                  </a:cubicBezTo>
                  <a:cubicBezTo>
                    <a:pt x="143" y="353"/>
                    <a:pt x="111" y="348"/>
                    <a:pt x="82" y="333"/>
                  </a:cubicBezTo>
                  <a:cubicBezTo>
                    <a:pt x="54" y="316"/>
                    <a:pt x="33" y="290"/>
                    <a:pt x="19" y="261"/>
                  </a:cubicBezTo>
                  <a:cubicBezTo>
                    <a:pt x="12" y="247"/>
                    <a:pt x="7" y="231"/>
                    <a:pt x="4" y="216"/>
                  </a:cubicBezTo>
                  <a:cubicBezTo>
                    <a:pt x="2" y="205"/>
                    <a:pt x="0" y="194"/>
                    <a:pt x="0" y="184"/>
                  </a:cubicBezTo>
                  <a:cubicBezTo>
                    <a:pt x="0" y="177"/>
                    <a:pt x="0" y="170"/>
                    <a:pt x="1" y="163"/>
                  </a:cubicBezTo>
                  <a:cubicBezTo>
                    <a:pt x="3" y="132"/>
                    <a:pt x="16" y="101"/>
                    <a:pt x="37" y="77"/>
                  </a:cubicBezTo>
                  <a:cubicBezTo>
                    <a:pt x="59" y="47"/>
                    <a:pt x="90" y="21"/>
                    <a:pt x="126" y="10"/>
                  </a:cubicBezTo>
                  <a:cubicBezTo>
                    <a:pt x="154" y="0"/>
                    <a:pt x="182" y="4"/>
                    <a:pt x="210" y="12"/>
                  </a:cubicBezTo>
                  <a:close/>
                  <a:moveTo>
                    <a:pt x="303" y="201"/>
                  </a:moveTo>
                  <a:cubicBezTo>
                    <a:pt x="307" y="170"/>
                    <a:pt x="297" y="136"/>
                    <a:pt x="283" y="110"/>
                  </a:cubicBezTo>
                  <a:cubicBezTo>
                    <a:pt x="276" y="94"/>
                    <a:pt x="264" y="81"/>
                    <a:pt x="250" y="71"/>
                  </a:cubicBezTo>
                  <a:cubicBezTo>
                    <a:pt x="238" y="63"/>
                    <a:pt x="223" y="57"/>
                    <a:pt x="210" y="52"/>
                  </a:cubicBezTo>
                  <a:cubicBezTo>
                    <a:pt x="209" y="55"/>
                    <a:pt x="209" y="55"/>
                    <a:pt x="209" y="55"/>
                  </a:cubicBezTo>
                  <a:cubicBezTo>
                    <a:pt x="189" y="46"/>
                    <a:pt x="170" y="40"/>
                    <a:pt x="148" y="44"/>
                  </a:cubicBezTo>
                  <a:cubicBezTo>
                    <a:pt x="117" y="48"/>
                    <a:pt x="89" y="65"/>
                    <a:pt x="68" y="88"/>
                  </a:cubicBezTo>
                  <a:cubicBezTo>
                    <a:pt x="32" y="124"/>
                    <a:pt x="23" y="179"/>
                    <a:pt x="41" y="227"/>
                  </a:cubicBezTo>
                  <a:cubicBezTo>
                    <a:pt x="61" y="281"/>
                    <a:pt x="112" y="314"/>
                    <a:pt x="170" y="309"/>
                  </a:cubicBezTo>
                  <a:cubicBezTo>
                    <a:pt x="203" y="304"/>
                    <a:pt x="233" y="289"/>
                    <a:pt x="258" y="269"/>
                  </a:cubicBezTo>
                  <a:cubicBezTo>
                    <a:pt x="280" y="251"/>
                    <a:pt x="298" y="228"/>
                    <a:pt x="303" y="201"/>
                  </a:cubicBezTo>
                  <a:close/>
                </a:path>
              </a:pathLst>
            </a:custGeom>
            <a:solidFill>
              <a:srgbClr val="21AAD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1" name="Freeform 426">
              <a:extLst>
                <a:ext uri="{FF2B5EF4-FFF2-40B4-BE49-F238E27FC236}">
                  <a16:creationId xmlns:a16="http://schemas.microsoft.com/office/drawing/2014/main" id="{0393BAFC-082F-4C1B-8DFF-E4FAAEADB04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346700" y="3635375"/>
              <a:ext cx="317500" cy="112713"/>
            </a:xfrm>
            <a:custGeom>
              <a:avLst/>
              <a:gdLst>
                <a:gd name="T0" fmla="*/ 27 w 188"/>
                <a:gd name="T1" fmla="*/ 4 h 67"/>
                <a:gd name="T2" fmla="*/ 37 w 188"/>
                <a:gd name="T3" fmla="*/ 6 h 67"/>
                <a:gd name="T4" fmla="*/ 57 w 188"/>
                <a:gd name="T5" fmla="*/ 12 h 67"/>
                <a:gd name="T6" fmla="*/ 97 w 188"/>
                <a:gd name="T7" fmla="*/ 21 h 67"/>
                <a:gd name="T8" fmla="*/ 142 w 188"/>
                <a:gd name="T9" fmla="*/ 28 h 67"/>
                <a:gd name="T10" fmla="*/ 165 w 188"/>
                <a:gd name="T11" fmla="*/ 33 h 67"/>
                <a:gd name="T12" fmla="*/ 181 w 188"/>
                <a:gd name="T13" fmla="*/ 35 h 67"/>
                <a:gd name="T14" fmla="*/ 184 w 188"/>
                <a:gd name="T15" fmla="*/ 35 h 67"/>
                <a:gd name="T16" fmla="*/ 188 w 188"/>
                <a:gd name="T17" fmla="*/ 67 h 67"/>
                <a:gd name="T18" fmla="*/ 185 w 188"/>
                <a:gd name="T19" fmla="*/ 67 h 67"/>
                <a:gd name="T20" fmla="*/ 164 w 188"/>
                <a:gd name="T21" fmla="*/ 63 h 67"/>
                <a:gd name="T22" fmla="*/ 144 w 188"/>
                <a:gd name="T23" fmla="*/ 59 h 67"/>
                <a:gd name="T24" fmla="*/ 87 w 188"/>
                <a:gd name="T25" fmla="*/ 45 h 67"/>
                <a:gd name="T26" fmla="*/ 0 w 188"/>
                <a:gd name="T27" fmla="*/ 28 h 67"/>
                <a:gd name="T28" fmla="*/ 18 w 188"/>
                <a:gd name="T29" fmla="*/ 0 h 67"/>
                <a:gd name="T30" fmla="*/ 18 w 188"/>
                <a:gd name="T31" fmla="*/ 0 h 67"/>
                <a:gd name="T32" fmla="*/ 27 w 188"/>
                <a:gd name="T33" fmla="*/ 4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88" h="67">
                  <a:moveTo>
                    <a:pt x="27" y="4"/>
                  </a:moveTo>
                  <a:cubicBezTo>
                    <a:pt x="30" y="4"/>
                    <a:pt x="33" y="5"/>
                    <a:pt x="37" y="6"/>
                  </a:cubicBezTo>
                  <a:cubicBezTo>
                    <a:pt x="43" y="7"/>
                    <a:pt x="50" y="10"/>
                    <a:pt x="57" y="12"/>
                  </a:cubicBezTo>
                  <a:cubicBezTo>
                    <a:pt x="70" y="15"/>
                    <a:pt x="84" y="18"/>
                    <a:pt x="97" y="21"/>
                  </a:cubicBezTo>
                  <a:cubicBezTo>
                    <a:pt x="111" y="23"/>
                    <a:pt x="126" y="27"/>
                    <a:pt x="142" y="28"/>
                  </a:cubicBezTo>
                  <a:cubicBezTo>
                    <a:pt x="150" y="30"/>
                    <a:pt x="158" y="32"/>
                    <a:pt x="165" y="33"/>
                  </a:cubicBezTo>
                  <a:cubicBezTo>
                    <a:pt x="171" y="33"/>
                    <a:pt x="176" y="34"/>
                    <a:pt x="181" y="35"/>
                  </a:cubicBezTo>
                  <a:cubicBezTo>
                    <a:pt x="184" y="35"/>
                    <a:pt x="184" y="35"/>
                    <a:pt x="184" y="35"/>
                  </a:cubicBezTo>
                  <a:cubicBezTo>
                    <a:pt x="184" y="45"/>
                    <a:pt x="186" y="56"/>
                    <a:pt x="188" y="67"/>
                  </a:cubicBezTo>
                  <a:cubicBezTo>
                    <a:pt x="185" y="67"/>
                    <a:pt x="185" y="67"/>
                    <a:pt x="185" y="67"/>
                  </a:cubicBezTo>
                  <a:cubicBezTo>
                    <a:pt x="181" y="61"/>
                    <a:pt x="169" y="64"/>
                    <a:pt x="164" y="63"/>
                  </a:cubicBezTo>
                  <a:cubicBezTo>
                    <a:pt x="157" y="62"/>
                    <a:pt x="151" y="60"/>
                    <a:pt x="144" y="59"/>
                  </a:cubicBezTo>
                  <a:cubicBezTo>
                    <a:pt x="125" y="55"/>
                    <a:pt x="107" y="49"/>
                    <a:pt x="87" y="45"/>
                  </a:cubicBezTo>
                  <a:cubicBezTo>
                    <a:pt x="58" y="39"/>
                    <a:pt x="29" y="34"/>
                    <a:pt x="0" y="28"/>
                  </a:cubicBezTo>
                  <a:cubicBezTo>
                    <a:pt x="6" y="19"/>
                    <a:pt x="13" y="10"/>
                    <a:pt x="18" y="0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22" y="1"/>
                    <a:pt x="23" y="3"/>
                    <a:pt x="27" y="4"/>
                  </a:cubicBezTo>
                  <a:close/>
                </a:path>
              </a:pathLst>
            </a:custGeom>
            <a:solidFill>
              <a:srgbClr val="21AAD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2" name="Freeform 427">
              <a:extLst>
                <a:ext uri="{FF2B5EF4-FFF2-40B4-BE49-F238E27FC236}">
                  <a16:creationId xmlns:a16="http://schemas.microsoft.com/office/drawing/2014/main" id="{4D94A14F-FC4D-4D1B-82E0-5007BDAFFB1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827588" y="3221038"/>
              <a:ext cx="596900" cy="579438"/>
            </a:xfrm>
            <a:custGeom>
              <a:avLst/>
              <a:gdLst>
                <a:gd name="T0" fmla="*/ 273 w 355"/>
                <a:gd name="T1" fmla="*/ 309 h 345"/>
                <a:gd name="T2" fmla="*/ 173 w 355"/>
                <a:gd name="T3" fmla="*/ 342 h 345"/>
                <a:gd name="T4" fmla="*/ 85 w 355"/>
                <a:gd name="T5" fmla="*/ 322 h 345"/>
                <a:gd name="T6" fmla="*/ 19 w 355"/>
                <a:gd name="T7" fmla="*/ 251 h 345"/>
                <a:gd name="T8" fmla="*/ 10 w 355"/>
                <a:gd name="T9" fmla="*/ 238 h 345"/>
                <a:gd name="T10" fmla="*/ 1 w 355"/>
                <a:gd name="T11" fmla="*/ 209 h 345"/>
                <a:gd name="T12" fmla="*/ 7 w 355"/>
                <a:gd name="T13" fmla="*/ 155 h 345"/>
                <a:gd name="T14" fmla="*/ 13 w 355"/>
                <a:gd name="T15" fmla="*/ 134 h 345"/>
                <a:gd name="T16" fmla="*/ 25 w 355"/>
                <a:gd name="T17" fmla="*/ 96 h 345"/>
                <a:gd name="T18" fmla="*/ 28 w 355"/>
                <a:gd name="T19" fmla="*/ 89 h 345"/>
                <a:gd name="T20" fmla="*/ 52 w 355"/>
                <a:gd name="T21" fmla="*/ 45 h 345"/>
                <a:gd name="T22" fmla="*/ 167 w 355"/>
                <a:gd name="T23" fmla="*/ 0 h 345"/>
                <a:gd name="T24" fmla="*/ 213 w 355"/>
                <a:gd name="T25" fmla="*/ 3 h 345"/>
                <a:gd name="T26" fmla="*/ 232 w 355"/>
                <a:gd name="T27" fmla="*/ 7 h 345"/>
                <a:gd name="T28" fmla="*/ 276 w 355"/>
                <a:gd name="T29" fmla="*/ 30 h 345"/>
                <a:gd name="T30" fmla="*/ 277 w 355"/>
                <a:gd name="T31" fmla="*/ 29 h 345"/>
                <a:gd name="T32" fmla="*/ 347 w 355"/>
                <a:gd name="T33" fmla="*/ 120 h 345"/>
                <a:gd name="T34" fmla="*/ 341 w 355"/>
                <a:gd name="T35" fmla="*/ 214 h 345"/>
                <a:gd name="T36" fmla="*/ 327 w 355"/>
                <a:gd name="T37" fmla="*/ 246 h 345"/>
                <a:gd name="T38" fmla="*/ 309 w 355"/>
                <a:gd name="T39" fmla="*/ 274 h 345"/>
                <a:gd name="T40" fmla="*/ 273 w 355"/>
                <a:gd name="T41" fmla="*/ 309 h 345"/>
                <a:gd name="T42" fmla="*/ 155 w 355"/>
                <a:gd name="T43" fmla="*/ 307 h 345"/>
                <a:gd name="T44" fmla="*/ 236 w 355"/>
                <a:gd name="T45" fmla="*/ 292 h 345"/>
                <a:gd name="T46" fmla="*/ 292 w 355"/>
                <a:gd name="T47" fmla="*/ 223 h 345"/>
                <a:gd name="T48" fmla="*/ 307 w 355"/>
                <a:gd name="T49" fmla="*/ 125 h 345"/>
                <a:gd name="T50" fmla="*/ 245 w 355"/>
                <a:gd name="T51" fmla="*/ 61 h 345"/>
                <a:gd name="T52" fmla="*/ 236 w 355"/>
                <a:gd name="T53" fmla="*/ 61 h 345"/>
                <a:gd name="T54" fmla="*/ 185 w 355"/>
                <a:gd name="T55" fmla="*/ 45 h 345"/>
                <a:gd name="T56" fmla="*/ 105 w 355"/>
                <a:gd name="T57" fmla="*/ 70 h 345"/>
                <a:gd name="T58" fmla="*/ 57 w 355"/>
                <a:gd name="T59" fmla="*/ 129 h 345"/>
                <a:gd name="T60" fmla="*/ 52 w 355"/>
                <a:gd name="T61" fmla="*/ 197 h 345"/>
                <a:gd name="T62" fmla="*/ 155 w 355"/>
                <a:gd name="T63" fmla="*/ 307 h 3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355" h="345">
                  <a:moveTo>
                    <a:pt x="273" y="309"/>
                  </a:moveTo>
                  <a:cubicBezTo>
                    <a:pt x="244" y="331"/>
                    <a:pt x="209" y="340"/>
                    <a:pt x="173" y="342"/>
                  </a:cubicBezTo>
                  <a:cubicBezTo>
                    <a:pt x="142" y="345"/>
                    <a:pt x="111" y="342"/>
                    <a:pt x="85" y="322"/>
                  </a:cubicBezTo>
                  <a:cubicBezTo>
                    <a:pt x="59" y="304"/>
                    <a:pt x="36" y="278"/>
                    <a:pt x="19" y="251"/>
                  </a:cubicBezTo>
                  <a:cubicBezTo>
                    <a:pt x="16" y="247"/>
                    <a:pt x="13" y="243"/>
                    <a:pt x="10" y="238"/>
                  </a:cubicBezTo>
                  <a:cubicBezTo>
                    <a:pt x="6" y="229"/>
                    <a:pt x="3" y="220"/>
                    <a:pt x="1" y="209"/>
                  </a:cubicBezTo>
                  <a:cubicBezTo>
                    <a:pt x="0" y="191"/>
                    <a:pt x="3" y="174"/>
                    <a:pt x="7" y="155"/>
                  </a:cubicBezTo>
                  <a:cubicBezTo>
                    <a:pt x="9" y="148"/>
                    <a:pt x="11" y="141"/>
                    <a:pt x="13" y="134"/>
                  </a:cubicBezTo>
                  <a:cubicBezTo>
                    <a:pt x="16" y="121"/>
                    <a:pt x="20" y="108"/>
                    <a:pt x="25" y="96"/>
                  </a:cubicBezTo>
                  <a:cubicBezTo>
                    <a:pt x="26" y="93"/>
                    <a:pt x="27" y="91"/>
                    <a:pt x="28" y="89"/>
                  </a:cubicBezTo>
                  <a:cubicBezTo>
                    <a:pt x="33" y="73"/>
                    <a:pt x="41" y="58"/>
                    <a:pt x="52" y="45"/>
                  </a:cubicBezTo>
                  <a:cubicBezTo>
                    <a:pt x="80" y="13"/>
                    <a:pt x="126" y="4"/>
                    <a:pt x="167" y="0"/>
                  </a:cubicBezTo>
                  <a:cubicBezTo>
                    <a:pt x="183" y="0"/>
                    <a:pt x="198" y="0"/>
                    <a:pt x="213" y="3"/>
                  </a:cubicBezTo>
                  <a:cubicBezTo>
                    <a:pt x="219" y="4"/>
                    <a:pt x="226" y="5"/>
                    <a:pt x="232" y="7"/>
                  </a:cubicBezTo>
                  <a:cubicBezTo>
                    <a:pt x="248" y="12"/>
                    <a:pt x="262" y="20"/>
                    <a:pt x="276" y="30"/>
                  </a:cubicBezTo>
                  <a:cubicBezTo>
                    <a:pt x="277" y="29"/>
                    <a:pt x="277" y="29"/>
                    <a:pt x="277" y="29"/>
                  </a:cubicBezTo>
                  <a:cubicBezTo>
                    <a:pt x="306" y="54"/>
                    <a:pt x="336" y="81"/>
                    <a:pt x="347" y="120"/>
                  </a:cubicBezTo>
                  <a:cubicBezTo>
                    <a:pt x="355" y="151"/>
                    <a:pt x="351" y="184"/>
                    <a:pt x="341" y="214"/>
                  </a:cubicBezTo>
                  <a:cubicBezTo>
                    <a:pt x="338" y="225"/>
                    <a:pt x="333" y="236"/>
                    <a:pt x="327" y="246"/>
                  </a:cubicBezTo>
                  <a:cubicBezTo>
                    <a:pt x="322" y="256"/>
                    <a:pt x="315" y="265"/>
                    <a:pt x="309" y="274"/>
                  </a:cubicBezTo>
                  <a:cubicBezTo>
                    <a:pt x="298" y="287"/>
                    <a:pt x="287" y="299"/>
                    <a:pt x="273" y="309"/>
                  </a:cubicBezTo>
                  <a:close/>
                  <a:moveTo>
                    <a:pt x="155" y="307"/>
                  </a:moveTo>
                  <a:cubicBezTo>
                    <a:pt x="184" y="313"/>
                    <a:pt x="212" y="308"/>
                    <a:pt x="236" y="292"/>
                  </a:cubicBezTo>
                  <a:cubicBezTo>
                    <a:pt x="261" y="275"/>
                    <a:pt x="279" y="248"/>
                    <a:pt x="292" y="223"/>
                  </a:cubicBezTo>
                  <a:cubicBezTo>
                    <a:pt x="305" y="194"/>
                    <a:pt x="316" y="157"/>
                    <a:pt x="307" y="125"/>
                  </a:cubicBezTo>
                  <a:cubicBezTo>
                    <a:pt x="298" y="95"/>
                    <a:pt x="271" y="77"/>
                    <a:pt x="245" y="61"/>
                  </a:cubicBezTo>
                  <a:cubicBezTo>
                    <a:pt x="236" y="61"/>
                    <a:pt x="236" y="61"/>
                    <a:pt x="236" y="61"/>
                  </a:cubicBezTo>
                  <a:cubicBezTo>
                    <a:pt x="220" y="52"/>
                    <a:pt x="204" y="45"/>
                    <a:pt x="185" y="45"/>
                  </a:cubicBezTo>
                  <a:cubicBezTo>
                    <a:pt x="158" y="46"/>
                    <a:pt x="129" y="56"/>
                    <a:pt x="105" y="70"/>
                  </a:cubicBezTo>
                  <a:cubicBezTo>
                    <a:pt x="84" y="85"/>
                    <a:pt x="66" y="104"/>
                    <a:pt x="57" y="129"/>
                  </a:cubicBezTo>
                  <a:cubicBezTo>
                    <a:pt x="49" y="150"/>
                    <a:pt x="49" y="175"/>
                    <a:pt x="52" y="197"/>
                  </a:cubicBezTo>
                  <a:cubicBezTo>
                    <a:pt x="59" y="253"/>
                    <a:pt x="99" y="297"/>
                    <a:pt x="155" y="307"/>
                  </a:cubicBezTo>
                  <a:close/>
                </a:path>
              </a:pathLst>
            </a:custGeom>
            <a:solidFill>
              <a:srgbClr val="21AAD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3" name="Freeform 428">
              <a:extLst>
                <a:ext uri="{FF2B5EF4-FFF2-40B4-BE49-F238E27FC236}">
                  <a16:creationId xmlns:a16="http://schemas.microsoft.com/office/drawing/2014/main" id="{9D935F29-394C-416F-85DB-BC5F51FC465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910138" y="3297238"/>
              <a:ext cx="449263" cy="450850"/>
            </a:xfrm>
            <a:custGeom>
              <a:avLst/>
              <a:gdLst>
                <a:gd name="T0" fmla="*/ 106 w 267"/>
                <a:gd name="T1" fmla="*/ 262 h 268"/>
                <a:gd name="T2" fmla="*/ 3 w 267"/>
                <a:gd name="T3" fmla="*/ 152 h 268"/>
                <a:gd name="T4" fmla="*/ 8 w 267"/>
                <a:gd name="T5" fmla="*/ 84 h 268"/>
                <a:gd name="T6" fmla="*/ 56 w 267"/>
                <a:gd name="T7" fmla="*/ 25 h 268"/>
                <a:gd name="T8" fmla="*/ 136 w 267"/>
                <a:gd name="T9" fmla="*/ 0 h 268"/>
                <a:gd name="T10" fmla="*/ 187 w 267"/>
                <a:gd name="T11" fmla="*/ 16 h 268"/>
                <a:gd name="T12" fmla="*/ 196 w 267"/>
                <a:gd name="T13" fmla="*/ 16 h 268"/>
                <a:gd name="T14" fmla="*/ 258 w 267"/>
                <a:gd name="T15" fmla="*/ 80 h 268"/>
                <a:gd name="T16" fmla="*/ 243 w 267"/>
                <a:gd name="T17" fmla="*/ 178 h 268"/>
                <a:gd name="T18" fmla="*/ 187 w 267"/>
                <a:gd name="T19" fmla="*/ 247 h 268"/>
                <a:gd name="T20" fmla="*/ 106 w 267"/>
                <a:gd name="T21" fmla="*/ 262 h 268"/>
                <a:gd name="T22" fmla="*/ 20 w 267"/>
                <a:gd name="T23" fmla="*/ 143 h 268"/>
                <a:gd name="T24" fmla="*/ 127 w 267"/>
                <a:gd name="T25" fmla="*/ 242 h 268"/>
                <a:gd name="T26" fmla="*/ 236 w 267"/>
                <a:gd name="T27" fmla="*/ 160 h 268"/>
                <a:gd name="T28" fmla="*/ 240 w 267"/>
                <a:gd name="T29" fmla="*/ 89 h 268"/>
                <a:gd name="T30" fmla="*/ 195 w 267"/>
                <a:gd name="T31" fmla="*/ 33 h 268"/>
                <a:gd name="T32" fmla="*/ 194 w 267"/>
                <a:gd name="T33" fmla="*/ 35 h 268"/>
                <a:gd name="T34" fmla="*/ 82 w 267"/>
                <a:gd name="T35" fmla="*/ 27 h 268"/>
                <a:gd name="T36" fmla="*/ 38 w 267"/>
                <a:gd name="T37" fmla="*/ 74 h 268"/>
                <a:gd name="T38" fmla="*/ 20 w 267"/>
                <a:gd name="T39" fmla="*/ 143 h 2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267" h="268">
                  <a:moveTo>
                    <a:pt x="106" y="262"/>
                  </a:moveTo>
                  <a:cubicBezTo>
                    <a:pt x="50" y="252"/>
                    <a:pt x="10" y="208"/>
                    <a:pt x="3" y="152"/>
                  </a:cubicBezTo>
                  <a:cubicBezTo>
                    <a:pt x="0" y="130"/>
                    <a:pt x="0" y="105"/>
                    <a:pt x="8" y="84"/>
                  </a:cubicBezTo>
                  <a:cubicBezTo>
                    <a:pt x="17" y="59"/>
                    <a:pt x="35" y="40"/>
                    <a:pt x="56" y="25"/>
                  </a:cubicBezTo>
                  <a:cubicBezTo>
                    <a:pt x="80" y="11"/>
                    <a:pt x="109" y="1"/>
                    <a:pt x="136" y="0"/>
                  </a:cubicBezTo>
                  <a:cubicBezTo>
                    <a:pt x="155" y="0"/>
                    <a:pt x="171" y="7"/>
                    <a:pt x="187" y="16"/>
                  </a:cubicBezTo>
                  <a:cubicBezTo>
                    <a:pt x="196" y="16"/>
                    <a:pt x="196" y="16"/>
                    <a:pt x="196" y="16"/>
                  </a:cubicBezTo>
                  <a:cubicBezTo>
                    <a:pt x="222" y="32"/>
                    <a:pt x="249" y="50"/>
                    <a:pt x="258" y="80"/>
                  </a:cubicBezTo>
                  <a:cubicBezTo>
                    <a:pt x="267" y="112"/>
                    <a:pt x="256" y="149"/>
                    <a:pt x="243" y="178"/>
                  </a:cubicBezTo>
                  <a:cubicBezTo>
                    <a:pt x="230" y="203"/>
                    <a:pt x="212" y="230"/>
                    <a:pt x="187" y="247"/>
                  </a:cubicBezTo>
                  <a:cubicBezTo>
                    <a:pt x="163" y="263"/>
                    <a:pt x="135" y="268"/>
                    <a:pt x="106" y="262"/>
                  </a:cubicBezTo>
                  <a:close/>
                  <a:moveTo>
                    <a:pt x="20" y="143"/>
                  </a:moveTo>
                  <a:cubicBezTo>
                    <a:pt x="23" y="195"/>
                    <a:pt x="76" y="241"/>
                    <a:pt x="127" y="242"/>
                  </a:cubicBezTo>
                  <a:cubicBezTo>
                    <a:pt x="173" y="241"/>
                    <a:pt x="220" y="201"/>
                    <a:pt x="236" y="160"/>
                  </a:cubicBezTo>
                  <a:cubicBezTo>
                    <a:pt x="246" y="138"/>
                    <a:pt x="248" y="112"/>
                    <a:pt x="240" y="89"/>
                  </a:cubicBezTo>
                  <a:cubicBezTo>
                    <a:pt x="232" y="65"/>
                    <a:pt x="215" y="48"/>
                    <a:pt x="195" y="33"/>
                  </a:cubicBezTo>
                  <a:cubicBezTo>
                    <a:pt x="194" y="35"/>
                    <a:pt x="194" y="35"/>
                    <a:pt x="194" y="35"/>
                  </a:cubicBezTo>
                  <a:cubicBezTo>
                    <a:pt x="160" y="19"/>
                    <a:pt x="118" y="10"/>
                    <a:pt x="82" y="27"/>
                  </a:cubicBezTo>
                  <a:cubicBezTo>
                    <a:pt x="62" y="37"/>
                    <a:pt x="48" y="55"/>
                    <a:pt x="38" y="74"/>
                  </a:cubicBezTo>
                  <a:cubicBezTo>
                    <a:pt x="27" y="95"/>
                    <a:pt x="18" y="120"/>
                    <a:pt x="20" y="143"/>
                  </a:cubicBezTo>
                  <a:close/>
                </a:path>
              </a:pathLst>
            </a:custGeom>
            <a:solidFill>
              <a:srgbClr val="F6B84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4" name="Freeform 429">
              <a:extLst>
                <a:ext uri="{FF2B5EF4-FFF2-40B4-BE49-F238E27FC236}">
                  <a16:creationId xmlns:a16="http://schemas.microsoft.com/office/drawing/2014/main" id="{F6B41F37-9D1A-4B96-9401-E3EA635AFEB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5695950" y="3451225"/>
              <a:ext cx="477838" cy="460375"/>
            </a:xfrm>
            <a:custGeom>
              <a:avLst/>
              <a:gdLst>
                <a:gd name="T0" fmla="*/ 31 w 284"/>
                <a:gd name="T1" fmla="*/ 166 h 274"/>
                <a:gd name="T2" fmla="*/ 128 w 284"/>
                <a:gd name="T3" fmla="*/ 252 h 274"/>
                <a:gd name="T4" fmla="*/ 252 w 284"/>
                <a:gd name="T5" fmla="*/ 166 h 274"/>
                <a:gd name="T6" fmla="*/ 248 w 284"/>
                <a:gd name="T7" fmla="*/ 99 h 274"/>
                <a:gd name="T8" fmla="*/ 225 w 284"/>
                <a:gd name="T9" fmla="*/ 59 h 274"/>
                <a:gd name="T10" fmla="*/ 184 w 284"/>
                <a:gd name="T11" fmla="*/ 31 h 274"/>
                <a:gd name="T12" fmla="*/ 183 w 284"/>
                <a:gd name="T13" fmla="*/ 33 h 274"/>
                <a:gd name="T14" fmla="*/ 140 w 284"/>
                <a:gd name="T15" fmla="*/ 25 h 274"/>
                <a:gd name="T16" fmla="*/ 78 w 284"/>
                <a:gd name="T17" fmla="*/ 44 h 274"/>
                <a:gd name="T18" fmla="*/ 34 w 284"/>
                <a:gd name="T19" fmla="*/ 100 h 274"/>
                <a:gd name="T20" fmla="*/ 31 w 284"/>
                <a:gd name="T21" fmla="*/ 166 h 274"/>
                <a:gd name="T22" fmla="*/ 45 w 284"/>
                <a:gd name="T23" fmla="*/ 48 h 274"/>
                <a:gd name="T24" fmla="*/ 125 w 284"/>
                <a:gd name="T25" fmla="*/ 4 h 274"/>
                <a:gd name="T26" fmla="*/ 186 w 284"/>
                <a:gd name="T27" fmla="*/ 15 h 274"/>
                <a:gd name="T28" fmla="*/ 187 w 284"/>
                <a:gd name="T29" fmla="*/ 12 h 274"/>
                <a:gd name="T30" fmla="*/ 227 w 284"/>
                <a:gd name="T31" fmla="*/ 31 h 274"/>
                <a:gd name="T32" fmla="*/ 260 w 284"/>
                <a:gd name="T33" fmla="*/ 70 h 274"/>
                <a:gd name="T34" fmla="*/ 280 w 284"/>
                <a:gd name="T35" fmla="*/ 161 h 274"/>
                <a:gd name="T36" fmla="*/ 235 w 284"/>
                <a:gd name="T37" fmla="*/ 229 h 274"/>
                <a:gd name="T38" fmla="*/ 147 w 284"/>
                <a:gd name="T39" fmla="*/ 269 h 274"/>
                <a:gd name="T40" fmla="*/ 18 w 284"/>
                <a:gd name="T41" fmla="*/ 187 h 274"/>
                <a:gd name="T42" fmla="*/ 45 w 284"/>
                <a:gd name="T43" fmla="*/ 48 h 2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84" h="274">
                  <a:moveTo>
                    <a:pt x="31" y="166"/>
                  </a:moveTo>
                  <a:cubicBezTo>
                    <a:pt x="37" y="214"/>
                    <a:pt x="82" y="250"/>
                    <a:pt x="128" y="252"/>
                  </a:cubicBezTo>
                  <a:cubicBezTo>
                    <a:pt x="180" y="256"/>
                    <a:pt x="238" y="216"/>
                    <a:pt x="252" y="166"/>
                  </a:cubicBezTo>
                  <a:cubicBezTo>
                    <a:pt x="257" y="144"/>
                    <a:pt x="255" y="120"/>
                    <a:pt x="248" y="99"/>
                  </a:cubicBezTo>
                  <a:cubicBezTo>
                    <a:pt x="244" y="84"/>
                    <a:pt x="237" y="71"/>
                    <a:pt x="225" y="59"/>
                  </a:cubicBezTo>
                  <a:cubicBezTo>
                    <a:pt x="213" y="48"/>
                    <a:pt x="199" y="40"/>
                    <a:pt x="184" y="31"/>
                  </a:cubicBezTo>
                  <a:cubicBezTo>
                    <a:pt x="183" y="33"/>
                    <a:pt x="183" y="33"/>
                    <a:pt x="183" y="33"/>
                  </a:cubicBezTo>
                  <a:cubicBezTo>
                    <a:pt x="170" y="30"/>
                    <a:pt x="155" y="25"/>
                    <a:pt x="140" y="25"/>
                  </a:cubicBezTo>
                  <a:cubicBezTo>
                    <a:pt x="118" y="24"/>
                    <a:pt x="97" y="30"/>
                    <a:pt x="78" y="44"/>
                  </a:cubicBezTo>
                  <a:cubicBezTo>
                    <a:pt x="58" y="57"/>
                    <a:pt x="43" y="77"/>
                    <a:pt x="34" y="100"/>
                  </a:cubicBezTo>
                  <a:cubicBezTo>
                    <a:pt x="28" y="120"/>
                    <a:pt x="28" y="145"/>
                    <a:pt x="31" y="166"/>
                  </a:cubicBezTo>
                  <a:close/>
                  <a:moveTo>
                    <a:pt x="45" y="48"/>
                  </a:moveTo>
                  <a:cubicBezTo>
                    <a:pt x="66" y="25"/>
                    <a:pt x="94" y="8"/>
                    <a:pt x="125" y="4"/>
                  </a:cubicBezTo>
                  <a:cubicBezTo>
                    <a:pt x="147" y="0"/>
                    <a:pt x="166" y="6"/>
                    <a:pt x="186" y="15"/>
                  </a:cubicBezTo>
                  <a:cubicBezTo>
                    <a:pt x="187" y="12"/>
                    <a:pt x="187" y="12"/>
                    <a:pt x="187" y="12"/>
                  </a:cubicBezTo>
                  <a:cubicBezTo>
                    <a:pt x="200" y="17"/>
                    <a:pt x="215" y="23"/>
                    <a:pt x="227" y="31"/>
                  </a:cubicBezTo>
                  <a:cubicBezTo>
                    <a:pt x="241" y="41"/>
                    <a:pt x="253" y="54"/>
                    <a:pt x="260" y="70"/>
                  </a:cubicBezTo>
                  <a:cubicBezTo>
                    <a:pt x="274" y="96"/>
                    <a:pt x="284" y="130"/>
                    <a:pt x="280" y="161"/>
                  </a:cubicBezTo>
                  <a:cubicBezTo>
                    <a:pt x="275" y="188"/>
                    <a:pt x="257" y="211"/>
                    <a:pt x="235" y="229"/>
                  </a:cubicBezTo>
                  <a:cubicBezTo>
                    <a:pt x="210" y="249"/>
                    <a:pt x="180" y="264"/>
                    <a:pt x="147" y="269"/>
                  </a:cubicBezTo>
                  <a:cubicBezTo>
                    <a:pt x="89" y="274"/>
                    <a:pt x="38" y="241"/>
                    <a:pt x="18" y="187"/>
                  </a:cubicBezTo>
                  <a:cubicBezTo>
                    <a:pt x="0" y="139"/>
                    <a:pt x="9" y="84"/>
                    <a:pt x="45" y="48"/>
                  </a:cubicBezTo>
                  <a:close/>
                </a:path>
              </a:pathLst>
            </a:custGeom>
            <a:solidFill>
              <a:srgbClr val="F6B84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5" name="Freeform 430">
              <a:extLst>
                <a:ext uri="{FF2B5EF4-FFF2-40B4-BE49-F238E27FC236}">
                  <a16:creationId xmlns:a16="http://schemas.microsoft.com/office/drawing/2014/main" id="{F71BC136-83ED-4B8D-A0FD-B531D9DAE8D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741988" y="3492500"/>
              <a:ext cx="385763" cy="388938"/>
            </a:xfrm>
            <a:custGeom>
              <a:avLst/>
              <a:gdLst>
                <a:gd name="T0" fmla="*/ 220 w 229"/>
                <a:gd name="T1" fmla="*/ 75 h 232"/>
                <a:gd name="T2" fmla="*/ 224 w 229"/>
                <a:gd name="T3" fmla="*/ 142 h 232"/>
                <a:gd name="T4" fmla="*/ 100 w 229"/>
                <a:gd name="T5" fmla="*/ 228 h 232"/>
                <a:gd name="T6" fmla="*/ 3 w 229"/>
                <a:gd name="T7" fmla="*/ 142 h 232"/>
                <a:gd name="T8" fmla="*/ 6 w 229"/>
                <a:gd name="T9" fmla="*/ 76 h 232"/>
                <a:gd name="T10" fmla="*/ 50 w 229"/>
                <a:gd name="T11" fmla="*/ 20 h 232"/>
                <a:gd name="T12" fmla="*/ 112 w 229"/>
                <a:gd name="T13" fmla="*/ 1 h 232"/>
                <a:gd name="T14" fmla="*/ 155 w 229"/>
                <a:gd name="T15" fmla="*/ 9 h 232"/>
                <a:gd name="T16" fmla="*/ 156 w 229"/>
                <a:gd name="T17" fmla="*/ 7 h 232"/>
                <a:gd name="T18" fmla="*/ 197 w 229"/>
                <a:gd name="T19" fmla="*/ 35 h 232"/>
                <a:gd name="T20" fmla="*/ 220 w 229"/>
                <a:gd name="T21" fmla="*/ 75 h 2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29" h="232">
                  <a:moveTo>
                    <a:pt x="220" y="75"/>
                  </a:moveTo>
                  <a:cubicBezTo>
                    <a:pt x="227" y="96"/>
                    <a:pt x="229" y="120"/>
                    <a:pt x="224" y="142"/>
                  </a:cubicBezTo>
                  <a:cubicBezTo>
                    <a:pt x="210" y="192"/>
                    <a:pt x="152" y="232"/>
                    <a:pt x="100" y="228"/>
                  </a:cubicBezTo>
                  <a:cubicBezTo>
                    <a:pt x="54" y="226"/>
                    <a:pt x="9" y="190"/>
                    <a:pt x="3" y="142"/>
                  </a:cubicBezTo>
                  <a:cubicBezTo>
                    <a:pt x="0" y="121"/>
                    <a:pt x="0" y="96"/>
                    <a:pt x="6" y="76"/>
                  </a:cubicBezTo>
                  <a:cubicBezTo>
                    <a:pt x="15" y="53"/>
                    <a:pt x="30" y="33"/>
                    <a:pt x="50" y="20"/>
                  </a:cubicBezTo>
                  <a:cubicBezTo>
                    <a:pt x="69" y="6"/>
                    <a:pt x="90" y="0"/>
                    <a:pt x="112" y="1"/>
                  </a:cubicBezTo>
                  <a:cubicBezTo>
                    <a:pt x="127" y="1"/>
                    <a:pt x="142" y="6"/>
                    <a:pt x="155" y="9"/>
                  </a:cubicBezTo>
                  <a:cubicBezTo>
                    <a:pt x="156" y="7"/>
                    <a:pt x="156" y="7"/>
                    <a:pt x="156" y="7"/>
                  </a:cubicBezTo>
                  <a:cubicBezTo>
                    <a:pt x="171" y="16"/>
                    <a:pt x="185" y="24"/>
                    <a:pt x="197" y="35"/>
                  </a:cubicBezTo>
                  <a:cubicBezTo>
                    <a:pt x="209" y="47"/>
                    <a:pt x="216" y="60"/>
                    <a:pt x="220" y="75"/>
                  </a:cubicBezTo>
                  <a:close/>
                </a:path>
              </a:pathLst>
            </a:custGeom>
            <a:solidFill>
              <a:srgbClr val="F6B84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6" name="Freeform 431">
              <a:extLst>
                <a:ext uri="{FF2B5EF4-FFF2-40B4-BE49-F238E27FC236}">
                  <a16:creationId xmlns:a16="http://schemas.microsoft.com/office/drawing/2014/main" id="{9E3A8BE3-79E1-4DB7-A8A1-FE51A9E3404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40300" y="3313113"/>
              <a:ext cx="387350" cy="390525"/>
            </a:xfrm>
            <a:custGeom>
              <a:avLst/>
              <a:gdLst>
                <a:gd name="T0" fmla="*/ 222 w 230"/>
                <a:gd name="T1" fmla="*/ 79 h 232"/>
                <a:gd name="T2" fmla="*/ 218 w 230"/>
                <a:gd name="T3" fmla="*/ 150 h 232"/>
                <a:gd name="T4" fmla="*/ 109 w 230"/>
                <a:gd name="T5" fmla="*/ 232 h 232"/>
                <a:gd name="T6" fmla="*/ 2 w 230"/>
                <a:gd name="T7" fmla="*/ 133 h 232"/>
                <a:gd name="T8" fmla="*/ 20 w 230"/>
                <a:gd name="T9" fmla="*/ 64 h 232"/>
                <a:gd name="T10" fmla="*/ 64 w 230"/>
                <a:gd name="T11" fmla="*/ 17 h 232"/>
                <a:gd name="T12" fmla="*/ 176 w 230"/>
                <a:gd name="T13" fmla="*/ 25 h 232"/>
                <a:gd name="T14" fmla="*/ 177 w 230"/>
                <a:gd name="T15" fmla="*/ 23 h 232"/>
                <a:gd name="T16" fmla="*/ 222 w 230"/>
                <a:gd name="T17" fmla="*/ 79 h 2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30" h="232">
                  <a:moveTo>
                    <a:pt x="222" y="79"/>
                  </a:moveTo>
                  <a:cubicBezTo>
                    <a:pt x="230" y="102"/>
                    <a:pt x="228" y="128"/>
                    <a:pt x="218" y="150"/>
                  </a:cubicBezTo>
                  <a:cubicBezTo>
                    <a:pt x="202" y="191"/>
                    <a:pt x="155" y="231"/>
                    <a:pt x="109" y="232"/>
                  </a:cubicBezTo>
                  <a:cubicBezTo>
                    <a:pt x="58" y="231"/>
                    <a:pt x="5" y="185"/>
                    <a:pt x="2" y="133"/>
                  </a:cubicBezTo>
                  <a:cubicBezTo>
                    <a:pt x="0" y="110"/>
                    <a:pt x="9" y="85"/>
                    <a:pt x="20" y="64"/>
                  </a:cubicBezTo>
                  <a:cubicBezTo>
                    <a:pt x="30" y="45"/>
                    <a:pt x="44" y="27"/>
                    <a:pt x="64" y="17"/>
                  </a:cubicBezTo>
                  <a:cubicBezTo>
                    <a:pt x="100" y="0"/>
                    <a:pt x="142" y="9"/>
                    <a:pt x="176" y="25"/>
                  </a:cubicBezTo>
                  <a:cubicBezTo>
                    <a:pt x="177" y="23"/>
                    <a:pt x="177" y="23"/>
                    <a:pt x="177" y="23"/>
                  </a:cubicBezTo>
                  <a:cubicBezTo>
                    <a:pt x="197" y="38"/>
                    <a:pt x="214" y="55"/>
                    <a:pt x="222" y="79"/>
                  </a:cubicBezTo>
                  <a:close/>
                </a:path>
              </a:pathLst>
            </a:custGeom>
            <a:solidFill>
              <a:srgbClr val="F6B84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7" name="Freeform 432">
              <a:extLst>
                <a:ext uri="{FF2B5EF4-FFF2-40B4-BE49-F238E27FC236}">
                  <a16:creationId xmlns:a16="http://schemas.microsoft.com/office/drawing/2014/main" id="{0F79E631-B699-4AF8-BF71-DE7AC319FB7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337050" y="2544763"/>
              <a:ext cx="708025" cy="911225"/>
            </a:xfrm>
            <a:custGeom>
              <a:avLst/>
              <a:gdLst>
                <a:gd name="T0" fmla="*/ 10 w 421"/>
                <a:gd name="T1" fmla="*/ 230 h 543"/>
                <a:gd name="T2" fmla="*/ 183 w 421"/>
                <a:gd name="T3" fmla="*/ 19 h 543"/>
                <a:gd name="T4" fmla="*/ 238 w 421"/>
                <a:gd name="T5" fmla="*/ 6 h 543"/>
                <a:gd name="T6" fmla="*/ 421 w 421"/>
                <a:gd name="T7" fmla="*/ 60 h 543"/>
                <a:gd name="T8" fmla="*/ 403 w 421"/>
                <a:gd name="T9" fmla="*/ 85 h 543"/>
                <a:gd name="T10" fmla="*/ 408 w 421"/>
                <a:gd name="T11" fmla="*/ 92 h 543"/>
                <a:gd name="T12" fmla="*/ 387 w 421"/>
                <a:gd name="T13" fmla="*/ 93 h 543"/>
                <a:gd name="T14" fmla="*/ 384 w 421"/>
                <a:gd name="T15" fmla="*/ 90 h 543"/>
                <a:gd name="T16" fmla="*/ 364 w 421"/>
                <a:gd name="T17" fmla="*/ 86 h 543"/>
                <a:gd name="T18" fmla="*/ 337 w 421"/>
                <a:gd name="T19" fmla="*/ 79 h 543"/>
                <a:gd name="T20" fmla="*/ 284 w 421"/>
                <a:gd name="T21" fmla="*/ 71 h 543"/>
                <a:gd name="T22" fmla="*/ 249 w 421"/>
                <a:gd name="T23" fmla="*/ 79 h 543"/>
                <a:gd name="T24" fmla="*/ 234 w 421"/>
                <a:gd name="T25" fmla="*/ 124 h 543"/>
                <a:gd name="T26" fmla="*/ 226 w 421"/>
                <a:gd name="T27" fmla="*/ 163 h 543"/>
                <a:gd name="T28" fmla="*/ 221 w 421"/>
                <a:gd name="T29" fmla="*/ 183 h 543"/>
                <a:gd name="T30" fmla="*/ 194 w 421"/>
                <a:gd name="T31" fmla="*/ 174 h 543"/>
                <a:gd name="T32" fmla="*/ 148 w 421"/>
                <a:gd name="T33" fmla="*/ 166 h 543"/>
                <a:gd name="T34" fmla="*/ 105 w 421"/>
                <a:gd name="T35" fmla="*/ 174 h 543"/>
                <a:gd name="T36" fmla="*/ 93 w 421"/>
                <a:gd name="T37" fmla="*/ 212 h 543"/>
                <a:gd name="T38" fmla="*/ 86 w 421"/>
                <a:gd name="T39" fmla="*/ 250 h 543"/>
                <a:gd name="T40" fmla="*/ 87 w 421"/>
                <a:gd name="T41" fmla="*/ 294 h 543"/>
                <a:gd name="T42" fmla="*/ 126 w 421"/>
                <a:gd name="T43" fmla="*/ 311 h 543"/>
                <a:gd name="T44" fmla="*/ 176 w 421"/>
                <a:gd name="T45" fmla="*/ 322 h 543"/>
                <a:gd name="T46" fmla="*/ 195 w 421"/>
                <a:gd name="T47" fmla="*/ 326 h 543"/>
                <a:gd name="T48" fmla="*/ 193 w 421"/>
                <a:gd name="T49" fmla="*/ 331 h 543"/>
                <a:gd name="T50" fmla="*/ 187 w 421"/>
                <a:gd name="T51" fmla="*/ 353 h 543"/>
                <a:gd name="T52" fmla="*/ 175 w 421"/>
                <a:gd name="T53" fmla="*/ 419 h 543"/>
                <a:gd name="T54" fmla="*/ 228 w 421"/>
                <a:gd name="T55" fmla="*/ 457 h 543"/>
                <a:gd name="T56" fmla="*/ 227 w 421"/>
                <a:gd name="T57" fmla="*/ 476 h 543"/>
                <a:gd name="T58" fmla="*/ 299 w 421"/>
                <a:gd name="T59" fmla="*/ 486 h 543"/>
                <a:gd name="T60" fmla="*/ 320 w 421"/>
                <a:gd name="T61" fmla="*/ 492 h 543"/>
                <a:gd name="T62" fmla="*/ 317 w 421"/>
                <a:gd name="T63" fmla="*/ 499 h 543"/>
                <a:gd name="T64" fmla="*/ 305 w 421"/>
                <a:gd name="T65" fmla="*/ 537 h 543"/>
                <a:gd name="T66" fmla="*/ 304 w 421"/>
                <a:gd name="T67" fmla="*/ 536 h 543"/>
                <a:gd name="T68" fmla="*/ 202 w 421"/>
                <a:gd name="T69" fmla="*/ 532 h 543"/>
                <a:gd name="T70" fmla="*/ 92 w 421"/>
                <a:gd name="T71" fmla="*/ 468 h 543"/>
                <a:gd name="T72" fmla="*/ 20 w 421"/>
                <a:gd name="T73" fmla="*/ 368 h 543"/>
                <a:gd name="T74" fmla="*/ 9 w 421"/>
                <a:gd name="T75" fmla="*/ 235 h 543"/>
                <a:gd name="T76" fmla="*/ 10 w 421"/>
                <a:gd name="T77" fmla="*/ 230 h 5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21" h="543">
                  <a:moveTo>
                    <a:pt x="10" y="230"/>
                  </a:moveTo>
                  <a:cubicBezTo>
                    <a:pt x="29" y="136"/>
                    <a:pt x="94" y="51"/>
                    <a:pt x="183" y="19"/>
                  </a:cubicBezTo>
                  <a:cubicBezTo>
                    <a:pt x="201" y="12"/>
                    <a:pt x="219" y="8"/>
                    <a:pt x="238" y="6"/>
                  </a:cubicBezTo>
                  <a:cubicBezTo>
                    <a:pt x="303" y="0"/>
                    <a:pt x="368" y="22"/>
                    <a:pt x="421" y="60"/>
                  </a:cubicBezTo>
                  <a:cubicBezTo>
                    <a:pt x="403" y="85"/>
                    <a:pt x="403" y="85"/>
                    <a:pt x="403" y="85"/>
                  </a:cubicBezTo>
                  <a:cubicBezTo>
                    <a:pt x="406" y="87"/>
                    <a:pt x="407" y="89"/>
                    <a:pt x="408" y="92"/>
                  </a:cubicBezTo>
                  <a:cubicBezTo>
                    <a:pt x="387" y="93"/>
                    <a:pt x="387" y="93"/>
                    <a:pt x="387" y="93"/>
                  </a:cubicBezTo>
                  <a:cubicBezTo>
                    <a:pt x="386" y="92"/>
                    <a:pt x="386" y="91"/>
                    <a:pt x="384" y="90"/>
                  </a:cubicBezTo>
                  <a:cubicBezTo>
                    <a:pt x="378" y="87"/>
                    <a:pt x="371" y="87"/>
                    <a:pt x="364" y="86"/>
                  </a:cubicBezTo>
                  <a:cubicBezTo>
                    <a:pt x="356" y="84"/>
                    <a:pt x="348" y="81"/>
                    <a:pt x="337" y="79"/>
                  </a:cubicBezTo>
                  <a:cubicBezTo>
                    <a:pt x="321" y="73"/>
                    <a:pt x="302" y="71"/>
                    <a:pt x="284" y="71"/>
                  </a:cubicBezTo>
                  <a:cubicBezTo>
                    <a:pt x="272" y="72"/>
                    <a:pt x="257" y="68"/>
                    <a:pt x="249" y="79"/>
                  </a:cubicBezTo>
                  <a:cubicBezTo>
                    <a:pt x="239" y="91"/>
                    <a:pt x="237" y="110"/>
                    <a:pt x="234" y="124"/>
                  </a:cubicBezTo>
                  <a:cubicBezTo>
                    <a:pt x="230" y="137"/>
                    <a:pt x="227" y="149"/>
                    <a:pt x="226" y="163"/>
                  </a:cubicBezTo>
                  <a:cubicBezTo>
                    <a:pt x="225" y="169"/>
                    <a:pt x="224" y="177"/>
                    <a:pt x="221" y="183"/>
                  </a:cubicBezTo>
                  <a:cubicBezTo>
                    <a:pt x="211" y="181"/>
                    <a:pt x="203" y="177"/>
                    <a:pt x="194" y="174"/>
                  </a:cubicBezTo>
                  <a:cubicBezTo>
                    <a:pt x="178" y="170"/>
                    <a:pt x="162" y="170"/>
                    <a:pt x="148" y="166"/>
                  </a:cubicBezTo>
                  <a:cubicBezTo>
                    <a:pt x="131" y="160"/>
                    <a:pt x="114" y="155"/>
                    <a:pt x="105" y="174"/>
                  </a:cubicBezTo>
                  <a:cubicBezTo>
                    <a:pt x="99" y="185"/>
                    <a:pt x="96" y="199"/>
                    <a:pt x="93" y="212"/>
                  </a:cubicBezTo>
                  <a:cubicBezTo>
                    <a:pt x="91" y="224"/>
                    <a:pt x="88" y="238"/>
                    <a:pt x="86" y="250"/>
                  </a:cubicBezTo>
                  <a:cubicBezTo>
                    <a:pt x="82" y="265"/>
                    <a:pt x="79" y="282"/>
                    <a:pt x="87" y="294"/>
                  </a:cubicBezTo>
                  <a:cubicBezTo>
                    <a:pt x="95" y="306"/>
                    <a:pt x="112" y="308"/>
                    <a:pt x="126" y="311"/>
                  </a:cubicBezTo>
                  <a:cubicBezTo>
                    <a:pt x="142" y="315"/>
                    <a:pt x="159" y="318"/>
                    <a:pt x="176" y="322"/>
                  </a:cubicBezTo>
                  <a:cubicBezTo>
                    <a:pt x="183" y="323"/>
                    <a:pt x="188" y="324"/>
                    <a:pt x="195" y="326"/>
                  </a:cubicBezTo>
                  <a:cubicBezTo>
                    <a:pt x="194" y="328"/>
                    <a:pt x="193" y="330"/>
                    <a:pt x="193" y="331"/>
                  </a:cubicBezTo>
                  <a:cubicBezTo>
                    <a:pt x="190" y="338"/>
                    <a:pt x="189" y="345"/>
                    <a:pt x="187" y="353"/>
                  </a:cubicBezTo>
                  <a:cubicBezTo>
                    <a:pt x="183" y="375"/>
                    <a:pt x="174" y="398"/>
                    <a:pt x="175" y="419"/>
                  </a:cubicBezTo>
                  <a:cubicBezTo>
                    <a:pt x="177" y="449"/>
                    <a:pt x="203" y="456"/>
                    <a:pt x="228" y="457"/>
                  </a:cubicBezTo>
                  <a:cubicBezTo>
                    <a:pt x="227" y="476"/>
                    <a:pt x="227" y="476"/>
                    <a:pt x="227" y="476"/>
                  </a:cubicBezTo>
                  <a:cubicBezTo>
                    <a:pt x="251" y="477"/>
                    <a:pt x="274" y="481"/>
                    <a:pt x="299" y="486"/>
                  </a:cubicBezTo>
                  <a:cubicBezTo>
                    <a:pt x="320" y="492"/>
                    <a:pt x="320" y="492"/>
                    <a:pt x="320" y="492"/>
                  </a:cubicBezTo>
                  <a:cubicBezTo>
                    <a:pt x="319" y="494"/>
                    <a:pt x="318" y="496"/>
                    <a:pt x="317" y="499"/>
                  </a:cubicBezTo>
                  <a:cubicBezTo>
                    <a:pt x="312" y="511"/>
                    <a:pt x="308" y="524"/>
                    <a:pt x="305" y="537"/>
                  </a:cubicBezTo>
                  <a:cubicBezTo>
                    <a:pt x="304" y="536"/>
                    <a:pt x="304" y="536"/>
                    <a:pt x="304" y="536"/>
                  </a:cubicBezTo>
                  <a:cubicBezTo>
                    <a:pt x="269" y="541"/>
                    <a:pt x="235" y="543"/>
                    <a:pt x="202" y="532"/>
                  </a:cubicBezTo>
                  <a:cubicBezTo>
                    <a:pt x="161" y="520"/>
                    <a:pt x="123" y="496"/>
                    <a:pt x="92" y="468"/>
                  </a:cubicBezTo>
                  <a:cubicBezTo>
                    <a:pt x="61" y="441"/>
                    <a:pt x="35" y="407"/>
                    <a:pt x="20" y="368"/>
                  </a:cubicBezTo>
                  <a:cubicBezTo>
                    <a:pt x="2" y="326"/>
                    <a:pt x="0" y="279"/>
                    <a:pt x="9" y="235"/>
                  </a:cubicBezTo>
                  <a:cubicBezTo>
                    <a:pt x="9" y="234"/>
                    <a:pt x="10" y="232"/>
                    <a:pt x="10" y="230"/>
                  </a:cubicBezTo>
                  <a:close/>
                </a:path>
              </a:pathLst>
            </a:custGeom>
            <a:solidFill>
              <a:srgbClr val="F6B84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8" name="Freeform 433">
              <a:extLst>
                <a:ext uri="{FF2B5EF4-FFF2-40B4-BE49-F238E27FC236}">
                  <a16:creationId xmlns:a16="http://schemas.microsoft.com/office/drawing/2014/main" id="{50104375-CA80-4D0F-828E-CA29CD47A95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718050" y="2644775"/>
              <a:ext cx="536575" cy="725488"/>
            </a:xfrm>
            <a:custGeom>
              <a:avLst/>
              <a:gdLst>
                <a:gd name="T0" fmla="*/ 33 w 319"/>
                <a:gd name="T1" fmla="*/ 398 h 432"/>
                <a:gd name="T2" fmla="*/ 76 w 319"/>
                <a:gd name="T3" fmla="*/ 400 h 432"/>
                <a:gd name="T4" fmla="*/ 91 w 319"/>
                <a:gd name="T5" fmla="*/ 384 h 432"/>
                <a:gd name="T6" fmla="*/ 102 w 319"/>
                <a:gd name="T7" fmla="*/ 332 h 432"/>
                <a:gd name="T8" fmla="*/ 107 w 319"/>
                <a:gd name="T9" fmla="*/ 295 h 432"/>
                <a:gd name="T10" fmla="*/ 153 w 319"/>
                <a:gd name="T11" fmla="*/ 298 h 432"/>
                <a:gd name="T12" fmla="*/ 157 w 319"/>
                <a:gd name="T13" fmla="*/ 299 h 432"/>
                <a:gd name="T14" fmla="*/ 193 w 319"/>
                <a:gd name="T15" fmla="*/ 305 h 432"/>
                <a:gd name="T16" fmla="*/ 217 w 319"/>
                <a:gd name="T17" fmla="*/ 308 h 432"/>
                <a:gd name="T18" fmla="*/ 232 w 319"/>
                <a:gd name="T19" fmla="*/ 272 h 432"/>
                <a:gd name="T20" fmla="*/ 244 w 319"/>
                <a:gd name="T21" fmla="*/ 215 h 432"/>
                <a:gd name="T22" fmla="*/ 236 w 319"/>
                <a:gd name="T23" fmla="*/ 167 h 432"/>
                <a:gd name="T24" fmla="*/ 185 w 319"/>
                <a:gd name="T25" fmla="*/ 153 h 432"/>
                <a:gd name="T26" fmla="*/ 148 w 319"/>
                <a:gd name="T27" fmla="*/ 149 h 432"/>
                <a:gd name="T28" fmla="*/ 141 w 319"/>
                <a:gd name="T29" fmla="*/ 142 h 432"/>
                <a:gd name="T30" fmla="*/ 141 w 319"/>
                <a:gd name="T31" fmla="*/ 140 h 432"/>
                <a:gd name="T32" fmla="*/ 153 w 319"/>
                <a:gd name="T33" fmla="*/ 86 h 432"/>
                <a:gd name="T34" fmla="*/ 161 w 319"/>
                <a:gd name="T35" fmla="*/ 47 h 432"/>
                <a:gd name="T36" fmla="*/ 160 w 319"/>
                <a:gd name="T37" fmla="*/ 33 h 432"/>
                <a:gd name="T38" fmla="*/ 181 w 319"/>
                <a:gd name="T39" fmla="*/ 32 h 432"/>
                <a:gd name="T40" fmla="*/ 176 w 319"/>
                <a:gd name="T41" fmla="*/ 25 h 432"/>
                <a:gd name="T42" fmla="*/ 194 w 319"/>
                <a:gd name="T43" fmla="*/ 0 h 432"/>
                <a:gd name="T44" fmla="*/ 235 w 319"/>
                <a:gd name="T45" fmla="*/ 35 h 432"/>
                <a:gd name="T46" fmla="*/ 269 w 319"/>
                <a:gd name="T47" fmla="*/ 77 h 432"/>
                <a:gd name="T48" fmla="*/ 296 w 319"/>
                <a:gd name="T49" fmla="*/ 127 h 432"/>
                <a:gd name="T50" fmla="*/ 312 w 319"/>
                <a:gd name="T51" fmla="*/ 251 h 432"/>
                <a:gd name="T52" fmla="*/ 277 w 319"/>
                <a:gd name="T53" fmla="*/ 340 h 432"/>
                <a:gd name="T54" fmla="*/ 279 w 319"/>
                <a:gd name="T55" fmla="*/ 341 h 432"/>
                <a:gd name="T56" fmla="*/ 278 w 319"/>
                <a:gd name="T57" fmla="*/ 346 h 432"/>
                <a:gd name="T58" fmla="*/ 232 w 319"/>
                <a:gd name="T59" fmla="*/ 343 h 432"/>
                <a:gd name="T60" fmla="*/ 117 w 319"/>
                <a:gd name="T61" fmla="*/ 388 h 432"/>
                <a:gd name="T62" fmla="*/ 93 w 319"/>
                <a:gd name="T63" fmla="*/ 432 h 432"/>
                <a:gd name="T64" fmla="*/ 72 w 319"/>
                <a:gd name="T65" fmla="*/ 426 h 432"/>
                <a:gd name="T66" fmla="*/ 0 w 319"/>
                <a:gd name="T67" fmla="*/ 416 h 432"/>
                <a:gd name="T68" fmla="*/ 1 w 319"/>
                <a:gd name="T69" fmla="*/ 397 h 432"/>
                <a:gd name="T70" fmla="*/ 33 w 319"/>
                <a:gd name="T71" fmla="*/ 398 h 4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319" h="432">
                  <a:moveTo>
                    <a:pt x="33" y="398"/>
                  </a:moveTo>
                  <a:cubicBezTo>
                    <a:pt x="48" y="398"/>
                    <a:pt x="61" y="401"/>
                    <a:pt x="76" y="400"/>
                  </a:cubicBezTo>
                  <a:cubicBezTo>
                    <a:pt x="88" y="401"/>
                    <a:pt x="89" y="394"/>
                    <a:pt x="91" y="384"/>
                  </a:cubicBezTo>
                  <a:cubicBezTo>
                    <a:pt x="95" y="365"/>
                    <a:pt x="99" y="348"/>
                    <a:pt x="102" y="332"/>
                  </a:cubicBezTo>
                  <a:cubicBezTo>
                    <a:pt x="105" y="319"/>
                    <a:pt x="106" y="307"/>
                    <a:pt x="107" y="295"/>
                  </a:cubicBezTo>
                  <a:cubicBezTo>
                    <a:pt x="122" y="295"/>
                    <a:pt x="137" y="297"/>
                    <a:pt x="153" y="298"/>
                  </a:cubicBezTo>
                  <a:cubicBezTo>
                    <a:pt x="154" y="299"/>
                    <a:pt x="156" y="299"/>
                    <a:pt x="157" y="299"/>
                  </a:cubicBezTo>
                  <a:cubicBezTo>
                    <a:pt x="169" y="301"/>
                    <a:pt x="181" y="302"/>
                    <a:pt x="193" y="305"/>
                  </a:cubicBezTo>
                  <a:cubicBezTo>
                    <a:pt x="200" y="306"/>
                    <a:pt x="210" y="310"/>
                    <a:pt x="217" y="308"/>
                  </a:cubicBezTo>
                  <a:cubicBezTo>
                    <a:pt x="230" y="306"/>
                    <a:pt x="230" y="282"/>
                    <a:pt x="232" y="272"/>
                  </a:cubicBezTo>
                  <a:cubicBezTo>
                    <a:pt x="236" y="252"/>
                    <a:pt x="238" y="233"/>
                    <a:pt x="244" y="215"/>
                  </a:cubicBezTo>
                  <a:cubicBezTo>
                    <a:pt x="250" y="197"/>
                    <a:pt x="256" y="177"/>
                    <a:pt x="236" y="167"/>
                  </a:cubicBezTo>
                  <a:cubicBezTo>
                    <a:pt x="220" y="159"/>
                    <a:pt x="201" y="156"/>
                    <a:pt x="185" y="153"/>
                  </a:cubicBezTo>
                  <a:cubicBezTo>
                    <a:pt x="173" y="150"/>
                    <a:pt x="161" y="149"/>
                    <a:pt x="148" y="149"/>
                  </a:cubicBezTo>
                  <a:cubicBezTo>
                    <a:pt x="145" y="148"/>
                    <a:pt x="140" y="147"/>
                    <a:pt x="141" y="142"/>
                  </a:cubicBezTo>
                  <a:cubicBezTo>
                    <a:pt x="141" y="140"/>
                    <a:pt x="141" y="140"/>
                    <a:pt x="141" y="140"/>
                  </a:cubicBezTo>
                  <a:cubicBezTo>
                    <a:pt x="144" y="121"/>
                    <a:pt x="149" y="103"/>
                    <a:pt x="153" y="86"/>
                  </a:cubicBezTo>
                  <a:cubicBezTo>
                    <a:pt x="156" y="72"/>
                    <a:pt x="160" y="59"/>
                    <a:pt x="161" y="47"/>
                  </a:cubicBezTo>
                  <a:cubicBezTo>
                    <a:pt x="162" y="42"/>
                    <a:pt x="162" y="37"/>
                    <a:pt x="160" y="33"/>
                  </a:cubicBezTo>
                  <a:cubicBezTo>
                    <a:pt x="181" y="32"/>
                    <a:pt x="181" y="32"/>
                    <a:pt x="181" y="32"/>
                  </a:cubicBezTo>
                  <a:cubicBezTo>
                    <a:pt x="180" y="29"/>
                    <a:pt x="179" y="27"/>
                    <a:pt x="176" y="25"/>
                  </a:cubicBezTo>
                  <a:cubicBezTo>
                    <a:pt x="194" y="0"/>
                    <a:pt x="194" y="0"/>
                    <a:pt x="194" y="0"/>
                  </a:cubicBezTo>
                  <a:cubicBezTo>
                    <a:pt x="208" y="10"/>
                    <a:pt x="222" y="22"/>
                    <a:pt x="235" y="35"/>
                  </a:cubicBezTo>
                  <a:cubicBezTo>
                    <a:pt x="247" y="48"/>
                    <a:pt x="259" y="62"/>
                    <a:pt x="269" y="77"/>
                  </a:cubicBezTo>
                  <a:cubicBezTo>
                    <a:pt x="280" y="93"/>
                    <a:pt x="289" y="109"/>
                    <a:pt x="296" y="127"/>
                  </a:cubicBezTo>
                  <a:cubicBezTo>
                    <a:pt x="313" y="166"/>
                    <a:pt x="319" y="210"/>
                    <a:pt x="312" y="251"/>
                  </a:cubicBezTo>
                  <a:cubicBezTo>
                    <a:pt x="307" y="283"/>
                    <a:pt x="292" y="312"/>
                    <a:pt x="277" y="340"/>
                  </a:cubicBezTo>
                  <a:cubicBezTo>
                    <a:pt x="277" y="340"/>
                    <a:pt x="277" y="340"/>
                    <a:pt x="279" y="341"/>
                  </a:cubicBezTo>
                  <a:cubicBezTo>
                    <a:pt x="278" y="346"/>
                    <a:pt x="278" y="346"/>
                    <a:pt x="278" y="346"/>
                  </a:cubicBezTo>
                  <a:cubicBezTo>
                    <a:pt x="263" y="343"/>
                    <a:pt x="248" y="343"/>
                    <a:pt x="232" y="343"/>
                  </a:cubicBezTo>
                  <a:cubicBezTo>
                    <a:pt x="191" y="347"/>
                    <a:pt x="145" y="356"/>
                    <a:pt x="117" y="388"/>
                  </a:cubicBezTo>
                  <a:cubicBezTo>
                    <a:pt x="106" y="401"/>
                    <a:pt x="98" y="416"/>
                    <a:pt x="93" y="432"/>
                  </a:cubicBezTo>
                  <a:cubicBezTo>
                    <a:pt x="72" y="426"/>
                    <a:pt x="72" y="426"/>
                    <a:pt x="72" y="426"/>
                  </a:cubicBezTo>
                  <a:cubicBezTo>
                    <a:pt x="47" y="421"/>
                    <a:pt x="24" y="417"/>
                    <a:pt x="0" y="416"/>
                  </a:cubicBezTo>
                  <a:cubicBezTo>
                    <a:pt x="1" y="397"/>
                    <a:pt x="1" y="397"/>
                    <a:pt x="1" y="397"/>
                  </a:cubicBezTo>
                  <a:cubicBezTo>
                    <a:pt x="13" y="398"/>
                    <a:pt x="24" y="398"/>
                    <a:pt x="33" y="398"/>
                  </a:cubicBezTo>
                  <a:close/>
                </a:path>
              </a:pathLst>
            </a:custGeom>
            <a:solidFill>
              <a:srgbClr val="F6B84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9" name="Freeform 434">
              <a:extLst>
                <a:ext uri="{FF2B5EF4-FFF2-40B4-BE49-F238E27FC236}">
                  <a16:creationId xmlns:a16="http://schemas.microsoft.com/office/drawing/2014/main" id="{EE9BBCBB-3C40-4DE9-9E4F-788BD5B5EB0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5170488" y="2774950"/>
              <a:ext cx="1011238" cy="919163"/>
            </a:xfrm>
            <a:custGeom>
              <a:avLst/>
              <a:gdLst>
                <a:gd name="T0" fmla="*/ 440 w 601"/>
                <a:gd name="T1" fmla="*/ 304 h 547"/>
                <a:gd name="T2" fmla="*/ 379 w 601"/>
                <a:gd name="T3" fmla="*/ 259 h 547"/>
                <a:gd name="T4" fmla="*/ 371 w 601"/>
                <a:gd name="T5" fmla="*/ 312 h 547"/>
                <a:gd name="T6" fmla="*/ 414 w 601"/>
                <a:gd name="T7" fmla="*/ 310 h 547"/>
                <a:gd name="T8" fmla="*/ 262 w 601"/>
                <a:gd name="T9" fmla="*/ 328 h 547"/>
                <a:gd name="T10" fmla="*/ 197 w 601"/>
                <a:gd name="T11" fmla="*/ 358 h 547"/>
                <a:gd name="T12" fmla="*/ 200 w 601"/>
                <a:gd name="T13" fmla="*/ 417 h 547"/>
                <a:gd name="T14" fmla="*/ 299 w 601"/>
                <a:gd name="T15" fmla="*/ 383 h 547"/>
                <a:gd name="T16" fmla="*/ 262 w 601"/>
                <a:gd name="T17" fmla="*/ 328 h 547"/>
                <a:gd name="T18" fmla="*/ 64 w 601"/>
                <a:gd name="T19" fmla="*/ 224 h 547"/>
                <a:gd name="T20" fmla="*/ 108 w 601"/>
                <a:gd name="T21" fmla="*/ 251 h 547"/>
                <a:gd name="T22" fmla="*/ 145 w 601"/>
                <a:gd name="T23" fmla="*/ 211 h 547"/>
                <a:gd name="T24" fmla="*/ 72 w 601"/>
                <a:gd name="T25" fmla="*/ 204 h 547"/>
                <a:gd name="T26" fmla="*/ 72 w 601"/>
                <a:gd name="T27" fmla="*/ 296 h 547"/>
                <a:gd name="T28" fmla="*/ 9 w 601"/>
                <a:gd name="T29" fmla="*/ 269 h 547"/>
                <a:gd name="T30" fmla="*/ 8 w 601"/>
                <a:gd name="T31" fmla="*/ 263 h 547"/>
                <a:gd name="T32" fmla="*/ 27 w 601"/>
                <a:gd name="T33" fmla="*/ 50 h 547"/>
                <a:gd name="T34" fmla="*/ 1 w 601"/>
                <a:gd name="T35" fmla="*/ 0 h 547"/>
                <a:gd name="T36" fmla="*/ 33 w 601"/>
                <a:gd name="T37" fmla="*/ 7 h 547"/>
                <a:gd name="T38" fmla="*/ 174 w 601"/>
                <a:gd name="T39" fmla="*/ 40 h 547"/>
                <a:gd name="T40" fmla="*/ 248 w 601"/>
                <a:gd name="T41" fmla="*/ 56 h 547"/>
                <a:gd name="T42" fmla="*/ 306 w 601"/>
                <a:gd name="T43" fmla="*/ 67 h 547"/>
                <a:gd name="T44" fmla="*/ 494 w 601"/>
                <a:gd name="T45" fmla="*/ 107 h 547"/>
                <a:gd name="T46" fmla="*/ 579 w 601"/>
                <a:gd name="T47" fmla="*/ 125 h 547"/>
                <a:gd name="T48" fmla="*/ 598 w 601"/>
                <a:gd name="T49" fmla="*/ 127 h 547"/>
                <a:gd name="T50" fmla="*/ 591 w 601"/>
                <a:gd name="T51" fmla="*/ 141 h 547"/>
                <a:gd name="T52" fmla="*/ 499 w 601"/>
                <a:gd name="T53" fmla="*/ 375 h 547"/>
                <a:gd name="T54" fmla="*/ 326 w 601"/>
                <a:gd name="T55" fmla="*/ 440 h 547"/>
                <a:gd name="T56" fmla="*/ 289 w 601"/>
                <a:gd name="T57" fmla="*/ 547 h 547"/>
                <a:gd name="T58" fmla="*/ 270 w 601"/>
                <a:gd name="T59" fmla="*/ 545 h 547"/>
                <a:gd name="T60" fmla="*/ 202 w 601"/>
                <a:gd name="T61" fmla="*/ 533 h 547"/>
                <a:gd name="T62" fmla="*/ 142 w 601"/>
                <a:gd name="T63" fmla="*/ 518 h 547"/>
                <a:gd name="T64" fmla="*/ 123 w 601"/>
                <a:gd name="T65" fmla="*/ 512 h 547"/>
                <a:gd name="T66" fmla="*/ 137 w 601"/>
                <a:gd name="T67" fmla="*/ 480 h 547"/>
                <a:gd name="T68" fmla="*/ 73 w 601"/>
                <a:gd name="T69" fmla="*/ 295 h 5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601" h="547">
                  <a:moveTo>
                    <a:pt x="440" y="310"/>
                  </a:moveTo>
                  <a:cubicBezTo>
                    <a:pt x="440" y="304"/>
                    <a:pt x="440" y="304"/>
                    <a:pt x="440" y="304"/>
                  </a:cubicBezTo>
                  <a:cubicBezTo>
                    <a:pt x="425" y="297"/>
                    <a:pt x="412" y="284"/>
                    <a:pt x="400" y="274"/>
                  </a:cubicBezTo>
                  <a:cubicBezTo>
                    <a:pt x="396" y="269"/>
                    <a:pt x="387" y="260"/>
                    <a:pt x="379" y="259"/>
                  </a:cubicBezTo>
                  <a:cubicBezTo>
                    <a:pt x="375" y="267"/>
                    <a:pt x="372" y="273"/>
                    <a:pt x="370" y="282"/>
                  </a:cubicBezTo>
                  <a:cubicBezTo>
                    <a:pt x="369" y="290"/>
                    <a:pt x="358" y="307"/>
                    <a:pt x="371" y="312"/>
                  </a:cubicBezTo>
                  <a:cubicBezTo>
                    <a:pt x="376" y="313"/>
                    <a:pt x="385" y="312"/>
                    <a:pt x="390" y="313"/>
                  </a:cubicBezTo>
                  <a:cubicBezTo>
                    <a:pt x="397" y="312"/>
                    <a:pt x="407" y="311"/>
                    <a:pt x="414" y="310"/>
                  </a:cubicBezTo>
                  <a:cubicBezTo>
                    <a:pt x="423" y="311"/>
                    <a:pt x="432" y="310"/>
                    <a:pt x="440" y="310"/>
                  </a:cubicBezTo>
                  <a:close/>
                  <a:moveTo>
                    <a:pt x="262" y="328"/>
                  </a:moveTo>
                  <a:cubicBezTo>
                    <a:pt x="256" y="328"/>
                    <a:pt x="256" y="328"/>
                    <a:pt x="256" y="328"/>
                  </a:cubicBezTo>
                  <a:cubicBezTo>
                    <a:pt x="231" y="323"/>
                    <a:pt x="209" y="336"/>
                    <a:pt x="197" y="358"/>
                  </a:cubicBezTo>
                  <a:cubicBezTo>
                    <a:pt x="193" y="366"/>
                    <a:pt x="189" y="378"/>
                    <a:pt x="189" y="387"/>
                  </a:cubicBezTo>
                  <a:cubicBezTo>
                    <a:pt x="187" y="398"/>
                    <a:pt x="193" y="409"/>
                    <a:pt x="200" y="417"/>
                  </a:cubicBezTo>
                  <a:cubicBezTo>
                    <a:pt x="216" y="435"/>
                    <a:pt x="238" y="448"/>
                    <a:pt x="261" y="441"/>
                  </a:cubicBezTo>
                  <a:cubicBezTo>
                    <a:pt x="285" y="432"/>
                    <a:pt x="301" y="409"/>
                    <a:pt x="299" y="383"/>
                  </a:cubicBezTo>
                  <a:cubicBezTo>
                    <a:pt x="300" y="371"/>
                    <a:pt x="297" y="360"/>
                    <a:pt x="292" y="352"/>
                  </a:cubicBezTo>
                  <a:cubicBezTo>
                    <a:pt x="286" y="339"/>
                    <a:pt x="275" y="333"/>
                    <a:pt x="262" y="328"/>
                  </a:cubicBezTo>
                  <a:close/>
                  <a:moveTo>
                    <a:pt x="72" y="204"/>
                  </a:moveTo>
                  <a:cubicBezTo>
                    <a:pt x="69" y="210"/>
                    <a:pt x="64" y="217"/>
                    <a:pt x="64" y="224"/>
                  </a:cubicBezTo>
                  <a:cubicBezTo>
                    <a:pt x="64" y="233"/>
                    <a:pt x="72" y="240"/>
                    <a:pt x="80" y="243"/>
                  </a:cubicBezTo>
                  <a:cubicBezTo>
                    <a:pt x="88" y="247"/>
                    <a:pt x="98" y="249"/>
                    <a:pt x="108" y="251"/>
                  </a:cubicBezTo>
                  <a:cubicBezTo>
                    <a:pt x="117" y="253"/>
                    <a:pt x="126" y="257"/>
                    <a:pt x="136" y="255"/>
                  </a:cubicBezTo>
                  <a:cubicBezTo>
                    <a:pt x="156" y="250"/>
                    <a:pt x="168" y="221"/>
                    <a:pt x="145" y="211"/>
                  </a:cubicBezTo>
                  <a:cubicBezTo>
                    <a:pt x="132" y="206"/>
                    <a:pt x="118" y="205"/>
                    <a:pt x="104" y="204"/>
                  </a:cubicBezTo>
                  <a:cubicBezTo>
                    <a:pt x="93" y="203"/>
                    <a:pt x="83" y="203"/>
                    <a:pt x="72" y="204"/>
                  </a:cubicBezTo>
                  <a:close/>
                  <a:moveTo>
                    <a:pt x="73" y="295"/>
                  </a:moveTo>
                  <a:cubicBezTo>
                    <a:pt x="72" y="296"/>
                    <a:pt x="72" y="296"/>
                    <a:pt x="72" y="296"/>
                  </a:cubicBezTo>
                  <a:cubicBezTo>
                    <a:pt x="58" y="286"/>
                    <a:pt x="44" y="278"/>
                    <a:pt x="28" y="273"/>
                  </a:cubicBezTo>
                  <a:cubicBezTo>
                    <a:pt x="22" y="271"/>
                    <a:pt x="15" y="270"/>
                    <a:pt x="9" y="269"/>
                  </a:cubicBezTo>
                  <a:cubicBezTo>
                    <a:pt x="10" y="264"/>
                    <a:pt x="10" y="264"/>
                    <a:pt x="10" y="264"/>
                  </a:cubicBezTo>
                  <a:cubicBezTo>
                    <a:pt x="8" y="263"/>
                    <a:pt x="8" y="263"/>
                    <a:pt x="8" y="263"/>
                  </a:cubicBezTo>
                  <a:cubicBezTo>
                    <a:pt x="23" y="235"/>
                    <a:pt x="38" y="206"/>
                    <a:pt x="43" y="174"/>
                  </a:cubicBezTo>
                  <a:cubicBezTo>
                    <a:pt x="50" y="133"/>
                    <a:pt x="44" y="89"/>
                    <a:pt x="27" y="50"/>
                  </a:cubicBezTo>
                  <a:cubicBezTo>
                    <a:pt x="20" y="32"/>
                    <a:pt x="11" y="16"/>
                    <a:pt x="0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2" y="2"/>
                    <a:pt x="5" y="3"/>
                    <a:pt x="9" y="4"/>
                  </a:cubicBezTo>
                  <a:cubicBezTo>
                    <a:pt x="17" y="5"/>
                    <a:pt x="26" y="5"/>
                    <a:pt x="33" y="7"/>
                  </a:cubicBezTo>
                  <a:cubicBezTo>
                    <a:pt x="55" y="12"/>
                    <a:pt x="76" y="18"/>
                    <a:pt x="97" y="22"/>
                  </a:cubicBezTo>
                  <a:cubicBezTo>
                    <a:pt x="124" y="28"/>
                    <a:pt x="149" y="35"/>
                    <a:pt x="174" y="40"/>
                  </a:cubicBezTo>
                  <a:cubicBezTo>
                    <a:pt x="188" y="43"/>
                    <a:pt x="199" y="46"/>
                    <a:pt x="213" y="49"/>
                  </a:cubicBezTo>
                  <a:cubicBezTo>
                    <a:pt x="225" y="51"/>
                    <a:pt x="236" y="55"/>
                    <a:pt x="248" y="56"/>
                  </a:cubicBezTo>
                  <a:cubicBezTo>
                    <a:pt x="259" y="57"/>
                    <a:pt x="267" y="58"/>
                    <a:pt x="278" y="61"/>
                  </a:cubicBezTo>
                  <a:cubicBezTo>
                    <a:pt x="287" y="64"/>
                    <a:pt x="296" y="66"/>
                    <a:pt x="306" y="67"/>
                  </a:cubicBezTo>
                  <a:cubicBezTo>
                    <a:pt x="330" y="70"/>
                    <a:pt x="354" y="77"/>
                    <a:pt x="377" y="82"/>
                  </a:cubicBezTo>
                  <a:cubicBezTo>
                    <a:pt x="416" y="90"/>
                    <a:pt x="455" y="98"/>
                    <a:pt x="494" y="107"/>
                  </a:cubicBezTo>
                  <a:cubicBezTo>
                    <a:pt x="513" y="111"/>
                    <a:pt x="533" y="115"/>
                    <a:pt x="552" y="119"/>
                  </a:cubicBezTo>
                  <a:cubicBezTo>
                    <a:pt x="560" y="121"/>
                    <a:pt x="570" y="123"/>
                    <a:pt x="579" y="125"/>
                  </a:cubicBezTo>
                  <a:cubicBezTo>
                    <a:pt x="582" y="125"/>
                    <a:pt x="585" y="126"/>
                    <a:pt x="589" y="127"/>
                  </a:cubicBezTo>
                  <a:cubicBezTo>
                    <a:pt x="591" y="127"/>
                    <a:pt x="594" y="126"/>
                    <a:pt x="598" y="127"/>
                  </a:cubicBezTo>
                  <a:cubicBezTo>
                    <a:pt x="601" y="134"/>
                    <a:pt x="601" y="134"/>
                    <a:pt x="601" y="134"/>
                  </a:cubicBezTo>
                  <a:cubicBezTo>
                    <a:pt x="597" y="136"/>
                    <a:pt x="594" y="139"/>
                    <a:pt x="591" y="141"/>
                  </a:cubicBezTo>
                  <a:cubicBezTo>
                    <a:pt x="551" y="173"/>
                    <a:pt x="520" y="218"/>
                    <a:pt x="506" y="268"/>
                  </a:cubicBezTo>
                  <a:cubicBezTo>
                    <a:pt x="495" y="303"/>
                    <a:pt x="496" y="340"/>
                    <a:pt x="499" y="375"/>
                  </a:cubicBezTo>
                  <a:cubicBezTo>
                    <a:pt x="471" y="367"/>
                    <a:pt x="443" y="363"/>
                    <a:pt x="415" y="373"/>
                  </a:cubicBezTo>
                  <a:cubicBezTo>
                    <a:pt x="379" y="384"/>
                    <a:pt x="348" y="410"/>
                    <a:pt x="326" y="440"/>
                  </a:cubicBezTo>
                  <a:cubicBezTo>
                    <a:pt x="305" y="464"/>
                    <a:pt x="292" y="495"/>
                    <a:pt x="290" y="526"/>
                  </a:cubicBezTo>
                  <a:cubicBezTo>
                    <a:pt x="289" y="533"/>
                    <a:pt x="289" y="540"/>
                    <a:pt x="289" y="547"/>
                  </a:cubicBezTo>
                  <a:cubicBezTo>
                    <a:pt x="286" y="547"/>
                    <a:pt x="286" y="547"/>
                    <a:pt x="286" y="547"/>
                  </a:cubicBezTo>
                  <a:cubicBezTo>
                    <a:pt x="281" y="546"/>
                    <a:pt x="276" y="545"/>
                    <a:pt x="270" y="545"/>
                  </a:cubicBezTo>
                  <a:cubicBezTo>
                    <a:pt x="263" y="544"/>
                    <a:pt x="255" y="542"/>
                    <a:pt x="247" y="540"/>
                  </a:cubicBezTo>
                  <a:cubicBezTo>
                    <a:pt x="231" y="539"/>
                    <a:pt x="216" y="535"/>
                    <a:pt x="202" y="533"/>
                  </a:cubicBezTo>
                  <a:cubicBezTo>
                    <a:pt x="189" y="530"/>
                    <a:pt x="175" y="527"/>
                    <a:pt x="162" y="524"/>
                  </a:cubicBezTo>
                  <a:cubicBezTo>
                    <a:pt x="155" y="522"/>
                    <a:pt x="148" y="519"/>
                    <a:pt x="142" y="518"/>
                  </a:cubicBezTo>
                  <a:cubicBezTo>
                    <a:pt x="138" y="517"/>
                    <a:pt x="135" y="516"/>
                    <a:pt x="132" y="516"/>
                  </a:cubicBezTo>
                  <a:cubicBezTo>
                    <a:pt x="128" y="515"/>
                    <a:pt x="127" y="513"/>
                    <a:pt x="123" y="512"/>
                  </a:cubicBezTo>
                  <a:cubicBezTo>
                    <a:pt x="123" y="512"/>
                    <a:pt x="123" y="512"/>
                    <a:pt x="123" y="512"/>
                  </a:cubicBezTo>
                  <a:cubicBezTo>
                    <a:pt x="129" y="502"/>
                    <a:pt x="134" y="491"/>
                    <a:pt x="137" y="480"/>
                  </a:cubicBezTo>
                  <a:cubicBezTo>
                    <a:pt x="147" y="450"/>
                    <a:pt x="151" y="417"/>
                    <a:pt x="143" y="386"/>
                  </a:cubicBezTo>
                  <a:cubicBezTo>
                    <a:pt x="132" y="347"/>
                    <a:pt x="102" y="320"/>
                    <a:pt x="73" y="295"/>
                  </a:cubicBezTo>
                  <a:close/>
                </a:path>
              </a:pathLst>
            </a:custGeom>
            <a:solidFill>
              <a:srgbClr val="3C3C3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40" name="Freeform 435">
              <a:extLst>
                <a:ext uri="{FF2B5EF4-FFF2-40B4-BE49-F238E27FC236}">
                  <a16:creationId xmlns:a16="http://schemas.microsoft.com/office/drawing/2014/main" id="{E784729F-BB39-4307-B1B5-68259F48B76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44950" y="2930525"/>
              <a:ext cx="804863" cy="1116013"/>
            </a:xfrm>
            <a:custGeom>
              <a:avLst/>
              <a:gdLst>
                <a:gd name="T0" fmla="*/ 182 w 478"/>
                <a:gd name="T1" fmla="*/ 5 h 664"/>
                <a:gd name="T2" fmla="*/ 193 w 478"/>
                <a:gd name="T3" fmla="*/ 138 h 664"/>
                <a:gd name="T4" fmla="*/ 265 w 478"/>
                <a:gd name="T5" fmla="*/ 238 h 664"/>
                <a:gd name="T6" fmla="*/ 375 w 478"/>
                <a:gd name="T7" fmla="*/ 302 h 664"/>
                <a:gd name="T8" fmla="*/ 477 w 478"/>
                <a:gd name="T9" fmla="*/ 306 h 664"/>
                <a:gd name="T10" fmla="*/ 478 w 478"/>
                <a:gd name="T11" fmla="*/ 307 h 664"/>
                <a:gd name="T12" fmla="*/ 472 w 478"/>
                <a:gd name="T13" fmla="*/ 328 h 664"/>
                <a:gd name="T14" fmla="*/ 466 w 478"/>
                <a:gd name="T15" fmla="*/ 382 h 664"/>
                <a:gd name="T16" fmla="*/ 475 w 478"/>
                <a:gd name="T17" fmla="*/ 411 h 664"/>
                <a:gd name="T18" fmla="*/ 472 w 478"/>
                <a:gd name="T19" fmla="*/ 413 h 664"/>
                <a:gd name="T20" fmla="*/ 304 w 478"/>
                <a:gd name="T21" fmla="*/ 614 h 664"/>
                <a:gd name="T22" fmla="*/ 187 w 478"/>
                <a:gd name="T23" fmla="*/ 664 h 664"/>
                <a:gd name="T24" fmla="*/ 82 w 478"/>
                <a:gd name="T25" fmla="*/ 626 h 664"/>
                <a:gd name="T26" fmla="*/ 15 w 478"/>
                <a:gd name="T27" fmla="*/ 550 h 664"/>
                <a:gd name="T28" fmla="*/ 4 w 478"/>
                <a:gd name="T29" fmla="*/ 461 h 664"/>
                <a:gd name="T30" fmla="*/ 40 w 478"/>
                <a:gd name="T31" fmla="*/ 357 h 664"/>
                <a:gd name="T32" fmla="*/ 95 w 478"/>
                <a:gd name="T33" fmla="*/ 231 h 664"/>
                <a:gd name="T34" fmla="*/ 183 w 478"/>
                <a:gd name="T35" fmla="*/ 0 h 664"/>
                <a:gd name="T36" fmla="*/ 182 w 478"/>
                <a:gd name="T37" fmla="*/ 5 h 6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78" h="664">
                  <a:moveTo>
                    <a:pt x="182" y="5"/>
                  </a:moveTo>
                  <a:cubicBezTo>
                    <a:pt x="173" y="49"/>
                    <a:pt x="175" y="96"/>
                    <a:pt x="193" y="138"/>
                  </a:cubicBezTo>
                  <a:cubicBezTo>
                    <a:pt x="208" y="177"/>
                    <a:pt x="234" y="211"/>
                    <a:pt x="265" y="238"/>
                  </a:cubicBezTo>
                  <a:cubicBezTo>
                    <a:pt x="296" y="266"/>
                    <a:pt x="334" y="290"/>
                    <a:pt x="375" y="302"/>
                  </a:cubicBezTo>
                  <a:cubicBezTo>
                    <a:pt x="408" y="313"/>
                    <a:pt x="442" y="311"/>
                    <a:pt x="477" y="306"/>
                  </a:cubicBezTo>
                  <a:cubicBezTo>
                    <a:pt x="478" y="307"/>
                    <a:pt x="478" y="307"/>
                    <a:pt x="478" y="307"/>
                  </a:cubicBezTo>
                  <a:cubicBezTo>
                    <a:pt x="476" y="314"/>
                    <a:pt x="474" y="321"/>
                    <a:pt x="472" y="328"/>
                  </a:cubicBezTo>
                  <a:cubicBezTo>
                    <a:pt x="468" y="347"/>
                    <a:pt x="465" y="364"/>
                    <a:pt x="466" y="382"/>
                  </a:cubicBezTo>
                  <a:cubicBezTo>
                    <a:pt x="468" y="393"/>
                    <a:pt x="471" y="402"/>
                    <a:pt x="475" y="411"/>
                  </a:cubicBezTo>
                  <a:cubicBezTo>
                    <a:pt x="472" y="413"/>
                    <a:pt x="472" y="413"/>
                    <a:pt x="472" y="413"/>
                  </a:cubicBezTo>
                  <a:cubicBezTo>
                    <a:pt x="420" y="483"/>
                    <a:pt x="372" y="558"/>
                    <a:pt x="304" y="614"/>
                  </a:cubicBezTo>
                  <a:cubicBezTo>
                    <a:pt x="272" y="641"/>
                    <a:pt x="231" y="664"/>
                    <a:pt x="187" y="664"/>
                  </a:cubicBezTo>
                  <a:cubicBezTo>
                    <a:pt x="148" y="664"/>
                    <a:pt x="113" y="648"/>
                    <a:pt x="82" y="626"/>
                  </a:cubicBezTo>
                  <a:cubicBezTo>
                    <a:pt x="55" y="606"/>
                    <a:pt x="30" y="581"/>
                    <a:pt x="15" y="550"/>
                  </a:cubicBezTo>
                  <a:cubicBezTo>
                    <a:pt x="2" y="522"/>
                    <a:pt x="0" y="490"/>
                    <a:pt x="4" y="461"/>
                  </a:cubicBezTo>
                  <a:cubicBezTo>
                    <a:pt x="10" y="425"/>
                    <a:pt x="26" y="391"/>
                    <a:pt x="40" y="357"/>
                  </a:cubicBezTo>
                  <a:cubicBezTo>
                    <a:pt x="58" y="315"/>
                    <a:pt x="78" y="273"/>
                    <a:pt x="95" y="231"/>
                  </a:cubicBezTo>
                  <a:cubicBezTo>
                    <a:pt x="127" y="155"/>
                    <a:pt x="156" y="78"/>
                    <a:pt x="183" y="0"/>
                  </a:cubicBezTo>
                  <a:cubicBezTo>
                    <a:pt x="183" y="2"/>
                    <a:pt x="182" y="4"/>
                    <a:pt x="182" y="5"/>
                  </a:cubicBezTo>
                  <a:close/>
                </a:path>
              </a:pathLst>
            </a:custGeom>
            <a:solidFill>
              <a:srgbClr val="3C3C3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41" name="Freeform 436">
              <a:extLst>
                <a:ext uri="{FF2B5EF4-FFF2-40B4-BE49-F238E27FC236}">
                  <a16:creationId xmlns:a16="http://schemas.microsoft.com/office/drawing/2014/main" id="{80DF74B2-525E-4FA6-B1B5-5FCCC3D9D54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643438" y="2373313"/>
              <a:ext cx="482600" cy="330200"/>
            </a:xfrm>
            <a:custGeom>
              <a:avLst/>
              <a:gdLst>
                <a:gd name="T0" fmla="*/ 279 w 286"/>
                <a:gd name="T1" fmla="*/ 197 h 197"/>
                <a:gd name="T2" fmla="*/ 238 w 286"/>
                <a:gd name="T3" fmla="*/ 162 h 197"/>
                <a:gd name="T4" fmla="*/ 55 w 286"/>
                <a:gd name="T5" fmla="*/ 108 h 197"/>
                <a:gd name="T6" fmla="*/ 0 w 286"/>
                <a:gd name="T7" fmla="*/ 121 h 197"/>
                <a:gd name="T8" fmla="*/ 45 w 286"/>
                <a:gd name="T9" fmla="*/ 28 h 197"/>
                <a:gd name="T10" fmla="*/ 77 w 286"/>
                <a:gd name="T11" fmla="*/ 5 h 197"/>
                <a:gd name="T12" fmla="*/ 133 w 286"/>
                <a:gd name="T13" fmla="*/ 6 h 197"/>
                <a:gd name="T14" fmla="*/ 206 w 286"/>
                <a:gd name="T15" fmla="*/ 22 h 197"/>
                <a:gd name="T16" fmla="*/ 256 w 286"/>
                <a:gd name="T17" fmla="*/ 45 h 197"/>
                <a:gd name="T18" fmla="*/ 280 w 286"/>
                <a:gd name="T19" fmla="*/ 78 h 197"/>
                <a:gd name="T20" fmla="*/ 283 w 286"/>
                <a:gd name="T21" fmla="*/ 126 h 197"/>
                <a:gd name="T22" fmla="*/ 279 w 286"/>
                <a:gd name="T23" fmla="*/ 180 h 197"/>
                <a:gd name="T24" fmla="*/ 281 w 286"/>
                <a:gd name="T25" fmla="*/ 193 h 197"/>
                <a:gd name="T26" fmla="*/ 282 w 286"/>
                <a:gd name="T27" fmla="*/ 194 h 197"/>
                <a:gd name="T28" fmla="*/ 279 w 286"/>
                <a:gd name="T29" fmla="*/ 197 h 1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86" h="197">
                  <a:moveTo>
                    <a:pt x="279" y="197"/>
                  </a:moveTo>
                  <a:cubicBezTo>
                    <a:pt x="266" y="184"/>
                    <a:pt x="252" y="172"/>
                    <a:pt x="238" y="162"/>
                  </a:cubicBezTo>
                  <a:cubicBezTo>
                    <a:pt x="185" y="124"/>
                    <a:pt x="120" y="102"/>
                    <a:pt x="55" y="108"/>
                  </a:cubicBezTo>
                  <a:cubicBezTo>
                    <a:pt x="36" y="110"/>
                    <a:pt x="18" y="114"/>
                    <a:pt x="0" y="121"/>
                  </a:cubicBezTo>
                  <a:cubicBezTo>
                    <a:pt x="15" y="90"/>
                    <a:pt x="25" y="54"/>
                    <a:pt x="45" y="28"/>
                  </a:cubicBezTo>
                  <a:cubicBezTo>
                    <a:pt x="53" y="18"/>
                    <a:pt x="64" y="9"/>
                    <a:pt x="77" y="5"/>
                  </a:cubicBezTo>
                  <a:cubicBezTo>
                    <a:pt x="96" y="0"/>
                    <a:pt x="116" y="4"/>
                    <a:pt x="133" y="6"/>
                  </a:cubicBezTo>
                  <a:cubicBezTo>
                    <a:pt x="159" y="10"/>
                    <a:pt x="183" y="15"/>
                    <a:pt x="206" y="22"/>
                  </a:cubicBezTo>
                  <a:cubicBezTo>
                    <a:pt x="224" y="27"/>
                    <a:pt x="241" y="33"/>
                    <a:pt x="256" y="45"/>
                  </a:cubicBezTo>
                  <a:cubicBezTo>
                    <a:pt x="268" y="53"/>
                    <a:pt x="277" y="63"/>
                    <a:pt x="280" y="78"/>
                  </a:cubicBezTo>
                  <a:cubicBezTo>
                    <a:pt x="286" y="94"/>
                    <a:pt x="284" y="111"/>
                    <a:pt x="283" y="126"/>
                  </a:cubicBezTo>
                  <a:cubicBezTo>
                    <a:pt x="281" y="143"/>
                    <a:pt x="278" y="163"/>
                    <a:pt x="279" y="180"/>
                  </a:cubicBezTo>
                  <a:cubicBezTo>
                    <a:pt x="279" y="185"/>
                    <a:pt x="280" y="189"/>
                    <a:pt x="281" y="193"/>
                  </a:cubicBezTo>
                  <a:cubicBezTo>
                    <a:pt x="282" y="194"/>
                    <a:pt x="282" y="194"/>
                    <a:pt x="282" y="194"/>
                  </a:cubicBezTo>
                  <a:lnTo>
                    <a:pt x="279" y="197"/>
                  </a:lnTo>
                  <a:close/>
                </a:path>
              </a:pathLst>
            </a:custGeom>
            <a:solidFill>
              <a:srgbClr val="3C3C3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42" name="Freeform 437">
              <a:extLst>
                <a:ext uri="{FF2B5EF4-FFF2-40B4-BE49-F238E27FC236}">
                  <a16:creationId xmlns:a16="http://schemas.microsoft.com/office/drawing/2014/main" id="{31BFF2D2-312F-41B1-A371-AA79E1A6666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145213" y="3482975"/>
              <a:ext cx="735013" cy="1009650"/>
            </a:xfrm>
            <a:custGeom>
              <a:avLst/>
              <a:gdLst>
                <a:gd name="T0" fmla="*/ 433 w 437"/>
                <a:gd name="T1" fmla="*/ 125 h 600"/>
                <a:gd name="T2" fmla="*/ 431 w 437"/>
                <a:gd name="T3" fmla="*/ 271 h 600"/>
                <a:gd name="T4" fmla="*/ 429 w 437"/>
                <a:gd name="T5" fmla="*/ 352 h 600"/>
                <a:gd name="T6" fmla="*/ 429 w 437"/>
                <a:gd name="T7" fmla="*/ 414 h 600"/>
                <a:gd name="T8" fmla="*/ 400 w 437"/>
                <a:gd name="T9" fmla="*/ 516 h 600"/>
                <a:gd name="T10" fmla="*/ 343 w 437"/>
                <a:gd name="T11" fmla="*/ 583 h 600"/>
                <a:gd name="T12" fmla="*/ 300 w 437"/>
                <a:gd name="T13" fmla="*/ 594 h 600"/>
                <a:gd name="T14" fmla="*/ 241 w 437"/>
                <a:gd name="T15" fmla="*/ 599 h 600"/>
                <a:gd name="T16" fmla="*/ 137 w 437"/>
                <a:gd name="T17" fmla="*/ 571 h 600"/>
                <a:gd name="T18" fmla="*/ 73 w 437"/>
                <a:gd name="T19" fmla="*/ 491 h 600"/>
                <a:gd name="T20" fmla="*/ 40 w 437"/>
                <a:gd name="T21" fmla="*/ 370 h 600"/>
                <a:gd name="T22" fmla="*/ 0 w 437"/>
                <a:gd name="T23" fmla="*/ 236 h 600"/>
                <a:gd name="T24" fmla="*/ 49 w 437"/>
                <a:gd name="T25" fmla="*/ 151 h 600"/>
                <a:gd name="T26" fmla="*/ 50 w 437"/>
                <a:gd name="T27" fmla="*/ 149 h 600"/>
                <a:gd name="T28" fmla="*/ 113 w 437"/>
                <a:gd name="T29" fmla="*/ 176 h 600"/>
                <a:gd name="T30" fmla="*/ 193 w 437"/>
                <a:gd name="T31" fmla="*/ 184 h 600"/>
                <a:gd name="T32" fmla="*/ 353 w 437"/>
                <a:gd name="T33" fmla="*/ 120 h 600"/>
                <a:gd name="T34" fmla="*/ 436 w 437"/>
                <a:gd name="T35" fmla="*/ 0 h 600"/>
                <a:gd name="T36" fmla="*/ 433 w 437"/>
                <a:gd name="T37" fmla="*/ 125 h 6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37" h="600">
                  <a:moveTo>
                    <a:pt x="433" y="125"/>
                  </a:moveTo>
                  <a:cubicBezTo>
                    <a:pt x="437" y="174"/>
                    <a:pt x="432" y="222"/>
                    <a:pt x="431" y="271"/>
                  </a:cubicBezTo>
                  <a:cubicBezTo>
                    <a:pt x="429" y="297"/>
                    <a:pt x="428" y="325"/>
                    <a:pt x="429" y="352"/>
                  </a:cubicBezTo>
                  <a:cubicBezTo>
                    <a:pt x="429" y="372"/>
                    <a:pt x="429" y="393"/>
                    <a:pt x="429" y="414"/>
                  </a:cubicBezTo>
                  <a:cubicBezTo>
                    <a:pt x="426" y="449"/>
                    <a:pt x="414" y="483"/>
                    <a:pt x="400" y="516"/>
                  </a:cubicBezTo>
                  <a:cubicBezTo>
                    <a:pt x="387" y="541"/>
                    <a:pt x="372" y="572"/>
                    <a:pt x="343" y="583"/>
                  </a:cubicBezTo>
                  <a:cubicBezTo>
                    <a:pt x="329" y="589"/>
                    <a:pt x="315" y="591"/>
                    <a:pt x="300" y="594"/>
                  </a:cubicBezTo>
                  <a:cubicBezTo>
                    <a:pt x="280" y="596"/>
                    <a:pt x="261" y="598"/>
                    <a:pt x="241" y="599"/>
                  </a:cubicBezTo>
                  <a:cubicBezTo>
                    <a:pt x="204" y="600"/>
                    <a:pt x="167" y="595"/>
                    <a:pt x="137" y="571"/>
                  </a:cubicBezTo>
                  <a:cubicBezTo>
                    <a:pt x="109" y="551"/>
                    <a:pt x="89" y="521"/>
                    <a:pt x="73" y="491"/>
                  </a:cubicBezTo>
                  <a:cubicBezTo>
                    <a:pt x="54" y="453"/>
                    <a:pt x="49" y="411"/>
                    <a:pt x="40" y="370"/>
                  </a:cubicBezTo>
                  <a:cubicBezTo>
                    <a:pt x="33" y="324"/>
                    <a:pt x="18" y="279"/>
                    <a:pt x="0" y="236"/>
                  </a:cubicBezTo>
                  <a:cubicBezTo>
                    <a:pt x="24" y="213"/>
                    <a:pt x="42" y="185"/>
                    <a:pt x="49" y="151"/>
                  </a:cubicBezTo>
                  <a:cubicBezTo>
                    <a:pt x="50" y="151"/>
                    <a:pt x="50" y="150"/>
                    <a:pt x="50" y="149"/>
                  </a:cubicBezTo>
                  <a:cubicBezTo>
                    <a:pt x="70" y="160"/>
                    <a:pt x="91" y="169"/>
                    <a:pt x="113" y="176"/>
                  </a:cubicBezTo>
                  <a:cubicBezTo>
                    <a:pt x="140" y="183"/>
                    <a:pt x="166" y="185"/>
                    <a:pt x="193" y="184"/>
                  </a:cubicBezTo>
                  <a:cubicBezTo>
                    <a:pt x="251" y="178"/>
                    <a:pt x="308" y="157"/>
                    <a:pt x="353" y="120"/>
                  </a:cubicBezTo>
                  <a:cubicBezTo>
                    <a:pt x="392" y="90"/>
                    <a:pt x="420" y="47"/>
                    <a:pt x="436" y="0"/>
                  </a:cubicBezTo>
                  <a:cubicBezTo>
                    <a:pt x="432" y="41"/>
                    <a:pt x="432" y="84"/>
                    <a:pt x="433" y="125"/>
                  </a:cubicBezTo>
                  <a:close/>
                </a:path>
              </a:pathLst>
            </a:custGeom>
            <a:solidFill>
              <a:srgbClr val="3C3C3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43" name="Freeform 438">
              <a:extLst>
                <a:ext uri="{FF2B5EF4-FFF2-40B4-BE49-F238E27FC236}">
                  <a16:creationId xmlns:a16="http://schemas.microsoft.com/office/drawing/2014/main" id="{99D048A6-FAE5-4A28-8FB3-CAE81349B8C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003925" y="2878138"/>
              <a:ext cx="904875" cy="915988"/>
            </a:xfrm>
            <a:custGeom>
              <a:avLst/>
              <a:gdLst>
                <a:gd name="T0" fmla="*/ 153 w 538"/>
                <a:gd name="T1" fmla="*/ 337 h 545"/>
                <a:gd name="T2" fmla="*/ 166 w 538"/>
                <a:gd name="T3" fmla="*/ 349 h 545"/>
                <a:gd name="T4" fmla="*/ 163 w 538"/>
                <a:gd name="T5" fmla="*/ 389 h 545"/>
                <a:gd name="T6" fmla="*/ 160 w 538"/>
                <a:gd name="T7" fmla="*/ 429 h 545"/>
                <a:gd name="T8" fmla="*/ 191 w 538"/>
                <a:gd name="T9" fmla="*/ 455 h 545"/>
                <a:gd name="T10" fmla="*/ 255 w 538"/>
                <a:gd name="T11" fmla="*/ 463 h 545"/>
                <a:gd name="T12" fmla="*/ 292 w 538"/>
                <a:gd name="T13" fmla="*/ 455 h 545"/>
                <a:gd name="T14" fmla="*/ 308 w 538"/>
                <a:gd name="T15" fmla="*/ 412 h 545"/>
                <a:gd name="T16" fmla="*/ 319 w 538"/>
                <a:gd name="T17" fmla="*/ 375 h 545"/>
                <a:gd name="T18" fmla="*/ 325 w 538"/>
                <a:gd name="T19" fmla="*/ 377 h 545"/>
                <a:gd name="T20" fmla="*/ 375 w 538"/>
                <a:gd name="T21" fmla="*/ 379 h 545"/>
                <a:gd name="T22" fmla="*/ 424 w 538"/>
                <a:gd name="T23" fmla="*/ 377 h 545"/>
                <a:gd name="T24" fmla="*/ 444 w 538"/>
                <a:gd name="T25" fmla="*/ 356 h 545"/>
                <a:gd name="T26" fmla="*/ 457 w 538"/>
                <a:gd name="T27" fmla="*/ 317 h 545"/>
                <a:gd name="T28" fmla="*/ 459 w 538"/>
                <a:gd name="T29" fmla="*/ 275 h 545"/>
                <a:gd name="T30" fmla="*/ 453 w 538"/>
                <a:gd name="T31" fmla="*/ 247 h 545"/>
                <a:gd name="T32" fmla="*/ 400 w 538"/>
                <a:gd name="T33" fmla="*/ 230 h 545"/>
                <a:gd name="T34" fmla="*/ 353 w 538"/>
                <a:gd name="T35" fmla="*/ 219 h 545"/>
                <a:gd name="T36" fmla="*/ 354 w 538"/>
                <a:gd name="T37" fmla="*/ 215 h 545"/>
                <a:gd name="T38" fmla="*/ 362 w 538"/>
                <a:gd name="T39" fmla="*/ 157 h 545"/>
                <a:gd name="T40" fmla="*/ 352 w 538"/>
                <a:gd name="T41" fmla="*/ 107 h 545"/>
                <a:gd name="T42" fmla="*/ 323 w 538"/>
                <a:gd name="T43" fmla="*/ 90 h 545"/>
                <a:gd name="T44" fmla="*/ 280 w 538"/>
                <a:gd name="T45" fmla="*/ 81 h 545"/>
                <a:gd name="T46" fmla="*/ 237 w 538"/>
                <a:gd name="T47" fmla="*/ 88 h 545"/>
                <a:gd name="T48" fmla="*/ 224 w 538"/>
                <a:gd name="T49" fmla="*/ 112 h 545"/>
                <a:gd name="T50" fmla="*/ 213 w 538"/>
                <a:gd name="T51" fmla="*/ 168 h 545"/>
                <a:gd name="T52" fmla="*/ 210 w 538"/>
                <a:gd name="T53" fmla="*/ 192 h 545"/>
                <a:gd name="T54" fmla="*/ 204 w 538"/>
                <a:gd name="T55" fmla="*/ 192 h 545"/>
                <a:gd name="T56" fmla="*/ 197 w 538"/>
                <a:gd name="T57" fmla="*/ 189 h 545"/>
                <a:gd name="T58" fmla="*/ 166 w 538"/>
                <a:gd name="T59" fmla="*/ 181 h 545"/>
                <a:gd name="T60" fmla="*/ 128 w 538"/>
                <a:gd name="T61" fmla="*/ 173 h 545"/>
                <a:gd name="T62" fmla="*/ 103 w 538"/>
                <a:gd name="T63" fmla="*/ 173 h 545"/>
                <a:gd name="T64" fmla="*/ 82 w 538"/>
                <a:gd name="T65" fmla="*/ 195 h 545"/>
                <a:gd name="T66" fmla="*/ 64 w 538"/>
                <a:gd name="T67" fmla="*/ 263 h 545"/>
                <a:gd name="T68" fmla="*/ 65 w 538"/>
                <a:gd name="T69" fmla="*/ 299 h 545"/>
                <a:gd name="T70" fmla="*/ 95 w 538"/>
                <a:gd name="T71" fmla="*/ 318 h 545"/>
                <a:gd name="T72" fmla="*/ 153 w 538"/>
                <a:gd name="T73" fmla="*/ 338 h 545"/>
                <a:gd name="T74" fmla="*/ 153 w 538"/>
                <a:gd name="T75" fmla="*/ 337 h 545"/>
                <a:gd name="T76" fmla="*/ 26 w 538"/>
                <a:gd name="T77" fmla="*/ 320 h 545"/>
                <a:gd name="T78" fmla="*/ 25 w 538"/>
                <a:gd name="T79" fmla="*/ 321 h 545"/>
                <a:gd name="T80" fmla="*/ 4 w 538"/>
                <a:gd name="T81" fmla="*/ 313 h 545"/>
                <a:gd name="T82" fmla="*/ 11 w 538"/>
                <a:gd name="T83" fmla="*/ 206 h 545"/>
                <a:gd name="T84" fmla="*/ 96 w 538"/>
                <a:gd name="T85" fmla="*/ 79 h 545"/>
                <a:gd name="T86" fmla="*/ 106 w 538"/>
                <a:gd name="T87" fmla="*/ 72 h 545"/>
                <a:gd name="T88" fmla="*/ 162 w 538"/>
                <a:gd name="T89" fmla="*/ 38 h 545"/>
                <a:gd name="T90" fmla="*/ 367 w 538"/>
                <a:gd name="T91" fmla="*/ 25 h 545"/>
                <a:gd name="T92" fmla="*/ 434 w 538"/>
                <a:gd name="T93" fmla="*/ 63 h 545"/>
                <a:gd name="T94" fmla="*/ 531 w 538"/>
                <a:gd name="T95" fmla="*/ 228 h 545"/>
                <a:gd name="T96" fmla="*/ 520 w 538"/>
                <a:gd name="T97" fmla="*/ 360 h 545"/>
                <a:gd name="T98" fmla="*/ 437 w 538"/>
                <a:gd name="T99" fmla="*/ 480 h 545"/>
                <a:gd name="T100" fmla="*/ 277 w 538"/>
                <a:gd name="T101" fmla="*/ 544 h 545"/>
                <a:gd name="T102" fmla="*/ 197 w 538"/>
                <a:gd name="T103" fmla="*/ 536 h 545"/>
                <a:gd name="T104" fmla="*/ 134 w 538"/>
                <a:gd name="T105" fmla="*/ 509 h 545"/>
                <a:gd name="T106" fmla="*/ 114 w 538"/>
                <a:gd name="T107" fmla="*/ 403 h 545"/>
                <a:gd name="T108" fmla="*/ 26 w 538"/>
                <a:gd name="T109" fmla="*/ 320 h 5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538" h="545">
                  <a:moveTo>
                    <a:pt x="153" y="337"/>
                  </a:moveTo>
                  <a:cubicBezTo>
                    <a:pt x="160" y="337"/>
                    <a:pt x="165" y="340"/>
                    <a:pt x="166" y="349"/>
                  </a:cubicBezTo>
                  <a:cubicBezTo>
                    <a:pt x="169" y="362"/>
                    <a:pt x="166" y="375"/>
                    <a:pt x="163" y="389"/>
                  </a:cubicBezTo>
                  <a:cubicBezTo>
                    <a:pt x="160" y="401"/>
                    <a:pt x="157" y="416"/>
                    <a:pt x="160" y="429"/>
                  </a:cubicBezTo>
                  <a:cubicBezTo>
                    <a:pt x="162" y="445"/>
                    <a:pt x="176" y="452"/>
                    <a:pt x="191" y="455"/>
                  </a:cubicBezTo>
                  <a:cubicBezTo>
                    <a:pt x="211" y="461"/>
                    <a:pt x="234" y="462"/>
                    <a:pt x="255" y="463"/>
                  </a:cubicBezTo>
                  <a:cubicBezTo>
                    <a:pt x="267" y="464"/>
                    <a:pt x="282" y="467"/>
                    <a:pt x="292" y="455"/>
                  </a:cubicBezTo>
                  <a:cubicBezTo>
                    <a:pt x="300" y="444"/>
                    <a:pt x="304" y="426"/>
                    <a:pt x="308" y="412"/>
                  </a:cubicBezTo>
                  <a:cubicBezTo>
                    <a:pt x="311" y="400"/>
                    <a:pt x="315" y="388"/>
                    <a:pt x="319" y="375"/>
                  </a:cubicBezTo>
                  <a:cubicBezTo>
                    <a:pt x="325" y="377"/>
                    <a:pt x="325" y="377"/>
                    <a:pt x="325" y="377"/>
                  </a:cubicBezTo>
                  <a:cubicBezTo>
                    <a:pt x="342" y="377"/>
                    <a:pt x="358" y="379"/>
                    <a:pt x="375" y="379"/>
                  </a:cubicBezTo>
                  <a:cubicBezTo>
                    <a:pt x="391" y="381"/>
                    <a:pt x="408" y="382"/>
                    <a:pt x="424" y="377"/>
                  </a:cubicBezTo>
                  <a:cubicBezTo>
                    <a:pt x="435" y="374"/>
                    <a:pt x="440" y="366"/>
                    <a:pt x="444" y="356"/>
                  </a:cubicBezTo>
                  <a:cubicBezTo>
                    <a:pt x="448" y="343"/>
                    <a:pt x="455" y="330"/>
                    <a:pt x="457" y="317"/>
                  </a:cubicBezTo>
                  <a:cubicBezTo>
                    <a:pt x="461" y="302"/>
                    <a:pt x="460" y="289"/>
                    <a:pt x="459" y="275"/>
                  </a:cubicBezTo>
                  <a:cubicBezTo>
                    <a:pt x="459" y="266"/>
                    <a:pt x="460" y="256"/>
                    <a:pt x="453" y="247"/>
                  </a:cubicBezTo>
                  <a:cubicBezTo>
                    <a:pt x="439" y="235"/>
                    <a:pt x="415" y="234"/>
                    <a:pt x="400" y="230"/>
                  </a:cubicBezTo>
                  <a:cubicBezTo>
                    <a:pt x="383" y="227"/>
                    <a:pt x="367" y="225"/>
                    <a:pt x="353" y="219"/>
                  </a:cubicBezTo>
                  <a:cubicBezTo>
                    <a:pt x="354" y="215"/>
                    <a:pt x="354" y="215"/>
                    <a:pt x="354" y="215"/>
                  </a:cubicBezTo>
                  <a:cubicBezTo>
                    <a:pt x="356" y="196"/>
                    <a:pt x="360" y="176"/>
                    <a:pt x="362" y="157"/>
                  </a:cubicBezTo>
                  <a:cubicBezTo>
                    <a:pt x="364" y="141"/>
                    <a:pt x="367" y="117"/>
                    <a:pt x="352" y="107"/>
                  </a:cubicBezTo>
                  <a:cubicBezTo>
                    <a:pt x="344" y="102"/>
                    <a:pt x="333" y="96"/>
                    <a:pt x="323" y="90"/>
                  </a:cubicBezTo>
                  <a:cubicBezTo>
                    <a:pt x="311" y="84"/>
                    <a:pt x="295" y="83"/>
                    <a:pt x="280" y="81"/>
                  </a:cubicBezTo>
                  <a:cubicBezTo>
                    <a:pt x="265" y="82"/>
                    <a:pt x="249" y="82"/>
                    <a:pt x="237" y="88"/>
                  </a:cubicBezTo>
                  <a:cubicBezTo>
                    <a:pt x="226" y="93"/>
                    <a:pt x="226" y="102"/>
                    <a:pt x="224" y="112"/>
                  </a:cubicBezTo>
                  <a:cubicBezTo>
                    <a:pt x="220" y="130"/>
                    <a:pt x="216" y="149"/>
                    <a:pt x="213" y="168"/>
                  </a:cubicBezTo>
                  <a:cubicBezTo>
                    <a:pt x="213" y="177"/>
                    <a:pt x="212" y="183"/>
                    <a:pt x="210" y="192"/>
                  </a:cubicBezTo>
                  <a:cubicBezTo>
                    <a:pt x="204" y="192"/>
                    <a:pt x="204" y="192"/>
                    <a:pt x="204" y="192"/>
                  </a:cubicBezTo>
                  <a:cubicBezTo>
                    <a:pt x="201" y="191"/>
                    <a:pt x="198" y="189"/>
                    <a:pt x="197" y="189"/>
                  </a:cubicBezTo>
                  <a:cubicBezTo>
                    <a:pt x="186" y="187"/>
                    <a:pt x="176" y="185"/>
                    <a:pt x="166" y="181"/>
                  </a:cubicBezTo>
                  <a:cubicBezTo>
                    <a:pt x="153" y="178"/>
                    <a:pt x="139" y="175"/>
                    <a:pt x="128" y="173"/>
                  </a:cubicBezTo>
                  <a:cubicBezTo>
                    <a:pt x="119" y="171"/>
                    <a:pt x="111" y="169"/>
                    <a:pt x="103" y="173"/>
                  </a:cubicBezTo>
                  <a:cubicBezTo>
                    <a:pt x="93" y="176"/>
                    <a:pt x="86" y="185"/>
                    <a:pt x="82" y="195"/>
                  </a:cubicBezTo>
                  <a:cubicBezTo>
                    <a:pt x="71" y="215"/>
                    <a:pt x="69" y="241"/>
                    <a:pt x="64" y="263"/>
                  </a:cubicBezTo>
                  <a:cubicBezTo>
                    <a:pt x="60" y="277"/>
                    <a:pt x="55" y="288"/>
                    <a:pt x="65" y="299"/>
                  </a:cubicBezTo>
                  <a:cubicBezTo>
                    <a:pt x="74" y="308"/>
                    <a:pt x="83" y="314"/>
                    <a:pt x="95" y="318"/>
                  </a:cubicBezTo>
                  <a:cubicBezTo>
                    <a:pt x="114" y="325"/>
                    <a:pt x="133" y="331"/>
                    <a:pt x="153" y="338"/>
                  </a:cubicBezTo>
                  <a:lnTo>
                    <a:pt x="153" y="337"/>
                  </a:lnTo>
                  <a:close/>
                  <a:moveTo>
                    <a:pt x="26" y="320"/>
                  </a:moveTo>
                  <a:cubicBezTo>
                    <a:pt x="25" y="321"/>
                    <a:pt x="25" y="321"/>
                    <a:pt x="25" y="321"/>
                  </a:cubicBezTo>
                  <a:cubicBezTo>
                    <a:pt x="18" y="318"/>
                    <a:pt x="11" y="316"/>
                    <a:pt x="4" y="313"/>
                  </a:cubicBezTo>
                  <a:cubicBezTo>
                    <a:pt x="1" y="278"/>
                    <a:pt x="0" y="241"/>
                    <a:pt x="11" y="206"/>
                  </a:cubicBezTo>
                  <a:cubicBezTo>
                    <a:pt x="25" y="156"/>
                    <a:pt x="56" y="111"/>
                    <a:pt x="96" y="79"/>
                  </a:cubicBezTo>
                  <a:cubicBezTo>
                    <a:pt x="99" y="77"/>
                    <a:pt x="102" y="74"/>
                    <a:pt x="106" y="72"/>
                  </a:cubicBezTo>
                  <a:cubicBezTo>
                    <a:pt x="123" y="59"/>
                    <a:pt x="142" y="47"/>
                    <a:pt x="162" y="38"/>
                  </a:cubicBezTo>
                  <a:cubicBezTo>
                    <a:pt x="226" y="8"/>
                    <a:pt x="301" y="0"/>
                    <a:pt x="367" y="25"/>
                  </a:cubicBezTo>
                  <a:cubicBezTo>
                    <a:pt x="391" y="35"/>
                    <a:pt x="414" y="47"/>
                    <a:pt x="434" y="63"/>
                  </a:cubicBezTo>
                  <a:cubicBezTo>
                    <a:pt x="485" y="103"/>
                    <a:pt x="521" y="162"/>
                    <a:pt x="531" y="228"/>
                  </a:cubicBezTo>
                  <a:cubicBezTo>
                    <a:pt x="538" y="272"/>
                    <a:pt x="534" y="317"/>
                    <a:pt x="520" y="360"/>
                  </a:cubicBezTo>
                  <a:cubicBezTo>
                    <a:pt x="504" y="407"/>
                    <a:pt x="476" y="450"/>
                    <a:pt x="437" y="480"/>
                  </a:cubicBezTo>
                  <a:cubicBezTo>
                    <a:pt x="392" y="517"/>
                    <a:pt x="335" y="538"/>
                    <a:pt x="277" y="544"/>
                  </a:cubicBezTo>
                  <a:cubicBezTo>
                    <a:pt x="250" y="545"/>
                    <a:pt x="224" y="543"/>
                    <a:pt x="197" y="536"/>
                  </a:cubicBezTo>
                  <a:cubicBezTo>
                    <a:pt x="175" y="529"/>
                    <a:pt x="154" y="520"/>
                    <a:pt x="134" y="509"/>
                  </a:cubicBezTo>
                  <a:cubicBezTo>
                    <a:pt x="143" y="473"/>
                    <a:pt x="135" y="435"/>
                    <a:pt x="114" y="403"/>
                  </a:cubicBezTo>
                  <a:cubicBezTo>
                    <a:pt x="93" y="368"/>
                    <a:pt x="58" y="344"/>
                    <a:pt x="26" y="320"/>
                  </a:cubicBezTo>
                  <a:close/>
                </a:path>
              </a:pathLst>
            </a:custGeom>
            <a:solidFill>
              <a:srgbClr val="F6B84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44" name="Freeform 439">
              <a:extLst>
                <a:ext uri="{FF2B5EF4-FFF2-40B4-BE49-F238E27FC236}">
                  <a16:creationId xmlns:a16="http://schemas.microsoft.com/office/drawing/2014/main" id="{9A9213AD-8497-4514-BB50-57FA4F37B20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275388" y="2693988"/>
              <a:ext cx="468313" cy="290513"/>
            </a:xfrm>
            <a:custGeom>
              <a:avLst/>
              <a:gdLst>
                <a:gd name="T0" fmla="*/ 205 w 278"/>
                <a:gd name="T1" fmla="*/ 135 h 173"/>
                <a:gd name="T2" fmla="*/ 0 w 278"/>
                <a:gd name="T3" fmla="*/ 148 h 173"/>
                <a:gd name="T4" fmla="*/ 5 w 278"/>
                <a:gd name="T5" fmla="*/ 139 h 173"/>
                <a:gd name="T6" fmla="*/ 19 w 278"/>
                <a:gd name="T7" fmla="*/ 98 h 173"/>
                <a:gd name="T8" fmla="*/ 44 w 278"/>
                <a:gd name="T9" fmla="*/ 39 h 173"/>
                <a:gd name="T10" fmla="*/ 69 w 278"/>
                <a:gd name="T11" fmla="*/ 25 h 173"/>
                <a:gd name="T12" fmla="*/ 68 w 278"/>
                <a:gd name="T13" fmla="*/ 23 h 173"/>
                <a:gd name="T14" fmla="*/ 119 w 278"/>
                <a:gd name="T15" fmla="*/ 2 h 173"/>
                <a:gd name="T16" fmla="*/ 164 w 278"/>
                <a:gd name="T17" fmla="*/ 6 h 173"/>
                <a:gd name="T18" fmla="*/ 213 w 278"/>
                <a:gd name="T19" fmla="*/ 15 h 173"/>
                <a:gd name="T20" fmla="*/ 255 w 278"/>
                <a:gd name="T21" fmla="*/ 50 h 173"/>
                <a:gd name="T22" fmla="*/ 269 w 278"/>
                <a:gd name="T23" fmla="*/ 62 h 173"/>
                <a:gd name="T24" fmla="*/ 272 w 278"/>
                <a:gd name="T25" fmla="*/ 111 h 173"/>
                <a:gd name="T26" fmla="*/ 274 w 278"/>
                <a:gd name="T27" fmla="*/ 170 h 173"/>
                <a:gd name="T28" fmla="*/ 272 w 278"/>
                <a:gd name="T29" fmla="*/ 173 h 173"/>
                <a:gd name="T30" fmla="*/ 205 w 278"/>
                <a:gd name="T31" fmla="*/ 135 h 1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78" h="173">
                  <a:moveTo>
                    <a:pt x="205" y="135"/>
                  </a:moveTo>
                  <a:cubicBezTo>
                    <a:pt x="139" y="110"/>
                    <a:pt x="64" y="118"/>
                    <a:pt x="0" y="148"/>
                  </a:cubicBezTo>
                  <a:cubicBezTo>
                    <a:pt x="1" y="145"/>
                    <a:pt x="3" y="142"/>
                    <a:pt x="5" y="139"/>
                  </a:cubicBezTo>
                  <a:cubicBezTo>
                    <a:pt x="11" y="126"/>
                    <a:pt x="16" y="112"/>
                    <a:pt x="19" y="98"/>
                  </a:cubicBezTo>
                  <a:cubicBezTo>
                    <a:pt x="23" y="77"/>
                    <a:pt x="28" y="54"/>
                    <a:pt x="44" y="39"/>
                  </a:cubicBezTo>
                  <a:cubicBezTo>
                    <a:pt x="51" y="33"/>
                    <a:pt x="60" y="28"/>
                    <a:pt x="69" y="25"/>
                  </a:cubicBezTo>
                  <a:cubicBezTo>
                    <a:pt x="68" y="23"/>
                    <a:pt x="68" y="23"/>
                    <a:pt x="68" y="23"/>
                  </a:cubicBezTo>
                  <a:cubicBezTo>
                    <a:pt x="85" y="13"/>
                    <a:pt x="100" y="5"/>
                    <a:pt x="119" y="2"/>
                  </a:cubicBezTo>
                  <a:cubicBezTo>
                    <a:pt x="135" y="0"/>
                    <a:pt x="148" y="5"/>
                    <a:pt x="164" y="6"/>
                  </a:cubicBezTo>
                  <a:cubicBezTo>
                    <a:pt x="181" y="7"/>
                    <a:pt x="198" y="10"/>
                    <a:pt x="213" y="15"/>
                  </a:cubicBezTo>
                  <a:cubicBezTo>
                    <a:pt x="233" y="21"/>
                    <a:pt x="248" y="33"/>
                    <a:pt x="255" y="50"/>
                  </a:cubicBezTo>
                  <a:cubicBezTo>
                    <a:pt x="260" y="53"/>
                    <a:pt x="266" y="56"/>
                    <a:pt x="269" y="62"/>
                  </a:cubicBezTo>
                  <a:cubicBezTo>
                    <a:pt x="278" y="78"/>
                    <a:pt x="274" y="94"/>
                    <a:pt x="272" y="111"/>
                  </a:cubicBezTo>
                  <a:cubicBezTo>
                    <a:pt x="270" y="130"/>
                    <a:pt x="266" y="150"/>
                    <a:pt x="274" y="170"/>
                  </a:cubicBezTo>
                  <a:cubicBezTo>
                    <a:pt x="272" y="173"/>
                    <a:pt x="272" y="173"/>
                    <a:pt x="272" y="173"/>
                  </a:cubicBezTo>
                  <a:cubicBezTo>
                    <a:pt x="252" y="157"/>
                    <a:pt x="229" y="145"/>
                    <a:pt x="205" y="135"/>
                  </a:cubicBezTo>
                  <a:close/>
                </a:path>
              </a:pathLst>
            </a:custGeom>
            <a:solidFill>
              <a:srgbClr val="3C3C3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45" name="Freeform 440">
              <a:extLst>
                <a:ext uri="{FF2B5EF4-FFF2-40B4-BE49-F238E27FC236}">
                  <a16:creationId xmlns:a16="http://schemas.microsoft.com/office/drawing/2014/main" id="{FFBC05E1-A126-48DD-89BA-5BF8EB2CB6D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741988" y="3498850"/>
              <a:ext cx="414338" cy="455613"/>
            </a:xfrm>
            <a:custGeom>
              <a:avLst/>
              <a:gdLst>
                <a:gd name="T0" fmla="*/ 166 w 246"/>
                <a:gd name="T1" fmla="*/ 14 h 271"/>
                <a:gd name="T2" fmla="*/ 86 w 246"/>
                <a:gd name="T3" fmla="*/ 9 h 271"/>
                <a:gd name="T4" fmla="*/ 29 w 246"/>
                <a:gd name="T5" fmla="*/ 54 h 271"/>
                <a:gd name="T6" fmla="*/ 27 w 246"/>
                <a:gd name="T7" fmla="*/ 192 h 271"/>
                <a:gd name="T8" fmla="*/ 239 w 246"/>
                <a:gd name="T9" fmla="*/ 149 h 271"/>
                <a:gd name="T10" fmla="*/ 230 w 246"/>
                <a:gd name="T11" fmla="*/ 66 h 271"/>
                <a:gd name="T12" fmla="*/ 168 w 246"/>
                <a:gd name="T13" fmla="*/ 9 h 271"/>
                <a:gd name="T14" fmla="*/ 164 w 246"/>
                <a:gd name="T15" fmla="*/ 17 h 271"/>
                <a:gd name="T16" fmla="*/ 223 w 246"/>
                <a:gd name="T17" fmla="*/ 73 h 271"/>
                <a:gd name="T18" fmla="*/ 225 w 246"/>
                <a:gd name="T19" fmla="*/ 161 h 271"/>
                <a:gd name="T20" fmla="*/ 100 w 246"/>
                <a:gd name="T21" fmla="*/ 229 h 271"/>
                <a:gd name="T22" fmla="*/ 17 w 246"/>
                <a:gd name="T23" fmla="*/ 89 h 271"/>
                <a:gd name="T24" fmla="*/ 68 w 246"/>
                <a:gd name="T25" fmla="*/ 25 h 271"/>
                <a:gd name="T26" fmla="*/ 165 w 246"/>
                <a:gd name="T27" fmla="*/ 16 h 271"/>
                <a:gd name="T28" fmla="*/ 166 w 246"/>
                <a:gd name="T29" fmla="*/ 14 h 2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46" h="271">
                  <a:moveTo>
                    <a:pt x="166" y="14"/>
                  </a:moveTo>
                  <a:cubicBezTo>
                    <a:pt x="139" y="5"/>
                    <a:pt x="114" y="0"/>
                    <a:pt x="86" y="9"/>
                  </a:cubicBezTo>
                  <a:cubicBezTo>
                    <a:pt x="63" y="17"/>
                    <a:pt x="41" y="33"/>
                    <a:pt x="29" y="54"/>
                  </a:cubicBezTo>
                  <a:cubicBezTo>
                    <a:pt x="5" y="93"/>
                    <a:pt x="0" y="153"/>
                    <a:pt x="27" y="192"/>
                  </a:cubicBezTo>
                  <a:cubicBezTo>
                    <a:pt x="82" y="271"/>
                    <a:pt x="215" y="240"/>
                    <a:pt x="239" y="149"/>
                  </a:cubicBezTo>
                  <a:cubicBezTo>
                    <a:pt x="246" y="123"/>
                    <a:pt x="241" y="90"/>
                    <a:pt x="230" y="66"/>
                  </a:cubicBezTo>
                  <a:cubicBezTo>
                    <a:pt x="218" y="39"/>
                    <a:pt x="193" y="22"/>
                    <a:pt x="168" y="9"/>
                  </a:cubicBezTo>
                  <a:cubicBezTo>
                    <a:pt x="163" y="7"/>
                    <a:pt x="159" y="14"/>
                    <a:pt x="164" y="17"/>
                  </a:cubicBezTo>
                  <a:cubicBezTo>
                    <a:pt x="188" y="31"/>
                    <a:pt x="212" y="45"/>
                    <a:pt x="223" y="73"/>
                  </a:cubicBezTo>
                  <a:cubicBezTo>
                    <a:pt x="234" y="99"/>
                    <a:pt x="238" y="134"/>
                    <a:pt x="225" y="161"/>
                  </a:cubicBezTo>
                  <a:cubicBezTo>
                    <a:pt x="204" y="206"/>
                    <a:pt x="150" y="237"/>
                    <a:pt x="100" y="229"/>
                  </a:cubicBezTo>
                  <a:cubicBezTo>
                    <a:pt x="35" y="218"/>
                    <a:pt x="2" y="150"/>
                    <a:pt x="17" y="89"/>
                  </a:cubicBezTo>
                  <a:cubicBezTo>
                    <a:pt x="23" y="62"/>
                    <a:pt x="45" y="39"/>
                    <a:pt x="68" y="25"/>
                  </a:cubicBezTo>
                  <a:cubicBezTo>
                    <a:pt x="100" y="6"/>
                    <a:pt x="131" y="11"/>
                    <a:pt x="165" y="16"/>
                  </a:cubicBezTo>
                  <a:cubicBezTo>
                    <a:pt x="167" y="16"/>
                    <a:pt x="167" y="14"/>
                    <a:pt x="166" y="14"/>
                  </a:cubicBezTo>
                  <a:close/>
                </a:path>
              </a:pathLst>
            </a:custGeom>
            <a:solidFill>
              <a:srgbClr val="1C1D1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46" name="Freeform 441">
              <a:extLst>
                <a:ext uri="{FF2B5EF4-FFF2-40B4-BE49-F238E27FC236}">
                  <a16:creationId xmlns:a16="http://schemas.microsoft.com/office/drawing/2014/main" id="{253B4D83-9F1C-43AF-9927-699B3B09494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708650" y="3438525"/>
              <a:ext cx="490538" cy="508000"/>
            </a:xfrm>
            <a:custGeom>
              <a:avLst/>
              <a:gdLst>
                <a:gd name="T0" fmla="*/ 192 w 291"/>
                <a:gd name="T1" fmla="*/ 33 h 302"/>
                <a:gd name="T2" fmla="*/ 34 w 291"/>
                <a:gd name="T3" fmla="*/ 78 h 302"/>
                <a:gd name="T4" fmla="*/ 33 w 291"/>
                <a:gd name="T5" fmla="*/ 234 h 302"/>
                <a:gd name="T6" fmla="*/ 160 w 291"/>
                <a:gd name="T7" fmla="*/ 288 h 302"/>
                <a:gd name="T8" fmla="*/ 284 w 291"/>
                <a:gd name="T9" fmla="*/ 183 h 302"/>
                <a:gd name="T10" fmla="*/ 266 w 291"/>
                <a:gd name="T11" fmla="*/ 86 h 302"/>
                <a:gd name="T12" fmla="*/ 191 w 291"/>
                <a:gd name="T13" fmla="*/ 26 h 302"/>
                <a:gd name="T14" fmla="*/ 189 w 291"/>
                <a:gd name="T15" fmla="*/ 35 h 302"/>
                <a:gd name="T16" fmla="*/ 267 w 291"/>
                <a:gd name="T17" fmla="*/ 108 h 302"/>
                <a:gd name="T18" fmla="*/ 260 w 291"/>
                <a:gd name="T19" fmla="*/ 220 h 302"/>
                <a:gd name="T20" fmla="*/ 84 w 291"/>
                <a:gd name="T21" fmla="*/ 272 h 302"/>
                <a:gd name="T22" fmla="*/ 22 w 291"/>
                <a:gd name="T23" fmla="*/ 112 h 302"/>
                <a:gd name="T24" fmla="*/ 88 w 291"/>
                <a:gd name="T25" fmla="*/ 38 h 302"/>
                <a:gd name="T26" fmla="*/ 141 w 291"/>
                <a:gd name="T27" fmla="*/ 23 h 302"/>
                <a:gd name="T28" fmla="*/ 190 w 291"/>
                <a:gd name="T29" fmla="*/ 35 h 302"/>
                <a:gd name="T30" fmla="*/ 192 w 291"/>
                <a:gd name="T31" fmla="*/ 33 h 3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91" h="302">
                  <a:moveTo>
                    <a:pt x="192" y="33"/>
                  </a:moveTo>
                  <a:cubicBezTo>
                    <a:pt x="138" y="0"/>
                    <a:pt x="68" y="32"/>
                    <a:pt x="34" y="78"/>
                  </a:cubicBezTo>
                  <a:cubicBezTo>
                    <a:pt x="0" y="124"/>
                    <a:pt x="1" y="187"/>
                    <a:pt x="33" y="234"/>
                  </a:cubicBezTo>
                  <a:cubicBezTo>
                    <a:pt x="60" y="274"/>
                    <a:pt x="111" y="299"/>
                    <a:pt x="160" y="288"/>
                  </a:cubicBezTo>
                  <a:cubicBezTo>
                    <a:pt x="211" y="276"/>
                    <a:pt x="273" y="238"/>
                    <a:pt x="284" y="183"/>
                  </a:cubicBezTo>
                  <a:cubicBezTo>
                    <a:pt x="291" y="150"/>
                    <a:pt x="281" y="115"/>
                    <a:pt x="266" y="86"/>
                  </a:cubicBezTo>
                  <a:cubicBezTo>
                    <a:pt x="250" y="55"/>
                    <a:pt x="224" y="38"/>
                    <a:pt x="191" y="26"/>
                  </a:cubicBezTo>
                  <a:cubicBezTo>
                    <a:pt x="186" y="24"/>
                    <a:pt x="184" y="33"/>
                    <a:pt x="189" y="35"/>
                  </a:cubicBezTo>
                  <a:cubicBezTo>
                    <a:pt x="227" y="49"/>
                    <a:pt x="251" y="70"/>
                    <a:pt x="267" y="108"/>
                  </a:cubicBezTo>
                  <a:cubicBezTo>
                    <a:pt x="283" y="146"/>
                    <a:pt x="286" y="186"/>
                    <a:pt x="260" y="220"/>
                  </a:cubicBezTo>
                  <a:cubicBezTo>
                    <a:pt x="221" y="271"/>
                    <a:pt x="144" y="302"/>
                    <a:pt x="84" y="272"/>
                  </a:cubicBezTo>
                  <a:cubicBezTo>
                    <a:pt x="26" y="244"/>
                    <a:pt x="1" y="172"/>
                    <a:pt x="22" y="112"/>
                  </a:cubicBezTo>
                  <a:cubicBezTo>
                    <a:pt x="34" y="80"/>
                    <a:pt x="58" y="54"/>
                    <a:pt x="88" y="38"/>
                  </a:cubicBezTo>
                  <a:cubicBezTo>
                    <a:pt x="104" y="29"/>
                    <a:pt x="122" y="23"/>
                    <a:pt x="141" y="23"/>
                  </a:cubicBezTo>
                  <a:cubicBezTo>
                    <a:pt x="158" y="24"/>
                    <a:pt x="174" y="31"/>
                    <a:pt x="190" y="35"/>
                  </a:cubicBezTo>
                  <a:cubicBezTo>
                    <a:pt x="192" y="36"/>
                    <a:pt x="193" y="34"/>
                    <a:pt x="192" y="33"/>
                  </a:cubicBezTo>
                  <a:close/>
                </a:path>
              </a:pathLst>
            </a:custGeom>
            <a:solidFill>
              <a:srgbClr val="1C1D1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47" name="Freeform 442">
              <a:extLst>
                <a:ext uri="{FF2B5EF4-FFF2-40B4-BE49-F238E27FC236}">
                  <a16:creationId xmlns:a16="http://schemas.microsoft.com/office/drawing/2014/main" id="{43F24D07-502F-4FF1-BE92-4C32293B2A0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654675" y="3389313"/>
              <a:ext cx="635000" cy="700088"/>
            </a:xfrm>
            <a:custGeom>
              <a:avLst/>
              <a:gdLst>
                <a:gd name="T0" fmla="*/ 243 w 377"/>
                <a:gd name="T1" fmla="*/ 25 h 416"/>
                <a:gd name="T2" fmla="*/ 130 w 377"/>
                <a:gd name="T3" fmla="*/ 15 h 416"/>
                <a:gd name="T4" fmla="*/ 47 w 377"/>
                <a:gd name="T5" fmla="*/ 79 h 416"/>
                <a:gd name="T6" fmla="*/ 8 w 377"/>
                <a:gd name="T7" fmla="*/ 171 h 416"/>
                <a:gd name="T8" fmla="*/ 36 w 377"/>
                <a:gd name="T9" fmla="*/ 286 h 416"/>
                <a:gd name="T10" fmla="*/ 353 w 377"/>
                <a:gd name="T11" fmla="*/ 224 h 416"/>
                <a:gd name="T12" fmla="*/ 241 w 377"/>
                <a:gd name="T13" fmla="*/ 19 h 416"/>
                <a:gd name="T14" fmla="*/ 236 w 377"/>
                <a:gd name="T15" fmla="*/ 25 h 416"/>
                <a:gd name="T16" fmla="*/ 305 w 377"/>
                <a:gd name="T17" fmla="*/ 83 h 416"/>
                <a:gd name="T18" fmla="*/ 351 w 377"/>
                <a:gd name="T19" fmla="*/ 194 h 416"/>
                <a:gd name="T20" fmla="*/ 243 w 377"/>
                <a:gd name="T21" fmla="*/ 336 h 416"/>
                <a:gd name="T22" fmla="*/ 59 w 377"/>
                <a:gd name="T23" fmla="*/ 307 h 416"/>
                <a:gd name="T24" fmla="*/ 36 w 377"/>
                <a:gd name="T25" fmla="*/ 110 h 416"/>
                <a:gd name="T26" fmla="*/ 114 w 377"/>
                <a:gd name="T27" fmla="*/ 32 h 416"/>
                <a:gd name="T28" fmla="*/ 242 w 377"/>
                <a:gd name="T29" fmla="*/ 28 h 416"/>
                <a:gd name="T30" fmla="*/ 243 w 377"/>
                <a:gd name="T31" fmla="*/ 25 h 4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77" h="416">
                  <a:moveTo>
                    <a:pt x="243" y="25"/>
                  </a:moveTo>
                  <a:cubicBezTo>
                    <a:pt x="207" y="10"/>
                    <a:pt x="168" y="0"/>
                    <a:pt x="130" y="15"/>
                  </a:cubicBezTo>
                  <a:cubicBezTo>
                    <a:pt x="96" y="27"/>
                    <a:pt x="69" y="51"/>
                    <a:pt x="47" y="79"/>
                  </a:cubicBezTo>
                  <a:cubicBezTo>
                    <a:pt x="25" y="107"/>
                    <a:pt x="11" y="135"/>
                    <a:pt x="8" y="171"/>
                  </a:cubicBezTo>
                  <a:cubicBezTo>
                    <a:pt x="5" y="212"/>
                    <a:pt x="15" y="251"/>
                    <a:pt x="36" y="286"/>
                  </a:cubicBezTo>
                  <a:cubicBezTo>
                    <a:pt x="113" y="416"/>
                    <a:pt x="318" y="358"/>
                    <a:pt x="353" y="224"/>
                  </a:cubicBezTo>
                  <a:cubicBezTo>
                    <a:pt x="377" y="132"/>
                    <a:pt x="311" y="66"/>
                    <a:pt x="241" y="19"/>
                  </a:cubicBezTo>
                  <a:cubicBezTo>
                    <a:pt x="237" y="16"/>
                    <a:pt x="232" y="22"/>
                    <a:pt x="236" y="25"/>
                  </a:cubicBezTo>
                  <a:cubicBezTo>
                    <a:pt x="259" y="44"/>
                    <a:pt x="284" y="61"/>
                    <a:pt x="305" y="83"/>
                  </a:cubicBezTo>
                  <a:cubicBezTo>
                    <a:pt x="334" y="113"/>
                    <a:pt x="353" y="152"/>
                    <a:pt x="351" y="194"/>
                  </a:cubicBezTo>
                  <a:cubicBezTo>
                    <a:pt x="348" y="258"/>
                    <a:pt x="299" y="311"/>
                    <a:pt x="243" y="336"/>
                  </a:cubicBezTo>
                  <a:cubicBezTo>
                    <a:pt x="182" y="364"/>
                    <a:pt x="105" y="361"/>
                    <a:pt x="59" y="307"/>
                  </a:cubicBezTo>
                  <a:cubicBezTo>
                    <a:pt x="15" y="254"/>
                    <a:pt x="0" y="171"/>
                    <a:pt x="36" y="110"/>
                  </a:cubicBezTo>
                  <a:cubicBezTo>
                    <a:pt x="54" y="79"/>
                    <a:pt x="82" y="49"/>
                    <a:pt x="114" y="32"/>
                  </a:cubicBezTo>
                  <a:cubicBezTo>
                    <a:pt x="156" y="9"/>
                    <a:pt x="198" y="16"/>
                    <a:pt x="242" y="28"/>
                  </a:cubicBezTo>
                  <a:cubicBezTo>
                    <a:pt x="244" y="29"/>
                    <a:pt x="245" y="26"/>
                    <a:pt x="243" y="25"/>
                  </a:cubicBezTo>
                  <a:close/>
                </a:path>
              </a:pathLst>
            </a:custGeom>
            <a:solidFill>
              <a:srgbClr val="1C1D1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48" name="Freeform 443">
              <a:extLst>
                <a:ext uri="{FF2B5EF4-FFF2-40B4-BE49-F238E27FC236}">
                  <a16:creationId xmlns:a16="http://schemas.microsoft.com/office/drawing/2014/main" id="{398DE4CB-5F5F-4EBD-9142-810D1EDA02C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832350" y="3211513"/>
              <a:ext cx="625475" cy="617538"/>
            </a:xfrm>
            <a:custGeom>
              <a:avLst/>
              <a:gdLst>
                <a:gd name="T0" fmla="*/ 285 w 372"/>
                <a:gd name="T1" fmla="*/ 44 h 368"/>
                <a:gd name="T2" fmla="*/ 83 w 372"/>
                <a:gd name="T3" fmla="*/ 37 h 368"/>
                <a:gd name="T4" fmla="*/ 26 w 372"/>
                <a:gd name="T5" fmla="*/ 117 h 368"/>
                <a:gd name="T6" fmla="*/ 5 w 372"/>
                <a:gd name="T7" fmla="*/ 229 h 368"/>
                <a:gd name="T8" fmla="*/ 60 w 372"/>
                <a:gd name="T9" fmla="*/ 316 h 368"/>
                <a:gd name="T10" fmla="*/ 154 w 372"/>
                <a:gd name="T11" fmla="*/ 363 h 368"/>
                <a:gd name="T12" fmla="*/ 339 w 372"/>
                <a:gd name="T13" fmla="*/ 261 h 368"/>
                <a:gd name="T14" fmla="*/ 357 w 372"/>
                <a:gd name="T15" fmla="*/ 128 h 368"/>
                <a:gd name="T16" fmla="*/ 281 w 372"/>
                <a:gd name="T17" fmla="*/ 36 h 368"/>
                <a:gd name="T18" fmla="*/ 275 w 372"/>
                <a:gd name="T19" fmla="*/ 44 h 368"/>
                <a:gd name="T20" fmla="*/ 338 w 372"/>
                <a:gd name="T21" fmla="*/ 110 h 368"/>
                <a:gd name="T22" fmla="*/ 346 w 372"/>
                <a:gd name="T23" fmla="*/ 229 h 368"/>
                <a:gd name="T24" fmla="*/ 291 w 372"/>
                <a:gd name="T25" fmla="*/ 313 h 368"/>
                <a:gd name="T26" fmla="*/ 196 w 372"/>
                <a:gd name="T27" fmla="*/ 353 h 368"/>
                <a:gd name="T28" fmla="*/ 92 w 372"/>
                <a:gd name="T29" fmla="*/ 333 h 368"/>
                <a:gd name="T30" fmla="*/ 26 w 372"/>
                <a:gd name="T31" fmla="*/ 260 h 368"/>
                <a:gd name="T32" fmla="*/ 24 w 372"/>
                <a:gd name="T33" fmla="*/ 153 h 368"/>
                <a:gd name="T34" fmla="*/ 67 w 372"/>
                <a:gd name="T35" fmla="*/ 60 h 368"/>
                <a:gd name="T36" fmla="*/ 161 w 372"/>
                <a:gd name="T37" fmla="*/ 22 h 368"/>
                <a:gd name="T38" fmla="*/ 282 w 372"/>
                <a:gd name="T39" fmla="*/ 49 h 368"/>
                <a:gd name="T40" fmla="*/ 285 w 372"/>
                <a:gd name="T41" fmla="*/ 44 h 3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372" h="368">
                  <a:moveTo>
                    <a:pt x="285" y="44"/>
                  </a:moveTo>
                  <a:cubicBezTo>
                    <a:pt x="231" y="0"/>
                    <a:pt x="142" y="2"/>
                    <a:pt x="83" y="37"/>
                  </a:cubicBezTo>
                  <a:cubicBezTo>
                    <a:pt x="52" y="55"/>
                    <a:pt x="38" y="85"/>
                    <a:pt x="26" y="117"/>
                  </a:cubicBezTo>
                  <a:cubicBezTo>
                    <a:pt x="14" y="151"/>
                    <a:pt x="0" y="193"/>
                    <a:pt x="5" y="229"/>
                  </a:cubicBezTo>
                  <a:cubicBezTo>
                    <a:pt x="10" y="262"/>
                    <a:pt x="37" y="293"/>
                    <a:pt x="60" y="316"/>
                  </a:cubicBezTo>
                  <a:cubicBezTo>
                    <a:pt x="86" y="342"/>
                    <a:pt x="116" y="361"/>
                    <a:pt x="154" y="363"/>
                  </a:cubicBezTo>
                  <a:cubicBezTo>
                    <a:pt x="232" y="368"/>
                    <a:pt x="302" y="330"/>
                    <a:pt x="339" y="261"/>
                  </a:cubicBezTo>
                  <a:cubicBezTo>
                    <a:pt x="360" y="223"/>
                    <a:pt x="372" y="171"/>
                    <a:pt x="357" y="128"/>
                  </a:cubicBezTo>
                  <a:cubicBezTo>
                    <a:pt x="344" y="89"/>
                    <a:pt x="311" y="61"/>
                    <a:pt x="281" y="36"/>
                  </a:cubicBezTo>
                  <a:cubicBezTo>
                    <a:pt x="276" y="32"/>
                    <a:pt x="270" y="40"/>
                    <a:pt x="275" y="44"/>
                  </a:cubicBezTo>
                  <a:cubicBezTo>
                    <a:pt x="298" y="63"/>
                    <a:pt x="322" y="83"/>
                    <a:pt x="338" y="110"/>
                  </a:cubicBezTo>
                  <a:cubicBezTo>
                    <a:pt x="359" y="146"/>
                    <a:pt x="358" y="190"/>
                    <a:pt x="346" y="229"/>
                  </a:cubicBezTo>
                  <a:cubicBezTo>
                    <a:pt x="335" y="260"/>
                    <a:pt x="316" y="291"/>
                    <a:pt x="291" y="313"/>
                  </a:cubicBezTo>
                  <a:cubicBezTo>
                    <a:pt x="265" y="337"/>
                    <a:pt x="231" y="348"/>
                    <a:pt x="196" y="353"/>
                  </a:cubicBezTo>
                  <a:cubicBezTo>
                    <a:pt x="159" y="358"/>
                    <a:pt x="123" y="356"/>
                    <a:pt x="92" y="333"/>
                  </a:cubicBezTo>
                  <a:cubicBezTo>
                    <a:pt x="66" y="314"/>
                    <a:pt x="44" y="288"/>
                    <a:pt x="26" y="260"/>
                  </a:cubicBezTo>
                  <a:cubicBezTo>
                    <a:pt x="5" y="227"/>
                    <a:pt x="14" y="189"/>
                    <a:pt x="24" y="153"/>
                  </a:cubicBezTo>
                  <a:cubicBezTo>
                    <a:pt x="32" y="121"/>
                    <a:pt x="43" y="83"/>
                    <a:pt x="67" y="60"/>
                  </a:cubicBezTo>
                  <a:cubicBezTo>
                    <a:pt x="91" y="35"/>
                    <a:pt x="128" y="26"/>
                    <a:pt x="161" y="22"/>
                  </a:cubicBezTo>
                  <a:cubicBezTo>
                    <a:pt x="206" y="16"/>
                    <a:pt x="244" y="26"/>
                    <a:pt x="282" y="49"/>
                  </a:cubicBezTo>
                  <a:cubicBezTo>
                    <a:pt x="285" y="51"/>
                    <a:pt x="288" y="46"/>
                    <a:pt x="285" y="44"/>
                  </a:cubicBezTo>
                  <a:close/>
                </a:path>
              </a:pathLst>
            </a:custGeom>
            <a:solidFill>
              <a:srgbClr val="1C1D1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49" name="Freeform 444">
              <a:extLst>
                <a:ext uri="{FF2B5EF4-FFF2-40B4-BE49-F238E27FC236}">
                  <a16:creationId xmlns:a16="http://schemas.microsoft.com/office/drawing/2014/main" id="{CE451CCF-19F8-4D63-8AD5-6B3F5A4F944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06963" y="3300413"/>
              <a:ext cx="477838" cy="469900"/>
            </a:xfrm>
            <a:custGeom>
              <a:avLst/>
              <a:gdLst>
                <a:gd name="T0" fmla="*/ 203 w 284"/>
                <a:gd name="T1" fmla="*/ 25 h 280"/>
                <a:gd name="T2" fmla="*/ 127 w 284"/>
                <a:gd name="T3" fmla="*/ 6 h 280"/>
                <a:gd name="T4" fmla="*/ 47 w 284"/>
                <a:gd name="T5" fmla="*/ 45 h 280"/>
                <a:gd name="T6" fmla="*/ 21 w 284"/>
                <a:gd name="T7" fmla="*/ 196 h 280"/>
                <a:gd name="T8" fmla="*/ 135 w 284"/>
                <a:gd name="T9" fmla="*/ 276 h 280"/>
                <a:gd name="T10" fmla="*/ 261 w 284"/>
                <a:gd name="T11" fmla="*/ 182 h 280"/>
                <a:gd name="T12" fmla="*/ 272 w 284"/>
                <a:gd name="T13" fmla="*/ 82 h 280"/>
                <a:gd name="T14" fmla="*/ 210 w 284"/>
                <a:gd name="T15" fmla="*/ 21 h 280"/>
                <a:gd name="T16" fmla="*/ 206 w 284"/>
                <a:gd name="T17" fmla="*/ 27 h 280"/>
                <a:gd name="T18" fmla="*/ 271 w 284"/>
                <a:gd name="T19" fmla="*/ 108 h 280"/>
                <a:gd name="T20" fmla="*/ 247 w 284"/>
                <a:gd name="T21" fmla="*/ 195 h 280"/>
                <a:gd name="T22" fmla="*/ 176 w 284"/>
                <a:gd name="T23" fmla="*/ 264 h 280"/>
                <a:gd name="T24" fmla="*/ 82 w 284"/>
                <a:gd name="T25" fmla="*/ 254 h 280"/>
                <a:gd name="T26" fmla="*/ 22 w 284"/>
                <a:gd name="T27" fmla="*/ 100 h 280"/>
                <a:gd name="T28" fmla="*/ 83 w 284"/>
                <a:gd name="T29" fmla="*/ 30 h 280"/>
                <a:gd name="T30" fmla="*/ 202 w 284"/>
                <a:gd name="T31" fmla="*/ 28 h 280"/>
                <a:gd name="T32" fmla="*/ 203 w 284"/>
                <a:gd name="T33" fmla="*/ 25 h 2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84" h="280">
                  <a:moveTo>
                    <a:pt x="203" y="25"/>
                  </a:moveTo>
                  <a:cubicBezTo>
                    <a:pt x="179" y="8"/>
                    <a:pt x="157" y="0"/>
                    <a:pt x="127" y="6"/>
                  </a:cubicBezTo>
                  <a:cubicBezTo>
                    <a:pt x="98" y="12"/>
                    <a:pt x="69" y="25"/>
                    <a:pt x="47" y="45"/>
                  </a:cubicBezTo>
                  <a:cubicBezTo>
                    <a:pt x="7" y="84"/>
                    <a:pt x="0" y="145"/>
                    <a:pt x="21" y="196"/>
                  </a:cubicBezTo>
                  <a:cubicBezTo>
                    <a:pt x="41" y="242"/>
                    <a:pt x="85" y="272"/>
                    <a:pt x="135" y="276"/>
                  </a:cubicBezTo>
                  <a:cubicBezTo>
                    <a:pt x="195" y="280"/>
                    <a:pt x="239" y="233"/>
                    <a:pt x="261" y="182"/>
                  </a:cubicBezTo>
                  <a:cubicBezTo>
                    <a:pt x="274" y="152"/>
                    <a:pt x="284" y="114"/>
                    <a:pt x="272" y="82"/>
                  </a:cubicBezTo>
                  <a:cubicBezTo>
                    <a:pt x="261" y="54"/>
                    <a:pt x="235" y="35"/>
                    <a:pt x="210" y="21"/>
                  </a:cubicBezTo>
                  <a:cubicBezTo>
                    <a:pt x="206" y="19"/>
                    <a:pt x="203" y="25"/>
                    <a:pt x="206" y="27"/>
                  </a:cubicBezTo>
                  <a:cubicBezTo>
                    <a:pt x="237" y="48"/>
                    <a:pt x="268" y="67"/>
                    <a:pt x="271" y="108"/>
                  </a:cubicBezTo>
                  <a:cubicBezTo>
                    <a:pt x="273" y="138"/>
                    <a:pt x="261" y="170"/>
                    <a:pt x="247" y="195"/>
                  </a:cubicBezTo>
                  <a:cubicBezTo>
                    <a:pt x="231" y="225"/>
                    <a:pt x="208" y="253"/>
                    <a:pt x="176" y="264"/>
                  </a:cubicBezTo>
                  <a:cubicBezTo>
                    <a:pt x="145" y="275"/>
                    <a:pt x="110" y="269"/>
                    <a:pt x="82" y="254"/>
                  </a:cubicBezTo>
                  <a:cubicBezTo>
                    <a:pt x="29" y="225"/>
                    <a:pt x="5" y="157"/>
                    <a:pt x="22" y="100"/>
                  </a:cubicBezTo>
                  <a:cubicBezTo>
                    <a:pt x="32" y="70"/>
                    <a:pt x="55" y="44"/>
                    <a:pt x="83" y="30"/>
                  </a:cubicBezTo>
                  <a:cubicBezTo>
                    <a:pt x="122" y="11"/>
                    <a:pt x="162" y="7"/>
                    <a:pt x="202" y="28"/>
                  </a:cubicBezTo>
                  <a:cubicBezTo>
                    <a:pt x="203" y="28"/>
                    <a:pt x="205" y="26"/>
                    <a:pt x="203" y="25"/>
                  </a:cubicBezTo>
                  <a:close/>
                </a:path>
              </a:pathLst>
            </a:custGeom>
            <a:solidFill>
              <a:srgbClr val="1C1D1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0" name="Freeform 445">
              <a:extLst>
                <a:ext uri="{FF2B5EF4-FFF2-40B4-BE49-F238E27FC236}">
                  <a16:creationId xmlns:a16="http://schemas.microsoft.com/office/drawing/2014/main" id="{F36CC5EE-BFBB-432C-8784-FCDDC295A34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38713" y="3324225"/>
              <a:ext cx="430213" cy="415925"/>
            </a:xfrm>
            <a:custGeom>
              <a:avLst/>
              <a:gdLst>
                <a:gd name="T0" fmla="*/ 188 w 256"/>
                <a:gd name="T1" fmla="*/ 28 h 248"/>
                <a:gd name="T2" fmla="*/ 49 w 256"/>
                <a:gd name="T3" fmla="*/ 37 h 248"/>
                <a:gd name="T4" fmla="*/ 20 w 256"/>
                <a:gd name="T5" fmla="*/ 170 h 248"/>
                <a:gd name="T6" fmla="*/ 123 w 256"/>
                <a:gd name="T7" fmla="*/ 239 h 248"/>
                <a:gd name="T8" fmla="*/ 229 w 256"/>
                <a:gd name="T9" fmla="*/ 164 h 248"/>
                <a:gd name="T10" fmla="*/ 188 w 256"/>
                <a:gd name="T11" fmla="*/ 22 h 248"/>
                <a:gd name="T12" fmla="*/ 184 w 256"/>
                <a:gd name="T13" fmla="*/ 29 h 248"/>
                <a:gd name="T14" fmla="*/ 234 w 256"/>
                <a:gd name="T15" fmla="*/ 109 h 248"/>
                <a:gd name="T16" fmla="*/ 206 w 256"/>
                <a:gd name="T17" fmla="*/ 187 h 248"/>
                <a:gd name="T18" fmla="*/ 57 w 256"/>
                <a:gd name="T19" fmla="*/ 209 h 248"/>
                <a:gd name="T20" fmla="*/ 17 w 256"/>
                <a:gd name="T21" fmla="*/ 145 h 248"/>
                <a:gd name="T22" fmla="*/ 38 w 256"/>
                <a:gd name="T23" fmla="*/ 65 h 248"/>
                <a:gd name="T24" fmla="*/ 113 w 256"/>
                <a:gd name="T25" fmla="*/ 15 h 248"/>
                <a:gd name="T26" fmla="*/ 187 w 256"/>
                <a:gd name="T27" fmla="*/ 30 h 248"/>
                <a:gd name="T28" fmla="*/ 188 w 256"/>
                <a:gd name="T29" fmla="*/ 28 h 2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56" h="248">
                  <a:moveTo>
                    <a:pt x="188" y="28"/>
                  </a:moveTo>
                  <a:cubicBezTo>
                    <a:pt x="147" y="2"/>
                    <a:pt x="85" y="0"/>
                    <a:pt x="49" y="37"/>
                  </a:cubicBezTo>
                  <a:cubicBezTo>
                    <a:pt x="17" y="71"/>
                    <a:pt x="0" y="126"/>
                    <a:pt x="20" y="170"/>
                  </a:cubicBezTo>
                  <a:cubicBezTo>
                    <a:pt x="37" y="209"/>
                    <a:pt x="80" y="240"/>
                    <a:pt x="123" y="239"/>
                  </a:cubicBezTo>
                  <a:cubicBezTo>
                    <a:pt x="168" y="237"/>
                    <a:pt x="210" y="203"/>
                    <a:pt x="229" y="164"/>
                  </a:cubicBezTo>
                  <a:cubicBezTo>
                    <a:pt x="256" y="108"/>
                    <a:pt x="236" y="56"/>
                    <a:pt x="188" y="22"/>
                  </a:cubicBezTo>
                  <a:cubicBezTo>
                    <a:pt x="184" y="19"/>
                    <a:pt x="180" y="26"/>
                    <a:pt x="184" y="29"/>
                  </a:cubicBezTo>
                  <a:cubicBezTo>
                    <a:pt x="211" y="49"/>
                    <a:pt x="233" y="74"/>
                    <a:pt x="234" y="109"/>
                  </a:cubicBezTo>
                  <a:cubicBezTo>
                    <a:pt x="236" y="137"/>
                    <a:pt x="224" y="165"/>
                    <a:pt x="206" y="187"/>
                  </a:cubicBezTo>
                  <a:cubicBezTo>
                    <a:pt x="167" y="232"/>
                    <a:pt x="106" y="248"/>
                    <a:pt x="57" y="209"/>
                  </a:cubicBezTo>
                  <a:cubicBezTo>
                    <a:pt x="37" y="193"/>
                    <a:pt x="21" y="171"/>
                    <a:pt x="17" y="145"/>
                  </a:cubicBezTo>
                  <a:cubicBezTo>
                    <a:pt x="13" y="117"/>
                    <a:pt x="24" y="89"/>
                    <a:pt x="38" y="65"/>
                  </a:cubicBezTo>
                  <a:cubicBezTo>
                    <a:pt x="54" y="36"/>
                    <a:pt x="79" y="18"/>
                    <a:pt x="113" y="15"/>
                  </a:cubicBezTo>
                  <a:cubicBezTo>
                    <a:pt x="139" y="13"/>
                    <a:pt x="162" y="23"/>
                    <a:pt x="187" y="30"/>
                  </a:cubicBezTo>
                  <a:cubicBezTo>
                    <a:pt x="188" y="31"/>
                    <a:pt x="189" y="29"/>
                    <a:pt x="188" y="28"/>
                  </a:cubicBezTo>
                  <a:close/>
                </a:path>
              </a:pathLst>
            </a:custGeom>
            <a:solidFill>
              <a:srgbClr val="1C1D1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1" name="Freeform 446">
              <a:extLst>
                <a:ext uri="{FF2B5EF4-FFF2-40B4-BE49-F238E27FC236}">
                  <a16:creationId xmlns:a16="http://schemas.microsoft.com/office/drawing/2014/main" id="{7279D43F-41BA-4557-8043-776478619D7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487988" y="3330575"/>
              <a:ext cx="222250" cy="225425"/>
            </a:xfrm>
            <a:custGeom>
              <a:avLst/>
              <a:gdLst>
                <a:gd name="T0" fmla="*/ 78 w 132"/>
                <a:gd name="T1" fmla="*/ 6 h 134"/>
                <a:gd name="T2" fmla="*/ 11 w 132"/>
                <a:gd name="T3" fmla="*/ 48 h 134"/>
                <a:gd name="T4" fmla="*/ 50 w 132"/>
                <a:gd name="T5" fmla="*/ 122 h 134"/>
                <a:gd name="T6" fmla="*/ 122 w 132"/>
                <a:gd name="T7" fmla="*/ 85 h 134"/>
                <a:gd name="T8" fmla="*/ 82 w 132"/>
                <a:gd name="T9" fmla="*/ 3 h 134"/>
                <a:gd name="T10" fmla="*/ 80 w 132"/>
                <a:gd name="T11" fmla="*/ 9 h 134"/>
                <a:gd name="T12" fmla="*/ 117 w 132"/>
                <a:gd name="T13" fmla="*/ 73 h 134"/>
                <a:gd name="T14" fmla="*/ 51 w 132"/>
                <a:gd name="T15" fmla="*/ 113 h 134"/>
                <a:gd name="T16" fmla="*/ 18 w 132"/>
                <a:gd name="T17" fmla="*/ 49 h 134"/>
                <a:gd name="T18" fmla="*/ 78 w 132"/>
                <a:gd name="T19" fmla="*/ 9 h 134"/>
                <a:gd name="T20" fmla="*/ 78 w 132"/>
                <a:gd name="T21" fmla="*/ 6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32" h="134">
                  <a:moveTo>
                    <a:pt x="78" y="6"/>
                  </a:moveTo>
                  <a:cubicBezTo>
                    <a:pt x="46" y="0"/>
                    <a:pt x="20" y="18"/>
                    <a:pt x="11" y="48"/>
                  </a:cubicBezTo>
                  <a:cubicBezTo>
                    <a:pt x="0" y="81"/>
                    <a:pt x="18" y="110"/>
                    <a:pt x="50" y="122"/>
                  </a:cubicBezTo>
                  <a:cubicBezTo>
                    <a:pt x="80" y="134"/>
                    <a:pt x="113" y="114"/>
                    <a:pt x="122" y="85"/>
                  </a:cubicBezTo>
                  <a:cubicBezTo>
                    <a:pt x="132" y="50"/>
                    <a:pt x="117" y="14"/>
                    <a:pt x="82" y="3"/>
                  </a:cubicBezTo>
                  <a:cubicBezTo>
                    <a:pt x="79" y="2"/>
                    <a:pt x="77" y="8"/>
                    <a:pt x="80" y="9"/>
                  </a:cubicBezTo>
                  <a:cubicBezTo>
                    <a:pt x="107" y="21"/>
                    <a:pt x="122" y="42"/>
                    <a:pt x="117" y="73"/>
                  </a:cubicBezTo>
                  <a:cubicBezTo>
                    <a:pt x="112" y="103"/>
                    <a:pt x="81" y="126"/>
                    <a:pt x="51" y="113"/>
                  </a:cubicBezTo>
                  <a:cubicBezTo>
                    <a:pt x="25" y="101"/>
                    <a:pt x="8" y="78"/>
                    <a:pt x="18" y="49"/>
                  </a:cubicBezTo>
                  <a:cubicBezTo>
                    <a:pt x="26" y="23"/>
                    <a:pt x="49" y="6"/>
                    <a:pt x="78" y="9"/>
                  </a:cubicBezTo>
                  <a:cubicBezTo>
                    <a:pt x="79" y="9"/>
                    <a:pt x="80" y="6"/>
                    <a:pt x="78" y="6"/>
                  </a:cubicBezTo>
                  <a:close/>
                </a:path>
              </a:pathLst>
            </a:custGeom>
            <a:solidFill>
              <a:srgbClr val="1C1D1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2" name="Freeform 447">
              <a:extLst>
                <a:ext uri="{FF2B5EF4-FFF2-40B4-BE49-F238E27FC236}">
                  <a16:creationId xmlns:a16="http://schemas.microsoft.com/office/drawing/2014/main" id="{ACF9DDBE-F588-4044-BAAF-0AC656E2C21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513388" y="3355975"/>
              <a:ext cx="101600" cy="117475"/>
            </a:xfrm>
            <a:custGeom>
              <a:avLst/>
              <a:gdLst>
                <a:gd name="T0" fmla="*/ 58 w 60"/>
                <a:gd name="T1" fmla="*/ 6 h 70"/>
                <a:gd name="T2" fmla="*/ 15 w 60"/>
                <a:gd name="T3" fmla="*/ 30 h 70"/>
                <a:gd name="T4" fmla="*/ 21 w 60"/>
                <a:gd name="T5" fmla="*/ 68 h 70"/>
                <a:gd name="T6" fmla="*/ 23 w 60"/>
                <a:gd name="T7" fmla="*/ 66 h 70"/>
                <a:gd name="T8" fmla="*/ 58 w 60"/>
                <a:gd name="T9" fmla="*/ 9 h 70"/>
                <a:gd name="T10" fmla="*/ 58 w 60"/>
                <a:gd name="T11" fmla="*/ 6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0" h="70">
                  <a:moveTo>
                    <a:pt x="58" y="6"/>
                  </a:moveTo>
                  <a:cubicBezTo>
                    <a:pt x="40" y="0"/>
                    <a:pt x="23" y="15"/>
                    <a:pt x="15" y="30"/>
                  </a:cubicBezTo>
                  <a:cubicBezTo>
                    <a:pt x="9" y="43"/>
                    <a:pt x="11" y="58"/>
                    <a:pt x="21" y="68"/>
                  </a:cubicBezTo>
                  <a:cubicBezTo>
                    <a:pt x="22" y="70"/>
                    <a:pt x="25" y="67"/>
                    <a:pt x="23" y="66"/>
                  </a:cubicBezTo>
                  <a:cubicBezTo>
                    <a:pt x="0" y="43"/>
                    <a:pt x="29" y="4"/>
                    <a:pt x="58" y="9"/>
                  </a:cubicBezTo>
                  <a:cubicBezTo>
                    <a:pt x="59" y="9"/>
                    <a:pt x="60" y="7"/>
                    <a:pt x="58" y="6"/>
                  </a:cubicBezTo>
                  <a:close/>
                </a:path>
              </a:pathLst>
            </a:custGeom>
            <a:solidFill>
              <a:srgbClr val="1C1D1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3" name="Freeform 448">
              <a:extLst>
                <a:ext uri="{FF2B5EF4-FFF2-40B4-BE49-F238E27FC236}">
                  <a16:creationId xmlns:a16="http://schemas.microsoft.com/office/drawing/2014/main" id="{68ECFD5B-A0AA-4752-AF43-895D336432B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576888" y="3481388"/>
              <a:ext cx="4763" cy="6350"/>
            </a:xfrm>
            <a:custGeom>
              <a:avLst/>
              <a:gdLst>
                <a:gd name="T0" fmla="*/ 0 w 3"/>
                <a:gd name="T1" fmla="*/ 1 h 3"/>
                <a:gd name="T2" fmla="*/ 2 w 3"/>
                <a:gd name="T3" fmla="*/ 3 h 3"/>
                <a:gd name="T4" fmla="*/ 2 w 3"/>
                <a:gd name="T5" fmla="*/ 2 h 3"/>
                <a:gd name="T6" fmla="*/ 2 w 3"/>
                <a:gd name="T7" fmla="*/ 1 h 3"/>
                <a:gd name="T8" fmla="*/ 0 w 3"/>
                <a:gd name="T9" fmla="*/ 1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3">
                  <a:moveTo>
                    <a:pt x="0" y="1"/>
                  </a:moveTo>
                  <a:cubicBezTo>
                    <a:pt x="0" y="2"/>
                    <a:pt x="1" y="3"/>
                    <a:pt x="2" y="3"/>
                  </a:cubicBezTo>
                  <a:cubicBezTo>
                    <a:pt x="3" y="3"/>
                    <a:pt x="3" y="2"/>
                    <a:pt x="2" y="2"/>
                  </a:cubicBezTo>
                  <a:cubicBezTo>
                    <a:pt x="2" y="2"/>
                    <a:pt x="1" y="1"/>
                    <a:pt x="2" y="1"/>
                  </a:cubicBezTo>
                  <a:cubicBezTo>
                    <a:pt x="2" y="0"/>
                    <a:pt x="1" y="0"/>
                    <a:pt x="0" y="1"/>
                  </a:cubicBezTo>
                  <a:close/>
                </a:path>
              </a:pathLst>
            </a:custGeom>
            <a:solidFill>
              <a:srgbClr val="1C1D1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4" name="Freeform 449">
              <a:extLst>
                <a:ext uri="{FF2B5EF4-FFF2-40B4-BE49-F238E27FC236}">
                  <a16:creationId xmlns:a16="http://schemas.microsoft.com/office/drawing/2014/main" id="{2E7E0A19-5967-47A8-A006-E554D5B0198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564188" y="3475038"/>
              <a:ext cx="15875" cy="25400"/>
            </a:xfrm>
            <a:custGeom>
              <a:avLst/>
              <a:gdLst>
                <a:gd name="T0" fmla="*/ 1 w 9"/>
                <a:gd name="T1" fmla="*/ 4 h 15"/>
                <a:gd name="T2" fmla="*/ 5 w 9"/>
                <a:gd name="T3" fmla="*/ 14 h 15"/>
                <a:gd name="T4" fmla="*/ 8 w 9"/>
                <a:gd name="T5" fmla="*/ 14 h 15"/>
                <a:gd name="T6" fmla="*/ 5 w 9"/>
                <a:gd name="T7" fmla="*/ 3 h 15"/>
                <a:gd name="T8" fmla="*/ 1 w 9"/>
                <a:gd name="T9" fmla="*/ 4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" h="15">
                  <a:moveTo>
                    <a:pt x="1" y="4"/>
                  </a:moveTo>
                  <a:cubicBezTo>
                    <a:pt x="1" y="8"/>
                    <a:pt x="2" y="12"/>
                    <a:pt x="5" y="14"/>
                  </a:cubicBezTo>
                  <a:cubicBezTo>
                    <a:pt x="6" y="15"/>
                    <a:pt x="8" y="15"/>
                    <a:pt x="8" y="14"/>
                  </a:cubicBezTo>
                  <a:cubicBezTo>
                    <a:pt x="9" y="10"/>
                    <a:pt x="6" y="6"/>
                    <a:pt x="5" y="3"/>
                  </a:cubicBezTo>
                  <a:cubicBezTo>
                    <a:pt x="4" y="0"/>
                    <a:pt x="0" y="1"/>
                    <a:pt x="1" y="4"/>
                  </a:cubicBezTo>
                  <a:close/>
                </a:path>
              </a:pathLst>
            </a:custGeom>
            <a:solidFill>
              <a:srgbClr val="1C1D1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5" name="Freeform 450">
              <a:extLst>
                <a:ext uri="{FF2B5EF4-FFF2-40B4-BE49-F238E27FC236}">
                  <a16:creationId xmlns:a16="http://schemas.microsoft.com/office/drawing/2014/main" id="{8EB20A51-E423-4D48-B6B4-5B3CBE5ECF7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588000" y="3487738"/>
              <a:ext cx="17463" cy="15875"/>
            </a:xfrm>
            <a:custGeom>
              <a:avLst/>
              <a:gdLst>
                <a:gd name="T0" fmla="*/ 3 w 10"/>
                <a:gd name="T1" fmla="*/ 5 h 10"/>
                <a:gd name="T2" fmla="*/ 7 w 10"/>
                <a:gd name="T3" fmla="*/ 9 h 10"/>
                <a:gd name="T4" fmla="*/ 10 w 10"/>
                <a:gd name="T5" fmla="*/ 7 h 10"/>
                <a:gd name="T6" fmla="*/ 4 w 10"/>
                <a:gd name="T7" fmla="*/ 1 h 10"/>
                <a:gd name="T8" fmla="*/ 3 w 10"/>
                <a:gd name="T9" fmla="*/ 5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" h="10">
                  <a:moveTo>
                    <a:pt x="3" y="5"/>
                  </a:moveTo>
                  <a:cubicBezTo>
                    <a:pt x="5" y="6"/>
                    <a:pt x="5" y="8"/>
                    <a:pt x="7" y="9"/>
                  </a:cubicBezTo>
                  <a:cubicBezTo>
                    <a:pt x="8" y="10"/>
                    <a:pt x="10" y="9"/>
                    <a:pt x="10" y="7"/>
                  </a:cubicBezTo>
                  <a:cubicBezTo>
                    <a:pt x="9" y="5"/>
                    <a:pt x="6" y="2"/>
                    <a:pt x="4" y="1"/>
                  </a:cubicBezTo>
                  <a:cubicBezTo>
                    <a:pt x="1" y="0"/>
                    <a:pt x="0" y="4"/>
                    <a:pt x="3" y="5"/>
                  </a:cubicBezTo>
                  <a:close/>
                </a:path>
              </a:pathLst>
            </a:custGeom>
            <a:solidFill>
              <a:srgbClr val="1C1D1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6" name="Freeform 451">
              <a:extLst>
                <a:ext uri="{FF2B5EF4-FFF2-40B4-BE49-F238E27FC236}">
                  <a16:creationId xmlns:a16="http://schemas.microsoft.com/office/drawing/2014/main" id="{7EF6F052-DDE8-4259-8CFC-CD35F37351F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616575" y="3494088"/>
              <a:ext cx="9525" cy="9525"/>
            </a:xfrm>
            <a:custGeom>
              <a:avLst/>
              <a:gdLst>
                <a:gd name="T0" fmla="*/ 1 w 6"/>
                <a:gd name="T1" fmla="*/ 3 h 6"/>
                <a:gd name="T2" fmla="*/ 4 w 6"/>
                <a:gd name="T3" fmla="*/ 6 h 6"/>
                <a:gd name="T4" fmla="*/ 5 w 6"/>
                <a:gd name="T5" fmla="*/ 4 h 6"/>
                <a:gd name="T6" fmla="*/ 3 w 6"/>
                <a:gd name="T7" fmla="*/ 2 h 6"/>
                <a:gd name="T8" fmla="*/ 1 w 6"/>
                <a:gd name="T9" fmla="*/ 3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6">
                  <a:moveTo>
                    <a:pt x="1" y="3"/>
                  </a:moveTo>
                  <a:cubicBezTo>
                    <a:pt x="2" y="4"/>
                    <a:pt x="3" y="5"/>
                    <a:pt x="4" y="6"/>
                  </a:cubicBezTo>
                  <a:cubicBezTo>
                    <a:pt x="5" y="6"/>
                    <a:pt x="6" y="4"/>
                    <a:pt x="5" y="4"/>
                  </a:cubicBezTo>
                  <a:cubicBezTo>
                    <a:pt x="4" y="4"/>
                    <a:pt x="3" y="3"/>
                    <a:pt x="3" y="2"/>
                  </a:cubicBezTo>
                  <a:cubicBezTo>
                    <a:pt x="2" y="0"/>
                    <a:pt x="0" y="2"/>
                    <a:pt x="1" y="3"/>
                  </a:cubicBezTo>
                  <a:close/>
                </a:path>
              </a:pathLst>
            </a:custGeom>
            <a:solidFill>
              <a:srgbClr val="1C1D1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7" name="Freeform 452">
              <a:extLst>
                <a:ext uri="{FF2B5EF4-FFF2-40B4-BE49-F238E27FC236}">
                  <a16:creationId xmlns:a16="http://schemas.microsoft.com/office/drawing/2014/main" id="{3DCB723E-568A-4408-954C-F32E8CAEE5B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637213" y="3386138"/>
              <a:ext cx="30163" cy="68263"/>
            </a:xfrm>
            <a:custGeom>
              <a:avLst/>
              <a:gdLst>
                <a:gd name="T0" fmla="*/ 1 w 18"/>
                <a:gd name="T1" fmla="*/ 3 h 41"/>
                <a:gd name="T2" fmla="*/ 9 w 18"/>
                <a:gd name="T3" fmla="*/ 38 h 41"/>
                <a:gd name="T4" fmla="*/ 14 w 18"/>
                <a:gd name="T5" fmla="*/ 38 h 41"/>
                <a:gd name="T6" fmla="*/ 2 w 18"/>
                <a:gd name="T7" fmla="*/ 1 h 41"/>
                <a:gd name="T8" fmla="*/ 1 w 18"/>
                <a:gd name="T9" fmla="*/ 3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" h="41">
                  <a:moveTo>
                    <a:pt x="1" y="3"/>
                  </a:moveTo>
                  <a:cubicBezTo>
                    <a:pt x="10" y="11"/>
                    <a:pt x="7" y="27"/>
                    <a:pt x="9" y="38"/>
                  </a:cubicBezTo>
                  <a:cubicBezTo>
                    <a:pt x="10" y="40"/>
                    <a:pt x="13" y="41"/>
                    <a:pt x="14" y="38"/>
                  </a:cubicBezTo>
                  <a:cubicBezTo>
                    <a:pt x="18" y="24"/>
                    <a:pt x="15" y="9"/>
                    <a:pt x="2" y="1"/>
                  </a:cubicBezTo>
                  <a:cubicBezTo>
                    <a:pt x="1" y="0"/>
                    <a:pt x="0" y="2"/>
                    <a:pt x="1" y="3"/>
                  </a:cubicBezTo>
                  <a:close/>
                </a:path>
              </a:pathLst>
            </a:custGeom>
            <a:solidFill>
              <a:srgbClr val="1C1D1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8" name="Freeform 453">
              <a:extLst>
                <a:ext uri="{FF2B5EF4-FFF2-40B4-BE49-F238E27FC236}">
                  <a16:creationId xmlns:a16="http://schemas.microsoft.com/office/drawing/2014/main" id="{4AD51846-2769-4EEB-A039-66672D34B8E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386388" y="3644900"/>
              <a:ext cx="292100" cy="73025"/>
            </a:xfrm>
            <a:custGeom>
              <a:avLst/>
              <a:gdLst>
                <a:gd name="T0" fmla="*/ 4 w 174"/>
                <a:gd name="T1" fmla="*/ 8 h 43"/>
                <a:gd name="T2" fmla="*/ 78 w 174"/>
                <a:gd name="T3" fmla="*/ 27 h 43"/>
                <a:gd name="T4" fmla="*/ 168 w 174"/>
                <a:gd name="T5" fmla="*/ 42 h 43"/>
                <a:gd name="T6" fmla="*/ 170 w 174"/>
                <a:gd name="T7" fmla="*/ 36 h 43"/>
                <a:gd name="T8" fmla="*/ 89 w 174"/>
                <a:gd name="T9" fmla="*/ 22 h 43"/>
                <a:gd name="T10" fmla="*/ 7 w 174"/>
                <a:gd name="T11" fmla="*/ 1 h 43"/>
                <a:gd name="T12" fmla="*/ 4 w 174"/>
                <a:gd name="T13" fmla="*/ 8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74" h="43">
                  <a:moveTo>
                    <a:pt x="4" y="8"/>
                  </a:moveTo>
                  <a:cubicBezTo>
                    <a:pt x="27" y="18"/>
                    <a:pt x="53" y="22"/>
                    <a:pt x="78" y="27"/>
                  </a:cubicBezTo>
                  <a:cubicBezTo>
                    <a:pt x="107" y="33"/>
                    <a:pt x="138" y="40"/>
                    <a:pt x="168" y="42"/>
                  </a:cubicBezTo>
                  <a:cubicBezTo>
                    <a:pt x="172" y="43"/>
                    <a:pt x="174" y="37"/>
                    <a:pt x="170" y="36"/>
                  </a:cubicBezTo>
                  <a:cubicBezTo>
                    <a:pt x="144" y="28"/>
                    <a:pt x="115" y="27"/>
                    <a:pt x="89" y="22"/>
                  </a:cubicBezTo>
                  <a:cubicBezTo>
                    <a:pt x="62" y="16"/>
                    <a:pt x="33" y="12"/>
                    <a:pt x="7" y="1"/>
                  </a:cubicBezTo>
                  <a:cubicBezTo>
                    <a:pt x="3" y="0"/>
                    <a:pt x="0" y="6"/>
                    <a:pt x="4" y="8"/>
                  </a:cubicBezTo>
                  <a:close/>
                </a:path>
              </a:pathLst>
            </a:custGeom>
            <a:solidFill>
              <a:srgbClr val="1C1D1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9" name="Freeform 454">
              <a:extLst>
                <a:ext uri="{FF2B5EF4-FFF2-40B4-BE49-F238E27FC236}">
                  <a16:creationId xmlns:a16="http://schemas.microsoft.com/office/drawing/2014/main" id="{E0B82B10-3E0A-4211-8A28-C8319A30574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353050" y="3694113"/>
              <a:ext cx="336550" cy="84138"/>
            </a:xfrm>
            <a:custGeom>
              <a:avLst/>
              <a:gdLst>
                <a:gd name="T0" fmla="*/ 2 w 200"/>
                <a:gd name="T1" fmla="*/ 4 h 50"/>
                <a:gd name="T2" fmla="*/ 101 w 200"/>
                <a:gd name="T3" fmla="*/ 26 h 50"/>
                <a:gd name="T4" fmla="*/ 150 w 200"/>
                <a:gd name="T5" fmla="*/ 38 h 50"/>
                <a:gd name="T6" fmla="*/ 189 w 200"/>
                <a:gd name="T7" fmla="*/ 46 h 50"/>
                <a:gd name="T8" fmla="*/ 195 w 200"/>
                <a:gd name="T9" fmla="*/ 39 h 50"/>
                <a:gd name="T10" fmla="*/ 166 w 200"/>
                <a:gd name="T11" fmla="*/ 33 h 50"/>
                <a:gd name="T12" fmla="*/ 114 w 200"/>
                <a:gd name="T13" fmla="*/ 20 h 50"/>
                <a:gd name="T14" fmla="*/ 3 w 200"/>
                <a:gd name="T15" fmla="*/ 1 h 50"/>
                <a:gd name="T16" fmla="*/ 2 w 200"/>
                <a:gd name="T17" fmla="*/ 4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00" h="50">
                  <a:moveTo>
                    <a:pt x="2" y="4"/>
                  </a:moveTo>
                  <a:cubicBezTo>
                    <a:pt x="34" y="14"/>
                    <a:pt x="68" y="18"/>
                    <a:pt x="101" y="26"/>
                  </a:cubicBezTo>
                  <a:cubicBezTo>
                    <a:pt x="117" y="30"/>
                    <a:pt x="134" y="34"/>
                    <a:pt x="150" y="38"/>
                  </a:cubicBezTo>
                  <a:cubicBezTo>
                    <a:pt x="159" y="40"/>
                    <a:pt x="183" y="40"/>
                    <a:pt x="189" y="46"/>
                  </a:cubicBezTo>
                  <a:cubicBezTo>
                    <a:pt x="193" y="50"/>
                    <a:pt x="200" y="43"/>
                    <a:pt x="195" y="39"/>
                  </a:cubicBezTo>
                  <a:cubicBezTo>
                    <a:pt x="187" y="32"/>
                    <a:pt x="176" y="34"/>
                    <a:pt x="166" y="33"/>
                  </a:cubicBezTo>
                  <a:cubicBezTo>
                    <a:pt x="148" y="29"/>
                    <a:pt x="131" y="24"/>
                    <a:pt x="114" y="20"/>
                  </a:cubicBezTo>
                  <a:cubicBezTo>
                    <a:pt x="78" y="12"/>
                    <a:pt x="40" y="4"/>
                    <a:pt x="3" y="1"/>
                  </a:cubicBezTo>
                  <a:cubicBezTo>
                    <a:pt x="1" y="0"/>
                    <a:pt x="0" y="3"/>
                    <a:pt x="2" y="4"/>
                  </a:cubicBezTo>
                  <a:close/>
                </a:path>
              </a:pathLst>
            </a:custGeom>
            <a:solidFill>
              <a:srgbClr val="1C1D1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0" name="Freeform 455">
              <a:extLst>
                <a:ext uri="{FF2B5EF4-FFF2-40B4-BE49-F238E27FC236}">
                  <a16:creationId xmlns:a16="http://schemas.microsoft.com/office/drawing/2014/main" id="{19043D00-3548-41CA-A5C7-8415E00CE24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013450" y="2886075"/>
              <a:ext cx="919163" cy="939800"/>
            </a:xfrm>
            <a:custGeom>
              <a:avLst/>
              <a:gdLst>
                <a:gd name="T0" fmla="*/ 11 w 546"/>
                <a:gd name="T1" fmla="*/ 321 h 560"/>
                <a:gd name="T2" fmla="*/ 35 w 546"/>
                <a:gd name="T3" fmla="*/ 173 h 560"/>
                <a:gd name="T4" fmla="*/ 123 w 546"/>
                <a:gd name="T5" fmla="*/ 74 h 560"/>
                <a:gd name="T6" fmla="*/ 381 w 546"/>
                <a:gd name="T7" fmla="*/ 40 h 560"/>
                <a:gd name="T8" fmla="*/ 531 w 546"/>
                <a:gd name="T9" fmla="*/ 229 h 560"/>
                <a:gd name="T10" fmla="*/ 456 w 546"/>
                <a:gd name="T11" fmla="*/ 468 h 560"/>
                <a:gd name="T12" fmla="*/ 313 w 546"/>
                <a:gd name="T13" fmla="*/ 541 h 560"/>
                <a:gd name="T14" fmla="*/ 139 w 546"/>
                <a:gd name="T15" fmla="*/ 510 h 560"/>
                <a:gd name="T16" fmla="*/ 135 w 546"/>
                <a:gd name="T17" fmla="*/ 518 h 560"/>
                <a:gd name="T18" fmla="*/ 295 w 546"/>
                <a:gd name="T19" fmla="*/ 553 h 560"/>
                <a:gd name="T20" fmla="*/ 433 w 546"/>
                <a:gd name="T21" fmla="*/ 499 h 560"/>
                <a:gd name="T22" fmla="*/ 543 w 546"/>
                <a:gd name="T23" fmla="*/ 269 h 560"/>
                <a:gd name="T24" fmla="*/ 416 w 546"/>
                <a:gd name="T25" fmla="*/ 49 h 560"/>
                <a:gd name="T26" fmla="*/ 155 w 546"/>
                <a:gd name="T27" fmla="*/ 45 h 560"/>
                <a:gd name="T28" fmla="*/ 40 w 546"/>
                <a:gd name="T29" fmla="*/ 148 h 560"/>
                <a:gd name="T30" fmla="*/ 5 w 546"/>
                <a:gd name="T31" fmla="*/ 320 h 560"/>
                <a:gd name="T32" fmla="*/ 11 w 546"/>
                <a:gd name="T33" fmla="*/ 321 h 5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546" h="560">
                  <a:moveTo>
                    <a:pt x="11" y="321"/>
                  </a:moveTo>
                  <a:cubicBezTo>
                    <a:pt x="8" y="269"/>
                    <a:pt x="11" y="220"/>
                    <a:pt x="35" y="173"/>
                  </a:cubicBezTo>
                  <a:cubicBezTo>
                    <a:pt x="55" y="133"/>
                    <a:pt x="86" y="99"/>
                    <a:pt x="123" y="74"/>
                  </a:cubicBezTo>
                  <a:cubicBezTo>
                    <a:pt x="197" y="22"/>
                    <a:pt x="296" y="3"/>
                    <a:pt x="381" y="40"/>
                  </a:cubicBezTo>
                  <a:cubicBezTo>
                    <a:pt x="458" y="74"/>
                    <a:pt x="516" y="147"/>
                    <a:pt x="531" y="229"/>
                  </a:cubicBezTo>
                  <a:cubicBezTo>
                    <a:pt x="546" y="314"/>
                    <a:pt x="519" y="408"/>
                    <a:pt x="456" y="468"/>
                  </a:cubicBezTo>
                  <a:cubicBezTo>
                    <a:pt x="417" y="506"/>
                    <a:pt x="366" y="530"/>
                    <a:pt x="313" y="541"/>
                  </a:cubicBezTo>
                  <a:cubicBezTo>
                    <a:pt x="251" y="553"/>
                    <a:pt x="194" y="540"/>
                    <a:pt x="139" y="510"/>
                  </a:cubicBezTo>
                  <a:cubicBezTo>
                    <a:pt x="134" y="507"/>
                    <a:pt x="130" y="515"/>
                    <a:pt x="135" y="518"/>
                  </a:cubicBezTo>
                  <a:cubicBezTo>
                    <a:pt x="184" y="545"/>
                    <a:pt x="238" y="560"/>
                    <a:pt x="295" y="553"/>
                  </a:cubicBezTo>
                  <a:cubicBezTo>
                    <a:pt x="344" y="546"/>
                    <a:pt x="393" y="528"/>
                    <a:pt x="433" y="499"/>
                  </a:cubicBezTo>
                  <a:cubicBezTo>
                    <a:pt x="505" y="446"/>
                    <a:pt x="545" y="358"/>
                    <a:pt x="543" y="269"/>
                  </a:cubicBezTo>
                  <a:cubicBezTo>
                    <a:pt x="541" y="180"/>
                    <a:pt x="492" y="95"/>
                    <a:pt x="416" y="49"/>
                  </a:cubicBezTo>
                  <a:cubicBezTo>
                    <a:pt x="336" y="0"/>
                    <a:pt x="237" y="3"/>
                    <a:pt x="155" y="45"/>
                  </a:cubicBezTo>
                  <a:cubicBezTo>
                    <a:pt x="109" y="69"/>
                    <a:pt x="67" y="104"/>
                    <a:pt x="40" y="148"/>
                  </a:cubicBezTo>
                  <a:cubicBezTo>
                    <a:pt x="7" y="201"/>
                    <a:pt x="0" y="259"/>
                    <a:pt x="5" y="320"/>
                  </a:cubicBezTo>
                  <a:cubicBezTo>
                    <a:pt x="6" y="324"/>
                    <a:pt x="12" y="324"/>
                    <a:pt x="11" y="321"/>
                  </a:cubicBezTo>
                  <a:close/>
                </a:path>
              </a:pathLst>
            </a:custGeom>
            <a:solidFill>
              <a:srgbClr val="1C1D1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1" name="Freeform 456">
              <a:extLst>
                <a:ext uri="{FF2B5EF4-FFF2-40B4-BE49-F238E27FC236}">
                  <a16:creationId xmlns:a16="http://schemas.microsoft.com/office/drawing/2014/main" id="{0854016C-9763-48F1-B410-F77015C3D93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260850" y="2552700"/>
              <a:ext cx="1019175" cy="931863"/>
            </a:xfrm>
            <a:custGeom>
              <a:avLst/>
              <a:gdLst>
                <a:gd name="T0" fmla="*/ 563 w 606"/>
                <a:gd name="T1" fmla="*/ 402 h 555"/>
                <a:gd name="T2" fmla="*/ 561 w 606"/>
                <a:gd name="T3" fmla="*/ 402 h 555"/>
                <a:gd name="T4" fmla="*/ 563 w 606"/>
                <a:gd name="T5" fmla="*/ 408 h 555"/>
                <a:gd name="T6" fmla="*/ 602 w 606"/>
                <a:gd name="T7" fmla="*/ 266 h 555"/>
                <a:gd name="T8" fmla="*/ 551 w 606"/>
                <a:gd name="T9" fmla="*/ 133 h 555"/>
                <a:gd name="T10" fmla="*/ 324 w 606"/>
                <a:gd name="T11" fmla="*/ 6 h 555"/>
                <a:gd name="T12" fmla="*/ 76 w 606"/>
                <a:gd name="T13" fmla="*/ 387 h 555"/>
                <a:gd name="T14" fmla="*/ 187 w 606"/>
                <a:gd name="T15" fmla="*/ 510 h 555"/>
                <a:gd name="T16" fmla="*/ 360 w 606"/>
                <a:gd name="T17" fmla="*/ 546 h 555"/>
                <a:gd name="T18" fmla="*/ 359 w 606"/>
                <a:gd name="T19" fmla="*/ 537 h 555"/>
                <a:gd name="T20" fmla="*/ 210 w 606"/>
                <a:gd name="T21" fmla="*/ 512 h 555"/>
                <a:gd name="T22" fmla="*/ 104 w 606"/>
                <a:gd name="T23" fmla="*/ 417 h 555"/>
                <a:gd name="T24" fmla="*/ 101 w 606"/>
                <a:gd name="T25" fmla="*/ 153 h 555"/>
                <a:gd name="T26" fmla="*/ 288 w 606"/>
                <a:gd name="T27" fmla="*/ 17 h 555"/>
                <a:gd name="T28" fmla="*/ 517 w 606"/>
                <a:gd name="T29" fmla="*/ 107 h 555"/>
                <a:gd name="T30" fmla="*/ 587 w 606"/>
                <a:gd name="T31" fmla="*/ 233 h 555"/>
                <a:gd name="T32" fmla="*/ 557 w 606"/>
                <a:gd name="T33" fmla="*/ 403 h 555"/>
                <a:gd name="T34" fmla="*/ 559 w 606"/>
                <a:gd name="T35" fmla="*/ 409 h 555"/>
                <a:gd name="T36" fmla="*/ 560 w 606"/>
                <a:gd name="T37" fmla="*/ 410 h 555"/>
                <a:gd name="T38" fmla="*/ 563 w 606"/>
                <a:gd name="T39" fmla="*/ 402 h 5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606" h="555">
                  <a:moveTo>
                    <a:pt x="563" y="402"/>
                  </a:moveTo>
                  <a:cubicBezTo>
                    <a:pt x="562" y="402"/>
                    <a:pt x="562" y="402"/>
                    <a:pt x="561" y="402"/>
                  </a:cubicBezTo>
                  <a:cubicBezTo>
                    <a:pt x="562" y="404"/>
                    <a:pt x="563" y="406"/>
                    <a:pt x="563" y="408"/>
                  </a:cubicBezTo>
                  <a:cubicBezTo>
                    <a:pt x="587" y="363"/>
                    <a:pt x="606" y="318"/>
                    <a:pt x="602" y="266"/>
                  </a:cubicBezTo>
                  <a:cubicBezTo>
                    <a:pt x="599" y="218"/>
                    <a:pt x="579" y="172"/>
                    <a:pt x="551" y="133"/>
                  </a:cubicBezTo>
                  <a:cubicBezTo>
                    <a:pt x="499" y="61"/>
                    <a:pt x="414" y="8"/>
                    <a:pt x="324" y="6"/>
                  </a:cubicBezTo>
                  <a:cubicBezTo>
                    <a:pt x="139" y="0"/>
                    <a:pt x="0" y="221"/>
                    <a:pt x="76" y="387"/>
                  </a:cubicBezTo>
                  <a:cubicBezTo>
                    <a:pt x="99" y="438"/>
                    <a:pt x="141" y="480"/>
                    <a:pt x="187" y="510"/>
                  </a:cubicBezTo>
                  <a:cubicBezTo>
                    <a:pt x="241" y="545"/>
                    <a:pt x="297" y="555"/>
                    <a:pt x="360" y="546"/>
                  </a:cubicBezTo>
                  <a:cubicBezTo>
                    <a:pt x="366" y="546"/>
                    <a:pt x="365" y="536"/>
                    <a:pt x="359" y="537"/>
                  </a:cubicBezTo>
                  <a:cubicBezTo>
                    <a:pt x="306" y="544"/>
                    <a:pt x="257" y="538"/>
                    <a:pt x="210" y="512"/>
                  </a:cubicBezTo>
                  <a:cubicBezTo>
                    <a:pt x="168" y="489"/>
                    <a:pt x="130" y="456"/>
                    <a:pt x="104" y="417"/>
                  </a:cubicBezTo>
                  <a:cubicBezTo>
                    <a:pt x="49" y="337"/>
                    <a:pt x="56" y="235"/>
                    <a:pt x="101" y="153"/>
                  </a:cubicBezTo>
                  <a:cubicBezTo>
                    <a:pt x="139" y="82"/>
                    <a:pt x="207" y="27"/>
                    <a:pt x="288" y="17"/>
                  </a:cubicBezTo>
                  <a:cubicBezTo>
                    <a:pt x="374" y="7"/>
                    <a:pt x="459" y="46"/>
                    <a:pt x="517" y="107"/>
                  </a:cubicBezTo>
                  <a:cubicBezTo>
                    <a:pt x="550" y="143"/>
                    <a:pt x="576" y="186"/>
                    <a:pt x="587" y="233"/>
                  </a:cubicBezTo>
                  <a:cubicBezTo>
                    <a:pt x="601" y="295"/>
                    <a:pt x="585" y="348"/>
                    <a:pt x="557" y="403"/>
                  </a:cubicBezTo>
                  <a:cubicBezTo>
                    <a:pt x="555" y="405"/>
                    <a:pt x="556" y="409"/>
                    <a:pt x="559" y="409"/>
                  </a:cubicBezTo>
                  <a:cubicBezTo>
                    <a:pt x="559" y="409"/>
                    <a:pt x="560" y="410"/>
                    <a:pt x="560" y="410"/>
                  </a:cubicBezTo>
                  <a:cubicBezTo>
                    <a:pt x="565" y="411"/>
                    <a:pt x="568" y="403"/>
                    <a:pt x="563" y="402"/>
                  </a:cubicBezTo>
                  <a:close/>
                </a:path>
              </a:pathLst>
            </a:custGeom>
            <a:solidFill>
              <a:srgbClr val="1C1D1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2" name="Freeform 457">
              <a:extLst>
                <a:ext uri="{FF2B5EF4-FFF2-40B4-BE49-F238E27FC236}">
                  <a16:creationId xmlns:a16="http://schemas.microsoft.com/office/drawing/2014/main" id="{91C57AF5-C0EB-4CD0-AF61-D1DD48870FF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57650" y="2943225"/>
              <a:ext cx="811213" cy="1155700"/>
            </a:xfrm>
            <a:custGeom>
              <a:avLst/>
              <a:gdLst>
                <a:gd name="T0" fmla="*/ 185 w 483"/>
                <a:gd name="T1" fmla="*/ 2 h 688"/>
                <a:gd name="T2" fmla="*/ 84 w 483"/>
                <a:gd name="T3" fmla="*/ 257 h 688"/>
                <a:gd name="T4" fmla="*/ 30 w 483"/>
                <a:gd name="T5" fmla="*/ 379 h 688"/>
                <a:gd name="T6" fmla="*/ 1 w 483"/>
                <a:gd name="T7" fmla="*/ 495 h 688"/>
                <a:gd name="T8" fmla="*/ 115 w 483"/>
                <a:gd name="T9" fmla="*/ 653 h 688"/>
                <a:gd name="T10" fmla="*/ 310 w 483"/>
                <a:gd name="T11" fmla="*/ 621 h 688"/>
                <a:gd name="T12" fmla="*/ 479 w 483"/>
                <a:gd name="T13" fmla="*/ 419 h 688"/>
                <a:gd name="T14" fmla="*/ 472 w 483"/>
                <a:gd name="T15" fmla="*/ 413 h 688"/>
                <a:gd name="T16" fmla="*/ 343 w 483"/>
                <a:gd name="T17" fmla="*/ 578 h 688"/>
                <a:gd name="T18" fmla="*/ 137 w 483"/>
                <a:gd name="T19" fmla="*/ 652 h 688"/>
                <a:gd name="T20" fmla="*/ 11 w 483"/>
                <a:gd name="T21" fmla="*/ 480 h 688"/>
                <a:gd name="T22" fmla="*/ 46 w 483"/>
                <a:gd name="T23" fmla="*/ 369 h 688"/>
                <a:gd name="T24" fmla="*/ 93 w 483"/>
                <a:gd name="T25" fmla="*/ 260 h 688"/>
                <a:gd name="T26" fmla="*/ 189 w 483"/>
                <a:gd name="T27" fmla="*/ 4 h 688"/>
                <a:gd name="T28" fmla="*/ 185 w 483"/>
                <a:gd name="T29" fmla="*/ 2 h 6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83" h="688">
                  <a:moveTo>
                    <a:pt x="185" y="2"/>
                  </a:moveTo>
                  <a:cubicBezTo>
                    <a:pt x="149" y="86"/>
                    <a:pt x="120" y="173"/>
                    <a:pt x="84" y="257"/>
                  </a:cubicBezTo>
                  <a:cubicBezTo>
                    <a:pt x="66" y="297"/>
                    <a:pt x="48" y="338"/>
                    <a:pt x="30" y="379"/>
                  </a:cubicBezTo>
                  <a:cubicBezTo>
                    <a:pt x="15" y="416"/>
                    <a:pt x="0" y="454"/>
                    <a:pt x="1" y="495"/>
                  </a:cubicBezTo>
                  <a:cubicBezTo>
                    <a:pt x="2" y="566"/>
                    <a:pt x="55" y="622"/>
                    <a:pt x="115" y="653"/>
                  </a:cubicBezTo>
                  <a:cubicBezTo>
                    <a:pt x="184" y="688"/>
                    <a:pt x="253" y="668"/>
                    <a:pt x="310" y="621"/>
                  </a:cubicBezTo>
                  <a:cubicBezTo>
                    <a:pt x="379" y="565"/>
                    <a:pt x="426" y="490"/>
                    <a:pt x="479" y="419"/>
                  </a:cubicBezTo>
                  <a:cubicBezTo>
                    <a:pt x="483" y="414"/>
                    <a:pt x="475" y="408"/>
                    <a:pt x="472" y="413"/>
                  </a:cubicBezTo>
                  <a:cubicBezTo>
                    <a:pt x="431" y="470"/>
                    <a:pt x="392" y="528"/>
                    <a:pt x="343" y="578"/>
                  </a:cubicBezTo>
                  <a:cubicBezTo>
                    <a:pt x="289" y="634"/>
                    <a:pt x="218" y="683"/>
                    <a:pt x="137" y="652"/>
                  </a:cubicBezTo>
                  <a:cubicBezTo>
                    <a:pt x="67" y="625"/>
                    <a:pt x="6" y="559"/>
                    <a:pt x="11" y="480"/>
                  </a:cubicBezTo>
                  <a:cubicBezTo>
                    <a:pt x="14" y="441"/>
                    <a:pt x="31" y="404"/>
                    <a:pt x="46" y="369"/>
                  </a:cubicBezTo>
                  <a:cubicBezTo>
                    <a:pt x="61" y="332"/>
                    <a:pt x="77" y="296"/>
                    <a:pt x="93" y="260"/>
                  </a:cubicBezTo>
                  <a:cubicBezTo>
                    <a:pt x="129" y="177"/>
                    <a:pt x="165" y="91"/>
                    <a:pt x="189" y="4"/>
                  </a:cubicBezTo>
                  <a:cubicBezTo>
                    <a:pt x="190" y="1"/>
                    <a:pt x="186" y="0"/>
                    <a:pt x="185" y="2"/>
                  </a:cubicBezTo>
                  <a:close/>
                </a:path>
              </a:pathLst>
            </a:custGeom>
            <a:solidFill>
              <a:srgbClr val="1C1D1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3" name="Freeform 458">
              <a:extLst>
                <a:ext uri="{FF2B5EF4-FFF2-40B4-BE49-F238E27FC236}">
                  <a16:creationId xmlns:a16="http://schemas.microsoft.com/office/drawing/2014/main" id="{5F7D1ABE-020F-4ECE-9647-1B0097D9E4F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154738" y="3484563"/>
              <a:ext cx="746125" cy="1031875"/>
            </a:xfrm>
            <a:custGeom>
              <a:avLst/>
              <a:gdLst>
                <a:gd name="T0" fmla="*/ 1 w 444"/>
                <a:gd name="T1" fmla="*/ 243 h 614"/>
                <a:gd name="T2" fmla="*/ 40 w 444"/>
                <a:gd name="T3" fmla="*/ 373 h 614"/>
                <a:gd name="T4" fmla="*/ 68 w 444"/>
                <a:gd name="T5" fmla="*/ 489 h 614"/>
                <a:gd name="T6" fmla="*/ 129 w 444"/>
                <a:gd name="T7" fmla="*/ 576 h 614"/>
                <a:gd name="T8" fmla="*/ 225 w 444"/>
                <a:gd name="T9" fmla="*/ 613 h 614"/>
                <a:gd name="T10" fmla="*/ 336 w 444"/>
                <a:gd name="T11" fmla="*/ 602 h 614"/>
                <a:gd name="T12" fmla="*/ 400 w 444"/>
                <a:gd name="T13" fmla="*/ 544 h 614"/>
                <a:gd name="T14" fmla="*/ 437 w 444"/>
                <a:gd name="T15" fmla="*/ 434 h 614"/>
                <a:gd name="T16" fmla="*/ 438 w 444"/>
                <a:gd name="T17" fmla="*/ 310 h 614"/>
                <a:gd name="T18" fmla="*/ 444 w 444"/>
                <a:gd name="T19" fmla="*/ 168 h 614"/>
                <a:gd name="T20" fmla="*/ 442 w 444"/>
                <a:gd name="T21" fmla="*/ 92 h 614"/>
                <a:gd name="T22" fmla="*/ 444 w 444"/>
                <a:gd name="T23" fmla="*/ 6 h 614"/>
                <a:gd name="T24" fmla="*/ 436 w 444"/>
                <a:gd name="T25" fmla="*/ 6 h 614"/>
                <a:gd name="T26" fmla="*/ 433 w 444"/>
                <a:gd name="T27" fmla="*/ 120 h 614"/>
                <a:gd name="T28" fmla="*/ 432 w 444"/>
                <a:gd name="T29" fmla="*/ 249 h 614"/>
                <a:gd name="T30" fmla="*/ 429 w 444"/>
                <a:gd name="T31" fmla="*/ 362 h 614"/>
                <a:gd name="T32" fmla="*/ 417 w 444"/>
                <a:gd name="T33" fmla="*/ 480 h 614"/>
                <a:gd name="T34" fmla="*/ 368 w 444"/>
                <a:gd name="T35" fmla="*/ 573 h 614"/>
                <a:gd name="T36" fmla="*/ 252 w 444"/>
                <a:gd name="T37" fmla="*/ 603 h 614"/>
                <a:gd name="T38" fmla="*/ 140 w 444"/>
                <a:gd name="T39" fmla="*/ 573 h 614"/>
                <a:gd name="T40" fmla="*/ 71 w 444"/>
                <a:gd name="T41" fmla="*/ 473 h 614"/>
                <a:gd name="T42" fmla="*/ 43 w 444"/>
                <a:gd name="T43" fmla="*/ 351 h 614"/>
                <a:gd name="T44" fmla="*/ 5 w 444"/>
                <a:gd name="T45" fmla="*/ 241 h 614"/>
                <a:gd name="T46" fmla="*/ 1 w 444"/>
                <a:gd name="T47" fmla="*/ 243 h 6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444" h="614">
                  <a:moveTo>
                    <a:pt x="1" y="243"/>
                  </a:moveTo>
                  <a:cubicBezTo>
                    <a:pt x="16" y="286"/>
                    <a:pt x="31" y="328"/>
                    <a:pt x="40" y="373"/>
                  </a:cubicBezTo>
                  <a:cubicBezTo>
                    <a:pt x="47" y="412"/>
                    <a:pt x="53" y="452"/>
                    <a:pt x="68" y="489"/>
                  </a:cubicBezTo>
                  <a:cubicBezTo>
                    <a:pt x="81" y="521"/>
                    <a:pt x="102" y="553"/>
                    <a:pt x="129" y="576"/>
                  </a:cubicBezTo>
                  <a:cubicBezTo>
                    <a:pt x="156" y="601"/>
                    <a:pt x="189" y="611"/>
                    <a:pt x="225" y="613"/>
                  </a:cubicBezTo>
                  <a:cubicBezTo>
                    <a:pt x="261" y="614"/>
                    <a:pt x="301" y="612"/>
                    <a:pt x="336" y="602"/>
                  </a:cubicBezTo>
                  <a:cubicBezTo>
                    <a:pt x="367" y="593"/>
                    <a:pt x="385" y="572"/>
                    <a:pt x="400" y="544"/>
                  </a:cubicBezTo>
                  <a:cubicBezTo>
                    <a:pt x="418" y="511"/>
                    <a:pt x="432" y="472"/>
                    <a:pt x="437" y="434"/>
                  </a:cubicBezTo>
                  <a:cubicBezTo>
                    <a:pt x="442" y="393"/>
                    <a:pt x="437" y="351"/>
                    <a:pt x="438" y="310"/>
                  </a:cubicBezTo>
                  <a:cubicBezTo>
                    <a:pt x="440" y="263"/>
                    <a:pt x="444" y="216"/>
                    <a:pt x="444" y="168"/>
                  </a:cubicBezTo>
                  <a:cubicBezTo>
                    <a:pt x="444" y="143"/>
                    <a:pt x="442" y="117"/>
                    <a:pt x="442" y="92"/>
                  </a:cubicBezTo>
                  <a:cubicBezTo>
                    <a:pt x="442" y="63"/>
                    <a:pt x="444" y="35"/>
                    <a:pt x="444" y="6"/>
                  </a:cubicBezTo>
                  <a:cubicBezTo>
                    <a:pt x="444" y="1"/>
                    <a:pt x="437" y="0"/>
                    <a:pt x="436" y="6"/>
                  </a:cubicBezTo>
                  <a:cubicBezTo>
                    <a:pt x="431" y="43"/>
                    <a:pt x="432" y="82"/>
                    <a:pt x="433" y="120"/>
                  </a:cubicBezTo>
                  <a:cubicBezTo>
                    <a:pt x="434" y="163"/>
                    <a:pt x="434" y="205"/>
                    <a:pt x="432" y="249"/>
                  </a:cubicBezTo>
                  <a:cubicBezTo>
                    <a:pt x="430" y="287"/>
                    <a:pt x="429" y="324"/>
                    <a:pt x="429" y="362"/>
                  </a:cubicBezTo>
                  <a:cubicBezTo>
                    <a:pt x="429" y="402"/>
                    <a:pt x="429" y="441"/>
                    <a:pt x="417" y="480"/>
                  </a:cubicBezTo>
                  <a:cubicBezTo>
                    <a:pt x="406" y="512"/>
                    <a:pt x="392" y="549"/>
                    <a:pt x="368" y="573"/>
                  </a:cubicBezTo>
                  <a:cubicBezTo>
                    <a:pt x="339" y="601"/>
                    <a:pt x="289" y="601"/>
                    <a:pt x="252" y="603"/>
                  </a:cubicBezTo>
                  <a:cubicBezTo>
                    <a:pt x="211" y="605"/>
                    <a:pt x="172" y="599"/>
                    <a:pt x="140" y="573"/>
                  </a:cubicBezTo>
                  <a:cubicBezTo>
                    <a:pt x="109" y="548"/>
                    <a:pt x="85" y="510"/>
                    <a:pt x="71" y="473"/>
                  </a:cubicBezTo>
                  <a:cubicBezTo>
                    <a:pt x="56" y="434"/>
                    <a:pt x="52" y="392"/>
                    <a:pt x="43" y="351"/>
                  </a:cubicBezTo>
                  <a:cubicBezTo>
                    <a:pt x="34" y="314"/>
                    <a:pt x="23" y="275"/>
                    <a:pt x="5" y="241"/>
                  </a:cubicBezTo>
                  <a:cubicBezTo>
                    <a:pt x="4" y="239"/>
                    <a:pt x="0" y="240"/>
                    <a:pt x="1" y="243"/>
                  </a:cubicBezTo>
                  <a:close/>
                </a:path>
              </a:pathLst>
            </a:custGeom>
            <a:solidFill>
              <a:srgbClr val="1C1D1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4" name="Freeform 459">
              <a:extLst>
                <a:ext uri="{FF2B5EF4-FFF2-40B4-BE49-F238E27FC236}">
                  <a16:creationId xmlns:a16="http://schemas.microsoft.com/office/drawing/2014/main" id="{E1673E33-B9D2-4790-88A0-6993DD8FA9B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723063" y="3722688"/>
              <a:ext cx="111125" cy="168275"/>
            </a:xfrm>
            <a:custGeom>
              <a:avLst/>
              <a:gdLst>
                <a:gd name="T0" fmla="*/ 63 w 66"/>
                <a:gd name="T1" fmla="*/ 1 h 100"/>
                <a:gd name="T2" fmla="*/ 35 w 66"/>
                <a:gd name="T3" fmla="*/ 52 h 100"/>
                <a:gd name="T4" fmla="*/ 2 w 66"/>
                <a:gd name="T5" fmla="*/ 95 h 100"/>
                <a:gd name="T6" fmla="*/ 5 w 66"/>
                <a:gd name="T7" fmla="*/ 98 h 100"/>
                <a:gd name="T8" fmla="*/ 42 w 66"/>
                <a:gd name="T9" fmla="*/ 50 h 100"/>
                <a:gd name="T10" fmla="*/ 66 w 66"/>
                <a:gd name="T11" fmla="*/ 2 h 100"/>
                <a:gd name="T12" fmla="*/ 63 w 66"/>
                <a:gd name="T13" fmla="*/ 1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6" h="100">
                  <a:moveTo>
                    <a:pt x="63" y="1"/>
                  </a:moveTo>
                  <a:cubicBezTo>
                    <a:pt x="55" y="19"/>
                    <a:pt x="45" y="35"/>
                    <a:pt x="35" y="52"/>
                  </a:cubicBezTo>
                  <a:cubicBezTo>
                    <a:pt x="25" y="67"/>
                    <a:pt x="12" y="80"/>
                    <a:pt x="2" y="95"/>
                  </a:cubicBezTo>
                  <a:cubicBezTo>
                    <a:pt x="0" y="98"/>
                    <a:pt x="4" y="100"/>
                    <a:pt x="5" y="98"/>
                  </a:cubicBezTo>
                  <a:cubicBezTo>
                    <a:pt x="18" y="82"/>
                    <a:pt x="32" y="68"/>
                    <a:pt x="42" y="50"/>
                  </a:cubicBezTo>
                  <a:cubicBezTo>
                    <a:pt x="52" y="34"/>
                    <a:pt x="59" y="19"/>
                    <a:pt x="66" y="2"/>
                  </a:cubicBezTo>
                  <a:cubicBezTo>
                    <a:pt x="66" y="1"/>
                    <a:pt x="64" y="0"/>
                    <a:pt x="63" y="1"/>
                  </a:cubicBezTo>
                  <a:close/>
                </a:path>
              </a:pathLst>
            </a:custGeom>
            <a:solidFill>
              <a:srgbClr val="1C1D1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5" name="Freeform 460">
              <a:extLst>
                <a:ext uri="{FF2B5EF4-FFF2-40B4-BE49-F238E27FC236}">
                  <a16:creationId xmlns:a16="http://schemas.microsoft.com/office/drawing/2014/main" id="{4205F5A1-B8FB-46AD-80D5-D50D19DF8EC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713538" y="3803650"/>
              <a:ext cx="107950" cy="138113"/>
            </a:xfrm>
            <a:custGeom>
              <a:avLst/>
              <a:gdLst>
                <a:gd name="T0" fmla="*/ 60 w 64"/>
                <a:gd name="T1" fmla="*/ 2 h 83"/>
                <a:gd name="T2" fmla="*/ 2 w 64"/>
                <a:gd name="T3" fmla="*/ 80 h 83"/>
                <a:gd name="T4" fmla="*/ 4 w 64"/>
                <a:gd name="T5" fmla="*/ 82 h 83"/>
                <a:gd name="T6" fmla="*/ 63 w 64"/>
                <a:gd name="T7" fmla="*/ 4 h 83"/>
                <a:gd name="T8" fmla="*/ 60 w 64"/>
                <a:gd name="T9" fmla="*/ 2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4" h="83">
                  <a:moveTo>
                    <a:pt x="60" y="2"/>
                  </a:moveTo>
                  <a:cubicBezTo>
                    <a:pt x="47" y="32"/>
                    <a:pt x="24" y="57"/>
                    <a:pt x="2" y="80"/>
                  </a:cubicBezTo>
                  <a:cubicBezTo>
                    <a:pt x="0" y="81"/>
                    <a:pt x="2" y="83"/>
                    <a:pt x="4" y="82"/>
                  </a:cubicBezTo>
                  <a:cubicBezTo>
                    <a:pt x="27" y="60"/>
                    <a:pt x="51" y="34"/>
                    <a:pt x="63" y="4"/>
                  </a:cubicBezTo>
                  <a:cubicBezTo>
                    <a:pt x="64" y="2"/>
                    <a:pt x="61" y="0"/>
                    <a:pt x="60" y="2"/>
                  </a:cubicBezTo>
                  <a:close/>
                </a:path>
              </a:pathLst>
            </a:custGeom>
            <a:solidFill>
              <a:srgbClr val="1C1D1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6" name="Freeform 461">
              <a:extLst>
                <a:ext uri="{FF2B5EF4-FFF2-40B4-BE49-F238E27FC236}">
                  <a16:creationId xmlns:a16="http://schemas.microsoft.com/office/drawing/2014/main" id="{3830926B-DFD7-4EEB-89C2-C4105C0C6BA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792913" y="3892550"/>
              <a:ext cx="7938" cy="12700"/>
            </a:xfrm>
            <a:custGeom>
              <a:avLst/>
              <a:gdLst>
                <a:gd name="T0" fmla="*/ 4 w 5"/>
                <a:gd name="T1" fmla="*/ 1 h 8"/>
                <a:gd name="T2" fmla="*/ 1 w 5"/>
                <a:gd name="T3" fmla="*/ 7 h 8"/>
                <a:gd name="T4" fmla="*/ 1 w 5"/>
                <a:gd name="T5" fmla="*/ 7 h 8"/>
                <a:gd name="T6" fmla="*/ 4 w 5"/>
                <a:gd name="T7" fmla="*/ 1 h 8"/>
                <a:gd name="T8" fmla="*/ 4 w 5"/>
                <a:gd name="T9" fmla="*/ 1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8">
                  <a:moveTo>
                    <a:pt x="4" y="1"/>
                  </a:moveTo>
                  <a:cubicBezTo>
                    <a:pt x="3" y="3"/>
                    <a:pt x="1" y="5"/>
                    <a:pt x="1" y="7"/>
                  </a:cubicBezTo>
                  <a:cubicBezTo>
                    <a:pt x="0" y="8"/>
                    <a:pt x="1" y="8"/>
                    <a:pt x="1" y="7"/>
                  </a:cubicBezTo>
                  <a:cubicBezTo>
                    <a:pt x="2" y="5"/>
                    <a:pt x="4" y="3"/>
                    <a:pt x="4" y="1"/>
                  </a:cubicBezTo>
                  <a:cubicBezTo>
                    <a:pt x="5" y="0"/>
                    <a:pt x="4" y="0"/>
                    <a:pt x="4" y="1"/>
                  </a:cubicBezTo>
                  <a:close/>
                </a:path>
              </a:pathLst>
            </a:custGeom>
            <a:solidFill>
              <a:srgbClr val="1C1D1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7" name="Freeform 462">
              <a:extLst>
                <a:ext uri="{FF2B5EF4-FFF2-40B4-BE49-F238E27FC236}">
                  <a16:creationId xmlns:a16="http://schemas.microsoft.com/office/drawing/2014/main" id="{AEB88200-6F28-4D62-8596-5C8633D9249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746875" y="3956050"/>
              <a:ext cx="11113" cy="15875"/>
            </a:xfrm>
            <a:custGeom>
              <a:avLst/>
              <a:gdLst>
                <a:gd name="T0" fmla="*/ 4 w 7"/>
                <a:gd name="T1" fmla="*/ 1 h 10"/>
                <a:gd name="T2" fmla="*/ 1 w 7"/>
                <a:gd name="T3" fmla="*/ 7 h 10"/>
                <a:gd name="T4" fmla="*/ 3 w 7"/>
                <a:gd name="T5" fmla="*/ 9 h 10"/>
                <a:gd name="T6" fmla="*/ 6 w 7"/>
                <a:gd name="T7" fmla="*/ 2 h 10"/>
                <a:gd name="T8" fmla="*/ 4 w 7"/>
                <a:gd name="T9" fmla="*/ 1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10">
                  <a:moveTo>
                    <a:pt x="4" y="1"/>
                  </a:moveTo>
                  <a:cubicBezTo>
                    <a:pt x="3" y="3"/>
                    <a:pt x="3" y="6"/>
                    <a:pt x="1" y="7"/>
                  </a:cubicBezTo>
                  <a:cubicBezTo>
                    <a:pt x="0" y="8"/>
                    <a:pt x="1" y="10"/>
                    <a:pt x="3" y="9"/>
                  </a:cubicBezTo>
                  <a:cubicBezTo>
                    <a:pt x="5" y="7"/>
                    <a:pt x="6" y="4"/>
                    <a:pt x="6" y="2"/>
                  </a:cubicBezTo>
                  <a:cubicBezTo>
                    <a:pt x="7" y="0"/>
                    <a:pt x="4" y="0"/>
                    <a:pt x="4" y="1"/>
                  </a:cubicBezTo>
                  <a:close/>
                </a:path>
              </a:pathLst>
            </a:custGeom>
            <a:solidFill>
              <a:srgbClr val="1C1D1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8" name="Freeform 463">
              <a:extLst>
                <a:ext uri="{FF2B5EF4-FFF2-40B4-BE49-F238E27FC236}">
                  <a16:creationId xmlns:a16="http://schemas.microsoft.com/office/drawing/2014/main" id="{05E31C34-C953-44D0-A360-BC5A7429CA7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781800" y="3930650"/>
              <a:ext cx="39688" cy="65088"/>
            </a:xfrm>
            <a:custGeom>
              <a:avLst/>
              <a:gdLst>
                <a:gd name="T0" fmla="*/ 15 w 23"/>
                <a:gd name="T1" fmla="*/ 4 h 39"/>
                <a:gd name="T2" fmla="*/ 1 w 23"/>
                <a:gd name="T3" fmla="*/ 34 h 39"/>
                <a:gd name="T4" fmla="*/ 5 w 23"/>
                <a:gd name="T5" fmla="*/ 36 h 39"/>
                <a:gd name="T6" fmla="*/ 21 w 23"/>
                <a:gd name="T7" fmla="*/ 5 h 39"/>
                <a:gd name="T8" fmla="*/ 15 w 23"/>
                <a:gd name="T9" fmla="*/ 4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" h="39">
                  <a:moveTo>
                    <a:pt x="15" y="4"/>
                  </a:moveTo>
                  <a:cubicBezTo>
                    <a:pt x="11" y="14"/>
                    <a:pt x="6" y="24"/>
                    <a:pt x="1" y="34"/>
                  </a:cubicBezTo>
                  <a:cubicBezTo>
                    <a:pt x="0" y="36"/>
                    <a:pt x="4" y="39"/>
                    <a:pt x="5" y="36"/>
                  </a:cubicBezTo>
                  <a:cubicBezTo>
                    <a:pt x="12" y="26"/>
                    <a:pt x="17" y="16"/>
                    <a:pt x="21" y="5"/>
                  </a:cubicBezTo>
                  <a:cubicBezTo>
                    <a:pt x="23" y="1"/>
                    <a:pt x="17" y="0"/>
                    <a:pt x="15" y="4"/>
                  </a:cubicBezTo>
                  <a:close/>
                </a:path>
              </a:pathLst>
            </a:custGeom>
            <a:solidFill>
              <a:srgbClr val="1C1D1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9" name="Freeform 464">
              <a:extLst>
                <a:ext uri="{FF2B5EF4-FFF2-40B4-BE49-F238E27FC236}">
                  <a16:creationId xmlns:a16="http://schemas.microsoft.com/office/drawing/2014/main" id="{FCEC04CD-4F39-4A86-8E72-9123F6E7324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319588" y="3994150"/>
              <a:ext cx="115888" cy="28575"/>
            </a:xfrm>
            <a:custGeom>
              <a:avLst/>
              <a:gdLst>
                <a:gd name="T0" fmla="*/ 2 w 69"/>
                <a:gd name="T1" fmla="*/ 4 h 17"/>
                <a:gd name="T2" fmla="*/ 65 w 69"/>
                <a:gd name="T3" fmla="*/ 7 h 17"/>
                <a:gd name="T4" fmla="*/ 62 w 69"/>
                <a:gd name="T5" fmla="*/ 2 h 17"/>
                <a:gd name="T6" fmla="*/ 3 w 69"/>
                <a:gd name="T7" fmla="*/ 1 h 17"/>
                <a:gd name="T8" fmla="*/ 2 w 69"/>
                <a:gd name="T9" fmla="*/ 4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9" h="17">
                  <a:moveTo>
                    <a:pt x="2" y="4"/>
                  </a:moveTo>
                  <a:cubicBezTo>
                    <a:pt x="20" y="10"/>
                    <a:pt x="48" y="17"/>
                    <a:pt x="65" y="7"/>
                  </a:cubicBezTo>
                  <a:cubicBezTo>
                    <a:pt x="69" y="6"/>
                    <a:pt x="66" y="0"/>
                    <a:pt x="62" y="2"/>
                  </a:cubicBezTo>
                  <a:cubicBezTo>
                    <a:pt x="45" y="11"/>
                    <a:pt x="20" y="6"/>
                    <a:pt x="3" y="1"/>
                  </a:cubicBezTo>
                  <a:cubicBezTo>
                    <a:pt x="1" y="0"/>
                    <a:pt x="0" y="3"/>
                    <a:pt x="2" y="4"/>
                  </a:cubicBezTo>
                  <a:close/>
                </a:path>
              </a:pathLst>
            </a:custGeom>
            <a:solidFill>
              <a:srgbClr val="1C1D1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70" name="Freeform 465">
              <a:extLst>
                <a:ext uri="{FF2B5EF4-FFF2-40B4-BE49-F238E27FC236}">
                  <a16:creationId xmlns:a16="http://schemas.microsoft.com/office/drawing/2014/main" id="{B78B0787-144C-4C86-BB0A-935D295E258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379913" y="3968750"/>
              <a:ext cx="69850" cy="14288"/>
            </a:xfrm>
            <a:custGeom>
              <a:avLst/>
              <a:gdLst>
                <a:gd name="T0" fmla="*/ 3 w 41"/>
                <a:gd name="T1" fmla="*/ 8 h 8"/>
                <a:gd name="T2" fmla="*/ 39 w 41"/>
                <a:gd name="T3" fmla="*/ 4 h 8"/>
                <a:gd name="T4" fmla="*/ 38 w 41"/>
                <a:gd name="T5" fmla="*/ 1 h 8"/>
                <a:gd name="T6" fmla="*/ 2 w 41"/>
                <a:gd name="T7" fmla="*/ 4 h 8"/>
                <a:gd name="T8" fmla="*/ 3 w 41"/>
                <a:gd name="T9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1" h="8">
                  <a:moveTo>
                    <a:pt x="3" y="8"/>
                  </a:moveTo>
                  <a:cubicBezTo>
                    <a:pt x="15" y="7"/>
                    <a:pt x="27" y="8"/>
                    <a:pt x="39" y="4"/>
                  </a:cubicBezTo>
                  <a:cubicBezTo>
                    <a:pt x="41" y="4"/>
                    <a:pt x="40" y="0"/>
                    <a:pt x="38" y="1"/>
                  </a:cubicBezTo>
                  <a:cubicBezTo>
                    <a:pt x="26" y="3"/>
                    <a:pt x="14" y="3"/>
                    <a:pt x="2" y="4"/>
                  </a:cubicBezTo>
                  <a:cubicBezTo>
                    <a:pt x="0" y="4"/>
                    <a:pt x="0" y="8"/>
                    <a:pt x="3" y="8"/>
                  </a:cubicBezTo>
                  <a:close/>
                </a:path>
              </a:pathLst>
            </a:custGeom>
            <a:solidFill>
              <a:srgbClr val="1C1D1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71" name="Freeform 466">
              <a:extLst>
                <a:ext uri="{FF2B5EF4-FFF2-40B4-BE49-F238E27FC236}">
                  <a16:creationId xmlns:a16="http://schemas.microsoft.com/office/drawing/2014/main" id="{E3037B5A-462A-4C75-9BE2-E2475A1B6BD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408488" y="3917950"/>
              <a:ext cx="84138" cy="28575"/>
            </a:xfrm>
            <a:custGeom>
              <a:avLst/>
              <a:gdLst>
                <a:gd name="T0" fmla="*/ 5 w 50"/>
                <a:gd name="T1" fmla="*/ 14 h 17"/>
                <a:gd name="T2" fmla="*/ 47 w 50"/>
                <a:gd name="T3" fmla="*/ 8 h 17"/>
                <a:gd name="T4" fmla="*/ 44 w 50"/>
                <a:gd name="T5" fmla="*/ 2 h 17"/>
                <a:gd name="T6" fmla="*/ 6 w 50"/>
                <a:gd name="T7" fmla="*/ 7 h 17"/>
                <a:gd name="T8" fmla="*/ 5 w 50"/>
                <a:gd name="T9" fmla="*/ 14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0" h="17">
                  <a:moveTo>
                    <a:pt x="5" y="14"/>
                  </a:moveTo>
                  <a:cubicBezTo>
                    <a:pt x="19" y="17"/>
                    <a:pt x="35" y="15"/>
                    <a:pt x="47" y="8"/>
                  </a:cubicBezTo>
                  <a:cubicBezTo>
                    <a:pt x="50" y="6"/>
                    <a:pt x="48" y="0"/>
                    <a:pt x="44" y="2"/>
                  </a:cubicBezTo>
                  <a:cubicBezTo>
                    <a:pt x="32" y="6"/>
                    <a:pt x="18" y="9"/>
                    <a:pt x="6" y="7"/>
                  </a:cubicBezTo>
                  <a:cubicBezTo>
                    <a:pt x="1" y="6"/>
                    <a:pt x="0" y="14"/>
                    <a:pt x="5" y="14"/>
                  </a:cubicBezTo>
                  <a:close/>
                </a:path>
              </a:pathLst>
            </a:custGeom>
            <a:solidFill>
              <a:srgbClr val="1C1D1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72" name="Freeform 467">
              <a:extLst>
                <a:ext uri="{FF2B5EF4-FFF2-40B4-BE49-F238E27FC236}">
                  <a16:creationId xmlns:a16="http://schemas.microsoft.com/office/drawing/2014/main" id="{B4D5319C-0EB3-4756-A0D2-A44EA5D8E78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470400" y="3875088"/>
              <a:ext cx="47625" cy="17463"/>
            </a:xfrm>
            <a:custGeom>
              <a:avLst/>
              <a:gdLst>
                <a:gd name="T0" fmla="*/ 4 w 28"/>
                <a:gd name="T1" fmla="*/ 8 h 10"/>
                <a:gd name="T2" fmla="*/ 26 w 28"/>
                <a:gd name="T3" fmla="*/ 5 h 10"/>
                <a:gd name="T4" fmla="*/ 24 w 28"/>
                <a:gd name="T5" fmla="*/ 1 h 10"/>
                <a:gd name="T6" fmla="*/ 5 w 28"/>
                <a:gd name="T7" fmla="*/ 1 h 10"/>
                <a:gd name="T8" fmla="*/ 4 w 28"/>
                <a:gd name="T9" fmla="*/ 8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8" h="10">
                  <a:moveTo>
                    <a:pt x="4" y="8"/>
                  </a:moveTo>
                  <a:cubicBezTo>
                    <a:pt x="11" y="9"/>
                    <a:pt x="19" y="10"/>
                    <a:pt x="26" y="5"/>
                  </a:cubicBezTo>
                  <a:cubicBezTo>
                    <a:pt x="28" y="4"/>
                    <a:pt x="26" y="1"/>
                    <a:pt x="24" y="1"/>
                  </a:cubicBezTo>
                  <a:cubicBezTo>
                    <a:pt x="18" y="2"/>
                    <a:pt x="12" y="2"/>
                    <a:pt x="5" y="1"/>
                  </a:cubicBezTo>
                  <a:cubicBezTo>
                    <a:pt x="1" y="0"/>
                    <a:pt x="0" y="7"/>
                    <a:pt x="4" y="8"/>
                  </a:cubicBezTo>
                  <a:close/>
                </a:path>
              </a:pathLst>
            </a:custGeom>
            <a:solidFill>
              <a:srgbClr val="1C1D1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73" name="Freeform 468">
              <a:extLst>
                <a:ext uri="{FF2B5EF4-FFF2-40B4-BE49-F238E27FC236}">
                  <a16:creationId xmlns:a16="http://schemas.microsoft.com/office/drawing/2014/main" id="{C7E22182-9D4B-43FE-9D87-25D4C8AC66C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522788" y="3798888"/>
              <a:ext cx="23813" cy="14288"/>
            </a:xfrm>
            <a:custGeom>
              <a:avLst/>
              <a:gdLst>
                <a:gd name="T0" fmla="*/ 3 w 14"/>
                <a:gd name="T1" fmla="*/ 7 h 8"/>
                <a:gd name="T2" fmla="*/ 13 w 14"/>
                <a:gd name="T3" fmla="*/ 2 h 8"/>
                <a:gd name="T4" fmla="*/ 12 w 14"/>
                <a:gd name="T5" fmla="*/ 1 h 8"/>
                <a:gd name="T6" fmla="*/ 2 w 14"/>
                <a:gd name="T7" fmla="*/ 5 h 8"/>
                <a:gd name="T8" fmla="*/ 3 w 14"/>
                <a:gd name="T9" fmla="*/ 7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" h="8">
                  <a:moveTo>
                    <a:pt x="3" y="7"/>
                  </a:moveTo>
                  <a:cubicBezTo>
                    <a:pt x="7" y="6"/>
                    <a:pt x="10" y="5"/>
                    <a:pt x="13" y="2"/>
                  </a:cubicBezTo>
                  <a:cubicBezTo>
                    <a:pt x="14" y="1"/>
                    <a:pt x="12" y="0"/>
                    <a:pt x="12" y="1"/>
                  </a:cubicBezTo>
                  <a:cubicBezTo>
                    <a:pt x="9" y="3"/>
                    <a:pt x="6" y="4"/>
                    <a:pt x="2" y="5"/>
                  </a:cubicBezTo>
                  <a:cubicBezTo>
                    <a:pt x="0" y="5"/>
                    <a:pt x="1" y="8"/>
                    <a:pt x="3" y="7"/>
                  </a:cubicBezTo>
                  <a:close/>
                </a:path>
              </a:pathLst>
            </a:custGeom>
            <a:solidFill>
              <a:srgbClr val="1C1D1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74" name="Freeform 469">
              <a:extLst>
                <a:ext uri="{FF2B5EF4-FFF2-40B4-BE49-F238E27FC236}">
                  <a16:creationId xmlns:a16="http://schemas.microsoft.com/office/drawing/2014/main" id="{B9604BAF-609D-4653-9794-E40CED20231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776788" y="2774950"/>
              <a:ext cx="155575" cy="146050"/>
            </a:xfrm>
            <a:custGeom>
              <a:avLst/>
              <a:gdLst>
                <a:gd name="T0" fmla="*/ 5 w 92"/>
                <a:gd name="T1" fmla="*/ 65 h 87"/>
                <a:gd name="T2" fmla="*/ 10 w 92"/>
                <a:gd name="T3" fmla="*/ 34 h 87"/>
                <a:gd name="T4" fmla="*/ 26 w 92"/>
                <a:gd name="T5" fmla="*/ 12 h 87"/>
                <a:gd name="T6" fmla="*/ 43 w 92"/>
                <a:gd name="T7" fmla="*/ 11 h 87"/>
                <a:gd name="T8" fmla="*/ 81 w 92"/>
                <a:gd name="T9" fmla="*/ 34 h 87"/>
                <a:gd name="T10" fmla="*/ 78 w 92"/>
                <a:gd name="T11" fmla="*/ 81 h 87"/>
                <a:gd name="T12" fmla="*/ 85 w 92"/>
                <a:gd name="T13" fmla="*/ 82 h 87"/>
                <a:gd name="T14" fmla="*/ 85 w 92"/>
                <a:gd name="T15" fmla="*/ 22 h 87"/>
                <a:gd name="T16" fmla="*/ 48 w 92"/>
                <a:gd name="T17" fmla="*/ 4 h 87"/>
                <a:gd name="T18" fmla="*/ 6 w 92"/>
                <a:gd name="T19" fmla="*/ 16 h 87"/>
                <a:gd name="T20" fmla="*/ 2 w 92"/>
                <a:gd name="T21" fmla="*/ 65 h 87"/>
                <a:gd name="T22" fmla="*/ 5 w 92"/>
                <a:gd name="T23" fmla="*/ 65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2" h="87">
                  <a:moveTo>
                    <a:pt x="5" y="65"/>
                  </a:moveTo>
                  <a:cubicBezTo>
                    <a:pt x="8" y="55"/>
                    <a:pt x="9" y="45"/>
                    <a:pt x="10" y="34"/>
                  </a:cubicBezTo>
                  <a:cubicBezTo>
                    <a:pt x="11" y="24"/>
                    <a:pt x="15" y="14"/>
                    <a:pt x="26" y="12"/>
                  </a:cubicBezTo>
                  <a:cubicBezTo>
                    <a:pt x="31" y="11"/>
                    <a:pt x="38" y="11"/>
                    <a:pt x="43" y="11"/>
                  </a:cubicBezTo>
                  <a:cubicBezTo>
                    <a:pt x="61" y="10"/>
                    <a:pt x="78" y="13"/>
                    <a:pt x="81" y="34"/>
                  </a:cubicBezTo>
                  <a:cubicBezTo>
                    <a:pt x="82" y="49"/>
                    <a:pt x="80" y="66"/>
                    <a:pt x="78" y="81"/>
                  </a:cubicBezTo>
                  <a:cubicBezTo>
                    <a:pt x="77" y="86"/>
                    <a:pt x="84" y="87"/>
                    <a:pt x="85" y="82"/>
                  </a:cubicBezTo>
                  <a:cubicBezTo>
                    <a:pt x="88" y="65"/>
                    <a:pt x="92" y="39"/>
                    <a:pt x="85" y="22"/>
                  </a:cubicBezTo>
                  <a:cubicBezTo>
                    <a:pt x="78" y="6"/>
                    <a:pt x="63" y="5"/>
                    <a:pt x="48" y="4"/>
                  </a:cubicBezTo>
                  <a:cubicBezTo>
                    <a:pt x="34" y="4"/>
                    <a:pt x="13" y="0"/>
                    <a:pt x="6" y="16"/>
                  </a:cubicBezTo>
                  <a:cubicBezTo>
                    <a:pt x="0" y="30"/>
                    <a:pt x="4" y="50"/>
                    <a:pt x="2" y="65"/>
                  </a:cubicBezTo>
                  <a:cubicBezTo>
                    <a:pt x="2" y="67"/>
                    <a:pt x="5" y="67"/>
                    <a:pt x="5" y="65"/>
                  </a:cubicBezTo>
                  <a:close/>
                </a:path>
              </a:pathLst>
            </a:custGeom>
            <a:solidFill>
              <a:srgbClr val="1C1D1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75" name="Freeform 470">
              <a:extLst>
                <a:ext uri="{FF2B5EF4-FFF2-40B4-BE49-F238E27FC236}">
                  <a16:creationId xmlns:a16="http://schemas.microsoft.com/office/drawing/2014/main" id="{35696B63-1DCB-4686-AFF4-9AE929C961E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778375" y="2871788"/>
              <a:ext cx="131763" cy="87313"/>
            </a:xfrm>
            <a:custGeom>
              <a:avLst/>
              <a:gdLst>
                <a:gd name="T0" fmla="*/ 4 w 78"/>
                <a:gd name="T1" fmla="*/ 2 h 52"/>
                <a:gd name="T2" fmla="*/ 15 w 78"/>
                <a:gd name="T3" fmla="*/ 34 h 52"/>
                <a:gd name="T4" fmla="*/ 29 w 78"/>
                <a:gd name="T5" fmla="*/ 51 h 52"/>
                <a:gd name="T6" fmla="*/ 38 w 78"/>
                <a:gd name="T7" fmla="*/ 49 h 52"/>
                <a:gd name="T8" fmla="*/ 57 w 78"/>
                <a:gd name="T9" fmla="*/ 42 h 52"/>
                <a:gd name="T10" fmla="*/ 77 w 78"/>
                <a:gd name="T11" fmla="*/ 29 h 52"/>
                <a:gd name="T12" fmla="*/ 72 w 78"/>
                <a:gd name="T13" fmla="*/ 26 h 52"/>
                <a:gd name="T14" fmla="*/ 40 w 78"/>
                <a:gd name="T15" fmla="*/ 42 h 52"/>
                <a:gd name="T16" fmla="*/ 21 w 78"/>
                <a:gd name="T17" fmla="*/ 35 h 52"/>
                <a:gd name="T18" fmla="*/ 7 w 78"/>
                <a:gd name="T19" fmla="*/ 3 h 52"/>
                <a:gd name="T20" fmla="*/ 4 w 78"/>
                <a:gd name="T21" fmla="*/ 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78" h="52">
                  <a:moveTo>
                    <a:pt x="4" y="2"/>
                  </a:moveTo>
                  <a:cubicBezTo>
                    <a:pt x="0" y="16"/>
                    <a:pt x="9" y="23"/>
                    <a:pt x="15" y="34"/>
                  </a:cubicBezTo>
                  <a:cubicBezTo>
                    <a:pt x="18" y="41"/>
                    <a:pt x="22" y="50"/>
                    <a:pt x="29" y="51"/>
                  </a:cubicBezTo>
                  <a:cubicBezTo>
                    <a:pt x="33" y="52"/>
                    <a:pt x="35" y="50"/>
                    <a:pt x="38" y="49"/>
                  </a:cubicBezTo>
                  <a:cubicBezTo>
                    <a:pt x="44" y="46"/>
                    <a:pt x="51" y="44"/>
                    <a:pt x="57" y="42"/>
                  </a:cubicBezTo>
                  <a:cubicBezTo>
                    <a:pt x="65" y="40"/>
                    <a:pt x="74" y="37"/>
                    <a:pt x="77" y="29"/>
                  </a:cubicBezTo>
                  <a:cubicBezTo>
                    <a:pt x="78" y="26"/>
                    <a:pt x="74" y="24"/>
                    <a:pt x="72" y="26"/>
                  </a:cubicBezTo>
                  <a:cubicBezTo>
                    <a:pt x="64" y="36"/>
                    <a:pt x="51" y="37"/>
                    <a:pt x="40" y="42"/>
                  </a:cubicBezTo>
                  <a:cubicBezTo>
                    <a:pt x="32" y="45"/>
                    <a:pt x="26" y="43"/>
                    <a:pt x="21" y="35"/>
                  </a:cubicBezTo>
                  <a:cubicBezTo>
                    <a:pt x="18" y="27"/>
                    <a:pt x="6" y="7"/>
                    <a:pt x="7" y="3"/>
                  </a:cubicBezTo>
                  <a:cubicBezTo>
                    <a:pt x="7" y="1"/>
                    <a:pt x="5" y="0"/>
                    <a:pt x="4" y="2"/>
                  </a:cubicBezTo>
                  <a:close/>
                </a:path>
              </a:pathLst>
            </a:custGeom>
            <a:solidFill>
              <a:srgbClr val="1C1D1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76" name="Freeform 471">
              <a:extLst>
                <a:ext uri="{FF2B5EF4-FFF2-40B4-BE49-F238E27FC236}">
                  <a16:creationId xmlns:a16="http://schemas.microsoft.com/office/drawing/2014/main" id="{D54418D5-D6E0-465D-A168-DB8C891CC82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860925" y="2957513"/>
              <a:ext cx="188913" cy="152400"/>
            </a:xfrm>
            <a:custGeom>
              <a:avLst/>
              <a:gdLst>
                <a:gd name="T0" fmla="*/ 6 w 112"/>
                <a:gd name="T1" fmla="*/ 44 h 91"/>
                <a:gd name="T2" fmla="*/ 29 w 112"/>
                <a:gd name="T3" fmla="*/ 21 h 91"/>
                <a:gd name="T4" fmla="*/ 72 w 112"/>
                <a:gd name="T5" fmla="*/ 12 h 91"/>
                <a:gd name="T6" fmla="*/ 81 w 112"/>
                <a:gd name="T7" fmla="*/ 13 h 91"/>
                <a:gd name="T8" fmla="*/ 101 w 112"/>
                <a:gd name="T9" fmla="*/ 34 h 91"/>
                <a:gd name="T10" fmla="*/ 90 w 112"/>
                <a:gd name="T11" fmla="*/ 84 h 91"/>
                <a:gd name="T12" fmla="*/ 98 w 112"/>
                <a:gd name="T13" fmla="*/ 86 h 91"/>
                <a:gd name="T14" fmla="*/ 110 w 112"/>
                <a:gd name="T15" fmla="*/ 24 h 91"/>
                <a:gd name="T16" fmla="*/ 93 w 112"/>
                <a:gd name="T17" fmla="*/ 6 h 91"/>
                <a:gd name="T18" fmla="*/ 39 w 112"/>
                <a:gd name="T19" fmla="*/ 5 h 91"/>
                <a:gd name="T20" fmla="*/ 2 w 112"/>
                <a:gd name="T21" fmla="*/ 39 h 91"/>
                <a:gd name="T22" fmla="*/ 6 w 112"/>
                <a:gd name="T23" fmla="*/ 44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12" h="91">
                  <a:moveTo>
                    <a:pt x="6" y="44"/>
                  </a:moveTo>
                  <a:cubicBezTo>
                    <a:pt x="16" y="37"/>
                    <a:pt x="21" y="29"/>
                    <a:pt x="29" y="21"/>
                  </a:cubicBezTo>
                  <a:cubicBezTo>
                    <a:pt x="42" y="9"/>
                    <a:pt x="56" y="10"/>
                    <a:pt x="72" y="12"/>
                  </a:cubicBezTo>
                  <a:cubicBezTo>
                    <a:pt x="75" y="13"/>
                    <a:pt x="78" y="13"/>
                    <a:pt x="81" y="13"/>
                  </a:cubicBezTo>
                  <a:cubicBezTo>
                    <a:pt x="94" y="14"/>
                    <a:pt x="100" y="22"/>
                    <a:pt x="101" y="34"/>
                  </a:cubicBezTo>
                  <a:cubicBezTo>
                    <a:pt x="103" y="49"/>
                    <a:pt x="95" y="69"/>
                    <a:pt x="90" y="84"/>
                  </a:cubicBezTo>
                  <a:cubicBezTo>
                    <a:pt x="89" y="89"/>
                    <a:pt x="97" y="91"/>
                    <a:pt x="98" y="86"/>
                  </a:cubicBezTo>
                  <a:cubicBezTo>
                    <a:pt x="104" y="67"/>
                    <a:pt x="112" y="44"/>
                    <a:pt x="110" y="24"/>
                  </a:cubicBezTo>
                  <a:cubicBezTo>
                    <a:pt x="110" y="14"/>
                    <a:pt x="102" y="7"/>
                    <a:pt x="93" y="6"/>
                  </a:cubicBezTo>
                  <a:cubicBezTo>
                    <a:pt x="77" y="3"/>
                    <a:pt x="54" y="0"/>
                    <a:pt x="39" y="5"/>
                  </a:cubicBezTo>
                  <a:cubicBezTo>
                    <a:pt x="22" y="11"/>
                    <a:pt x="15" y="28"/>
                    <a:pt x="2" y="39"/>
                  </a:cubicBezTo>
                  <a:cubicBezTo>
                    <a:pt x="0" y="41"/>
                    <a:pt x="3" y="46"/>
                    <a:pt x="6" y="44"/>
                  </a:cubicBezTo>
                  <a:close/>
                </a:path>
              </a:pathLst>
            </a:custGeom>
            <a:solidFill>
              <a:srgbClr val="1C1D1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77" name="Freeform 472">
              <a:extLst>
                <a:ext uri="{FF2B5EF4-FFF2-40B4-BE49-F238E27FC236}">
                  <a16:creationId xmlns:a16="http://schemas.microsoft.com/office/drawing/2014/main" id="{35AFBC77-B13C-4E26-BA26-2EB16215F4E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868863" y="3022600"/>
              <a:ext cx="157163" cy="117475"/>
            </a:xfrm>
            <a:custGeom>
              <a:avLst/>
              <a:gdLst>
                <a:gd name="T0" fmla="*/ 1 w 93"/>
                <a:gd name="T1" fmla="*/ 4 h 70"/>
                <a:gd name="T2" fmla="*/ 14 w 93"/>
                <a:gd name="T3" fmla="*/ 41 h 70"/>
                <a:gd name="T4" fmla="*/ 40 w 93"/>
                <a:gd name="T5" fmla="*/ 52 h 70"/>
                <a:gd name="T6" fmla="*/ 92 w 93"/>
                <a:gd name="T7" fmla="*/ 49 h 70"/>
                <a:gd name="T8" fmla="*/ 86 w 93"/>
                <a:gd name="T9" fmla="*/ 46 h 70"/>
                <a:gd name="T10" fmla="*/ 41 w 93"/>
                <a:gd name="T11" fmla="*/ 45 h 70"/>
                <a:gd name="T12" fmla="*/ 22 w 93"/>
                <a:gd name="T13" fmla="*/ 37 h 70"/>
                <a:gd name="T14" fmla="*/ 15 w 93"/>
                <a:gd name="T15" fmla="*/ 24 h 70"/>
                <a:gd name="T16" fmla="*/ 4 w 93"/>
                <a:gd name="T17" fmla="*/ 2 h 70"/>
                <a:gd name="T18" fmla="*/ 1 w 93"/>
                <a:gd name="T19" fmla="*/ 4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3" h="70">
                  <a:moveTo>
                    <a:pt x="1" y="4"/>
                  </a:moveTo>
                  <a:cubicBezTo>
                    <a:pt x="9" y="15"/>
                    <a:pt x="7" y="30"/>
                    <a:pt x="14" y="41"/>
                  </a:cubicBezTo>
                  <a:cubicBezTo>
                    <a:pt x="19" y="50"/>
                    <a:pt x="30" y="51"/>
                    <a:pt x="40" y="52"/>
                  </a:cubicBezTo>
                  <a:cubicBezTo>
                    <a:pt x="56" y="54"/>
                    <a:pt x="84" y="70"/>
                    <a:pt x="92" y="49"/>
                  </a:cubicBezTo>
                  <a:cubicBezTo>
                    <a:pt x="93" y="45"/>
                    <a:pt x="88" y="44"/>
                    <a:pt x="86" y="46"/>
                  </a:cubicBezTo>
                  <a:cubicBezTo>
                    <a:pt x="78" y="57"/>
                    <a:pt x="53" y="46"/>
                    <a:pt x="41" y="45"/>
                  </a:cubicBezTo>
                  <a:cubicBezTo>
                    <a:pt x="31" y="44"/>
                    <a:pt x="29" y="45"/>
                    <a:pt x="22" y="37"/>
                  </a:cubicBezTo>
                  <a:cubicBezTo>
                    <a:pt x="17" y="31"/>
                    <a:pt x="17" y="30"/>
                    <a:pt x="15" y="24"/>
                  </a:cubicBezTo>
                  <a:cubicBezTo>
                    <a:pt x="12" y="16"/>
                    <a:pt x="9" y="8"/>
                    <a:pt x="4" y="2"/>
                  </a:cubicBezTo>
                  <a:cubicBezTo>
                    <a:pt x="3" y="0"/>
                    <a:pt x="0" y="2"/>
                    <a:pt x="1" y="4"/>
                  </a:cubicBezTo>
                  <a:close/>
                </a:path>
              </a:pathLst>
            </a:custGeom>
            <a:solidFill>
              <a:srgbClr val="1C1D1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78" name="Freeform 473">
              <a:extLst>
                <a:ext uri="{FF2B5EF4-FFF2-40B4-BE49-F238E27FC236}">
                  <a16:creationId xmlns:a16="http://schemas.microsoft.com/office/drawing/2014/main" id="{3AF5925F-40C4-4784-9C5B-152B253CE9C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706938" y="2930525"/>
              <a:ext cx="63500" cy="122238"/>
            </a:xfrm>
            <a:custGeom>
              <a:avLst/>
              <a:gdLst>
                <a:gd name="T0" fmla="*/ 13 w 38"/>
                <a:gd name="T1" fmla="*/ 3 h 73"/>
                <a:gd name="T2" fmla="*/ 22 w 38"/>
                <a:gd name="T3" fmla="*/ 21 h 73"/>
                <a:gd name="T4" fmla="*/ 30 w 38"/>
                <a:gd name="T5" fmla="*/ 42 h 73"/>
                <a:gd name="T6" fmla="*/ 11 w 38"/>
                <a:gd name="T7" fmla="*/ 55 h 73"/>
                <a:gd name="T8" fmla="*/ 1 w 38"/>
                <a:gd name="T9" fmla="*/ 68 h 73"/>
                <a:gd name="T10" fmla="*/ 6 w 38"/>
                <a:gd name="T11" fmla="*/ 71 h 73"/>
                <a:gd name="T12" fmla="*/ 27 w 38"/>
                <a:gd name="T13" fmla="*/ 52 h 73"/>
                <a:gd name="T14" fmla="*/ 38 w 38"/>
                <a:gd name="T15" fmla="*/ 38 h 73"/>
                <a:gd name="T16" fmla="*/ 30 w 38"/>
                <a:gd name="T17" fmla="*/ 23 h 73"/>
                <a:gd name="T18" fmla="*/ 16 w 38"/>
                <a:gd name="T19" fmla="*/ 2 h 73"/>
                <a:gd name="T20" fmla="*/ 13 w 38"/>
                <a:gd name="T21" fmla="*/ 3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8" h="73">
                  <a:moveTo>
                    <a:pt x="13" y="3"/>
                  </a:moveTo>
                  <a:cubicBezTo>
                    <a:pt x="16" y="10"/>
                    <a:pt x="18" y="16"/>
                    <a:pt x="22" y="21"/>
                  </a:cubicBezTo>
                  <a:cubicBezTo>
                    <a:pt x="27" y="27"/>
                    <a:pt x="36" y="34"/>
                    <a:pt x="30" y="42"/>
                  </a:cubicBezTo>
                  <a:cubicBezTo>
                    <a:pt x="26" y="48"/>
                    <a:pt x="16" y="51"/>
                    <a:pt x="11" y="55"/>
                  </a:cubicBezTo>
                  <a:cubicBezTo>
                    <a:pt x="6" y="59"/>
                    <a:pt x="3" y="63"/>
                    <a:pt x="1" y="68"/>
                  </a:cubicBezTo>
                  <a:cubicBezTo>
                    <a:pt x="0" y="71"/>
                    <a:pt x="4" y="73"/>
                    <a:pt x="6" y="71"/>
                  </a:cubicBezTo>
                  <a:cubicBezTo>
                    <a:pt x="13" y="65"/>
                    <a:pt x="19" y="58"/>
                    <a:pt x="27" y="52"/>
                  </a:cubicBezTo>
                  <a:cubicBezTo>
                    <a:pt x="32" y="48"/>
                    <a:pt x="38" y="45"/>
                    <a:pt x="38" y="38"/>
                  </a:cubicBezTo>
                  <a:cubicBezTo>
                    <a:pt x="38" y="32"/>
                    <a:pt x="34" y="27"/>
                    <a:pt x="30" y="23"/>
                  </a:cubicBezTo>
                  <a:cubicBezTo>
                    <a:pt x="25" y="16"/>
                    <a:pt x="20" y="10"/>
                    <a:pt x="16" y="2"/>
                  </a:cubicBezTo>
                  <a:cubicBezTo>
                    <a:pt x="15" y="0"/>
                    <a:pt x="13" y="2"/>
                    <a:pt x="13" y="3"/>
                  </a:cubicBezTo>
                  <a:close/>
                </a:path>
              </a:pathLst>
            </a:custGeom>
            <a:solidFill>
              <a:srgbClr val="1C1D1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79" name="Freeform 474">
              <a:extLst>
                <a:ext uri="{FF2B5EF4-FFF2-40B4-BE49-F238E27FC236}">
                  <a16:creationId xmlns:a16="http://schemas.microsoft.com/office/drawing/2014/main" id="{B7C89ED9-852A-4357-B381-EE67019380F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735513" y="2935288"/>
              <a:ext cx="3175" cy="1588"/>
            </a:xfrm>
            <a:custGeom>
              <a:avLst/>
              <a:gdLst>
                <a:gd name="T0" fmla="*/ 1 w 2"/>
                <a:gd name="T1" fmla="*/ 1 h 1"/>
                <a:gd name="T2" fmla="*/ 1 w 2"/>
                <a:gd name="T3" fmla="*/ 0 h 1"/>
                <a:gd name="T4" fmla="*/ 1 w 2"/>
                <a:gd name="T5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" h="1">
                  <a:moveTo>
                    <a:pt x="1" y="1"/>
                  </a:moveTo>
                  <a:cubicBezTo>
                    <a:pt x="2" y="1"/>
                    <a:pt x="2" y="0"/>
                    <a:pt x="1" y="0"/>
                  </a:cubicBezTo>
                  <a:cubicBezTo>
                    <a:pt x="0" y="0"/>
                    <a:pt x="0" y="1"/>
                    <a:pt x="1" y="1"/>
                  </a:cubicBezTo>
                  <a:close/>
                </a:path>
              </a:pathLst>
            </a:custGeom>
            <a:solidFill>
              <a:srgbClr val="1C1D1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80" name="Freeform 475">
              <a:extLst>
                <a:ext uri="{FF2B5EF4-FFF2-40B4-BE49-F238E27FC236}">
                  <a16:creationId xmlns:a16="http://schemas.microsoft.com/office/drawing/2014/main" id="{B4732651-FDFF-48C3-BB7B-76DE88CB1F6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589463" y="2887663"/>
              <a:ext cx="150813" cy="169863"/>
            </a:xfrm>
            <a:custGeom>
              <a:avLst/>
              <a:gdLst>
                <a:gd name="T0" fmla="*/ 89 w 90"/>
                <a:gd name="T1" fmla="*/ 25 h 101"/>
                <a:gd name="T2" fmla="*/ 21 w 90"/>
                <a:gd name="T3" fmla="*/ 12 h 101"/>
                <a:gd name="T4" fmla="*/ 4 w 90"/>
                <a:gd name="T5" fmla="*/ 51 h 101"/>
                <a:gd name="T6" fmla="*/ 9 w 90"/>
                <a:gd name="T7" fmla="*/ 85 h 101"/>
                <a:gd name="T8" fmla="*/ 30 w 90"/>
                <a:gd name="T9" fmla="*/ 92 h 101"/>
                <a:gd name="T10" fmla="*/ 70 w 90"/>
                <a:gd name="T11" fmla="*/ 100 h 101"/>
                <a:gd name="T12" fmla="*/ 73 w 90"/>
                <a:gd name="T13" fmla="*/ 93 h 101"/>
                <a:gd name="T14" fmla="*/ 30 w 90"/>
                <a:gd name="T15" fmla="*/ 85 h 101"/>
                <a:gd name="T16" fmla="*/ 7 w 90"/>
                <a:gd name="T17" fmla="*/ 70 h 101"/>
                <a:gd name="T18" fmla="*/ 9 w 90"/>
                <a:gd name="T19" fmla="*/ 53 h 101"/>
                <a:gd name="T20" fmla="*/ 41 w 90"/>
                <a:gd name="T21" fmla="*/ 18 h 101"/>
                <a:gd name="T22" fmla="*/ 66 w 90"/>
                <a:gd name="T23" fmla="*/ 23 h 101"/>
                <a:gd name="T24" fmla="*/ 89 w 90"/>
                <a:gd name="T25" fmla="*/ 27 h 101"/>
                <a:gd name="T26" fmla="*/ 89 w 90"/>
                <a:gd name="T27" fmla="*/ 25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1">
                  <a:moveTo>
                    <a:pt x="89" y="25"/>
                  </a:moveTo>
                  <a:cubicBezTo>
                    <a:pt x="68" y="24"/>
                    <a:pt x="42" y="0"/>
                    <a:pt x="21" y="12"/>
                  </a:cubicBezTo>
                  <a:cubicBezTo>
                    <a:pt x="7" y="19"/>
                    <a:pt x="7" y="38"/>
                    <a:pt x="4" y="51"/>
                  </a:cubicBezTo>
                  <a:cubicBezTo>
                    <a:pt x="2" y="62"/>
                    <a:pt x="0" y="76"/>
                    <a:pt x="9" y="85"/>
                  </a:cubicBezTo>
                  <a:cubicBezTo>
                    <a:pt x="14" y="90"/>
                    <a:pt x="22" y="91"/>
                    <a:pt x="30" y="92"/>
                  </a:cubicBezTo>
                  <a:cubicBezTo>
                    <a:pt x="44" y="94"/>
                    <a:pt x="57" y="97"/>
                    <a:pt x="70" y="100"/>
                  </a:cubicBezTo>
                  <a:cubicBezTo>
                    <a:pt x="75" y="101"/>
                    <a:pt x="78" y="94"/>
                    <a:pt x="73" y="93"/>
                  </a:cubicBezTo>
                  <a:cubicBezTo>
                    <a:pt x="58" y="89"/>
                    <a:pt x="46" y="87"/>
                    <a:pt x="30" y="85"/>
                  </a:cubicBezTo>
                  <a:cubicBezTo>
                    <a:pt x="19" y="85"/>
                    <a:pt x="9" y="84"/>
                    <a:pt x="7" y="70"/>
                  </a:cubicBezTo>
                  <a:cubicBezTo>
                    <a:pt x="7" y="64"/>
                    <a:pt x="8" y="58"/>
                    <a:pt x="9" y="53"/>
                  </a:cubicBezTo>
                  <a:cubicBezTo>
                    <a:pt x="13" y="36"/>
                    <a:pt x="19" y="14"/>
                    <a:pt x="41" y="18"/>
                  </a:cubicBezTo>
                  <a:cubicBezTo>
                    <a:pt x="49" y="19"/>
                    <a:pt x="57" y="21"/>
                    <a:pt x="66" y="23"/>
                  </a:cubicBezTo>
                  <a:cubicBezTo>
                    <a:pt x="74" y="26"/>
                    <a:pt x="80" y="29"/>
                    <a:pt x="89" y="27"/>
                  </a:cubicBezTo>
                  <a:cubicBezTo>
                    <a:pt x="90" y="26"/>
                    <a:pt x="89" y="25"/>
                    <a:pt x="89" y="25"/>
                  </a:cubicBezTo>
                  <a:close/>
                </a:path>
              </a:pathLst>
            </a:custGeom>
            <a:solidFill>
              <a:srgbClr val="1C1D1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81" name="Freeform 476">
              <a:extLst>
                <a:ext uri="{FF2B5EF4-FFF2-40B4-BE49-F238E27FC236}">
                  <a16:creationId xmlns:a16="http://schemas.microsoft.com/office/drawing/2014/main" id="{03CD7A00-005B-46C5-824C-08AB63EE97B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708525" y="3059113"/>
              <a:ext cx="163513" cy="155575"/>
            </a:xfrm>
            <a:custGeom>
              <a:avLst/>
              <a:gdLst>
                <a:gd name="T0" fmla="*/ 5 w 97"/>
                <a:gd name="T1" fmla="*/ 91 h 93"/>
                <a:gd name="T2" fmla="*/ 21 w 97"/>
                <a:gd name="T3" fmla="*/ 27 h 93"/>
                <a:gd name="T4" fmla="*/ 60 w 97"/>
                <a:gd name="T5" fmla="*/ 9 h 93"/>
                <a:gd name="T6" fmla="*/ 87 w 97"/>
                <a:gd name="T7" fmla="*/ 37 h 93"/>
                <a:gd name="T8" fmla="*/ 96 w 97"/>
                <a:gd name="T9" fmla="*/ 34 h 93"/>
                <a:gd name="T10" fmla="*/ 70 w 97"/>
                <a:gd name="T11" fmla="*/ 8 h 93"/>
                <a:gd name="T12" fmla="*/ 39 w 97"/>
                <a:gd name="T13" fmla="*/ 11 h 93"/>
                <a:gd name="T14" fmla="*/ 7 w 97"/>
                <a:gd name="T15" fmla="*/ 39 h 93"/>
                <a:gd name="T16" fmla="*/ 3 w 97"/>
                <a:gd name="T17" fmla="*/ 67 h 93"/>
                <a:gd name="T18" fmla="*/ 2 w 97"/>
                <a:gd name="T19" fmla="*/ 91 h 93"/>
                <a:gd name="T20" fmla="*/ 5 w 97"/>
                <a:gd name="T21" fmla="*/ 91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97" h="93">
                  <a:moveTo>
                    <a:pt x="5" y="91"/>
                  </a:moveTo>
                  <a:cubicBezTo>
                    <a:pt x="8" y="71"/>
                    <a:pt x="6" y="40"/>
                    <a:pt x="21" y="27"/>
                  </a:cubicBezTo>
                  <a:cubicBezTo>
                    <a:pt x="25" y="23"/>
                    <a:pt x="52" y="6"/>
                    <a:pt x="60" y="9"/>
                  </a:cubicBezTo>
                  <a:cubicBezTo>
                    <a:pt x="69" y="12"/>
                    <a:pt x="84" y="28"/>
                    <a:pt x="87" y="37"/>
                  </a:cubicBezTo>
                  <a:cubicBezTo>
                    <a:pt x="89" y="42"/>
                    <a:pt x="97" y="39"/>
                    <a:pt x="96" y="34"/>
                  </a:cubicBezTo>
                  <a:cubicBezTo>
                    <a:pt x="92" y="22"/>
                    <a:pt x="80" y="14"/>
                    <a:pt x="70" y="8"/>
                  </a:cubicBezTo>
                  <a:cubicBezTo>
                    <a:pt x="57" y="0"/>
                    <a:pt x="52" y="4"/>
                    <a:pt x="39" y="11"/>
                  </a:cubicBezTo>
                  <a:cubicBezTo>
                    <a:pt x="26" y="18"/>
                    <a:pt x="12" y="24"/>
                    <a:pt x="7" y="39"/>
                  </a:cubicBezTo>
                  <a:cubicBezTo>
                    <a:pt x="4" y="48"/>
                    <a:pt x="5" y="58"/>
                    <a:pt x="3" y="67"/>
                  </a:cubicBezTo>
                  <a:cubicBezTo>
                    <a:pt x="2" y="75"/>
                    <a:pt x="0" y="83"/>
                    <a:pt x="2" y="91"/>
                  </a:cubicBezTo>
                  <a:cubicBezTo>
                    <a:pt x="2" y="93"/>
                    <a:pt x="5" y="93"/>
                    <a:pt x="5" y="91"/>
                  </a:cubicBezTo>
                  <a:close/>
                </a:path>
              </a:pathLst>
            </a:custGeom>
            <a:solidFill>
              <a:srgbClr val="1C1D1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82" name="Freeform 477">
              <a:extLst>
                <a:ext uri="{FF2B5EF4-FFF2-40B4-BE49-F238E27FC236}">
                  <a16:creationId xmlns:a16="http://schemas.microsoft.com/office/drawing/2014/main" id="{7BCF87A8-BDDE-487E-B7A4-3CC770F5F2B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719638" y="3103563"/>
              <a:ext cx="157163" cy="152400"/>
            </a:xfrm>
            <a:custGeom>
              <a:avLst/>
              <a:gdLst>
                <a:gd name="T0" fmla="*/ 1 w 93"/>
                <a:gd name="T1" fmla="*/ 64 h 91"/>
                <a:gd name="T2" fmla="*/ 73 w 93"/>
                <a:gd name="T3" fmla="*/ 71 h 91"/>
                <a:gd name="T4" fmla="*/ 92 w 93"/>
                <a:gd name="T5" fmla="*/ 6 h 91"/>
                <a:gd name="T6" fmla="*/ 85 w 93"/>
                <a:gd name="T7" fmla="*/ 5 h 91"/>
                <a:gd name="T8" fmla="*/ 75 w 93"/>
                <a:gd name="T9" fmla="*/ 49 h 91"/>
                <a:gd name="T10" fmla="*/ 72 w 93"/>
                <a:gd name="T11" fmla="*/ 58 h 91"/>
                <a:gd name="T12" fmla="*/ 43 w 93"/>
                <a:gd name="T13" fmla="*/ 73 h 91"/>
                <a:gd name="T14" fmla="*/ 37 w 93"/>
                <a:gd name="T15" fmla="*/ 72 h 91"/>
                <a:gd name="T16" fmla="*/ 2 w 93"/>
                <a:gd name="T17" fmla="*/ 62 h 91"/>
                <a:gd name="T18" fmla="*/ 1 w 93"/>
                <a:gd name="T19" fmla="*/ 64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3" h="91">
                  <a:moveTo>
                    <a:pt x="1" y="64"/>
                  </a:moveTo>
                  <a:cubicBezTo>
                    <a:pt x="19" y="71"/>
                    <a:pt x="57" y="91"/>
                    <a:pt x="73" y="71"/>
                  </a:cubicBezTo>
                  <a:cubicBezTo>
                    <a:pt x="86" y="55"/>
                    <a:pt x="88" y="25"/>
                    <a:pt x="92" y="6"/>
                  </a:cubicBezTo>
                  <a:cubicBezTo>
                    <a:pt x="93" y="1"/>
                    <a:pt x="86" y="0"/>
                    <a:pt x="85" y="5"/>
                  </a:cubicBezTo>
                  <a:cubicBezTo>
                    <a:pt x="81" y="20"/>
                    <a:pt x="79" y="35"/>
                    <a:pt x="75" y="49"/>
                  </a:cubicBezTo>
                  <a:cubicBezTo>
                    <a:pt x="74" y="52"/>
                    <a:pt x="73" y="56"/>
                    <a:pt x="72" y="58"/>
                  </a:cubicBezTo>
                  <a:cubicBezTo>
                    <a:pt x="62" y="63"/>
                    <a:pt x="53" y="68"/>
                    <a:pt x="43" y="73"/>
                  </a:cubicBezTo>
                  <a:cubicBezTo>
                    <a:pt x="41" y="73"/>
                    <a:pt x="39" y="73"/>
                    <a:pt x="37" y="72"/>
                  </a:cubicBezTo>
                  <a:cubicBezTo>
                    <a:pt x="26" y="72"/>
                    <a:pt x="13" y="66"/>
                    <a:pt x="2" y="62"/>
                  </a:cubicBezTo>
                  <a:cubicBezTo>
                    <a:pt x="1" y="62"/>
                    <a:pt x="0" y="63"/>
                    <a:pt x="1" y="64"/>
                  </a:cubicBezTo>
                  <a:close/>
                </a:path>
              </a:pathLst>
            </a:custGeom>
            <a:solidFill>
              <a:srgbClr val="1C1D1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83" name="Freeform 478">
              <a:extLst>
                <a:ext uri="{FF2B5EF4-FFF2-40B4-BE49-F238E27FC236}">
                  <a16:creationId xmlns:a16="http://schemas.microsoft.com/office/drawing/2014/main" id="{A76227F3-A174-4C75-8E67-0AB167CC260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718050" y="2663825"/>
              <a:ext cx="301625" cy="244475"/>
            </a:xfrm>
            <a:custGeom>
              <a:avLst/>
              <a:gdLst>
                <a:gd name="T0" fmla="*/ 5 w 179"/>
                <a:gd name="T1" fmla="*/ 125 h 146"/>
                <a:gd name="T2" fmla="*/ 15 w 179"/>
                <a:gd name="T3" fmla="*/ 92 h 146"/>
                <a:gd name="T4" fmla="*/ 24 w 179"/>
                <a:gd name="T5" fmla="*/ 50 h 146"/>
                <a:gd name="T6" fmla="*/ 57 w 179"/>
                <a:gd name="T7" fmla="*/ 13 h 146"/>
                <a:gd name="T8" fmla="*/ 101 w 179"/>
                <a:gd name="T9" fmla="*/ 16 h 146"/>
                <a:gd name="T10" fmla="*/ 142 w 179"/>
                <a:gd name="T11" fmla="*/ 27 h 146"/>
                <a:gd name="T12" fmla="*/ 161 w 179"/>
                <a:gd name="T13" fmla="*/ 30 h 146"/>
                <a:gd name="T14" fmla="*/ 166 w 179"/>
                <a:gd name="T15" fmla="*/ 58 h 146"/>
                <a:gd name="T16" fmla="*/ 147 w 179"/>
                <a:gd name="T17" fmla="*/ 138 h 146"/>
                <a:gd name="T18" fmla="*/ 157 w 179"/>
                <a:gd name="T19" fmla="*/ 140 h 146"/>
                <a:gd name="T20" fmla="*/ 166 w 179"/>
                <a:gd name="T21" fmla="*/ 89 h 146"/>
                <a:gd name="T22" fmla="*/ 175 w 179"/>
                <a:gd name="T23" fmla="*/ 36 h 146"/>
                <a:gd name="T24" fmla="*/ 158 w 179"/>
                <a:gd name="T25" fmla="*/ 24 h 146"/>
                <a:gd name="T26" fmla="*/ 108 w 179"/>
                <a:gd name="T27" fmla="*/ 12 h 146"/>
                <a:gd name="T28" fmla="*/ 33 w 179"/>
                <a:gd name="T29" fmla="*/ 15 h 146"/>
                <a:gd name="T30" fmla="*/ 15 w 179"/>
                <a:gd name="T31" fmla="*/ 57 h 146"/>
                <a:gd name="T32" fmla="*/ 8 w 179"/>
                <a:gd name="T33" fmla="*/ 85 h 146"/>
                <a:gd name="T34" fmla="*/ 1 w 179"/>
                <a:gd name="T35" fmla="*/ 123 h 146"/>
                <a:gd name="T36" fmla="*/ 5 w 179"/>
                <a:gd name="T37" fmla="*/ 125 h 1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79" h="146">
                  <a:moveTo>
                    <a:pt x="5" y="125"/>
                  </a:moveTo>
                  <a:cubicBezTo>
                    <a:pt x="12" y="115"/>
                    <a:pt x="13" y="104"/>
                    <a:pt x="15" y="92"/>
                  </a:cubicBezTo>
                  <a:cubicBezTo>
                    <a:pt x="17" y="78"/>
                    <a:pt x="21" y="64"/>
                    <a:pt x="24" y="50"/>
                  </a:cubicBezTo>
                  <a:cubicBezTo>
                    <a:pt x="27" y="28"/>
                    <a:pt x="32" y="16"/>
                    <a:pt x="57" y="13"/>
                  </a:cubicBezTo>
                  <a:cubicBezTo>
                    <a:pt x="71" y="11"/>
                    <a:pt x="87" y="13"/>
                    <a:pt x="101" y="16"/>
                  </a:cubicBezTo>
                  <a:cubicBezTo>
                    <a:pt x="115" y="18"/>
                    <a:pt x="128" y="23"/>
                    <a:pt x="142" y="27"/>
                  </a:cubicBezTo>
                  <a:cubicBezTo>
                    <a:pt x="147" y="28"/>
                    <a:pt x="157" y="28"/>
                    <a:pt x="161" y="30"/>
                  </a:cubicBezTo>
                  <a:cubicBezTo>
                    <a:pt x="172" y="37"/>
                    <a:pt x="168" y="49"/>
                    <a:pt x="166" y="58"/>
                  </a:cubicBezTo>
                  <a:cubicBezTo>
                    <a:pt x="161" y="85"/>
                    <a:pt x="151" y="111"/>
                    <a:pt x="147" y="138"/>
                  </a:cubicBezTo>
                  <a:cubicBezTo>
                    <a:pt x="146" y="144"/>
                    <a:pt x="156" y="146"/>
                    <a:pt x="157" y="140"/>
                  </a:cubicBezTo>
                  <a:cubicBezTo>
                    <a:pt x="159" y="123"/>
                    <a:pt x="163" y="106"/>
                    <a:pt x="166" y="89"/>
                  </a:cubicBezTo>
                  <a:cubicBezTo>
                    <a:pt x="170" y="74"/>
                    <a:pt x="179" y="51"/>
                    <a:pt x="175" y="36"/>
                  </a:cubicBezTo>
                  <a:cubicBezTo>
                    <a:pt x="173" y="27"/>
                    <a:pt x="168" y="26"/>
                    <a:pt x="158" y="24"/>
                  </a:cubicBezTo>
                  <a:cubicBezTo>
                    <a:pt x="142" y="20"/>
                    <a:pt x="125" y="15"/>
                    <a:pt x="108" y="12"/>
                  </a:cubicBezTo>
                  <a:cubicBezTo>
                    <a:pt x="89" y="8"/>
                    <a:pt x="49" y="0"/>
                    <a:pt x="33" y="15"/>
                  </a:cubicBezTo>
                  <a:cubicBezTo>
                    <a:pt x="21" y="26"/>
                    <a:pt x="19" y="43"/>
                    <a:pt x="15" y="57"/>
                  </a:cubicBezTo>
                  <a:cubicBezTo>
                    <a:pt x="13" y="66"/>
                    <a:pt x="10" y="76"/>
                    <a:pt x="8" y="85"/>
                  </a:cubicBezTo>
                  <a:cubicBezTo>
                    <a:pt x="6" y="97"/>
                    <a:pt x="7" y="111"/>
                    <a:pt x="1" y="123"/>
                  </a:cubicBezTo>
                  <a:cubicBezTo>
                    <a:pt x="0" y="125"/>
                    <a:pt x="3" y="127"/>
                    <a:pt x="5" y="125"/>
                  </a:cubicBezTo>
                  <a:close/>
                </a:path>
              </a:pathLst>
            </a:custGeom>
            <a:solidFill>
              <a:srgbClr val="1C1D1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84" name="Freeform 479">
              <a:extLst>
                <a:ext uri="{FF2B5EF4-FFF2-40B4-BE49-F238E27FC236}">
                  <a16:creationId xmlns:a16="http://schemas.microsoft.com/office/drawing/2014/main" id="{4788F507-2B7C-43CA-9F2F-BF03367A432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05375" y="2895600"/>
              <a:ext cx="273050" cy="300038"/>
            </a:xfrm>
            <a:custGeom>
              <a:avLst/>
              <a:gdLst>
                <a:gd name="T0" fmla="*/ 38 w 163"/>
                <a:gd name="T1" fmla="*/ 3 h 179"/>
                <a:gd name="T2" fmla="*/ 46 w 163"/>
                <a:gd name="T3" fmla="*/ 13 h 179"/>
                <a:gd name="T4" fmla="*/ 96 w 163"/>
                <a:gd name="T5" fmla="*/ 21 h 179"/>
                <a:gd name="T6" fmla="*/ 144 w 163"/>
                <a:gd name="T7" fmla="*/ 55 h 179"/>
                <a:gd name="T8" fmla="*/ 135 w 163"/>
                <a:gd name="T9" fmla="*/ 89 h 179"/>
                <a:gd name="T10" fmla="*/ 126 w 163"/>
                <a:gd name="T11" fmla="*/ 133 h 179"/>
                <a:gd name="T12" fmla="*/ 94 w 163"/>
                <a:gd name="T13" fmla="*/ 161 h 179"/>
                <a:gd name="T14" fmla="*/ 6 w 163"/>
                <a:gd name="T15" fmla="*/ 152 h 179"/>
                <a:gd name="T16" fmla="*/ 6 w 163"/>
                <a:gd name="T17" fmla="*/ 161 h 179"/>
                <a:gd name="T18" fmla="*/ 67 w 163"/>
                <a:gd name="T19" fmla="*/ 167 h 179"/>
                <a:gd name="T20" fmla="*/ 118 w 163"/>
                <a:gd name="T21" fmla="*/ 174 h 179"/>
                <a:gd name="T22" fmla="*/ 133 w 163"/>
                <a:gd name="T23" fmla="*/ 156 h 179"/>
                <a:gd name="T24" fmla="*/ 142 w 163"/>
                <a:gd name="T25" fmla="*/ 104 h 179"/>
                <a:gd name="T26" fmla="*/ 147 w 163"/>
                <a:gd name="T27" fmla="*/ 31 h 179"/>
                <a:gd name="T28" fmla="*/ 105 w 163"/>
                <a:gd name="T29" fmla="*/ 14 h 179"/>
                <a:gd name="T30" fmla="*/ 42 w 163"/>
                <a:gd name="T31" fmla="*/ 2 h 179"/>
                <a:gd name="T32" fmla="*/ 38 w 163"/>
                <a:gd name="T33" fmla="*/ 3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63" h="179">
                  <a:moveTo>
                    <a:pt x="38" y="3"/>
                  </a:moveTo>
                  <a:cubicBezTo>
                    <a:pt x="39" y="9"/>
                    <a:pt x="41" y="11"/>
                    <a:pt x="46" y="13"/>
                  </a:cubicBezTo>
                  <a:cubicBezTo>
                    <a:pt x="61" y="18"/>
                    <a:pt x="80" y="17"/>
                    <a:pt x="96" y="21"/>
                  </a:cubicBezTo>
                  <a:cubicBezTo>
                    <a:pt x="115" y="25"/>
                    <a:pt x="147" y="29"/>
                    <a:pt x="144" y="55"/>
                  </a:cubicBezTo>
                  <a:cubicBezTo>
                    <a:pt x="143" y="67"/>
                    <a:pt x="138" y="78"/>
                    <a:pt x="135" y="89"/>
                  </a:cubicBezTo>
                  <a:cubicBezTo>
                    <a:pt x="131" y="104"/>
                    <a:pt x="128" y="119"/>
                    <a:pt x="126" y="133"/>
                  </a:cubicBezTo>
                  <a:cubicBezTo>
                    <a:pt x="122" y="154"/>
                    <a:pt x="123" y="165"/>
                    <a:pt x="94" y="161"/>
                  </a:cubicBezTo>
                  <a:cubicBezTo>
                    <a:pt x="65" y="157"/>
                    <a:pt x="36" y="150"/>
                    <a:pt x="6" y="152"/>
                  </a:cubicBezTo>
                  <a:cubicBezTo>
                    <a:pt x="0" y="152"/>
                    <a:pt x="1" y="161"/>
                    <a:pt x="6" y="161"/>
                  </a:cubicBezTo>
                  <a:cubicBezTo>
                    <a:pt x="27" y="163"/>
                    <a:pt x="47" y="164"/>
                    <a:pt x="67" y="167"/>
                  </a:cubicBezTo>
                  <a:cubicBezTo>
                    <a:pt x="81" y="169"/>
                    <a:pt x="104" y="179"/>
                    <a:pt x="118" y="174"/>
                  </a:cubicBezTo>
                  <a:cubicBezTo>
                    <a:pt x="127" y="172"/>
                    <a:pt x="131" y="164"/>
                    <a:pt x="133" y="156"/>
                  </a:cubicBezTo>
                  <a:cubicBezTo>
                    <a:pt x="137" y="139"/>
                    <a:pt x="139" y="121"/>
                    <a:pt x="142" y="104"/>
                  </a:cubicBezTo>
                  <a:cubicBezTo>
                    <a:pt x="146" y="84"/>
                    <a:pt x="163" y="50"/>
                    <a:pt x="147" y="31"/>
                  </a:cubicBezTo>
                  <a:cubicBezTo>
                    <a:pt x="137" y="20"/>
                    <a:pt x="118" y="17"/>
                    <a:pt x="105" y="14"/>
                  </a:cubicBezTo>
                  <a:cubicBezTo>
                    <a:pt x="95" y="12"/>
                    <a:pt x="44" y="8"/>
                    <a:pt x="42" y="2"/>
                  </a:cubicBezTo>
                  <a:cubicBezTo>
                    <a:pt x="42" y="0"/>
                    <a:pt x="38" y="1"/>
                    <a:pt x="38" y="3"/>
                  </a:cubicBezTo>
                  <a:close/>
                </a:path>
              </a:pathLst>
            </a:custGeom>
            <a:solidFill>
              <a:srgbClr val="1C1D1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85" name="Freeform 480">
              <a:extLst>
                <a:ext uri="{FF2B5EF4-FFF2-40B4-BE49-F238E27FC236}">
                  <a16:creationId xmlns:a16="http://schemas.microsoft.com/office/drawing/2014/main" id="{4A87E3F1-B370-4E73-9FBC-74DC9C653B0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635500" y="3094038"/>
              <a:ext cx="285750" cy="254000"/>
            </a:xfrm>
            <a:custGeom>
              <a:avLst/>
              <a:gdLst>
                <a:gd name="T0" fmla="*/ 164 w 170"/>
                <a:gd name="T1" fmla="*/ 35 h 151"/>
                <a:gd name="T2" fmla="*/ 156 w 170"/>
                <a:gd name="T3" fmla="*/ 87 h 151"/>
                <a:gd name="T4" fmla="*/ 148 w 170"/>
                <a:gd name="T5" fmla="*/ 126 h 151"/>
                <a:gd name="T6" fmla="*/ 93 w 170"/>
                <a:gd name="T7" fmla="*/ 138 h 151"/>
                <a:gd name="T8" fmla="*/ 68 w 170"/>
                <a:gd name="T9" fmla="*/ 137 h 151"/>
                <a:gd name="T10" fmla="*/ 13 w 170"/>
                <a:gd name="T11" fmla="*/ 106 h 151"/>
                <a:gd name="T12" fmla="*/ 20 w 170"/>
                <a:gd name="T13" fmla="*/ 56 h 151"/>
                <a:gd name="T14" fmla="*/ 32 w 170"/>
                <a:gd name="T15" fmla="*/ 9 h 151"/>
                <a:gd name="T16" fmla="*/ 23 w 170"/>
                <a:gd name="T17" fmla="*/ 5 h 151"/>
                <a:gd name="T18" fmla="*/ 9 w 170"/>
                <a:gd name="T19" fmla="*/ 62 h 151"/>
                <a:gd name="T20" fmla="*/ 5 w 170"/>
                <a:gd name="T21" fmla="*/ 112 h 151"/>
                <a:gd name="T22" fmla="*/ 59 w 170"/>
                <a:gd name="T23" fmla="*/ 144 h 151"/>
                <a:gd name="T24" fmla="*/ 103 w 170"/>
                <a:gd name="T25" fmla="*/ 145 h 151"/>
                <a:gd name="T26" fmla="*/ 146 w 170"/>
                <a:gd name="T27" fmla="*/ 144 h 151"/>
                <a:gd name="T28" fmla="*/ 159 w 170"/>
                <a:gd name="T29" fmla="*/ 104 h 151"/>
                <a:gd name="T30" fmla="*/ 169 w 170"/>
                <a:gd name="T31" fmla="*/ 35 h 151"/>
                <a:gd name="T32" fmla="*/ 164 w 170"/>
                <a:gd name="T33" fmla="*/ 35 h 1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70" h="151">
                  <a:moveTo>
                    <a:pt x="164" y="35"/>
                  </a:moveTo>
                  <a:cubicBezTo>
                    <a:pt x="163" y="52"/>
                    <a:pt x="160" y="69"/>
                    <a:pt x="156" y="87"/>
                  </a:cubicBezTo>
                  <a:cubicBezTo>
                    <a:pt x="154" y="99"/>
                    <a:pt x="153" y="115"/>
                    <a:pt x="148" y="126"/>
                  </a:cubicBezTo>
                  <a:cubicBezTo>
                    <a:pt x="138" y="147"/>
                    <a:pt x="112" y="138"/>
                    <a:pt x="93" y="138"/>
                  </a:cubicBezTo>
                  <a:cubicBezTo>
                    <a:pt x="85" y="137"/>
                    <a:pt x="76" y="137"/>
                    <a:pt x="68" y="137"/>
                  </a:cubicBezTo>
                  <a:cubicBezTo>
                    <a:pt x="46" y="136"/>
                    <a:pt x="17" y="133"/>
                    <a:pt x="13" y="106"/>
                  </a:cubicBezTo>
                  <a:cubicBezTo>
                    <a:pt x="10" y="90"/>
                    <a:pt x="16" y="72"/>
                    <a:pt x="20" y="56"/>
                  </a:cubicBezTo>
                  <a:cubicBezTo>
                    <a:pt x="24" y="41"/>
                    <a:pt x="27" y="25"/>
                    <a:pt x="32" y="9"/>
                  </a:cubicBezTo>
                  <a:cubicBezTo>
                    <a:pt x="34" y="4"/>
                    <a:pt x="26" y="0"/>
                    <a:pt x="23" y="5"/>
                  </a:cubicBezTo>
                  <a:cubicBezTo>
                    <a:pt x="17" y="24"/>
                    <a:pt x="13" y="43"/>
                    <a:pt x="9" y="62"/>
                  </a:cubicBezTo>
                  <a:cubicBezTo>
                    <a:pt x="5" y="78"/>
                    <a:pt x="0" y="96"/>
                    <a:pt x="5" y="112"/>
                  </a:cubicBezTo>
                  <a:cubicBezTo>
                    <a:pt x="12" y="136"/>
                    <a:pt x="37" y="143"/>
                    <a:pt x="59" y="144"/>
                  </a:cubicBezTo>
                  <a:cubicBezTo>
                    <a:pt x="74" y="146"/>
                    <a:pt x="88" y="145"/>
                    <a:pt x="103" y="145"/>
                  </a:cubicBezTo>
                  <a:cubicBezTo>
                    <a:pt x="115" y="146"/>
                    <a:pt x="136" y="151"/>
                    <a:pt x="146" y="144"/>
                  </a:cubicBezTo>
                  <a:cubicBezTo>
                    <a:pt x="157" y="137"/>
                    <a:pt x="157" y="115"/>
                    <a:pt x="159" y="104"/>
                  </a:cubicBezTo>
                  <a:cubicBezTo>
                    <a:pt x="164" y="81"/>
                    <a:pt x="168" y="59"/>
                    <a:pt x="169" y="35"/>
                  </a:cubicBezTo>
                  <a:cubicBezTo>
                    <a:pt x="170" y="32"/>
                    <a:pt x="165" y="31"/>
                    <a:pt x="164" y="35"/>
                  </a:cubicBezTo>
                  <a:close/>
                </a:path>
              </a:pathLst>
            </a:custGeom>
            <a:solidFill>
              <a:srgbClr val="1C1D1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86" name="Freeform 481">
              <a:extLst>
                <a:ext uri="{FF2B5EF4-FFF2-40B4-BE49-F238E27FC236}">
                  <a16:creationId xmlns:a16="http://schemas.microsoft.com/office/drawing/2014/main" id="{8D40BD6E-A439-4600-A1C0-070B7ED9792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467225" y="2822575"/>
              <a:ext cx="271463" cy="292100"/>
            </a:xfrm>
            <a:custGeom>
              <a:avLst/>
              <a:gdLst>
                <a:gd name="T0" fmla="*/ 128 w 161"/>
                <a:gd name="T1" fmla="*/ 168 h 173"/>
                <a:gd name="T2" fmla="*/ 51 w 161"/>
                <a:gd name="T3" fmla="*/ 150 h 173"/>
                <a:gd name="T4" fmla="*/ 26 w 161"/>
                <a:gd name="T5" fmla="*/ 139 h 173"/>
                <a:gd name="T6" fmla="*/ 20 w 161"/>
                <a:gd name="T7" fmla="*/ 107 h 173"/>
                <a:gd name="T8" fmla="*/ 28 w 161"/>
                <a:gd name="T9" fmla="*/ 70 h 173"/>
                <a:gd name="T10" fmla="*/ 37 w 161"/>
                <a:gd name="T11" fmla="*/ 31 h 173"/>
                <a:gd name="T12" fmla="*/ 69 w 161"/>
                <a:gd name="T13" fmla="*/ 11 h 173"/>
                <a:gd name="T14" fmla="*/ 85 w 161"/>
                <a:gd name="T15" fmla="*/ 15 h 173"/>
                <a:gd name="T16" fmla="*/ 119 w 161"/>
                <a:gd name="T17" fmla="*/ 20 h 173"/>
                <a:gd name="T18" fmla="*/ 153 w 161"/>
                <a:gd name="T19" fmla="*/ 32 h 173"/>
                <a:gd name="T20" fmla="*/ 155 w 161"/>
                <a:gd name="T21" fmla="*/ 23 h 173"/>
                <a:gd name="T22" fmla="*/ 107 w 161"/>
                <a:gd name="T23" fmla="*/ 11 h 173"/>
                <a:gd name="T24" fmla="*/ 56 w 161"/>
                <a:gd name="T25" fmla="*/ 1 h 173"/>
                <a:gd name="T26" fmla="*/ 19 w 161"/>
                <a:gd name="T27" fmla="*/ 68 h 173"/>
                <a:gd name="T28" fmla="*/ 22 w 161"/>
                <a:gd name="T29" fmla="*/ 147 h 173"/>
                <a:gd name="T30" fmla="*/ 61 w 161"/>
                <a:gd name="T31" fmla="*/ 160 h 173"/>
                <a:gd name="T32" fmla="*/ 127 w 161"/>
                <a:gd name="T33" fmla="*/ 173 h 173"/>
                <a:gd name="T34" fmla="*/ 128 w 161"/>
                <a:gd name="T35" fmla="*/ 168 h 1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61" h="173">
                  <a:moveTo>
                    <a:pt x="128" y="168"/>
                  </a:moveTo>
                  <a:cubicBezTo>
                    <a:pt x="104" y="158"/>
                    <a:pt x="77" y="155"/>
                    <a:pt x="51" y="150"/>
                  </a:cubicBezTo>
                  <a:cubicBezTo>
                    <a:pt x="43" y="148"/>
                    <a:pt x="31" y="146"/>
                    <a:pt x="26" y="139"/>
                  </a:cubicBezTo>
                  <a:cubicBezTo>
                    <a:pt x="18" y="130"/>
                    <a:pt x="18" y="118"/>
                    <a:pt x="20" y="107"/>
                  </a:cubicBezTo>
                  <a:cubicBezTo>
                    <a:pt x="22" y="94"/>
                    <a:pt x="25" y="82"/>
                    <a:pt x="28" y="70"/>
                  </a:cubicBezTo>
                  <a:cubicBezTo>
                    <a:pt x="30" y="57"/>
                    <a:pt x="33" y="44"/>
                    <a:pt x="37" y="31"/>
                  </a:cubicBezTo>
                  <a:cubicBezTo>
                    <a:pt x="42" y="18"/>
                    <a:pt x="55" y="7"/>
                    <a:pt x="69" y="11"/>
                  </a:cubicBezTo>
                  <a:cubicBezTo>
                    <a:pt x="74" y="12"/>
                    <a:pt x="80" y="14"/>
                    <a:pt x="85" y="15"/>
                  </a:cubicBezTo>
                  <a:cubicBezTo>
                    <a:pt x="96" y="18"/>
                    <a:pt x="108" y="18"/>
                    <a:pt x="119" y="20"/>
                  </a:cubicBezTo>
                  <a:cubicBezTo>
                    <a:pt x="131" y="23"/>
                    <a:pt x="142" y="29"/>
                    <a:pt x="153" y="32"/>
                  </a:cubicBezTo>
                  <a:cubicBezTo>
                    <a:pt x="159" y="33"/>
                    <a:pt x="161" y="24"/>
                    <a:pt x="155" y="23"/>
                  </a:cubicBezTo>
                  <a:cubicBezTo>
                    <a:pt x="139" y="18"/>
                    <a:pt x="124" y="13"/>
                    <a:pt x="107" y="11"/>
                  </a:cubicBezTo>
                  <a:cubicBezTo>
                    <a:pt x="90" y="9"/>
                    <a:pt x="73" y="0"/>
                    <a:pt x="56" y="1"/>
                  </a:cubicBezTo>
                  <a:cubicBezTo>
                    <a:pt x="27" y="3"/>
                    <a:pt x="24" y="46"/>
                    <a:pt x="19" y="68"/>
                  </a:cubicBezTo>
                  <a:cubicBezTo>
                    <a:pt x="14" y="91"/>
                    <a:pt x="0" y="128"/>
                    <a:pt x="22" y="147"/>
                  </a:cubicBezTo>
                  <a:cubicBezTo>
                    <a:pt x="32" y="156"/>
                    <a:pt x="47" y="158"/>
                    <a:pt x="61" y="160"/>
                  </a:cubicBezTo>
                  <a:cubicBezTo>
                    <a:pt x="82" y="165"/>
                    <a:pt x="105" y="171"/>
                    <a:pt x="127" y="173"/>
                  </a:cubicBezTo>
                  <a:cubicBezTo>
                    <a:pt x="130" y="173"/>
                    <a:pt x="131" y="169"/>
                    <a:pt x="128" y="168"/>
                  </a:cubicBezTo>
                  <a:close/>
                </a:path>
              </a:pathLst>
            </a:custGeom>
            <a:solidFill>
              <a:srgbClr val="1C1D1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87" name="Freeform 482">
              <a:extLst>
                <a:ext uri="{FF2B5EF4-FFF2-40B4-BE49-F238E27FC236}">
                  <a16:creationId xmlns:a16="http://schemas.microsoft.com/office/drawing/2014/main" id="{A72527F8-1150-46E2-9416-FE9E19ACB4A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749800" y="2643188"/>
              <a:ext cx="31750" cy="19050"/>
            </a:xfrm>
            <a:custGeom>
              <a:avLst/>
              <a:gdLst>
                <a:gd name="T0" fmla="*/ 0 w 19"/>
                <a:gd name="T1" fmla="*/ 10 h 11"/>
                <a:gd name="T2" fmla="*/ 18 w 19"/>
                <a:gd name="T3" fmla="*/ 2 h 11"/>
                <a:gd name="T4" fmla="*/ 18 w 19"/>
                <a:gd name="T5" fmla="*/ 1 h 11"/>
                <a:gd name="T6" fmla="*/ 0 w 19"/>
                <a:gd name="T7" fmla="*/ 10 h 11"/>
                <a:gd name="T8" fmla="*/ 0 w 19"/>
                <a:gd name="T9" fmla="*/ 1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" h="11">
                  <a:moveTo>
                    <a:pt x="0" y="10"/>
                  </a:moveTo>
                  <a:cubicBezTo>
                    <a:pt x="5" y="5"/>
                    <a:pt x="11" y="2"/>
                    <a:pt x="18" y="2"/>
                  </a:cubicBezTo>
                  <a:cubicBezTo>
                    <a:pt x="19" y="2"/>
                    <a:pt x="19" y="0"/>
                    <a:pt x="18" y="1"/>
                  </a:cubicBezTo>
                  <a:cubicBezTo>
                    <a:pt x="11" y="1"/>
                    <a:pt x="4" y="4"/>
                    <a:pt x="0" y="10"/>
                  </a:cubicBezTo>
                  <a:cubicBezTo>
                    <a:pt x="0" y="10"/>
                    <a:pt x="0" y="11"/>
                    <a:pt x="0" y="10"/>
                  </a:cubicBezTo>
                  <a:close/>
                </a:path>
              </a:pathLst>
            </a:custGeom>
            <a:solidFill>
              <a:srgbClr val="1C1D1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88" name="Freeform 483">
              <a:extLst>
                <a:ext uri="{FF2B5EF4-FFF2-40B4-BE49-F238E27FC236}">
                  <a16:creationId xmlns:a16="http://schemas.microsoft.com/office/drawing/2014/main" id="{0BE58D25-06DC-4A5D-9C74-0211769FC9D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029200" y="2703513"/>
              <a:ext cx="39688" cy="125413"/>
            </a:xfrm>
            <a:custGeom>
              <a:avLst/>
              <a:gdLst>
                <a:gd name="T0" fmla="*/ 1 w 23"/>
                <a:gd name="T1" fmla="*/ 1 h 74"/>
                <a:gd name="T2" fmla="*/ 0 w 23"/>
                <a:gd name="T3" fmla="*/ 70 h 74"/>
                <a:gd name="T4" fmla="*/ 6 w 23"/>
                <a:gd name="T5" fmla="*/ 71 h 74"/>
                <a:gd name="T6" fmla="*/ 2 w 23"/>
                <a:gd name="T7" fmla="*/ 0 h 74"/>
                <a:gd name="T8" fmla="*/ 1 w 23"/>
                <a:gd name="T9" fmla="*/ 1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" h="74">
                  <a:moveTo>
                    <a:pt x="1" y="1"/>
                  </a:moveTo>
                  <a:cubicBezTo>
                    <a:pt x="16" y="19"/>
                    <a:pt x="3" y="49"/>
                    <a:pt x="0" y="70"/>
                  </a:cubicBezTo>
                  <a:cubicBezTo>
                    <a:pt x="0" y="73"/>
                    <a:pt x="5" y="74"/>
                    <a:pt x="6" y="71"/>
                  </a:cubicBezTo>
                  <a:cubicBezTo>
                    <a:pt x="12" y="50"/>
                    <a:pt x="23" y="16"/>
                    <a:pt x="2" y="0"/>
                  </a:cubicBezTo>
                  <a:cubicBezTo>
                    <a:pt x="2" y="0"/>
                    <a:pt x="0" y="0"/>
                    <a:pt x="1" y="1"/>
                  </a:cubicBezTo>
                  <a:close/>
                </a:path>
              </a:pathLst>
            </a:custGeom>
            <a:solidFill>
              <a:srgbClr val="1C1D1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89" name="Freeform 484">
              <a:extLst>
                <a:ext uri="{FF2B5EF4-FFF2-40B4-BE49-F238E27FC236}">
                  <a16:creationId xmlns:a16="http://schemas.microsoft.com/office/drawing/2014/main" id="{C75E26B5-6666-40C7-8601-10A445BD6C4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032375" y="2868613"/>
              <a:ext cx="138113" cy="53975"/>
            </a:xfrm>
            <a:custGeom>
              <a:avLst/>
              <a:gdLst>
                <a:gd name="T0" fmla="*/ 1 w 82"/>
                <a:gd name="T1" fmla="*/ 3 h 32"/>
                <a:gd name="T2" fmla="*/ 16 w 82"/>
                <a:gd name="T3" fmla="*/ 15 h 32"/>
                <a:gd name="T4" fmla="*/ 78 w 82"/>
                <a:gd name="T5" fmla="*/ 31 h 32"/>
                <a:gd name="T6" fmla="*/ 80 w 82"/>
                <a:gd name="T7" fmla="*/ 28 h 32"/>
                <a:gd name="T8" fmla="*/ 43 w 82"/>
                <a:gd name="T9" fmla="*/ 12 h 32"/>
                <a:gd name="T10" fmla="*/ 3 w 82"/>
                <a:gd name="T11" fmla="*/ 1 h 32"/>
                <a:gd name="T12" fmla="*/ 1 w 82"/>
                <a:gd name="T13" fmla="*/ 3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2" h="32">
                  <a:moveTo>
                    <a:pt x="1" y="3"/>
                  </a:moveTo>
                  <a:cubicBezTo>
                    <a:pt x="5" y="10"/>
                    <a:pt x="7" y="15"/>
                    <a:pt x="16" y="15"/>
                  </a:cubicBezTo>
                  <a:cubicBezTo>
                    <a:pt x="39" y="17"/>
                    <a:pt x="58" y="18"/>
                    <a:pt x="78" y="31"/>
                  </a:cubicBezTo>
                  <a:cubicBezTo>
                    <a:pt x="80" y="32"/>
                    <a:pt x="82" y="29"/>
                    <a:pt x="80" y="28"/>
                  </a:cubicBezTo>
                  <a:cubicBezTo>
                    <a:pt x="70" y="19"/>
                    <a:pt x="57" y="15"/>
                    <a:pt x="43" y="12"/>
                  </a:cubicBezTo>
                  <a:cubicBezTo>
                    <a:pt x="29" y="10"/>
                    <a:pt x="11" y="15"/>
                    <a:pt x="3" y="1"/>
                  </a:cubicBezTo>
                  <a:cubicBezTo>
                    <a:pt x="2" y="0"/>
                    <a:pt x="0" y="2"/>
                    <a:pt x="1" y="3"/>
                  </a:cubicBezTo>
                  <a:close/>
                </a:path>
              </a:pathLst>
            </a:custGeom>
            <a:solidFill>
              <a:srgbClr val="1C1D1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0" name="Freeform 485">
              <a:extLst>
                <a:ext uri="{FF2B5EF4-FFF2-40B4-BE49-F238E27FC236}">
                  <a16:creationId xmlns:a16="http://schemas.microsoft.com/office/drawing/2014/main" id="{9E59B2D6-B202-4102-A872-E5A8E4100E2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41888" y="3190875"/>
              <a:ext cx="60325" cy="41275"/>
            </a:xfrm>
            <a:custGeom>
              <a:avLst/>
              <a:gdLst>
                <a:gd name="T0" fmla="*/ 4 w 36"/>
                <a:gd name="T1" fmla="*/ 22 h 24"/>
                <a:gd name="T2" fmla="*/ 5 w 36"/>
                <a:gd name="T3" fmla="*/ 13 h 24"/>
                <a:gd name="T4" fmla="*/ 17 w 36"/>
                <a:gd name="T5" fmla="*/ 6 h 24"/>
                <a:gd name="T6" fmla="*/ 34 w 36"/>
                <a:gd name="T7" fmla="*/ 7 h 24"/>
                <a:gd name="T8" fmla="*/ 34 w 36"/>
                <a:gd name="T9" fmla="*/ 3 h 24"/>
                <a:gd name="T10" fmla="*/ 10 w 36"/>
                <a:gd name="T11" fmla="*/ 3 h 24"/>
                <a:gd name="T12" fmla="*/ 0 w 36"/>
                <a:gd name="T13" fmla="*/ 21 h 24"/>
                <a:gd name="T14" fmla="*/ 4 w 36"/>
                <a:gd name="T15" fmla="*/ 2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6" h="24">
                  <a:moveTo>
                    <a:pt x="4" y="22"/>
                  </a:moveTo>
                  <a:cubicBezTo>
                    <a:pt x="4" y="19"/>
                    <a:pt x="4" y="16"/>
                    <a:pt x="5" y="13"/>
                  </a:cubicBezTo>
                  <a:cubicBezTo>
                    <a:pt x="7" y="8"/>
                    <a:pt x="11" y="6"/>
                    <a:pt x="17" y="6"/>
                  </a:cubicBezTo>
                  <a:cubicBezTo>
                    <a:pt x="22" y="5"/>
                    <a:pt x="28" y="7"/>
                    <a:pt x="34" y="7"/>
                  </a:cubicBezTo>
                  <a:cubicBezTo>
                    <a:pt x="36" y="7"/>
                    <a:pt x="36" y="3"/>
                    <a:pt x="34" y="3"/>
                  </a:cubicBezTo>
                  <a:cubicBezTo>
                    <a:pt x="26" y="3"/>
                    <a:pt x="17" y="0"/>
                    <a:pt x="10" y="3"/>
                  </a:cubicBezTo>
                  <a:cubicBezTo>
                    <a:pt x="2" y="6"/>
                    <a:pt x="2" y="14"/>
                    <a:pt x="0" y="21"/>
                  </a:cubicBezTo>
                  <a:cubicBezTo>
                    <a:pt x="0" y="23"/>
                    <a:pt x="3" y="24"/>
                    <a:pt x="4" y="22"/>
                  </a:cubicBezTo>
                  <a:close/>
                </a:path>
              </a:pathLst>
            </a:custGeom>
            <a:solidFill>
              <a:srgbClr val="1C1D1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1" name="Freeform 486">
              <a:extLst>
                <a:ext uri="{FF2B5EF4-FFF2-40B4-BE49-F238E27FC236}">
                  <a16:creationId xmlns:a16="http://schemas.microsoft.com/office/drawing/2014/main" id="{361660EC-7B40-453B-A0C3-9C07167F6DF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581525" y="3163888"/>
              <a:ext cx="68263" cy="163513"/>
            </a:xfrm>
            <a:custGeom>
              <a:avLst/>
              <a:gdLst>
                <a:gd name="T0" fmla="*/ 33 w 40"/>
                <a:gd name="T1" fmla="*/ 0 h 97"/>
                <a:gd name="T2" fmla="*/ 37 w 40"/>
                <a:gd name="T3" fmla="*/ 96 h 97"/>
                <a:gd name="T4" fmla="*/ 39 w 40"/>
                <a:gd name="T5" fmla="*/ 94 h 97"/>
                <a:gd name="T6" fmla="*/ 33 w 40"/>
                <a:gd name="T7" fmla="*/ 0 h 97"/>
                <a:gd name="T8" fmla="*/ 33 w 40"/>
                <a:gd name="T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0" h="97">
                  <a:moveTo>
                    <a:pt x="33" y="0"/>
                  </a:moveTo>
                  <a:cubicBezTo>
                    <a:pt x="26" y="30"/>
                    <a:pt x="0" y="74"/>
                    <a:pt x="37" y="96"/>
                  </a:cubicBezTo>
                  <a:cubicBezTo>
                    <a:pt x="38" y="97"/>
                    <a:pt x="40" y="95"/>
                    <a:pt x="39" y="94"/>
                  </a:cubicBezTo>
                  <a:cubicBezTo>
                    <a:pt x="8" y="67"/>
                    <a:pt x="26" y="33"/>
                    <a:pt x="33" y="0"/>
                  </a:cubicBezTo>
                  <a:cubicBezTo>
                    <a:pt x="33" y="0"/>
                    <a:pt x="33" y="0"/>
                    <a:pt x="33" y="0"/>
                  </a:cubicBezTo>
                  <a:close/>
                </a:path>
              </a:pathLst>
            </a:custGeom>
            <a:solidFill>
              <a:srgbClr val="1C1D1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2" name="Freeform 487">
              <a:extLst>
                <a:ext uri="{FF2B5EF4-FFF2-40B4-BE49-F238E27FC236}">
                  <a16:creationId xmlns:a16="http://schemas.microsoft.com/office/drawing/2014/main" id="{F5AD3C05-C5D1-4DD6-AF72-C334B71AA36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730750" y="3359150"/>
              <a:ext cx="131763" cy="23813"/>
            </a:xfrm>
            <a:custGeom>
              <a:avLst/>
              <a:gdLst>
                <a:gd name="T0" fmla="*/ 1 w 79"/>
                <a:gd name="T1" fmla="*/ 2 h 14"/>
                <a:gd name="T2" fmla="*/ 75 w 79"/>
                <a:gd name="T3" fmla="*/ 14 h 14"/>
                <a:gd name="T4" fmla="*/ 76 w 79"/>
                <a:gd name="T5" fmla="*/ 9 h 14"/>
                <a:gd name="T6" fmla="*/ 2 w 79"/>
                <a:gd name="T7" fmla="*/ 0 h 14"/>
                <a:gd name="T8" fmla="*/ 1 w 79"/>
                <a:gd name="T9" fmla="*/ 2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9" h="14">
                  <a:moveTo>
                    <a:pt x="1" y="2"/>
                  </a:moveTo>
                  <a:cubicBezTo>
                    <a:pt x="26" y="4"/>
                    <a:pt x="50" y="9"/>
                    <a:pt x="75" y="14"/>
                  </a:cubicBezTo>
                  <a:cubicBezTo>
                    <a:pt x="78" y="14"/>
                    <a:pt x="79" y="9"/>
                    <a:pt x="76" y="9"/>
                  </a:cubicBezTo>
                  <a:cubicBezTo>
                    <a:pt x="52" y="3"/>
                    <a:pt x="27" y="1"/>
                    <a:pt x="2" y="0"/>
                  </a:cubicBezTo>
                  <a:cubicBezTo>
                    <a:pt x="0" y="0"/>
                    <a:pt x="0" y="2"/>
                    <a:pt x="1" y="2"/>
                  </a:cubicBezTo>
                  <a:close/>
                </a:path>
              </a:pathLst>
            </a:custGeom>
            <a:solidFill>
              <a:srgbClr val="1C1D1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3" name="Freeform 488">
              <a:extLst>
                <a:ext uri="{FF2B5EF4-FFF2-40B4-BE49-F238E27FC236}">
                  <a16:creationId xmlns:a16="http://schemas.microsoft.com/office/drawing/2014/main" id="{4CFDDCF7-7840-4E39-AFED-87056DE1B26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441825" y="2786063"/>
              <a:ext cx="119063" cy="328613"/>
            </a:xfrm>
            <a:custGeom>
              <a:avLst/>
              <a:gdLst>
                <a:gd name="T0" fmla="*/ 68 w 70"/>
                <a:gd name="T1" fmla="*/ 193 h 195"/>
                <a:gd name="T2" fmla="*/ 16 w 70"/>
                <a:gd name="T3" fmla="*/ 173 h 195"/>
                <a:gd name="T4" fmla="*/ 8 w 70"/>
                <a:gd name="T5" fmla="*/ 116 h 195"/>
                <a:gd name="T6" fmla="*/ 21 w 70"/>
                <a:gd name="T7" fmla="*/ 61 h 195"/>
                <a:gd name="T8" fmla="*/ 36 w 70"/>
                <a:gd name="T9" fmla="*/ 25 h 195"/>
                <a:gd name="T10" fmla="*/ 67 w 70"/>
                <a:gd name="T11" fmla="*/ 5 h 195"/>
                <a:gd name="T12" fmla="*/ 65 w 70"/>
                <a:gd name="T13" fmla="*/ 1 h 195"/>
                <a:gd name="T14" fmla="*/ 24 w 70"/>
                <a:gd name="T15" fmla="*/ 39 h 195"/>
                <a:gd name="T16" fmla="*/ 1 w 70"/>
                <a:gd name="T17" fmla="*/ 122 h 195"/>
                <a:gd name="T18" fmla="*/ 15 w 70"/>
                <a:gd name="T19" fmla="*/ 180 h 195"/>
                <a:gd name="T20" fmla="*/ 68 w 70"/>
                <a:gd name="T21" fmla="*/ 195 h 195"/>
                <a:gd name="T22" fmla="*/ 68 w 70"/>
                <a:gd name="T23" fmla="*/ 193 h 1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70" h="195">
                  <a:moveTo>
                    <a:pt x="68" y="193"/>
                  </a:moveTo>
                  <a:cubicBezTo>
                    <a:pt x="49" y="192"/>
                    <a:pt x="27" y="190"/>
                    <a:pt x="16" y="173"/>
                  </a:cubicBezTo>
                  <a:cubicBezTo>
                    <a:pt x="5" y="156"/>
                    <a:pt x="5" y="135"/>
                    <a:pt x="8" y="116"/>
                  </a:cubicBezTo>
                  <a:cubicBezTo>
                    <a:pt x="11" y="98"/>
                    <a:pt x="15" y="79"/>
                    <a:pt x="21" y="61"/>
                  </a:cubicBezTo>
                  <a:cubicBezTo>
                    <a:pt x="25" y="49"/>
                    <a:pt x="30" y="35"/>
                    <a:pt x="36" y="25"/>
                  </a:cubicBezTo>
                  <a:cubicBezTo>
                    <a:pt x="44" y="13"/>
                    <a:pt x="55" y="9"/>
                    <a:pt x="67" y="5"/>
                  </a:cubicBezTo>
                  <a:cubicBezTo>
                    <a:pt x="69" y="4"/>
                    <a:pt x="68" y="0"/>
                    <a:pt x="65" y="1"/>
                  </a:cubicBezTo>
                  <a:cubicBezTo>
                    <a:pt x="43" y="8"/>
                    <a:pt x="33" y="17"/>
                    <a:pt x="24" y="39"/>
                  </a:cubicBezTo>
                  <a:cubicBezTo>
                    <a:pt x="12" y="65"/>
                    <a:pt x="3" y="93"/>
                    <a:pt x="1" y="122"/>
                  </a:cubicBezTo>
                  <a:cubicBezTo>
                    <a:pt x="0" y="141"/>
                    <a:pt x="1" y="165"/>
                    <a:pt x="15" y="180"/>
                  </a:cubicBezTo>
                  <a:cubicBezTo>
                    <a:pt x="28" y="194"/>
                    <a:pt x="49" y="195"/>
                    <a:pt x="68" y="195"/>
                  </a:cubicBezTo>
                  <a:cubicBezTo>
                    <a:pt x="69" y="195"/>
                    <a:pt x="70" y="193"/>
                    <a:pt x="68" y="193"/>
                  </a:cubicBezTo>
                  <a:close/>
                </a:path>
              </a:pathLst>
            </a:custGeom>
            <a:solidFill>
              <a:srgbClr val="1C1D1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4" name="Freeform 489">
              <a:extLst>
                <a:ext uri="{FF2B5EF4-FFF2-40B4-BE49-F238E27FC236}">
                  <a16:creationId xmlns:a16="http://schemas.microsoft.com/office/drawing/2014/main" id="{9B189668-6EBF-4D47-8AE2-DA9B2F3492A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586288" y="2781300"/>
              <a:ext cx="23813" cy="22225"/>
            </a:xfrm>
            <a:custGeom>
              <a:avLst/>
              <a:gdLst>
                <a:gd name="T0" fmla="*/ 2 w 14"/>
                <a:gd name="T1" fmla="*/ 5 h 13"/>
                <a:gd name="T2" fmla="*/ 10 w 14"/>
                <a:gd name="T3" fmla="*/ 12 h 13"/>
                <a:gd name="T4" fmla="*/ 12 w 14"/>
                <a:gd name="T5" fmla="*/ 9 h 13"/>
                <a:gd name="T6" fmla="*/ 5 w 14"/>
                <a:gd name="T7" fmla="*/ 2 h 13"/>
                <a:gd name="T8" fmla="*/ 2 w 14"/>
                <a:gd name="T9" fmla="*/ 5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" h="13">
                  <a:moveTo>
                    <a:pt x="2" y="5"/>
                  </a:moveTo>
                  <a:cubicBezTo>
                    <a:pt x="5" y="7"/>
                    <a:pt x="7" y="10"/>
                    <a:pt x="10" y="12"/>
                  </a:cubicBezTo>
                  <a:cubicBezTo>
                    <a:pt x="12" y="13"/>
                    <a:pt x="14" y="10"/>
                    <a:pt x="12" y="9"/>
                  </a:cubicBezTo>
                  <a:cubicBezTo>
                    <a:pt x="10" y="6"/>
                    <a:pt x="7" y="4"/>
                    <a:pt x="5" y="2"/>
                  </a:cubicBezTo>
                  <a:cubicBezTo>
                    <a:pt x="3" y="0"/>
                    <a:pt x="0" y="3"/>
                    <a:pt x="2" y="5"/>
                  </a:cubicBezTo>
                  <a:close/>
                </a:path>
              </a:pathLst>
            </a:custGeom>
            <a:solidFill>
              <a:srgbClr val="1C1D1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5" name="Freeform 490">
              <a:extLst>
                <a:ext uri="{FF2B5EF4-FFF2-40B4-BE49-F238E27FC236}">
                  <a16:creationId xmlns:a16="http://schemas.microsoft.com/office/drawing/2014/main" id="{7ED076DE-80B6-41EB-B6FE-29F4492A904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625975" y="2782888"/>
              <a:ext cx="30163" cy="23813"/>
            </a:xfrm>
            <a:custGeom>
              <a:avLst/>
              <a:gdLst>
                <a:gd name="T0" fmla="*/ 1 w 18"/>
                <a:gd name="T1" fmla="*/ 5 h 14"/>
                <a:gd name="T2" fmla="*/ 16 w 18"/>
                <a:gd name="T3" fmla="*/ 14 h 14"/>
                <a:gd name="T4" fmla="*/ 16 w 18"/>
                <a:gd name="T5" fmla="*/ 10 h 14"/>
                <a:gd name="T6" fmla="*/ 5 w 18"/>
                <a:gd name="T7" fmla="*/ 3 h 14"/>
                <a:gd name="T8" fmla="*/ 1 w 18"/>
                <a:gd name="T9" fmla="*/ 5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" h="14">
                  <a:moveTo>
                    <a:pt x="1" y="5"/>
                  </a:moveTo>
                  <a:cubicBezTo>
                    <a:pt x="5" y="10"/>
                    <a:pt x="10" y="13"/>
                    <a:pt x="16" y="14"/>
                  </a:cubicBezTo>
                  <a:cubicBezTo>
                    <a:pt x="18" y="14"/>
                    <a:pt x="18" y="11"/>
                    <a:pt x="16" y="10"/>
                  </a:cubicBezTo>
                  <a:cubicBezTo>
                    <a:pt x="12" y="9"/>
                    <a:pt x="8" y="6"/>
                    <a:pt x="5" y="3"/>
                  </a:cubicBezTo>
                  <a:cubicBezTo>
                    <a:pt x="3" y="0"/>
                    <a:pt x="0" y="3"/>
                    <a:pt x="1" y="5"/>
                  </a:cubicBezTo>
                  <a:close/>
                </a:path>
              </a:pathLst>
            </a:custGeom>
            <a:solidFill>
              <a:srgbClr val="1C1D1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6" name="Freeform 491">
              <a:extLst>
                <a:ext uri="{FF2B5EF4-FFF2-40B4-BE49-F238E27FC236}">
                  <a16:creationId xmlns:a16="http://schemas.microsoft.com/office/drawing/2014/main" id="{E1CF091E-68F2-4F6D-A452-D1C7A90DF9F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649788" y="2365375"/>
              <a:ext cx="496888" cy="354013"/>
            </a:xfrm>
            <a:custGeom>
              <a:avLst/>
              <a:gdLst>
                <a:gd name="T0" fmla="*/ 289 w 296"/>
                <a:gd name="T1" fmla="*/ 207 h 210"/>
                <a:gd name="T2" fmla="*/ 291 w 296"/>
                <a:gd name="T3" fmla="*/ 168 h 210"/>
                <a:gd name="T4" fmla="*/ 294 w 296"/>
                <a:gd name="T5" fmla="*/ 134 h 210"/>
                <a:gd name="T6" fmla="*/ 287 w 296"/>
                <a:gd name="T7" fmla="*/ 78 h 210"/>
                <a:gd name="T8" fmla="*/ 186 w 296"/>
                <a:gd name="T9" fmla="*/ 25 h 210"/>
                <a:gd name="T10" fmla="*/ 62 w 296"/>
                <a:gd name="T11" fmla="*/ 26 h 210"/>
                <a:gd name="T12" fmla="*/ 2 w 296"/>
                <a:gd name="T13" fmla="*/ 137 h 210"/>
                <a:gd name="T14" fmla="*/ 10 w 296"/>
                <a:gd name="T15" fmla="*/ 141 h 210"/>
                <a:gd name="T16" fmla="*/ 62 w 296"/>
                <a:gd name="T17" fmla="*/ 39 h 210"/>
                <a:gd name="T18" fmla="*/ 143 w 296"/>
                <a:gd name="T19" fmla="*/ 25 h 210"/>
                <a:gd name="T20" fmla="*/ 209 w 296"/>
                <a:gd name="T21" fmla="*/ 39 h 210"/>
                <a:gd name="T22" fmla="*/ 288 w 296"/>
                <a:gd name="T23" fmla="*/ 120 h 210"/>
                <a:gd name="T24" fmla="*/ 289 w 296"/>
                <a:gd name="T25" fmla="*/ 210 h 210"/>
                <a:gd name="T26" fmla="*/ 292 w 296"/>
                <a:gd name="T27" fmla="*/ 209 h 210"/>
                <a:gd name="T28" fmla="*/ 292 w 296"/>
                <a:gd name="T29" fmla="*/ 208 h 210"/>
                <a:gd name="T30" fmla="*/ 289 w 296"/>
                <a:gd name="T31" fmla="*/ 207 h 2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96" h="210">
                  <a:moveTo>
                    <a:pt x="289" y="207"/>
                  </a:moveTo>
                  <a:cubicBezTo>
                    <a:pt x="294" y="202"/>
                    <a:pt x="290" y="174"/>
                    <a:pt x="291" y="168"/>
                  </a:cubicBezTo>
                  <a:cubicBezTo>
                    <a:pt x="291" y="156"/>
                    <a:pt x="293" y="145"/>
                    <a:pt x="294" y="134"/>
                  </a:cubicBezTo>
                  <a:cubicBezTo>
                    <a:pt x="296" y="115"/>
                    <a:pt x="295" y="95"/>
                    <a:pt x="287" y="78"/>
                  </a:cubicBezTo>
                  <a:cubicBezTo>
                    <a:pt x="269" y="44"/>
                    <a:pt x="220" y="32"/>
                    <a:pt x="186" y="25"/>
                  </a:cubicBezTo>
                  <a:cubicBezTo>
                    <a:pt x="150" y="16"/>
                    <a:pt x="95" y="0"/>
                    <a:pt x="62" y="26"/>
                  </a:cubicBezTo>
                  <a:cubicBezTo>
                    <a:pt x="29" y="53"/>
                    <a:pt x="19" y="100"/>
                    <a:pt x="2" y="137"/>
                  </a:cubicBezTo>
                  <a:cubicBezTo>
                    <a:pt x="0" y="142"/>
                    <a:pt x="7" y="146"/>
                    <a:pt x="10" y="141"/>
                  </a:cubicBezTo>
                  <a:cubicBezTo>
                    <a:pt x="26" y="107"/>
                    <a:pt x="36" y="67"/>
                    <a:pt x="62" y="39"/>
                  </a:cubicBezTo>
                  <a:cubicBezTo>
                    <a:pt x="83" y="16"/>
                    <a:pt x="115" y="21"/>
                    <a:pt x="143" y="25"/>
                  </a:cubicBezTo>
                  <a:cubicBezTo>
                    <a:pt x="165" y="29"/>
                    <a:pt x="187" y="33"/>
                    <a:pt x="209" y="39"/>
                  </a:cubicBezTo>
                  <a:cubicBezTo>
                    <a:pt x="251" y="51"/>
                    <a:pt x="289" y="71"/>
                    <a:pt x="288" y="120"/>
                  </a:cubicBezTo>
                  <a:cubicBezTo>
                    <a:pt x="288" y="132"/>
                    <a:pt x="272" y="205"/>
                    <a:pt x="289" y="210"/>
                  </a:cubicBezTo>
                  <a:cubicBezTo>
                    <a:pt x="290" y="210"/>
                    <a:pt x="291" y="210"/>
                    <a:pt x="292" y="209"/>
                  </a:cubicBezTo>
                  <a:cubicBezTo>
                    <a:pt x="292" y="208"/>
                    <a:pt x="292" y="208"/>
                    <a:pt x="292" y="208"/>
                  </a:cubicBezTo>
                  <a:cubicBezTo>
                    <a:pt x="292" y="207"/>
                    <a:pt x="290" y="205"/>
                    <a:pt x="289" y="207"/>
                  </a:cubicBezTo>
                  <a:close/>
                </a:path>
              </a:pathLst>
            </a:custGeom>
            <a:solidFill>
              <a:srgbClr val="1C1D1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7" name="Freeform 492">
              <a:extLst>
                <a:ext uri="{FF2B5EF4-FFF2-40B4-BE49-F238E27FC236}">
                  <a16:creationId xmlns:a16="http://schemas.microsoft.com/office/drawing/2014/main" id="{4292278E-F045-4C81-B54F-3EB3390D4D2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818063" y="2362200"/>
              <a:ext cx="261938" cy="84138"/>
            </a:xfrm>
            <a:custGeom>
              <a:avLst/>
              <a:gdLst>
                <a:gd name="T0" fmla="*/ 7 w 156"/>
                <a:gd name="T1" fmla="*/ 18 h 50"/>
                <a:gd name="T2" fmla="*/ 84 w 156"/>
                <a:gd name="T3" fmla="*/ 9 h 50"/>
                <a:gd name="T4" fmla="*/ 148 w 156"/>
                <a:gd name="T5" fmla="*/ 47 h 50"/>
                <a:gd name="T6" fmla="*/ 154 w 156"/>
                <a:gd name="T7" fmla="*/ 43 h 50"/>
                <a:gd name="T8" fmla="*/ 88 w 156"/>
                <a:gd name="T9" fmla="*/ 4 h 50"/>
                <a:gd name="T10" fmla="*/ 34 w 156"/>
                <a:gd name="T11" fmla="*/ 2 h 50"/>
                <a:gd name="T12" fmla="*/ 3 w 156"/>
                <a:gd name="T13" fmla="*/ 15 h 50"/>
                <a:gd name="T14" fmla="*/ 7 w 156"/>
                <a:gd name="T15" fmla="*/ 18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56" h="50">
                  <a:moveTo>
                    <a:pt x="7" y="18"/>
                  </a:moveTo>
                  <a:cubicBezTo>
                    <a:pt x="21" y="0"/>
                    <a:pt x="63" y="7"/>
                    <a:pt x="84" y="9"/>
                  </a:cubicBezTo>
                  <a:cubicBezTo>
                    <a:pt x="109" y="13"/>
                    <a:pt x="134" y="24"/>
                    <a:pt x="148" y="47"/>
                  </a:cubicBezTo>
                  <a:cubicBezTo>
                    <a:pt x="150" y="50"/>
                    <a:pt x="156" y="47"/>
                    <a:pt x="154" y="43"/>
                  </a:cubicBezTo>
                  <a:cubicBezTo>
                    <a:pt x="143" y="19"/>
                    <a:pt x="112" y="7"/>
                    <a:pt x="88" y="4"/>
                  </a:cubicBezTo>
                  <a:cubicBezTo>
                    <a:pt x="70" y="2"/>
                    <a:pt x="52" y="3"/>
                    <a:pt x="34" y="2"/>
                  </a:cubicBezTo>
                  <a:cubicBezTo>
                    <a:pt x="22" y="2"/>
                    <a:pt x="10" y="5"/>
                    <a:pt x="3" y="15"/>
                  </a:cubicBezTo>
                  <a:cubicBezTo>
                    <a:pt x="0" y="18"/>
                    <a:pt x="5" y="21"/>
                    <a:pt x="7" y="18"/>
                  </a:cubicBezTo>
                  <a:close/>
                </a:path>
              </a:pathLst>
            </a:custGeom>
            <a:solidFill>
              <a:srgbClr val="1C1D1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8" name="Freeform 493">
              <a:extLst>
                <a:ext uri="{FF2B5EF4-FFF2-40B4-BE49-F238E27FC236}">
                  <a16:creationId xmlns:a16="http://schemas.microsoft.com/office/drawing/2014/main" id="{39942CB4-3799-491E-BFA8-58DF96296C9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283325" y="2728913"/>
              <a:ext cx="269875" cy="246063"/>
            </a:xfrm>
            <a:custGeom>
              <a:avLst/>
              <a:gdLst>
                <a:gd name="T0" fmla="*/ 5 w 161"/>
                <a:gd name="T1" fmla="*/ 144 h 146"/>
                <a:gd name="T2" fmla="*/ 39 w 161"/>
                <a:gd name="T3" fmla="*/ 51 h 146"/>
                <a:gd name="T4" fmla="*/ 157 w 161"/>
                <a:gd name="T5" fmla="*/ 14 h 146"/>
                <a:gd name="T6" fmla="*/ 157 w 161"/>
                <a:gd name="T7" fmla="*/ 7 h 146"/>
                <a:gd name="T8" fmla="*/ 48 w 161"/>
                <a:gd name="T9" fmla="*/ 26 h 146"/>
                <a:gd name="T10" fmla="*/ 26 w 161"/>
                <a:gd name="T11" fmla="*/ 69 h 146"/>
                <a:gd name="T12" fmla="*/ 1 w 161"/>
                <a:gd name="T13" fmla="*/ 141 h 146"/>
                <a:gd name="T14" fmla="*/ 5 w 161"/>
                <a:gd name="T15" fmla="*/ 144 h 1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61" h="146">
                  <a:moveTo>
                    <a:pt x="5" y="144"/>
                  </a:moveTo>
                  <a:cubicBezTo>
                    <a:pt x="27" y="116"/>
                    <a:pt x="25" y="82"/>
                    <a:pt x="39" y="51"/>
                  </a:cubicBezTo>
                  <a:cubicBezTo>
                    <a:pt x="61" y="5"/>
                    <a:pt x="115" y="13"/>
                    <a:pt x="157" y="14"/>
                  </a:cubicBezTo>
                  <a:cubicBezTo>
                    <a:pt x="160" y="14"/>
                    <a:pt x="161" y="8"/>
                    <a:pt x="157" y="7"/>
                  </a:cubicBezTo>
                  <a:cubicBezTo>
                    <a:pt x="122" y="2"/>
                    <a:pt x="76" y="0"/>
                    <a:pt x="48" y="26"/>
                  </a:cubicBezTo>
                  <a:cubicBezTo>
                    <a:pt x="35" y="37"/>
                    <a:pt x="30" y="54"/>
                    <a:pt x="26" y="69"/>
                  </a:cubicBezTo>
                  <a:cubicBezTo>
                    <a:pt x="19" y="95"/>
                    <a:pt x="11" y="117"/>
                    <a:pt x="1" y="141"/>
                  </a:cubicBezTo>
                  <a:cubicBezTo>
                    <a:pt x="0" y="144"/>
                    <a:pt x="3" y="146"/>
                    <a:pt x="5" y="144"/>
                  </a:cubicBezTo>
                  <a:close/>
                </a:path>
              </a:pathLst>
            </a:custGeom>
            <a:solidFill>
              <a:srgbClr val="1C1D1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9" name="Freeform 494">
              <a:extLst>
                <a:ext uri="{FF2B5EF4-FFF2-40B4-BE49-F238E27FC236}">
                  <a16:creationId xmlns:a16="http://schemas.microsoft.com/office/drawing/2014/main" id="{BD26EC22-9B96-464B-9ED3-9574DAF0607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81775" y="2749550"/>
              <a:ext cx="182563" cy="257175"/>
            </a:xfrm>
            <a:custGeom>
              <a:avLst/>
              <a:gdLst>
                <a:gd name="T0" fmla="*/ 2 w 108"/>
                <a:gd name="T1" fmla="*/ 3 h 153"/>
                <a:gd name="T2" fmla="*/ 46 w 108"/>
                <a:gd name="T3" fmla="*/ 12 h 153"/>
                <a:gd name="T4" fmla="*/ 95 w 108"/>
                <a:gd name="T5" fmla="*/ 41 h 153"/>
                <a:gd name="T6" fmla="*/ 95 w 108"/>
                <a:gd name="T7" fmla="*/ 100 h 153"/>
                <a:gd name="T8" fmla="*/ 99 w 108"/>
                <a:gd name="T9" fmla="*/ 149 h 153"/>
                <a:gd name="T10" fmla="*/ 107 w 108"/>
                <a:gd name="T11" fmla="*/ 146 h 153"/>
                <a:gd name="T12" fmla="*/ 106 w 108"/>
                <a:gd name="T13" fmla="*/ 75 h 153"/>
                <a:gd name="T14" fmla="*/ 96 w 108"/>
                <a:gd name="T15" fmla="*/ 33 h 153"/>
                <a:gd name="T16" fmla="*/ 58 w 108"/>
                <a:gd name="T17" fmla="*/ 11 h 153"/>
                <a:gd name="T18" fmla="*/ 3 w 108"/>
                <a:gd name="T19" fmla="*/ 0 h 153"/>
                <a:gd name="T20" fmla="*/ 2 w 108"/>
                <a:gd name="T21" fmla="*/ 3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08" h="153">
                  <a:moveTo>
                    <a:pt x="2" y="3"/>
                  </a:moveTo>
                  <a:cubicBezTo>
                    <a:pt x="15" y="10"/>
                    <a:pt x="32" y="7"/>
                    <a:pt x="46" y="12"/>
                  </a:cubicBezTo>
                  <a:cubicBezTo>
                    <a:pt x="60" y="17"/>
                    <a:pt x="87" y="28"/>
                    <a:pt x="95" y="41"/>
                  </a:cubicBezTo>
                  <a:cubicBezTo>
                    <a:pt x="106" y="58"/>
                    <a:pt x="98" y="82"/>
                    <a:pt x="95" y="100"/>
                  </a:cubicBezTo>
                  <a:cubicBezTo>
                    <a:pt x="93" y="117"/>
                    <a:pt x="92" y="133"/>
                    <a:pt x="99" y="149"/>
                  </a:cubicBezTo>
                  <a:cubicBezTo>
                    <a:pt x="101" y="153"/>
                    <a:pt x="108" y="150"/>
                    <a:pt x="107" y="146"/>
                  </a:cubicBezTo>
                  <a:cubicBezTo>
                    <a:pt x="100" y="122"/>
                    <a:pt x="104" y="100"/>
                    <a:pt x="106" y="75"/>
                  </a:cubicBezTo>
                  <a:cubicBezTo>
                    <a:pt x="106" y="61"/>
                    <a:pt x="106" y="45"/>
                    <a:pt x="96" y="33"/>
                  </a:cubicBezTo>
                  <a:cubicBezTo>
                    <a:pt x="87" y="22"/>
                    <a:pt x="70" y="17"/>
                    <a:pt x="58" y="11"/>
                  </a:cubicBezTo>
                  <a:cubicBezTo>
                    <a:pt x="40" y="3"/>
                    <a:pt x="22" y="5"/>
                    <a:pt x="3" y="0"/>
                  </a:cubicBezTo>
                  <a:cubicBezTo>
                    <a:pt x="2" y="0"/>
                    <a:pt x="0" y="2"/>
                    <a:pt x="2" y="3"/>
                  </a:cubicBezTo>
                  <a:close/>
                </a:path>
              </a:pathLst>
            </a:custGeom>
            <a:solidFill>
              <a:srgbClr val="1C1D1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0" name="Freeform 495">
              <a:extLst>
                <a:ext uri="{FF2B5EF4-FFF2-40B4-BE49-F238E27FC236}">
                  <a16:creationId xmlns:a16="http://schemas.microsoft.com/office/drawing/2014/main" id="{51239AC9-EE72-48B6-95E4-F8FEEDAB770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402388" y="2705100"/>
              <a:ext cx="327025" cy="100013"/>
            </a:xfrm>
            <a:custGeom>
              <a:avLst/>
              <a:gdLst>
                <a:gd name="T0" fmla="*/ 5 w 195"/>
                <a:gd name="T1" fmla="*/ 29 h 59"/>
                <a:gd name="T2" fmla="*/ 48 w 195"/>
                <a:gd name="T3" fmla="*/ 10 h 59"/>
                <a:gd name="T4" fmla="*/ 99 w 195"/>
                <a:gd name="T5" fmla="*/ 13 h 59"/>
                <a:gd name="T6" fmla="*/ 188 w 195"/>
                <a:gd name="T7" fmla="*/ 56 h 59"/>
                <a:gd name="T8" fmla="*/ 194 w 195"/>
                <a:gd name="T9" fmla="*/ 53 h 59"/>
                <a:gd name="T10" fmla="*/ 107 w 195"/>
                <a:gd name="T11" fmla="*/ 7 h 59"/>
                <a:gd name="T12" fmla="*/ 54 w 195"/>
                <a:gd name="T13" fmla="*/ 2 h 59"/>
                <a:gd name="T14" fmla="*/ 2 w 195"/>
                <a:gd name="T15" fmla="*/ 25 h 59"/>
                <a:gd name="T16" fmla="*/ 5 w 195"/>
                <a:gd name="T17" fmla="*/ 29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5" h="59">
                  <a:moveTo>
                    <a:pt x="5" y="29"/>
                  </a:moveTo>
                  <a:cubicBezTo>
                    <a:pt x="18" y="21"/>
                    <a:pt x="33" y="13"/>
                    <a:pt x="48" y="10"/>
                  </a:cubicBezTo>
                  <a:cubicBezTo>
                    <a:pt x="66" y="6"/>
                    <a:pt x="82" y="11"/>
                    <a:pt x="99" y="13"/>
                  </a:cubicBezTo>
                  <a:cubicBezTo>
                    <a:pt x="135" y="17"/>
                    <a:pt x="169" y="22"/>
                    <a:pt x="188" y="56"/>
                  </a:cubicBezTo>
                  <a:cubicBezTo>
                    <a:pt x="190" y="59"/>
                    <a:pt x="195" y="56"/>
                    <a:pt x="194" y="53"/>
                  </a:cubicBezTo>
                  <a:cubicBezTo>
                    <a:pt x="181" y="18"/>
                    <a:pt x="140" y="9"/>
                    <a:pt x="107" y="7"/>
                  </a:cubicBezTo>
                  <a:cubicBezTo>
                    <a:pt x="90" y="5"/>
                    <a:pt x="72" y="0"/>
                    <a:pt x="54" y="2"/>
                  </a:cubicBezTo>
                  <a:cubicBezTo>
                    <a:pt x="35" y="4"/>
                    <a:pt x="18" y="14"/>
                    <a:pt x="2" y="25"/>
                  </a:cubicBezTo>
                  <a:cubicBezTo>
                    <a:pt x="0" y="26"/>
                    <a:pt x="2" y="30"/>
                    <a:pt x="5" y="29"/>
                  </a:cubicBezTo>
                  <a:close/>
                </a:path>
              </a:pathLst>
            </a:custGeom>
            <a:solidFill>
              <a:srgbClr val="1C1D1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1" name="Freeform 496">
              <a:extLst>
                <a:ext uri="{FF2B5EF4-FFF2-40B4-BE49-F238E27FC236}">
                  <a16:creationId xmlns:a16="http://schemas.microsoft.com/office/drawing/2014/main" id="{D98AA8DB-75A1-4AEA-8F55-6CB1AEB1478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688138" y="2813050"/>
              <a:ext cx="41275" cy="30163"/>
            </a:xfrm>
            <a:custGeom>
              <a:avLst/>
              <a:gdLst>
                <a:gd name="T0" fmla="*/ 3 w 25"/>
                <a:gd name="T1" fmla="*/ 6 h 18"/>
                <a:gd name="T2" fmla="*/ 22 w 25"/>
                <a:gd name="T3" fmla="*/ 17 h 18"/>
                <a:gd name="T4" fmla="*/ 24 w 25"/>
                <a:gd name="T5" fmla="*/ 14 h 18"/>
                <a:gd name="T6" fmla="*/ 5 w 25"/>
                <a:gd name="T7" fmla="*/ 2 h 18"/>
                <a:gd name="T8" fmla="*/ 3 w 25"/>
                <a:gd name="T9" fmla="*/ 6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5" h="18">
                  <a:moveTo>
                    <a:pt x="3" y="6"/>
                  </a:moveTo>
                  <a:cubicBezTo>
                    <a:pt x="9" y="9"/>
                    <a:pt x="15" y="13"/>
                    <a:pt x="22" y="17"/>
                  </a:cubicBezTo>
                  <a:cubicBezTo>
                    <a:pt x="23" y="18"/>
                    <a:pt x="25" y="15"/>
                    <a:pt x="24" y="14"/>
                  </a:cubicBezTo>
                  <a:cubicBezTo>
                    <a:pt x="19" y="8"/>
                    <a:pt x="11" y="5"/>
                    <a:pt x="5" y="2"/>
                  </a:cubicBezTo>
                  <a:cubicBezTo>
                    <a:pt x="2" y="0"/>
                    <a:pt x="0" y="5"/>
                    <a:pt x="3" y="6"/>
                  </a:cubicBezTo>
                  <a:close/>
                </a:path>
              </a:pathLst>
            </a:custGeom>
            <a:solidFill>
              <a:srgbClr val="1C1D1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2" name="Freeform 497">
              <a:extLst>
                <a:ext uri="{FF2B5EF4-FFF2-40B4-BE49-F238E27FC236}">
                  <a16:creationId xmlns:a16="http://schemas.microsoft.com/office/drawing/2014/main" id="{A2E577C4-FBF6-423D-BA9A-BB25EA905CD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686550" y="2841625"/>
              <a:ext cx="36513" cy="22225"/>
            </a:xfrm>
            <a:custGeom>
              <a:avLst/>
              <a:gdLst>
                <a:gd name="T0" fmla="*/ 2 w 22"/>
                <a:gd name="T1" fmla="*/ 4 h 13"/>
                <a:gd name="T2" fmla="*/ 16 w 22"/>
                <a:gd name="T3" fmla="*/ 12 h 13"/>
                <a:gd name="T4" fmla="*/ 19 w 22"/>
                <a:gd name="T5" fmla="*/ 6 h 13"/>
                <a:gd name="T6" fmla="*/ 4 w 22"/>
                <a:gd name="T7" fmla="*/ 0 h 13"/>
                <a:gd name="T8" fmla="*/ 2 w 22"/>
                <a:gd name="T9" fmla="*/ 4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" h="13">
                  <a:moveTo>
                    <a:pt x="2" y="4"/>
                  </a:moveTo>
                  <a:cubicBezTo>
                    <a:pt x="7" y="6"/>
                    <a:pt x="11" y="9"/>
                    <a:pt x="16" y="12"/>
                  </a:cubicBezTo>
                  <a:cubicBezTo>
                    <a:pt x="19" y="13"/>
                    <a:pt x="22" y="9"/>
                    <a:pt x="19" y="6"/>
                  </a:cubicBezTo>
                  <a:cubicBezTo>
                    <a:pt x="14" y="3"/>
                    <a:pt x="9" y="1"/>
                    <a:pt x="4" y="0"/>
                  </a:cubicBezTo>
                  <a:cubicBezTo>
                    <a:pt x="1" y="0"/>
                    <a:pt x="0" y="3"/>
                    <a:pt x="2" y="4"/>
                  </a:cubicBezTo>
                  <a:close/>
                </a:path>
              </a:pathLst>
            </a:custGeom>
            <a:solidFill>
              <a:srgbClr val="1C1D1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3" name="Freeform 498">
              <a:extLst>
                <a:ext uri="{FF2B5EF4-FFF2-40B4-BE49-F238E27FC236}">
                  <a16:creationId xmlns:a16="http://schemas.microsoft.com/office/drawing/2014/main" id="{A1FB2870-0BF1-4F87-A269-813A854CD7F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694488" y="2879725"/>
              <a:ext cx="25400" cy="22225"/>
            </a:xfrm>
            <a:custGeom>
              <a:avLst/>
              <a:gdLst>
                <a:gd name="T0" fmla="*/ 2 w 15"/>
                <a:gd name="T1" fmla="*/ 6 h 13"/>
                <a:gd name="T2" fmla="*/ 12 w 15"/>
                <a:gd name="T3" fmla="*/ 13 h 13"/>
                <a:gd name="T4" fmla="*/ 14 w 15"/>
                <a:gd name="T5" fmla="*/ 10 h 13"/>
                <a:gd name="T6" fmla="*/ 5 w 15"/>
                <a:gd name="T7" fmla="*/ 1 h 13"/>
                <a:gd name="T8" fmla="*/ 1 w 15"/>
                <a:gd name="T9" fmla="*/ 2 h 13"/>
                <a:gd name="T10" fmla="*/ 2 w 15"/>
                <a:gd name="T11" fmla="*/ 6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5" h="13">
                  <a:moveTo>
                    <a:pt x="2" y="6"/>
                  </a:moveTo>
                  <a:cubicBezTo>
                    <a:pt x="5" y="9"/>
                    <a:pt x="8" y="12"/>
                    <a:pt x="12" y="13"/>
                  </a:cubicBezTo>
                  <a:cubicBezTo>
                    <a:pt x="14" y="13"/>
                    <a:pt x="15" y="11"/>
                    <a:pt x="14" y="10"/>
                  </a:cubicBezTo>
                  <a:cubicBezTo>
                    <a:pt x="12" y="6"/>
                    <a:pt x="8" y="4"/>
                    <a:pt x="5" y="1"/>
                  </a:cubicBezTo>
                  <a:cubicBezTo>
                    <a:pt x="4" y="0"/>
                    <a:pt x="2" y="1"/>
                    <a:pt x="1" y="2"/>
                  </a:cubicBezTo>
                  <a:cubicBezTo>
                    <a:pt x="0" y="4"/>
                    <a:pt x="1" y="5"/>
                    <a:pt x="2" y="6"/>
                  </a:cubicBezTo>
                  <a:close/>
                </a:path>
              </a:pathLst>
            </a:custGeom>
            <a:solidFill>
              <a:srgbClr val="1C1D1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4" name="Freeform 499">
              <a:extLst>
                <a:ext uri="{FF2B5EF4-FFF2-40B4-BE49-F238E27FC236}">
                  <a16:creationId xmlns:a16="http://schemas.microsoft.com/office/drawing/2014/main" id="{A66F985E-DD26-46D7-BC70-3E4D26FD3FD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692900" y="2909888"/>
              <a:ext cx="17463" cy="20638"/>
            </a:xfrm>
            <a:custGeom>
              <a:avLst/>
              <a:gdLst>
                <a:gd name="T0" fmla="*/ 2 w 10"/>
                <a:gd name="T1" fmla="*/ 7 h 12"/>
                <a:gd name="T2" fmla="*/ 5 w 10"/>
                <a:gd name="T3" fmla="*/ 10 h 12"/>
                <a:gd name="T4" fmla="*/ 8 w 10"/>
                <a:gd name="T5" fmla="*/ 8 h 12"/>
                <a:gd name="T6" fmla="*/ 6 w 10"/>
                <a:gd name="T7" fmla="*/ 4 h 12"/>
                <a:gd name="T8" fmla="*/ 2 w 10"/>
                <a:gd name="T9" fmla="*/ 7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" h="12">
                  <a:moveTo>
                    <a:pt x="2" y="7"/>
                  </a:moveTo>
                  <a:cubicBezTo>
                    <a:pt x="3" y="8"/>
                    <a:pt x="4" y="9"/>
                    <a:pt x="5" y="10"/>
                  </a:cubicBezTo>
                  <a:cubicBezTo>
                    <a:pt x="7" y="12"/>
                    <a:pt x="10" y="10"/>
                    <a:pt x="8" y="8"/>
                  </a:cubicBezTo>
                  <a:cubicBezTo>
                    <a:pt x="8" y="6"/>
                    <a:pt x="7" y="5"/>
                    <a:pt x="6" y="4"/>
                  </a:cubicBezTo>
                  <a:cubicBezTo>
                    <a:pt x="5" y="0"/>
                    <a:pt x="0" y="4"/>
                    <a:pt x="2" y="7"/>
                  </a:cubicBezTo>
                  <a:close/>
                </a:path>
              </a:pathLst>
            </a:custGeom>
            <a:solidFill>
              <a:srgbClr val="1C1D1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5" name="Freeform 500">
              <a:extLst>
                <a:ext uri="{FF2B5EF4-FFF2-40B4-BE49-F238E27FC236}">
                  <a16:creationId xmlns:a16="http://schemas.microsoft.com/office/drawing/2014/main" id="{4625E593-2249-4DB0-AB3B-269EF9C7EDF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046663" y="2489200"/>
              <a:ext cx="39688" cy="30163"/>
            </a:xfrm>
            <a:custGeom>
              <a:avLst/>
              <a:gdLst>
                <a:gd name="T0" fmla="*/ 3 w 24"/>
                <a:gd name="T1" fmla="*/ 6 h 18"/>
                <a:gd name="T2" fmla="*/ 19 w 24"/>
                <a:gd name="T3" fmla="*/ 17 h 18"/>
                <a:gd name="T4" fmla="*/ 21 w 24"/>
                <a:gd name="T5" fmla="*/ 12 h 18"/>
                <a:gd name="T6" fmla="*/ 6 w 24"/>
                <a:gd name="T7" fmla="*/ 2 h 18"/>
                <a:gd name="T8" fmla="*/ 3 w 24"/>
                <a:gd name="T9" fmla="*/ 6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" h="18">
                  <a:moveTo>
                    <a:pt x="3" y="6"/>
                  </a:moveTo>
                  <a:cubicBezTo>
                    <a:pt x="8" y="10"/>
                    <a:pt x="13" y="14"/>
                    <a:pt x="19" y="17"/>
                  </a:cubicBezTo>
                  <a:cubicBezTo>
                    <a:pt x="22" y="18"/>
                    <a:pt x="24" y="14"/>
                    <a:pt x="21" y="12"/>
                  </a:cubicBezTo>
                  <a:cubicBezTo>
                    <a:pt x="16" y="9"/>
                    <a:pt x="11" y="5"/>
                    <a:pt x="6" y="2"/>
                  </a:cubicBezTo>
                  <a:cubicBezTo>
                    <a:pt x="3" y="0"/>
                    <a:pt x="0" y="4"/>
                    <a:pt x="3" y="6"/>
                  </a:cubicBezTo>
                  <a:close/>
                </a:path>
              </a:pathLst>
            </a:custGeom>
            <a:solidFill>
              <a:srgbClr val="1C1D1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6" name="Freeform 501">
              <a:extLst>
                <a:ext uri="{FF2B5EF4-FFF2-40B4-BE49-F238E27FC236}">
                  <a16:creationId xmlns:a16="http://schemas.microsoft.com/office/drawing/2014/main" id="{4604C04D-E0FC-467B-BE04-AA7D1215980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060950" y="2528888"/>
              <a:ext cx="26988" cy="23813"/>
            </a:xfrm>
            <a:custGeom>
              <a:avLst/>
              <a:gdLst>
                <a:gd name="T0" fmla="*/ 2 w 16"/>
                <a:gd name="T1" fmla="*/ 7 h 14"/>
                <a:gd name="T2" fmla="*/ 10 w 16"/>
                <a:gd name="T3" fmla="*/ 12 h 14"/>
                <a:gd name="T4" fmla="*/ 13 w 16"/>
                <a:gd name="T5" fmla="*/ 8 h 14"/>
                <a:gd name="T6" fmla="*/ 5 w 16"/>
                <a:gd name="T7" fmla="*/ 3 h 14"/>
                <a:gd name="T8" fmla="*/ 2 w 16"/>
                <a:gd name="T9" fmla="*/ 7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" h="14">
                  <a:moveTo>
                    <a:pt x="2" y="7"/>
                  </a:moveTo>
                  <a:cubicBezTo>
                    <a:pt x="5" y="9"/>
                    <a:pt x="8" y="10"/>
                    <a:pt x="10" y="12"/>
                  </a:cubicBezTo>
                  <a:cubicBezTo>
                    <a:pt x="13" y="14"/>
                    <a:pt x="16" y="10"/>
                    <a:pt x="13" y="8"/>
                  </a:cubicBezTo>
                  <a:cubicBezTo>
                    <a:pt x="11" y="6"/>
                    <a:pt x="8" y="4"/>
                    <a:pt x="5" y="3"/>
                  </a:cubicBezTo>
                  <a:cubicBezTo>
                    <a:pt x="3" y="0"/>
                    <a:pt x="0" y="5"/>
                    <a:pt x="2" y="7"/>
                  </a:cubicBezTo>
                  <a:close/>
                </a:path>
              </a:pathLst>
            </a:custGeom>
            <a:solidFill>
              <a:srgbClr val="1C1D1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7" name="Freeform 502">
              <a:extLst>
                <a:ext uri="{FF2B5EF4-FFF2-40B4-BE49-F238E27FC236}">
                  <a16:creationId xmlns:a16="http://schemas.microsoft.com/office/drawing/2014/main" id="{EB12FDFC-F0C0-4F64-9674-80243F3E08A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181600" y="2782888"/>
              <a:ext cx="1019175" cy="227013"/>
            </a:xfrm>
            <a:custGeom>
              <a:avLst/>
              <a:gdLst>
                <a:gd name="T0" fmla="*/ 1 w 606"/>
                <a:gd name="T1" fmla="*/ 4 h 135"/>
                <a:gd name="T2" fmla="*/ 26 w 606"/>
                <a:gd name="T3" fmla="*/ 13 h 135"/>
                <a:gd name="T4" fmla="*/ 115 w 606"/>
                <a:gd name="T5" fmla="*/ 34 h 135"/>
                <a:gd name="T6" fmla="*/ 270 w 606"/>
                <a:gd name="T7" fmla="*/ 67 h 135"/>
                <a:gd name="T8" fmla="*/ 444 w 606"/>
                <a:gd name="T9" fmla="*/ 104 h 135"/>
                <a:gd name="T10" fmla="*/ 531 w 606"/>
                <a:gd name="T11" fmla="*/ 122 h 135"/>
                <a:gd name="T12" fmla="*/ 602 w 606"/>
                <a:gd name="T13" fmla="*/ 135 h 135"/>
                <a:gd name="T14" fmla="*/ 602 w 606"/>
                <a:gd name="T15" fmla="*/ 129 h 135"/>
                <a:gd name="T16" fmla="*/ 524 w 606"/>
                <a:gd name="T17" fmla="*/ 113 h 135"/>
                <a:gd name="T18" fmla="*/ 437 w 606"/>
                <a:gd name="T19" fmla="*/ 95 h 135"/>
                <a:gd name="T20" fmla="*/ 280 w 606"/>
                <a:gd name="T21" fmla="*/ 61 h 135"/>
                <a:gd name="T22" fmla="*/ 246 w 606"/>
                <a:gd name="T23" fmla="*/ 57 h 135"/>
                <a:gd name="T24" fmla="*/ 208 w 606"/>
                <a:gd name="T25" fmla="*/ 48 h 135"/>
                <a:gd name="T26" fmla="*/ 131 w 606"/>
                <a:gd name="T27" fmla="*/ 31 h 135"/>
                <a:gd name="T28" fmla="*/ 53 w 606"/>
                <a:gd name="T29" fmla="*/ 12 h 135"/>
                <a:gd name="T30" fmla="*/ 3 w 606"/>
                <a:gd name="T31" fmla="*/ 2 h 135"/>
                <a:gd name="T32" fmla="*/ 1 w 606"/>
                <a:gd name="T33" fmla="*/ 4 h 1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606" h="135">
                  <a:moveTo>
                    <a:pt x="1" y="4"/>
                  </a:moveTo>
                  <a:cubicBezTo>
                    <a:pt x="5" y="12"/>
                    <a:pt x="17" y="12"/>
                    <a:pt x="26" y="13"/>
                  </a:cubicBezTo>
                  <a:cubicBezTo>
                    <a:pt x="56" y="19"/>
                    <a:pt x="85" y="27"/>
                    <a:pt x="115" y="34"/>
                  </a:cubicBezTo>
                  <a:cubicBezTo>
                    <a:pt x="167" y="46"/>
                    <a:pt x="218" y="58"/>
                    <a:pt x="270" y="67"/>
                  </a:cubicBezTo>
                  <a:cubicBezTo>
                    <a:pt x="328" y="78"/>
                    <a:pt x="386" y="92"/>
                    <a:pt x="444" y="104"/>
                  </a:cubicBezTo>
                  <a:cubicBezTo>
                    <a:pt x="473" y="110"/>
                    <a:pt x="502" y="116"/>
                    <a:pt x="531" y="122"/>
                  </a:cubicBezTo>
                  <a:cubicBezTo>
                    <a:pt x="554" y="127"/>
                    <a:pt x="578" y="135"/>
                    <a:pt x="602" y="135"/>
                  </a:cubicBezTo>
                  <a:cubicBezTo>
                    <a:pt x="606" y="135"/>
                    <a:pt x="606" y="129"/>
                    <a:pt x="602" y="129"/>
                  </a:cubicBezTo>
                  <a:cubicBezTo>
                    <a:pt x="576" y="128"/>
                    <a:pt x="550" y="119"/>
                    <a:pt x="524" y="113"/>
                  </a:cubicBezTo>
                  <a:cubicBezTo>
                    <a:pt x="495" y="107"/>
                    <a:pt x="466" y="101"/>
                    <a:pt x="437" y="95"/>
                  </a:cubicBezTo>
                  <a:cubicBezTo>
                    <a:pt x="385" y="84"/>
                    <a:pt x="331" y="74"/>
                    <a:pt x="280" y="61"/>
                  </a:cubicBezTo>
                  <a:cubicBezTo>
                    <a:pt x="268" y="59"/>
                    <a:pt x="257" y="58"/>
                    <a:pt x="246" y="57"/>
                  </a:cubicBezTo>
                  <a:cubicBezTo>
                    <a:pt x="233" y="55"/>
                    <a:pt x="221" y="51"/>
                    <a:pt x="208" y="48"/>
                  </a:cubicBezTo>
                  <a:cubicBezTo>
                    <a:pt x="182" y="42"/>
                    <a:pt x="156" y="37"/>
                    <a:pt x="131" y="31"/>
                  </a:cubicBezTo>
                  <a:cubicBezTo>
                    <a:pt x="105" y="24"/>
                    <a:pt x="79" y="18"/>
                    <a:pt x="53" y="12"/>
                  </a:cubicBezTo>
                  <a:cubicBezTo>
                    <a:pt x="41" y="10"/>
                    <a:pt x="10" y="11"/>
                    <a:pt x="3" y="2"/>
                  </a:cubicBezTo>
                  <a:cubicBezTo>
                    <a:pt x="2" y="0"/>
                    <a:pt x="0" y="2"/>
                    <a:pt x="1" y="4"/>
                  </a:cubicBezTo>
                  <a:close/>
                </a:path>
              </a:pathLst>
            </a:custGeom>
            <a:solidFill>
              <a:srgbClr val="1C1D1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8" name="Freeform 503">
              <a:extLst>
                <a:ext uri="{FF2B5EF4-FFF2-40B4-BE49-F238E27FC236}">
                  <a16:creationId xmlns:a16="http://schemas.microsoft.com/office/drawing/2014/main" id="{C04887CB-1A92-4393-8776-19D9111035E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119688" y="2686050"/>
              <a:ext cx="1201738" cy="266700"/>
            </a:xfrm>
            <a:custGeom>
              <a:avLst/>
              <a:gdLst>
                <a:gd name="T0" fmla="*/ 1 w 714"/>
                <a:gd name="T1" fmla="*/ 3 h 159"/>
                <a:gd name="T2" fmla="*/ 22 w 714"/>
                <a:gd name="T3" fmla="*/ 11 h 159"/>
                <a:gd name="T4" fmla="*/ 65 w 714"/>
                <a:gd name="T5" fmla="*/ 19 h 159"/>
                <a:gd name="T6" fmla="*/ 162 w 714"/>
                <a:gd name="T7" fmla="*/ 42 h 159"/>
                <a:gd name="T8" fmla="*/ 260 w 714"/>
                <a:gd name="T9" fmla="*/ 63 h 159"/>
                <a:gd name="T10" fmla="*/ 337 w 714"/>
                <a:gd name="T11" fmla="*/ 94 h 159"/>
                <a:gd name="T12" fmla="*/ 392 w 714"/>
                <a:gd name="T13" fmla="*/ 105 h 159"/>
                <a:gd name="T14" fmla="*/ 409 w 714"/>
                <a:gd name="T15" fmla="*/ 103 h 159"/>
                <a:gd name="T16" fmla="*/ 439 w 714"/>
                <a:gd name="T17" fmla="*/ 101 h 159"/>
                <a:gd name="T18" fmla="*/ 458 w 714"/>
                <a:gd name="T19" fmla="*/ 104 h 159"/>
                <a:gd name="T20" fmla="*/ 515 w 714"/>
                <a:gd name="T21" fmla="*/ 115 h 159"/>
                <a:gd name="T22" fmla="*/ 708 w 714"/>
                <a:gd name="T23" fmla="*/ 158 h 159"/>
                <a:gd name="T24" fmla="*/ 710 w 714"/>
                <a:gd name="T25" fmla="*/ 153 h 159"/>
                <a:gd name="T26" fmla="*/ 524 w 714"/>
                <a:gd name="T27" fmla="*/ 112 h 159"/>
                <a:gd name="T28" fmla="*/ 435 w 714"/>
                <a:gd name="T29" fmla="*/ 94 h 159"/>
                <a:gd name="T30" fmla="*/ 413 w 714"/>
                <a:gd name="T31" fmla="*/ 94 h 159"/>
                <a:gd name="T32" fmla="*/ 384 w 714"/>
                <a:gd name="T33" fmla="*/ 98 h 159"/>
                <a:gd name="T34" fmla="*/ 366 w 714"/>
                <a:gd name="T35" fmla="*/ 94 h 159"/>
                <a:gd name="T36" fmla="*/ 307 w 714"/>
                <a:gd name="T37" fmla="*/ 78 h 159"/>
                <a:gd name="T38" fmla="*/ 279 w 714"/>
                <a:gd name="T39" fmla="*/ 62 h 159"/>
                <a:gd name="T40" fmla="*/ 184 w 714"/>
                <a:gd name="T41" fmla="*/ 43 h 159"/>
                <a:gd name="T42" fmla="*/ 99 w 714"/>
                <a:gd name="T43" fmla="*/ 21 h 159"/>
                <a:gd name="T44" fmla="*/ 52 w 714"/>
                <a:gd name="T45" fmla="*/ 12 h 159"/>
                <a:gd name="T46" fmla="*/ 4 w 714"/>
                <a:gd name="T47" fmla="*/ 1 h 159"/>
                <a:gd name="T48" fmla="*/ 1 w 714"/>
                <a:gd name="T49" fmla="*/ 3 h 1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714" h="159">
                  <a:moveTo>
                    <a:pt x="1" y="3"/>
                  </a:moveTo>
                  <a:cubicBezTo>
                    <a:pt x="8" y="9"/>
                    <a:pt x="15" y="9"/>
                    <a:pt x="22" y="11"/>
                  </a:cubicBezTo>
                  <a:cubicBezTo>
                    <a:pt x="37" y="13"/>
                    <a:pt x="51" y="17"/>
                    <a:pt x="65" y="19"/>
                  </a:cubicBezTo>
                  <a:cubicBezTo>
                    <a:pt x="97" y="25"/>
                    <a:pt x="130" y="33"/>
                    <a:pt x="162" y="42"/>
                  </a:cubicBezTo>
                  <a:cubicBezTo>
                    <a:pt x="194" y="51"/>
                    <a:pt x="227" y="56"/>
                    <a:pt x="260" y="63"/>
                  </a:cubicBezTo>
                  <a:cubicBezTo>
                    <a:pt x="288" y="69"/>
                    <a:pt x="308" y="88"/>
                    <a:pt x="337" y="94"/>
                  </a:cubicBezTo>
                  <a:cubicBezTo>
                    <a:pt x="355" y="98"/>
                    <a:pt x="374" y="103"/>
                    <a:pt x="392" y="105"/>
                  </a:cubicBezTo>
                  <a:cubicBezTo>
                    <a:pt x="400" y="107"/>
                    <a:pt x="402" y="106"/>
                    <a:pt x="409" y="103"/>
                  </a:cubicBezTo>
                  <a:cubicBezTo>
                    <a:pt x="426" y="98"/>
                    <a:pt x="423" y="98"/>
                    <a:pt x="439" y="101"/>
                  </a:cubicBezTo>
                  <a:cubicBezTo>
                    <a:pt x="445" y="102"/>
                    <a:pt x="451" y="103"/>
                    <a:pt x="458" y="104"/>
                  </a:cubicBezTo>
                  <a:cubicBezTo>
                    <a:pt x="477" y="107"/>
                    <a:pt x="496" y="111"/>
                    <a:pt x="515" y="115"/>
                  </a:cubicBezTo>
                  <a:cubicBezTo>
                    <a:pt x="580" y="129"/>
                    <a:pt x="644" y="145"/>
                    <a:pt x="708" y="158"/>
                  </a:cubicBezTo>
                  <a:cubicBezTo>
                    <a:pt x="712" y="159"/>
                    <a:pt x="714" y="154"/>
                    <a:pt x="710" y="153"/>
                  </a:cubicBezTo>
                  <a:cubicBezTo>
                    <a:pt x="648" y="140"/>
                    <a:pt x="586" y="125"/>
                    <a:pt x="524" y="112"/>
                  </a:cubicBezTo>
                  <a:cubicBezTo>
                    <a:pt x="495" y="105"/>
                    <a:pt x="465" y="100"/>
                    <a:pt x="435" y="94"/>
                  </a:cubicBezTo>
                  <a:cubicBezTo>
                    <a:pt x="427" y="93"/>
                    <a:pt x="421" y="93"/>
                    <a:pt x="413" y="94"/>
                  </a:cubicBezTo>
                  <a:cubicBezTo>
                    <a:pt x="404" y="96"/>
                    <a:pt x="395" y="99"/>
                    <a:pt x="384" y="98"/>
                  </a:cubicBezTo>
                  <a:cubicBezTo>
                    <a:pt x="378" y="97"/>
                    <a:pt x="372" y="95"/>
                    <a:pt x="366" y="94"/>
                  </a:cubicBezTo>
                  <a:cubicBezTo>
                    <a:pt x="347" y="90"/>
                    <a:pt x="325" y="89"/>
                    <a:pt x="307" y="78"/>
                  </a:cubicBezTo>
                  <a:cubicBezTo>
                    <a:pt x="298" y="73"/>
                    <a:pt x="290" y="66"/>
                    <a:pt x="279" y="62"/>
                  </a:cubicBezTo>
                  <a:cubicBezTo>
                    <a:pt x="249" y="52"/>
                    <a:pt x="215" y="50"/>
                    <a:pt x="184" y="43"/>
                  </a:cubicBezTo>
                  <a:cubicBezTo>
                    <a:pt x="156" y="36"/>
                    <a:pt x="127" y="28"/>
                    <a:pt x="99" y="21"/>
                  </a:cubicBezTo>
                  <a:cubicBezTo>
                    <a:pt x="83" y="17"/>
                    <a:pt x="68" y="14"/>
                    <a:pt x="52" y="12"/>
                  </a:cubicBezTo>
                  <a:cubicBezTo>
                    <a:pt x="37" y="9"/>
                    <a:pt x="17" y="8"/>
                    <a:pt x="4" y="1"/>
                  </a:cubicBezTo>
                  <a:cubicBezTo>
                    <a:pt x="2" y="0"/>
                    <a:pt x="0" y="2"/>
                    <a:pt x="1" y="3"/>
                  </a:cubicBezTo>
                  <a:close/>
                </a:path>
              </a:pathLst>
            </a:custGeom>
            <a:solidFill>
              <a:srgbClr val="1C1D1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9" name="Freeform 504">
              <a:extLst>
                <a:ext uri="{FF2B5EF4-FFF2-40B4-BE49-F238E27FC236}">
                  <a16:creationId xmlns:a16="http://schemas.microsoft.com/office/drawing/2014/main" id="{70600170-AF20-44F3-A852-888FB571B69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773863" y="4038600"/>
              <a:ext cx="39688" cy="68263"/>
            </a:xfrm>
            <a:custGeom>
              <a:avLst/>
              <a:gdLst>
                <a:gd name="T0" fmla="*/ 18 w 24"/>
                <a:gd name="T1" fmla="*/ 3 h 41"/>
                <a:gd name="T2" fmla="*/ 2 w 24"/>
                <a:gd name="T3" fmla="*/ 33 h 41"/>
                <a:gd name="T4" fmla="*/ 8 w 24"/>
                <a:gd name="T5" fmla="*/ 38 h 41"/>
                <a:gd name="T6" fmla="*/ 23 w 24"/>
                <a:gd name="T7" fmla="*/ 4 h 41"/>
                <a:gd name="T8" fmla="*/ 18 w 24"/>
                <a:gd name="T9" fmla="*/ 3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" h="41">
                  <a:moveTo>
                    <a:pt x="18" y="3"/>
                  </a:moveTo>
                  <a:cubicBezTo>
                    <a:pt x="15" y="14"/>
                    <a:pt x="9" y="23"/>
                    <a:pt x="2" y="33"/>
                  </a:cubicBezTo>
                  <a:cubicBezTo>
                    <a:pt x="0" y="37"/>
                    <a:pt x="5" y="41"/>
                    <a:pt x="8" y="38"/>
                  </a:cubicBezTo>
                  <a:cubicBezTo>
                    <a:pt x="16" y="28"/>
                    <a:pt x="21" y="16"/>
                    <a:pt x="23" y="4"/>
                  </a:cubicBezTo>
                  <a:cubicBezTo>
                    <a:pt x="24" y="1"/>
                    <a:pt x="19" y="0"/>
                    <a:pt x="18" y="3"/>
                  </a:cubicBezTo>
                  <a:close/>
                </a:path>
              </a:pathLst>
            </a:custGeom>
            <a:solidFill>
              <a:srgbClr val="1C1D1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10" name="Freeform 505">
              <a:extLst>
                <a:ext uri="{FF2B5EF4-FFF2-40B4-BE49-F238E27FC236}">
                  <a16:creationId xmlns:a16="http://schemas.microsoft.com/office/drawing/2014/main" id="{03C7D3B3-785D-4A9A-9FFE-CEA8E9C5EB7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786563" y="4110038"/>
              <a:ext cx="14288" cy="20638"/>
            </a:xfrm>
            <a:custGeom>
              <a:avLst/>
              <a:gdLst>
                <a:gd name="T0" fmla="*/ 4 w 8"/>
                <a:gd name="T1" fmla="*/ 3 h 12"/>
                <a:gd name="T2" fmla="*/ 1 w 8"/>
                <a:gd name="T3" fmla="*/ 9 h 12"/>
                <a:gd name="T4" fmla="*/ 3 w 8"/>
                <a:gd name="T5" fmla="*/ 11 h 12"/>
                <a:gd name="T6" fmla="*/ 7 w 8"/>
                <a:gd name="T7" fmla="*/ 4 h 12"/>
                <a:gd name="T8" fmla="*/ 4 w 8"/>
                <a:gd name="T9" fmla="*/ 3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12">
                  <a:moveTo>
                    <a:pt x="4" y="3"/>
                  </a:moveTo>
                  <a:cubicBezTo>
                    <a:pt x="3" y="5"/>
                    <a:pt x="2" y="7"/>
                    <a:pt x="1" y="9"/>
                  </a:cubicBezTo>
                  <a:cubicBezTo>
                    <a:pt x="0" y="10"/>
                    <a:pt x="2" y="12"/>
                    <a:pt x="3" y="11"/>
                  </a:cubicBezTo>
                  <a:cubicBezTo>
                    <a:pt x="5" y="9"/>
                    <a:pt x="7" y="6"/>
                    <a:pt x="7" y="4"/>
                  </a:cubicBezTo>
                  <a:cubicBezTo>
                    <a:pt x="8" y="1"/>
                    <a:pt x="4" y="0"/>
                    <a:pt x="4" y="3"/>
                  </a:cubicBezTo>
                  <a:close/>
                </a:path>
              </a:pathLst>
            </a:custGeom>
            <a:solidFill>
              <a:srgbClr val="1C1D1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11" name="Freeform 506">
              <a:extLst>
                <a:ext uri="{FF2B5EF4-FFF2-40B4-BE49-F238E27FC236}">
                  <a16:creationId xmlns:a16="http://schemas.microsoft.com/office/drawing/2014/main" id="{59CEFB81-B905-409A-830E-7A7D9587DF7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372225" y="3014663"/>
              <a:ext cx="279400" cy="252413"/>
            </a:xfrm>
            <a:custGeom>
              <a:avLst/>
              <a:gdLst>
                <a:gd name="T0" fmla="*/ 3 w 166"/>
                <a:gd name="T1" fmla="*/ 122 h 150"/>
                <a:gd name="T2" fmla="*/ 16 w 166"/>
                <a:gd name="T3" fmla="*/ 48 h 150"/>
                <a:gd name="T4" fmla="*/ 53 w 166"/>
                <a:gd name="T5" fmla="*/ 15 h 150"/>
                <a:gd name="T6" fmla="*/ 90 w 166"/>
                <a:gd name="T7" fmla="*/ 17 h 150"/>
                <a:gd name="T8" fmla="*/ 125 w 166"/>
                <a:gd name="T9" fmla="*/ 31 h 150"/>
                <a:gd name="T10" fmla="*/ 150 w 166"/>
                <a:gd name="T11" fmla="*/ 71 h 150"/>
                <a:gd name="T12" fmla="*/ 141 w 166"/>
                <a:gd name="T13" fmla="*/ 144 h 150"/>
                <a:gd name="T14" fmla="*/ 149 w 166"/>
                <a:gd name="T15" fmla="*/ 146 h 150"/>
                <a:gd name="T16" fmla="*/ 158 w 166"/>
                <a:gd name="T17" fmla="*/ 50 h 150"/>
                <a:gd name="T18" fmla="*/ 98 w 166"/>
                <a:gd name="T19" fmla="*/ 9 h 150"/>
                <a:gd name="T20" fmla="*/ 18 w 166"/>
                <a:gd name="T21" fmla="*/ 22 h 150"/>
                <a:gd name="T22" fmla="*/ 8 w 166"/>
                <a:gd name="T23" fmla="*/ 61 h 150"/>
                <a:gd name="T24" fmla="*/ 0 w 166"/>
                <a:gd name="T25" fmla="*/ 121 h 150"/>
                <a:gd name="T26" fmla="*/ 3 w 166"/>
                <a:gd name="T27" fmla="*/ 122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66" h="150">
                  <a:moveTo>
                    <a:pt x="3" y="122"/>
                  </a:moveTo>
                  <a:cubicBezTo>
                    <a:pt x="9" y="98"/>
                    <a:pt x="11" y="72"/>
                    <a:pt x="16" y="48"/>
                  </a:cubicBezTo>
                  <a:cubicBezTo>
                    <a:pt x="20" y="28"/>
                    <a:pt x="32" y="17"/>
                    <a:pt x="53" y="15"/>
                  </a:cubicBezTo>
                  <a:cubicBezTo>
                    <a:pt x="65" y="14"/>
                    <a:pt x="77" y="15"/>
                    <a:pt x="90" y="17"/>
                  </a:cubicBezTo>
                  <a:cubicBezTo>
                    <a:pt x="103" y="19"/>
                    <a:pt x="114" y="24"/>
                    <a:pt x="125" y="31"/>
                  </a:cubicBezTo>
                  <a:cubicBezTo>
                    <a:pt x="142" y="41"/>
                    <a:pt x="151" y="50"/>
                    <a:pt x="150" y="71"/>
                  </a:cubicBezTo>
                  <a:cubicBezTo>
                    <a:pt x="149" y="96"/>
                    <a:pt x="142" y="120"/>
                    <a:pt x="141" y="144"/>
                  </a:cubicBezTo>
                  <a:cubicBezTo>
                    <a:pt x="141" y="149"/>
                    <a:pt x="148" y="150"/>
                    <a:pt x="149" y="146"/>
                  </a:cubicBezTo>
                  <a:cubicBezTo>
                    <a:pt x="155" y="118"/>
                    <a:pt x="166" y="78"/>
                    <a:pt x="158" y="50"/>
                  </a:cubicBezTo>
                  <a:cubicBezTo>
                    <a:pt x="152" y="28"/>
                    <a:pt x="119" y="14"/>
                    <a:pt x="98" y="9"/>
                  </a:cubicBezTo>
                  <a:cubicBezTo>
                    <a:pt x="77" y="5"/>
                    <a:pt x="34" y="0"/>
                    <a:pt x="18" y="22"/>
                  </a:cubicBezTo>
                  <a:cubicBezTo>
                    <a:pt x="11" y="32"/>
                    <a:pt x="11" y="50"/>
                    <a:pt x="8" y="61"/>
                  </a:cubicBezTo>
                  <a:cubicBezTo>
                    <a:pt x="4" y="81"/>
                    <a:pt x="3" y="101"/>
                    <a:pt x="0" y="121"/>
                  </a:cubicBezTo>
                  <a:cubicBezTo>
                    <a:pt x="0" y="122"/>
                    <a:pt x="2" y="123"/>
                    <a:pt x="3" y="122"/>
                  </a:cubicBezTo>
                  <a:close/>
                </a:path>
              </a:pathLst>
            </a:custGeom>
            <a:solidFill>
              <a:srgbClr val="1C1D1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12" name="Freeform 507">
              <a:extLst>
                <a:ext uri="{FF2B5EF4-FFF2-40B4-BE49-F238E27FC236}">
                  <a16:creationId xmlns:a16="http://schemas.microsoft.com/office/drawing/2014/main" id="{160E8824-535E-4F55-AB14-DCDAF0B4C22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56375" y="3255963"/>
              <a:ext cx="255588" cy="290513"/>
            </a:xfrm>
            <a:custGeom>
              <a:avLst/>
              <a:gdLst>
                <a:gd name="T0" fmla="*/ 33 w 152"/>
                <a:gd name="T1" fmla="*/ 7 h 172"/>
                <a:gd name="T2" fmla="*/ 99 w 152"/>
                <a:gd name="T3" fmla="*/ 23 h 172"/>
                <a:gd name="T4" fmla="*/ 132 w 152"/>
                <a:gd name="T5" fmla="*/ 41 h 172"/>
                <a:gd name="T6" fmla="*/ 136 w 152"/>
                <a:gd name="T7" fmla="*/ 84 h 172"/>
                <a:gd name="T8" fmla="*/ 126 w 152"/>
                <a:gd name="T9" fmla="*/ 127 h 172"/>
                <a:gd name="T10" fmla="*/ 91 w 152"/>
                <a:gd name="T11" fmla="*/ 160 h 172"/>
                <a:gd name="T12" fmla="*/ 6 w 152"/>
                <a:gd name="T13" fmla="*/ 158 h 172"/>
                <a:gd name="T14" fmla="*/ 6 w 152"/>
                <a:gd name="T15" fmla="*/ 167 h 172"/>
                <a:gd name="T16" fmla="*/ 63 w 152"/>
                <a:gd name="T17" fmla="*/ 170 h 172"/>
                <a:gd name="T18" fmla="*/ 107 w 152"/>
                <a:gd name="T19" fmla="*/ 167 h 172"/>
                <a:gd name="T20" fmla="*/ 145 w 152"/>
                <a:gd name="T21" fmla="*/ 95 h 172"/>
                <a:gd name="T22" fmla="*/ 133 w 152"/>
                <a:gd name="T23" fmla="*/ 25 h 172"/>
                <a:gd name="T24" fmla="*/ 97 w 152"/>
                <a:gd name="T25" fmla="*/ 14 h 172"/>
                <a:gd name="T26" fmla="*/ 35 w 152"/>
                <a:gd name="T27" fmla="*/ 1 h 172"/>
                <a:gd name="T28" fmla="*/ 33 w 152"/>
                <a:gd name="T29" fmla="*/ 7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52" h="172">
                  <a:moveTo>
                    <a:pt x="33" y="7"/>
                  </a:moveTo>
                  <a:cubicBezTo>
                    <a:pt x="54" y="17"/>
                    <a:pt x="77" y="19"/>
                    <a:pt x="99" y="23"/>
                  </a:cubicBezTo>
                  <a:cubicBezTo>
                    <a:pt x="113" y="26"/>
                    <a:pt x="126" y="28"/>
                    <a:pt x="132" y="41"/>
                  </a:cubicBezTo>
                  <a:cubicBezTo>
                    <a:pt x="138" y="53"/>
                    <a:pt x="137" y="70"/>
                    <a:pt x="136" y="84"/>
                  </a:cubicBezTo>
                  <a:cubicBezTo>
                    <a:pt x="136" y="99"/>
                    <a:pt x="131" y="112"/>
                    <a:pt x="126" y="127"/>
                  </a:cubicBezTo>
                  <a:cubicBezTo>
                    <a:pt x="119" y="146"/>
                    <a:pt x="113" y="157"/>
                    <a:pt x="91" y="160"/>
                  </a:cubicBezTo>
                  <a:cubicBezTo>
                    <a:pt x="63" y="164"/>
                    <a:pt x="34" y="156"/>
                    <a:pt x="6" y="158"/>
                  </a:cubicBezTo>
                  <a:cubicBezTo>
                    <a:pt x="0" y="158"/>
                    <a:pt x="1" y="166"/>
                    <a:pt x="6" y="167"/>
                  </a:cubicBezTo>
                  <a:cubicBezTo>
                    <a:pt x="25" y="169"/>
                    <a:pt x="44" y="169"/>
                    <a:pt x="63" y="170"/>
                  </a:cubicBezTo>
                  <a:cubicBezTo>
                    <a:pt x="78" y="171"/>
                    <a:pt x="93" y="172"/>
                    <a:pt x="107" y="167"/>
                  </a:cubicBezTo>
                  <a:cubicBezTo>
                    <a:pt x="132" y="158"/>
                    <a:pt x="142" y="119"/>
                    <a:pt x="145" y="95"/>
                  </a:cubicBezTo>
                  <a:cubicBezTo>
                    <a:pt x="148" y="75"/>
                    <a:pt x="152" y="39"/>
                    <a:pt x="133" y="25"/>
                  </a:cubicBezTo>
                  <a:cubicBezTo>
                    <a:pt x="122" y="18"/>
                    <a:pt x="109" y="16"/>
                    <a:pt x="97" y="14"/>
                  </a:cubicBezTo>
                  <a:cubicBezTo>
                    <a:pt x="76" y="10"/>
                    <a:pt x="55" y="7"/>
                    <a:pt x="35" y="1"/>
                  </a:cubicBezTo>
                  <a:cubicBezTo>
                    <a:pt x="32" y="0"/>
                    <a:pt x="30" y="5"/>
                    <a:pt x="33" y="7"/>
                  </a:cubicBezTo>
                  <a:close/>
                </a:path>
              </a:pathLst>
            </a:custGeom>
            <a:solidFill>
              <a:srgbClr val="1C1D1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13" name="Freeform 508">
              <a:extLst>
                <a:ext uri="{FF2B5EF4-FFF2-40B4-BE49-F238E27FC236}">
                  <a16:creationId xmlns:a16="http://schemas.microsoft.com/office/drawing/2014/main" id="{45D97911-5A58-4557-853B-C19295D4678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113463" y="3176588"/>
              <a:ext cx="265113" cy="296863"/>
            </a:xfrm>
            <a:custGeom>
              <a:avLst/>
              <a:gdLst>
                <a:gd name="T0" fmla="*/ 156 w 158"/>
                <a:gd name="T1" fmla="*/ 24 h 177"/>
                <a:gd name="T2" fmla="*/ 61 w 158"/>
                <a:gd name="T3" fmla="*/ 0 h 177"/>
                <a:gd name="T4" fmla="*/ 13 w 158"/>
                <a:gd name="T5" fmla="*/ 57 h 177"/>
                <a:gd name="T6" fmla="*/ 2 w 158"/>
                <a:gd name="T7" fmla="*/ 107 h 177"/>
                <a:gd name="T8" fmla="*/ 10 w 158"/>
                <a:gd name="T9" fmla="*/ 137 h 177"/>
                <a:gd name="T10" fmla="*/ 49 w 158"/>
                <a:gd name="T11" fmla="*/ 158 h 177"/>
                <a:gd name="T12" fmla="*/ 105 w 158"/>
                <a:gd name="T13" fmla="*/ 176 h 177"/>
                <a:gd name="T14" fmla="*/ 108 w 158"/>
                <a:gd name="T15" fmla="*/ 171 h 177"/>
                <a:gd name="T16" fmla="*/ 32 w 158"/>
                <a:gd name="T17" fmla="*/ 143 h 177"/>
                <a:gd name="T18" fmla="*/ 11 w 158"/>
                <a:gd name="T19" fmla="*/ 121 h 177"/>
                <a:gd name="T20" fmla="*/ 13 w 158"/>
                <a:gd name="T21" fmla="*/ 98 h 177"/>
                <a:gd name="T22" fmla="*/ 19 w 158"/>
                <a:gd name="T23" fmla="*/ 65 h 177"/>
                <a:gd name="T24" fmla="*/ 34 w 158"/>
                <a:gd name="T25" fmla="*/ 25 h 177"/>
                <a:gd name="T26" fmla="*/ 79 w 158"/>
                <a:gd name="T27" fmla="*/ 11 h 177"/>
                <a:gd name="T28" fmla="*/ 122 w 158"/>
                <a:gd name="T29" fmla="*/ 21 h 177"/>
                <a:gd name="T30" fmla="*/ 155 w 158"/>
                <a:gd name="T31" fmla="*/ 29 h 177"/>
                <a:gd name="T32" fmla="*/ 156 w 158"/>
                <a:gd name="T33" fmla="*/ 24 h 1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8" h="177">
                  <a:moveTo>
                    <a:pt x="156" y="24"/>
                  </a:moveTo>
                  <a:cubicBezTo>
                    <a:pt x="125" y="16"/>
                    <a:pt x="93" y="0"/>
                    <a:pt x="61" y="0"/>
                  </a:cubicBezTo>
                  <a:cubicBezTo>
                    <a:pt x="30" y="0"/>
                    <a:pt x="19" y="33"/>
                    <a:pt x="13" y="57"/>
                  </a:cubicBezTo>
                  <a:cubicBezTo>
                    <a:pt x="9" y="74"/>
                    <a:pt x="6" y="90"/>
                    <a:pt x="2" y="107"/>
                  </a:cubicBezTo>
                  <a:cubicBezTo>
                    <a:pt x="0" y="119"/>
                    <a:pt x="1" y="128"/>
                    <a:pt x="10" y="137"/>
                  </a:cubicBezTo>
                  <a:cubicBezTo>
                    <a:pt x="21" y="148"/>
                    <a:pt x="35" y="153"/>
                    <a:pt x="49" y="158"/>
                  </a:cubicBezTo>
                  <a:cubicBezTo>
                    <a:pt x="67" y="165"/>
                    <a:pt x="86" y="172"/>
                    <a:pt x="105" y="176"/>
                  </a:cubicBezTo>
                  <a:cubicBezTo>
                    <a:pt x="108" y="177"/>
                    <a:pt x="111" y="173"/>
                    <a:pt x="108" y="171"/>
                  </a:cubicBezTo>
                  <a:cubicBezTo>
                    <a:pt x="84" y="159"/>
                    <a:pt x="56" y="155"/>
                    <a:pt x="32" y="143"/>
                  </a:cubicBezTo>
                  <a:cubicBezTo>
                    <a:pt x="22" y="137"/>
                    <a:pt x="15" y="133"/>
                    <a:pt x="11" y="121"/>
                  </a:cubicBezTo>
                  <a:cubicBezTo>
                    <a:pt x="8" y="112"/>
                    <a:pt x="11" y="107"/>
                    <a:pt x="13" y="98"/>
                  </a:cubicBezTo>
                  <a:cubicBezTo>
                    <a:pt x="16" y="87"/>
                    <a:pt x="17" y="76"/>
                    <a:pt x="19" y="65"/>
                  </a:cubicBezTo>
                  <a:cubicBezTo>
                    <a:pt x="22" y="51"/>
                    <a:pt x="26" y="37"/>
                    <a:pt x="34" y="25"/>
                  </a:cubicBezTo>
                  <a:cubicBezTo>
                    <a:pt x="45" y="7"/>
                    <a:pt x="59" y="7"/>
                    <a:pt x="79" y="11"/>
                  </a:cubicBezTo>
                  <a:cubicBezTo>
                    <a:pt x="93" y="14"/>
                    <a:pt x="108" y="18"/>
                    <a:pt x="122" y="21"/>
                  </a:cubicBezTo>
                  <a:cubicBezTo>
                    <a:pt x="133" y="24"/>
                    <a:pt x="144" y="29"/>
                    <a:pt x="155" y="29"/>
                  </a:cubicBezTo>
                  <a:cubicBezTo>
                    <a:pt x="158" y="29"/>
                    <a:pt x="158" y="25"/>
                    <a:pt x="156" y="24"/>
                  </a:cubicBezTo>
                  <a:close/>
                </a:path>
              </a:pathLst>
            </a:custGeom>
            <a:solidFill>
              <a:srgbClr val="1C1D1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14" name="Freeform 509">
              <a:extLst>
                <a:ext uri="{FF2B5EF4-FFF2-40B4-BE49-F238E27FC236}">
                  <a16:creationId xmlns:a16="http://schemas.microsoft.com/office/drawing/2014/main" id="{013F6858-6274-4950-A4BD-82F6CC2E1FF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267450" y="3459163"/>
              <a:ext cx="301625" cy="236538"/>
            </a:xfrm>
            <a:custGeom>
              <a:avLst/>
              <a:gdLst>
                <a:gd name="T0" fmla="*/ 6 w 179"/>
                <a:gd name="T1" fmla="*/ 4 h 141"/>
                <a:gd name="T2" fmla="*/ 9 w 179"/>
                <a:gd name="T3" fmla="*/ 73 h 141"/>
                <a:gd name="T4" fmla="*/ 13 w 179"/>
                <a:gd name="T5" fmla="*/ 106 h 141"/>
                <a:gd name="T6" fmla="*/ 84 w 179"/>
                <a:gd name="T7" fmla="*/ 131 h 141"/>
                <a:gd name="T8" fmla="*/ 149 w 179"/>
                <a:gd name="T9" fmla="*/ 122 h 141"/>
                <a:gd name="T10" fmla="*/ 164 w 179"/>
                <a:gd name="T11" fmla="*/ 84 h 141"/>
                <a:gd name="T12" fmla="*/ 178 w 179"/>
                <a:gd name="T13" fmla="*/ 39 h 141"/>
                <a:gd name="T14" fmla="*/ 170 w 179"/>
                <a:gd name="T15" fmla="*/ 37 h 141"/>
                <a:gd name="T16" fmla="*/ 156 w 179"/>
                <a:gd name="T17" fmla="*/ 81 h 141"/>
                <a:gd name="T18" fmla="*/ 132 w 179"/>
                <a:gd name="T19" fmla="*/ 124 h 141"/>
                <a:gd name="T20" fmla="*/ 87 w 179"/>
                <a:gd name="T21" fmla="*/ 123 h 141"/>
                <a:gd name="T22" fmla="*/ 39 w 179"/>
                <a:gd name="T23" fmla="*/ 114 h 141"/>
                <a:gd name="T24" fmla="*/ 24 w 179"/>
                <a:gd name="T25" fmla="*/ 27 h 141"/>
                <a:gd name="T26" fmla="*/ 6 w 179"/>
                <a:gd name="T27" fmla="*/ 0 h 141"/>
                <a:gd name="T28" fmla="*/ 6 w 179"/>
                <a:gd name="T29" fmla="*/ 4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79" h="141">
                  <a:moveTo>
                    <a:pt x="6" y="4"/>
                  </a:moveTo>
                  <a:cubicBezTo>
                    <a:pt x="29" y="8"/>
                    <a:pt x="11" y="60"/>
                    <a:pt x="9" y="73"/>
                  </a:cubicBezTo>
                  <a:cubicBezTo>
                    <a:pt x="8" y="84"/>
                    <a:pt x="8" y="96"/>
                    <a:pt x="13" y="106"/>
                  </a:cubicBezTo>
                  <a:cubicBezTo>
                    <a:pt x="26" y="127"/>
                    <a:pt x="62" y="129"/>
                    <a:pt x="84" y="131"/>
                  </a:cubicBezTo>
                  <a:cubicBezTo>
                    <a:pt x="103" y="133"/>
                    <a:pt x="135" y="141"/>
                    <a:pt x="149" y="122"/>
                  </a:cubicBezTo>
                  <a:cubicBezTo>
                    <a:pt x="157" y="112"/>
                    <a:pt x="160" y="96"/>
                    <a:pt x="164" y="84"/>
                  </a:cubicBezTo>
                  <a:cubicBezTo>
                    <a:pt x="168" y="69"/>
                    <a:pt x="172" y="54"/>
                    <a:pt x="178" y="39"/>
                  </a:cubicBezTo>
                  <a:cubicBezTo>
                    <a:pt x="179" y="34"/>
                    <a:pt x="171" y="32"/>
                    <a:pt x="170" y="37"/>
                  </a:cubicBezTo>
                  <a:cubicBezTo>
                    <a:pt x="165" y="51"/>
                    <a:pt x="161" y="66"/>
                    <a:pt x="156" y="81"/>
                  </a:cubicBezTo>
                  <a:cubicBezTo>
                    <a:pt x="152" y="96"/>
                    <a:pt x="148" y="117"/>
                    <a:pt x="132" y="124"/>
                  </a:cubicBezTo>
                  <a:cubicBezTo>
                    <a:pt x="121" y="129"/>
                    <a:pt x="98" y="124"/>
                    <a:pt x="87" y="123"/>
                  </a:cubicBezTo>
                  <a:cubicBezTo>
                    <a:pt x="71" y="121"/>
                    <a:pt x="54" y="119"/>
                    <a:pt x="39" y="114"/>
                  </a:cubicBezTo>
                  <a:cubicBezTo>
                    <a:pt x="0" y="100"/>
                    <a:pt x="24" y="56"/>
                    <a:pt x="24" y="27"/>
                  </a:cubicBezTo>
                  <a:cubicBezTo>
                    <a:pt x="24" y="14"/>
                    <a:pt x="22" y="0"/>
                    <a:pt x="6" y="0"/>
                  </a:cubicBezTo>
                  <a:cubicBezTo>
                    <a:pt x="4" y="0"/>
                    <a:pt x="3" y="4"/>
                    <a:pt x="6" y="4"/>
                  </a:cubicBezTo>
                  <a:close/>
                </a:path>
              </a:pathLst>
            </a:custGeom>
            <a:solidFill>
              <a:srgbClr val="1C1D1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15" name="Freeform 510">
              <a:extLst>
                <a:ext uri="{FF2B5EF4-FFF2-40B4-BE49-F238E27FC236}">
                  <a16:creationId xmlns:a16="http://schemas.microsoft.com/office/drawing/2014/main" id="{9B4A28EC-9C38-4465-99AE-901E9531EC1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54788" y="3305175"/>
              <a:ext cx="201613" cy="193675"/>
            </a:xfrm>
            <a:custGeom>
              <a:avLst/>
              <a:gdLst>
                <a:gd name="T0" fmla="*/ 82 w 120"/>
                <a:gd name="T1" fmla="*/ 27 h 115"/>
                <a:gd name="T2" fmla="*/ 22 w 120"/>
                <a:gd name="T3" fmla="*/ 44 h 115"/>
                <a:gd name="T4" fmla="*/ 41 w 120"/>
                <a:gd name="T5" fmla="*/ 105 h 115"/>
                <a:gd name="T6" fmla="*/ 104 w 120"/>
                <a:gd name="T7" fmla="*/ 80 h 115"/>
                <a:gd name="T8" fmla="*/ 80 w 120"/>
                <a:gd name="T9" fmla="*/ 25 h 115"/>
                <a:gd name="T10" fmla="*/ 78 w 120"/>
                <a:gd name="T11" fmla="*/ 28 h 115"/>
                <a:gd name="T12" fmla="*/ 97 w 120"/>
                <a:gd name="T13" fmla="*/ 42 h 115"/>
                <a:gd name="T14" fmla="*/ 96 w 120"/>
                <a:gd name="T15" fmla="*/ 78 h 115"/>
                <a:gd name="T16" fmla="*/ 44 w 120"/>
                <a:gd name="T17" fmla="*/ 97 h 115"/>
                <a:gd name="T18" fmla="*/ 79 w 120"/>
                <a:gd name="T19" fmla="*/ 30 h 115"/>
                <a:gd name="T20" fmla="*/ 82 w 120"/>
                <a:gd name="T21" fmla="*/ 27 h 1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20" h="115">
                  <a:moveTo>
                    <a:pt x="82" y="27"/>
                  </a:moveTo>
                  <a:cubicBezTo>
                    <a:pt x="61" y="9"/>
                    <a:pt x="33" y="21"/>
                    <a:pt x="22" y="44"/>
                  </a:cubicBezTo>
                  <a:cubicBezTo>
                    <a:pt x="12" y="64"/>
                    <a:pt x="19" y="95"/>
                    <a:pt x="41" y="105"/>
                  </a:cubicBezTo>
                  <a:cubicBezTo>
                    <a:pt x="64" y="115"/>
                    <a:pt x="92" y="100"/>
                    <a:pt x="104" y="80"/>
                  </a:cubicBezTo>
                  <a:cubicBezTo>
                    <a:pt x="120" y="54"/>
                    <a:pt x="105" y="35"/>
                    <a:pt x="80" y="25"/>
                  </a:cubicBezTo>
                  <a:cubicBezTo>
                    <a:pt x="78" y="24"/>
                    <a:pt x="76" y="27"/>
                    <a:pt x="78" y="28"/>
                  </a:cubicBezTo>
                  <a:cubicBezTo>
                    <a:pt x="84" y="33"/>
                    <a:pt x="91" y="37"/>
                    <a:pt x="97" y="42"/>
                  </a:cubicBezTo>
                  <a:cubicBezTo>
                    <a:pt x="107" y="53"/>
                    <a:pt x="103" y="67"/>
                    <a:pt x="96" y="78"/>
                  </a:cubicBezTo>
                  <a:cubicBezTo>
                    <a:pt x="85" y="92"/>
                    <a:pt x="62" y="105"/>
                    <a:pt x="44" y="97"/>
                  </a:cubicBezTo>
                  <a:cubicBezTo>
                    <a:pt x="0" y="79"/>
                    <a:pt x="37" y="0"/>
                    <a:pt x="79" y="30"/>
                  </a:cubicBezTo>
                  <a:cubicBezTo>
                    <a:pt x="81" y="32"/>
                    <a:pt x="84" y="29"/>
                    <a:pt x="82" y="27"/>
                  </a:cubicBezTo>
                  <a:close/>
                </a:path>
              </a:pathLst>
            </a:custGeom>
            <a:solidFill>
              <a:srgbClr val="1C1D1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16" name="Freeform 511">
              <a:extLst>
                <a:ext uri="{FF2B5EF4-FFF2-40B4-BE49-F238E27FC236}">
                  <a16:creationId xmlns:a16="http://schemas.microsoft.com/office/drawing/2014/main" id="{FBBBA93E-823A-4775-ACB4-A94705AEE2D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437313" y="3109913"/>
              <a:ext cx="142875" cy="125413"/>
            </a:xfrm>
            <a:custGeom>
              <a:avLst/>
              <a:gdLst>
                <a:gd name="T0" fmla="*/ 54 w 85"/>
                <a:gd name="T1" fmla="*/ 8 h 74"/>
                <a:gd name="T2" fmla="*/ 7 w 85"/>
                <a:gd name="T3" fmla="*/ 25 h 74"/>
                <a:gd name="T4" fmla="*/ 23 w 85"/>
                <a:gd name="T5" fmla="*/ 67 h 74"/>
                <a:gd name="T6" fmla="*/ 69 w 85"/>
                <a:gd name="T7" fmla="*/ 58 h 74"/>
                <a:gd name="T8" fmla="*/ 60 w 85"/>
                <a:gd name="T9" fmla="*/ 4 h 74"/>
                <a:gd name="T10" fmla="*/ 56 w 85"/>
                <a:gd name="T11" fmla="*/ 9 h 74"/>
                <a:gd name="T12" fmla="*/ 69 w 85"/>
                <a:gd name="T13" fmla="*/ 32 h 74"/>
                <a:gd name="T14" fmla="*/ 61 w 85"/>
                <a:gd name="T15" fmla="*/ 55 h 74"/>
                <a:gd name="T16" fmla="*/ 27 w 85"/>
                <a:gd name="T17" fmla="*/ 61 h 74"/>
                <a:gd name="T18" fmla="*/ 10 w 85"/>
                <a:gd name="T19" fmla="*/ 31 h 74"/>
                <a:gd name="T20" fmla="*/ 53 w 85"/>
                <a:gd name="T21" fmla="*/ 10 h 74"/>
                <a:gd name="T22" fmla="*/ 54 w 85"/>
                <a:gd name="T23" fmla="*/ 8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85" h="74">
                  <a:moveTo>
                    <a:pt x="54" y="8"/>
                  </a:moveTo>
                  <a:cubicBezTo>
                    <a:pt x="37" y="0"/>
                    <a:pt x="15" y="7"/>
                    <a:pt x="7" y="25"/>
                  </a:cubicBezTo>
                  <a:cubicBezTo>
                    <a:pt x="0" y="41"/>
                    <a:pt x="8" y="59"/>
                    <a:pt x="23" y="67"/>
                  </a:cubicBezTo>
                  <a:cubicBezTo>
                    <a:pt x="37" y="74"/>
                    <a:pt x="58" y="71"/>
                    <a:pt x="69" y="58"/>
                  </a:cubicBezTo>
                  <a:cubicBezTo>
                    <a:pt x="85" y="41"/>
                    <a:pt x="78" y="16"/>
                    <a:pt x="60" y="4"/>
                  </a:cubicBezTo>
                  <a:cubicBezTo>
                    <a:pt x="56" y="1"/>
                    <a:pt x="52" y="6"/>
                    <a:pt x="56" y="9"/>
                  </a:cubicBezTo>
                  <a:cubicBezTo>
                    <a:pt x="62" y="16"/>
                    <a:pt x="68" y="22"/>
                    <a:pt x="69" y="32"/>
                  </a:cubicBezTo>
                  <a:cubicBezTo>
                    <a:pt x="70" y="40"/>
                    <a:pt x="68" y="49"/>
                    <a:pt x="61" y="55"/>
                  </a:cubicBezTo>
                  <a:cubicBezTo>
                    <a:pt x="52" y="63"/>
                    <a:pt x="37" y="65"/>
                    <a:pt x="27" y="61"/>
                  </a:cubicBezTo>
                  <a:cubicBezTo>
                    <a:pt x="15" y="56"/>
                    <a:pt x="8" y="43"/>
                    <a:pt x="10" y="31"/>
                  </a:cubicBezTo>
                  <a:cubicBezTo>
                    <a:pt x="14" y="12"/>
                    <a:pt x="37" y="4"/>
                    <a:pt x="53" y="10"/>
                  </a:cubicBezTo>
                  <a:cubicBezTo>
                    <a:pt x="55" y="11"/>
                    <a:pt x="55" y="9"/>
                    <a:pt x="54" y="8"/>
                  </a:cubicBezTo>
                  <a:close/>
                </a:path>
              </a:pathLst>
            </a:custGeom>
            <a:solidFill>
              <a:srgbClr val="1C1D1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17" name="Freeform 512">
              <a:extLst>
                <a:ext uri="{FF2B5EF4-FFF2-40B4-BE49-F238E27FC236}">
                  <a16:creationId xmlns:a16="http://schemas.microsoft.com/office/drawing/2014/main" id="{E4D2726F-8A5B-4528-A8E3-D5B13C71C1C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176963" y="3240088"/>
              <a:ext cx="163513" cy="153988"/>
            </a:xfrm>
            <a:custGeom>
              <a:avLst/>
              <a:gdLst>
                <a:gd name="T0" fmla="*/ 69 w 97"/>
                <a:gd name="T1" fmla="*/ 12 h 92"/>
                <a:gd name="T2" fmla="*/ 11 w 97"/>
                <a:gd name="T3" fmla="*/ 24 h 92"/>
                <a:gd name="T4" fmla="*/ 21 w 97"/>
                <a:gd name="T5" fmla="*/ 78 h 92"/>
                <a:gd name="T6" fmla="*/ 81 w 97"/>
                <a:gd name="T7" fmla="*/ 68 h 92"/>
                <a:gd name="T8" fmla="*/ 72 w 97"/>
                <a:gd name="T9" fmla="*/ 5 h 92"/>
                <a:gd name="T10" fmla="*/ 68 w 97"/>
                <a:gd name="T11" fmla="*/ 9 h 92"/>
                <a:gd name="T12" fmla="*/ 82 w 97"/>
                <a:gd name="T13" fmla="*/ 27 h 92"/>
                <a:gd name="T14" fmla="*/ 74 w 97"/>
                <a:gd name="T15" fmla="*/ 63 h 92"/>
                <a:gd name="T16" fmla="*/ 24 w 97"/>
                <a:gd name="T17" fmla="*/ 71 h 92"/>
                <a:gd name="T18" fmla="*/ 15 w 97"/>
                <a:gd name="T19" fmla="*/ 32 h 92"/>
                <a:gd name="T20" fmla="*/ 67 w 97"/>
                <a:gd name="T21" fmla="*/ 16 h 92"/>
                <a:gd name="T22" fmla="*/ 69 w 97"/>
                <a:gd name="T23" fmla="*/ 12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7" h="92">
                  <a:moveTo>
                    <a:pt x="69" y="12"/>
                  </a:moveTo>
                  <a:cubicBezTo>
                    <a:pt x="50" y="0"/>
                    <a:pt x="24" y="4"/>
                    <a:pt x="11" y="24"/>
                  </a:cubicBezTo>
                  <a:cubicBezTo>
                    <a:pt x="0" y="41"/>
                    <a:pt x="5" y="66"/>
                    <a:pt x="21" y="78"/>
                  </a:cubicBezTo>
                  <a:cubicBezTo>
                    <a:pt x="40" y="92"/>
                    <a:pt x="67" y="86"/>
                    <a:pt x="81" y="68"/>
                  </a:cubicBezTo>
                  <a:cubicBezTo>
                    <a:pt x="97" y="46"/>
                    <a:pt x="97" y="20"/>
                    <a:pt x="72" y="5"/>
                  </a:cubicBezTo>
                  <a:cubicBezTo>
                    <a:pt x="70" y="3"/>
                    <a:pt x="67" y="6"/>
                    <a:pt x="68" y="9"/>
                  </a:cubicBezTo>
                  <a:cubicBezTo>
                    <a:pt x="73" y="15"/>
                    <a:pt x="79" y="20"/>
                    <a:pt x="82" y="27"/>
                  </a:cubicBezTo>
                  <a:cubicBezTo>
                    <a:pt x="88" y="39"/>
                    <a:pt x="81" y="52"/>
                    <a:pt x="74" y="63"/>
                  </a:cubicBezTo>
                  <a:cubicBezTo>
                    <a:pt x="62" y="77"/>
                    <a:pt x="40" y="83"/>
                    <a:pt x="24" y="71"/>
                  </a:cubicBezTo>
                  <a:cubicBezTo>
                    <a:pt x="13" y="62"/>
                    <a:pt x="9" y="45"/>
                    <a:pt x="15" y="32"/>
                  </a:cubicBezTo>
                  <a:cubicBezTo>
                    <a:pt x="23" y="12"/>
                    <a:pt x="48" y="7"/>
                    <a:pt x="67" y="16"/>
                  </a:cubicBezTo>
                  <a:cubicBezTo>
                    <a:pt x="69" y="17"/>
                    <a:pt x="71" y="13"/>
                    <a:pt x="69" y="12"/>
                  </a:cubicBezTo>
                  <a:close/>
                </a:path>
              </a:pathLst>
            </a:custGeom>
            <a:solidFill>
              <a:srgbClr val="1C1D1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18" name="Freeform 513">
              <a:extLst>
                <a:ext uri="{FF2B5EF4-FFF2-40B4-BE49-F238E27FC236}">
                  <a16:creationId xmlns:a16="http://schemas.microsoft.com/office/drawing/2014/main" id="{D87BD77D-7C78-4789-BE63-63A5525E6DA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348413" y="3473450"/>
              <a:ext cx="182563" cy="174625"/>
            </a:xfrm>
            <a:custGeom>
              <a:avLst/>
              <a:gdLst>
                <a:gd name="T0" fmla="*/ 54 w 109"/>
                <a:gd name="T1" fmla="*/ 8 h 104"/>
                <a:gd name="T2" fmla="*/ 6 w 109"/>
                <a:gd name="T3" fmla="*/ 42 h 104"/>
                <a:gd name="T4" fmla="*/ 38 w 109"/>
                <a:gd name="T5" fmla="*/ 91 h 104"/>
                <a:gd name="T6" fmla="*/ 54 w 109"/>
                <a:gd name="T7" fmla="*/ 1 h 104"/>
                <a:gd name="T8" fmla="*/ 52 w 109"/>
                <a:gd name="T9" fmla="*/ 8 h 104"/>
                <a:gd name="T10" fmla="*/ 80 w 109"/>
                <a:gd name="T11" fmla="*/ 42 h 104"/>
                <a:gd name="T12" fmla="*/ 36 w 109"/>
                <a:gd name="T13" fmla="*/ 81 h 104"/>
                <a:gd name="T14" fmla="*/ 14 w 109"/>
                <a:gd name="T15" fmla="*/ 39 h 104"/>
                <a:gd name="T16" fmla="*/ 54 w 109"/>
                <a:gd name="T17" fmla="*/ 12 h 104"/>
                <a:gd name="T18" fmla="*/ 54 w 109"/>
                <a:gd name="T19" fmla="*/ 8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09" h="104">
                  <a:moveTo>
                    <a:pt x="54" y="8"/>
                  </a:moveTo>
                  <a:cubicBezTo>
                    <a:pt x="33" y="8"/>
                    <a:pt x="11" y="20"/>
                    <a:pt x="6" y="42"/>
                  </a:cubicBezTo>
                  <a:cubicBezTo>
                    <a:pt x="0" y="67"/>
                    <a:pt x="14" y="86"/>
                    <a:pt x="38" y="91"/>
                  </a:cubicBezTo>
                  <a:cubicBezTo>
                    <a:pt x="95" y="104"/>
                    <a:pt x="109" y="13"/>
                    <a:pt x="54" y="1"/>
                  </a:cubicBezTo>
                  <a:cubicBezTo>
                    <a:pt x="50" y="0"/>
                    <a:pt x="48" y="6"/>
                    <a:pt x="52" y="8"/>
                  </a:cubicBezTo>
                  <a:cubicBezTo>
                    <a:pt x="67" y="16"/>
                    <a:pt x="78" y="24"/>
                    <a:pt x="80" y="42"/>
                  </a:cubicBezTo>
                  <a:cubicBezTo>
                    <a:pt x="83" y="68"/>
                    <a:pt x="61" y="86"/>
                    <a:pt x="36" y="81"/>
                  </a:cubicBezTo>
                  <a:cubicBezTo>
                    <a:pt x="17" y="76"/>
                    <a:pt x="8" y="58"/>
                    <a:pt x="14" y="39"/>
                  </a:cubicBezTo>
                  <a:cubicBezTo>
                    <a:pt x="18" y="22"/>
                    <a:pt x="37" y="12"/>
                    <a:pt x="54" y="12"/>
                  </a:cubicBezTo>
                  <a:cubicBezTo>
                    <a:pt x="56" y="11"/>
                    <a:pt x="56" y="8"/>
                    <a:pt x="54" y="8"/>
                  </a:cubicBezTo>
                  <a:close/>
                </a:path>
              </a:pathLst>
            </a:custGeom>
            <a:solidFill>
              <a:srgbClr val="1C1D1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19" name="Freeform 514">
              <a:extLst>
                <a:ext uri="{FF2B5EF4-FFF2-40B4-BE49-F238E27FC236}">
                  <a16:creationId xmlns:a16="http://schemas.microsoft.com/office/drawing/2014/main" id="{34C3311B-68C4-45DD-A38B-E6D060A5DFE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494338" y="2776538"/>
              <a:ext cx="14288" cy="52388"/>
            </a:xfrm>
            <a:custGeom>
              <a:avLst/>
              <a:gdLst>
                <a:gd name="T0" fmla="*/ 4 w 9"/>
                <a:gd name="T1" fmla="*/ 2 h 31"/>
                <a:gd name="T2" fmla="*/ 2 w 9"/>
                <a:gd name="T3" fmla="*/ 28 h 31"/>
                <a:gd name="T4" fmla="*/ 7 w 9"/>
                <a:gd name="T5" fmla="*/ 28 h 31"/>
                <a:gd name="T6" fmla="*/ 8 w 9"/>
                <a:gd name="T7" fmla="*/ 3 h 31"/>
                <a:gd name="T8" fmla="*/ 4 w 9"/>
                <a:gd name="T9" fmla="*/ 2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" h="31">
                  <a:moveTo>
                    <a:pt x="4" y="2"/>
                  </a:moveTo>
                  <a:cubicBezTo>
                    <a:pt x="1" y="10"/>
                    <a:pt x="0" y="19"/>
                    <a:pt x="2" y="28"/>
                  </a:cubicBezTo>
                  <a:cubicBezTo>
                    <a:pt x="3" y="30"/>
                    <a:pt x="6" y="31"/>
                    <a:pt x="7" y="28"/>
                  </a:cubicBezTo>
                  <a:cubicBezTo>
                    <a:pt x="8" y="20"/>
                    <a:pt x="5" y="12"/>
                    <a:pt x="8" y="3"/>
                  </a:cubicBezTo>
                  <a:cubicBezTo>
                    <a:pt x="9" y="1"/>
                    <a:pt x="5" y="0"/>
                    <a:pt x="4" y="2"/>
                  </a:cubicBezTo>
                  <a:close/>
                </a:path>
              </a:pathLst>
            </a:custGeom>
            <a:solidFill>
              <a:srgbClr val="1C1D1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20" name="Freeform 515">
              <a:extLst>
                <a:ext uri="{FF2B5EF4-FFF2-40B4-BE49-F238E27FC236}">
                  <a16:creationId xmlns:a16="http://schemas.microsoft.com/office/drawing/2014/main" id="{A56E4905-75BA-4806-B554-3FA4B6E736D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427663" y="2757488"/>
              <a:ext cx="22225" cy="49213"/>
            </a:xfrm>
            <a:custGeom>
              <a:avLst/>
              <a:gdLst>
                <a:gd name="T0" fmla="*/ 8 w 13"/>
                <a:gd name="T1" fmla="*/ 2 h 29"/>
                <a:gd name="T2" fmla="*/ 3 w 13"/>
                <a:gd name="T3" fmla="*/ 12 h 29"/>
                <a:gd name="T4" fmla="*/ 1 w 13"/>
                <a:gd name="T5" fmla="*/ 25 h 29"/>
                <a:gd name="T6" fmla="*/ 7 w 13"/>
                <a:gd name="T7" fmla="*/ 26 h 29"/>
                <a:gd name="T8" fmla="*/ 9 w 13"/>
                <a:gd name="T9" fmla="*/ 15 h 29"/>
                <a:gd name="T10" fmla="*/ 10 w 13"/>
                <a:gd name="T11" fmla="*/ 10 h 29"/>
                <a:gd name="T12" fmla="*/ 12 w 13"/>
                <a:gd name="T13" fmla="*/ 4 h 29"/>
                <a:gd name="T14" fmla="*/ 8 w 13"/>
                <a:gd name="T15" fmla="*/ 2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3" h="29">
                  <a:moveTo>
                    <a:pt x="8" y="2"/>
                  </a:moveTo>
                  <a:cubicBezTo>
                    <a:pt x="7" y="6"/>
                    <a:pt x="4" y="8"/>
                    <a:pt x="3" y="12"/>
                  </a:cubicBezTo>
                  <a:cubicBezTo>
                    <a:pt x="2" y="16"/>
                    <a:pt x="1" y="20"/>
                    <a:pt x="1" y="25"/>
                  </a:cubicBezTo>
                  <a:cubicBezTo>
                    <a:pt x="0" y="28"/>
                    <a:pt x="6" y="29"/>
                    <a:pt x="7" y="26"/>
                  </a:cubicBezTo>
                  <a:cubicBezTo>
                    <a:pt x="8" y="22"/>
                    <a:pt x="9" y="19"/>
                    <a:pt x="9" y="15"/>
                  </a:cubicBezTo>
                  <a:cubicBezTo>
                    <a:pt x="10" y="13"/>
                    <a:pt x="10" y="11"/>
                    <a:pt x="10" y="10"/>
                  </a:cubicBezTo>
                  <a:cubicBezTo>
                    <a:pt x="11" y="7"/>
                    <a:pt x="12" y="6"/>
                    <a:pt x="12" y="4"/>
                  </a:cubicBezTo>
                  <a:cubicBezTo>
                    <a:pt x="13" y="1"/>
                    <a:pt x="9" y="0"/>
                    <a:pt x="8" y="2"/>
                  </a:cubicBezTo>
                  <a:close/>
                </a:path>
              </a:pathLst>
            </a:custGeom>
            <a:solidFill>
              <a:srgbClr val="1C1D1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21" name="Freeform 516">
              <a:extLst>
                <a:ext uri="{FF2B5EF4-FFF2-40B4-BE49-F238E27FC236}">
                  <a16:creationId xmlns:a16="http://schemas.microsoft.com/office/drawing/2014/main" id="{92C7DC05-C085-4C6B-A425-D1E9DBB02C9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360988" y="2743200"/>
              <a:ext cx="26988" cy="52388"/>
            </a:xfrm>
            <a:custGeom>
              <a:avLst/>
              <a:gdLst>
                <a:gd name="T0" fmla="*/ 11 w 16"/>
                <a:gd name="T1" fmla="*/ 3 h 32"/>
                <a:gd name="T2" fmla="*/ 6 w 16"/>
                <a:gd name="T3" fmla="*/ 14 h 32"/>
                <a:gd name="T4" fmla="*/ 2 w 16"/>
                <a:gd name="T5" fmla="*/ 26 h 32"/>
                <a:gd name="T6" fmla="*/ 7 w 16"/>
                <a:gd name="T7" fmla="*/ 29 h 32"/>
                <a:gd name="T8" fmla="*/ 12 w 16"/>
                <a:gd name="T9" fmla="*/ 19 h 32"/>
                <a:gd name="T10" fmla="*/ 16 w 16"/>
                <a:gd name="T11" fmla="*/ 4 h 32"/>
                <a:gd name="T12" fmla="*/ 11 w 16"/>
                <a:gd name="T13" fmla="*/ 3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" h="32">
                  <a:moveTo>
                    <a:pt x="11" y="3"/>
                  </a:moveTo>
                  <a:cubicBezTo>
                    <a:pt x="9" y="7"/>
                    <a:pt x="7" y="10"/>
                    <a:pt x="6" y="14"/>
                  </a:cubicBezTo>
                  <a:cubicBezTo>
                    <a:pt x="5" y="18"/>
                    <a:pt x="4" y="22"/>
                    <a:pt x="2" y="26"/>
                  </a:cubicBezTo>
                  <a:cubicBezTo>
                    <a:pt x="0" y="29"/>
                    <a:pt x="5" y="32"/>
                    <a:pt x="7" y="29"/>
                  </a:cubicBezTo>
                  <a:cubicBezTo>
                    <a:pt x="10" y="26"/>
                    <a:pt x="11" y="23"/>
                    <a:pt x="12" y="19"/>
                  </a:cubicBezTo>
                  <a:cubicBezTo>
                    <a:pt x="13" y="14"/>
                    <a:pt x="15" y="9"/>
                    <a:pt x="16" y="4"/>
                  </a:cubicBezTo>
                  <a:cubicBezTo>
                    <a:pt x="16" y="1"/>
                    <a:pt x="12" y="0"/>
                    <a:pt x="11" y="3"/>
                  </a:cubicBezTo>
                  <a:close/>
                </a:path>
              </a:pathLst>
            </a:custGeom>
            <a:solidFill>
              <a:srgbClr val="1C1D1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22" name="Freeform 517">
              <a:extLst>
                <a:ext uri="{FF2B5EF4-FFF2-40B4-BE49-F238E27FC236}">
                  <a16:creationId xmlns:a16="http://schemas.microsoft.com/office/drawing/2014/main" id="{0628AD96-A6B6-47CD-BFA9-63BFA66AF3B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284788" y="2725738"/>
              <a:ext cx="34925" cy="60325"/>
            </a:xfrm>
            <a:custGeom>
              <a:avLst/>
              <a:gdLst>
                <a:gd name="T0" fmla="*/ 13 w 21"/>
                <a:gd name="T1" fmla="*/ 3 h 36"/>
                <a:gd name="T2" fmla="*/ 0 w 21"/>
                <a:gd name="T3" fmla="*/ 30 h 36"/>
                <a:gd name="T4" fmla="*/ 6 w 21"/>
                <a:gd name="T5" fmla="*/ 32 h 36"/>
                <a:gd name="T6" fmla="*/ 18 w 21"/>
                <a:gd name="T7" fmla="*/ 7 h 36"/>
                <a:gd name="T8" fmla="*/ 13 w 21"/>
                <a:gd name="T9" fmla="*/ 3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1" h="36">
                  <a:moveTo>
                    <a:pt x="13" y="3"/>
                  </a:moveTo>
                  <a:cubicBezTo>
                    <a:pt x="6" y="10"/>
                    <a:pt x="1" y="20"/>
                    <a:pt x="0" y="30"/>
                  </a:cubicBezTo>
                  <a:cubicBezTo>
                    <a:pt x="0" y="34"/>
                    <a:pt x="5" y="36"/>
                    <a:pt x="6" y="32"/>
                  </a:cubicBezTo>
                  <a:cubicBezTo>
                    <a:pt x="9" y="23"/>
                    <a:pt x="12" y="14"/>
                    <a:pt x="18" y="7"/>
                  </a:cubicBezTo>
                  <a:cubicBezTo>
                    <a:pt x="21" y="4"/>
                    <a:pt x="16" y="0"/>
                    <a:pt x="13" y="3"/>
                  </a:cubicBezTo>
                  <a:close/>
                </a:path>
              </a:pathLst>
            </a:custGeom>
            <a:solidFill>
              <a:srgbClr val="1C1D1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23" name="Freeform 518">
              <a:extLst>
                <a:ext uri="{FF2B5EF4-FFF2-40B4-BE49-F238E27FC236}">
                  <a16:creationId xmlns:a16="http://schemas.microsoft.com/office/drawing/2014/main" id="{AA3711D7-EF06-45C5-A18B-D5E987423E2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284788" y="3124200"/>
              <a:ext cx="180975" cy="104775"/>
            </a:xfrm>
            <a:custGeom>
              <a:avLst/>
              <a:gdLst>
                <a:gd name="T0" fmla="*/ 14 w 107"/>
                <a:gd name="T1" fmla="*/ 4 h 62"/>
                <a:gd name="T2" fmla="*/ 24 w 107"/>
                <a:gd name="T3" fmla="*/ 49 h 62"/>
                <a:gd name="T4" fmla="*/ 72 w 107"/>
                <a:gd name="T5" fmla="*/ 62 h 62"/>
                <a:gd name="T6" fmla="*/ 97 w 107"/>
                <a:gd name="T7" fmla="*/ 50 h 62"/>
                <a:gd name="T8" fmla="*/ 93 w 107"/>
                <a:gd name="T9" fmla="*/ 11 h 62"/>
                <a:gd name="T10" fmla="*/ 47 w 107"/>
                <a:gd name="T11" fmla="*/ 2 h 62"/>
                <a:gd name="T12" fmla="*/ 8 w 107"/>
                <a:gd name="T13" fmla="*/ 4 h 62"/>
                <a:gd name="T14" fmla="*/ 10 w 107"/>
                <a:gd name="T15" fmla="*/ 11 h 62"/>
                <a:gd name="T16" fmla="*/ 94 w 107"/>
                <a:gd name="T17" fmla="*/ 39 h 62"/>
                <a:gd name="T18" fmla="*/ 48 w 107"/>
                <a:gd name="T19" fmla="*/ 49 h 62"/>
                <a:gd name="T20" fmla="*/ 24 w 107"/>
                <a:gd name="T21" fmla="*/ 43 h 62"/>
                <a:gd name="T22" fmla="*/ 16 w 107"/>
                <a:gd name="T23" fmla="*/ 5 h 62"/>
                <a:gd name="T24" fmla="*/ 14 w 107"/>
                <a:gd name="T25" fmla="*/ 4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07" h="62">
                  <a:moveTo>
                    <a:pt x="14" y="4"/>
                  </a:moveTo>
                  <a:cubicBezTo>
                    <a:pt x="3" y="23"/>
                    <a:pt x="0" y="39"/>
                    <a:pt x="24" y="49"/>
                  </a:cubicBezTo>
                  <a:cubicBezTo>
                    <a:pt x="38" y="55"/>
                    <a:pt x="57" y="61"/>
                    <a:pt x="72" y="62"/>
                  </a:cubicBezTo>
                  <a:cubicBezTo>
                    <a:pt x="82" y="62"/>
                    <a:pt x="91" y="58"/>
                    <a:pt x="97" y="50"/>
                  </a:cubicBezTo>
                  <a:cubicBezTo>
                    <a:pt x="107" y="38"/>
                    <a:pt x="107" y="20"/>
                    <a:pt x="93" y="11"/>
                  </a:cubicBezTo>
                  <a:cubicBezTo>
                    <a:pt x="81" y="3"/>
                    <a:pt x="62" y="3"/>
                    <a:pt x="47" y="2"/>
                  </a:cubicBezTo>
                  <a:cubicBezTo>
                    <a:pt x="34" y="1"/>
                    <a:pt x="21" y="0"/>
                    <a:pt x="8" y="4"/>
                  </a:cubicBezTo>
                  <a:cubicBezTo>
                    <a:pt x="3" y="5"/>
                    <a:pt x="6" y="11"/>
                    <a:pt x="10" y="11"/>
                  </a:cubicBezTo>
                  <a:cubicBezTo>
                    <a:pt x="28" y="11"/>
                    <a:pt x="107" y="5"/>
                    <a:pt x="94" y="39"/>
                  </a:cubicBezTo>
                  <a:cubicBezTo>
                    <a:pt x="86" y="58"/>
                    <a:pt x="64" y="52"/>
                    <a:pt x="48" y="49"/>
                  </a:cubicBezTo>
                  <a:cubicBezTo>
                    <a:pt x="40" y="47"/>
                    <a:pt x="32" y="46"/>
                    <a:pt x="24" y="43"/>
                  </a:cubicBezTo>
                  <a:cubicBezTo>
                    <a:pt x="8" y="35"/>
                    <a:pt x="10" y="20"/>
                    <a:pt x="16" y="5"/>
                  </a:cubicBezTo>
                  <a:cubicBezTo>
                    <a:pt x="17" y="4"/>
                    <a:pt x="15" y="3"/>
                    <a:pt x="14" y="4"/>
                  </a:cubicBezTo>
                  <a:close/>
                </a:path>
              </a:pathLst>
            </a:custGeom>
            <a:solidFill>
              <a:srgbClr val="1C1D1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24" name="Freeform 519">
              <a:extLst>
                <a:ext uri="{FF2B5EF4-FFF2-40B4-BE49-F238E27FC236}">
                  <a16:creationId xmlns:a16="http://schemas.microsoft.com/office/drawing/2014/main" id="{DF8191AC-769B-4443-8FE0-36446D3E497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792788" y="3221038"/>
              <a:ext cx="147638" cy="106363"/>
            </a:xfrm>
            <a:custGeom>
              <a:avLst/>
              <a:gdLst>
                <a:gd name="T0" fmla="*/ 18 w 88"/>
                <a:gd name="T1" fmla="*/ 2 h 63"/>
                <a:gd name="T2" fmla="*/ 3 w 88"/>
                <a:gd name="T3" fmla="*/ 38 h 63"/>
                <a:gd name="T4" fmla="*/ 5 w 88"/>
                <a:gd name="T5" fmla="*/ 56 h 63"/>
                <a:gd name="T6" fmla="*/ 35 w 88"/>
                <a:gd name="T7" fmla="*/ 61 h 63"/>
                <a:gd name="T8" fmla="*/ 60 w 88"/>
                <a:gd name="T9" fmla="*/ 59 h 63"/>
                <a:gd name="T10" fmla="*/ 85 w 88"/>
                <a:gd name="T11" fmla="*/ 57 h 63"/>
                <a:gd name="T12" fmla="*/ 85 w 88"/>
                <a:gd name="T13" fmla="*/ 51 h 63"/>
                <a:gd name="T14" fmla="*/ 28 w 88"/>
                <a:gd name="T15" fmla="*/ 52 h 63"/>
                <a:gd name="T16" fmla="*/ 9 w 88"/>
                <a:gd name="T17" fmla="*/ 48 h 63"/>
                <a:gd name="T18" fmla="*/ 13 w 88"/>
                <a:gd name="T19" fmla="*/ 32 h 63"/>
                <a:gd name="T20" fmla="*/ 21 w 88"/>
                <a:gd name="T21" fmla="*/ 4 h 63"/>
                <a:gd name="T22" fmla="*/ 18 w 88"/>
                <a:gd name="T23" fmla="*/ 2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88" h="63">
                  <a:moveTo>
                    <a:pt x="18" y="2"/>
                  </a:moveTo>
                  <a:cubicBezTo>
                    <a:pt x="12" y="14"/>
                    <a:pt x="7" y="26"/>
                    <a:pt x="3" y="38"/>
                  </a:cubicBezTo>
                  <a:cubicBezTo>
                    <a:pt x="1" y="44"/>
                    <a:pt x="0" y="51"/>
                    <a:pt x="5" y="56"/>
                  </a:cubicBezTo>
                  <a:cubicBezTo>
                    <a:pt x="11" y="63"/>
                    <a:pt x="26" y="61"/>
                    <a:pt x="35" y="61"/>
                  </a:cubicBezTo>
                  <a:cubicBezTo>
                    <a:pt x="43" y="60"/>
                    <a:pt x="51" y="59"/>
                    <a:pt x="60" y="59"/>
                  </a:cubicBezTo>
                  <a:cubicBezTo>
                    <a:pt x="68" y="59"/>
                    <a:pt x="77" y="60"/>
                    <a:pt x="85" y="57"/>
                  </a:cubicBezTo>
                  <a:cubicBezTo>
                    <a:pt x="88" y="56"/>
                    <a:pt x="88" y="52"/>
                    <a:pt x="85" y="51"/>
                  </a:cubicBezTo>
                  <a:cubicBezTo>
                    <a:pt x="68" y="46"/>
                    <a:pt x="45" y="52"/>
                    <a:pt x="28" y="52"/>
                  </a:cubicBezTo>
                  <a:cubicBezTo>
                    <a:pt x="22" y="53"/>
                    <a:pt x="12" y="55"/>
                    <a:pt x="9" y="48"/>
                  </a:cubicBezTo>
                  <a:cubicBezTo>
                    <a:pt x="7" y="44"/>
                    <a:pt x="12" y="34"/>
                    <a:pt x="13" y="32"/>
                  </a:cubicBezTo>
                  <a:cubicBezTo>
                    <a:pt x="15" y="22"/>
                    <a:pt x="18" y="13"/>
                    <a:pt x="21" y="4"/>
                  </a:cubicBezTo>
                  <a:cubicBezTo>
                    <a:pt x="22" y="2"/>
                    <a:pt x="19" y="0"/>
                    <a:pt x="18" y="2"/>
                  </a:cubicBezTo>
                  <a:close/>
                </a:path>
              </a:pathLst>
            </a:custGeom>
            <a:solidFill>
              <a:srgbClr val="1C1D1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25" name="Freeform 520">
              <a:extLst>
                <a:ext uri="{FF2B5EF4-FFF2-40B4-BE49-F238E27FC236}">
                  <a16:creationId xmlns:a16="http://schemas.microsoft.com/office/drawing/2014/main" id="{AF1D693E-7920-4BC0-AB06-97138B50219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811838" y="3219450"/>
              <a:ext cx="125413" cy="90488"/>
            </a:xfrm>
            <a:custGeom>
              <a:avLst/>
              <a:gdLst>
                <a:gd name="T0" fmla="*/ 3 w 75"/>
                <a:gd name="T1" fmla="*/ 7 h 54"/>
                <a:gd name="T2" fmla="*/ 38 w 75"/>
                <a:gd name="T3" fmla="*/ 31 h 54"/>
                <a:gd name="T4" fmla="*/ 68 w 75"/>
                <a:gd name="T5" fmla="*/ 52 h 54"/>
                <a:gd name="T6" fmla="*/ 72 w 75"/>
                <a:gd name="T7" fmla="*/ 46 h 54"/>
                <a:gd name="T8" fmla="*/ 29 w 75"/>
                <a:gd name="T9" fmla="*/ 13 h 54"/>
                <a:gd name="T10" fmla="*/ 2 w 75"/>
                <a:gd name="T11" fmla="*/ 3 h 54"/>
                <a:gd name="T12" fmla="*/ 3 w 75"/>
                <a:gd name="T13" fmla="*/ 7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5" h="54">
                  <a:moveTo>
                    <a:pt x="3" y="7"/>
                  </a:moveTo>
                  <a:cubicBezTo>
                    <a:pt x="16" y="6"/>
                    <a:pt x="29" y="24"/>
                    <a:pt x="38" y="31"/>
                  </a:cubicBezTo>
                  <a:cubicBezTo>
                    <a:pt x="48" y="39"/>
                    <a:pt x="57" y="48"/>
                    <a:pt x="68" y="52"/>
                  </a:cubicBezTo>
                  <a:cubicBezTo>
                    <a:pt x="72" y="54"/>
                    <a:pt x="75" y="48"/>
                    <a:pt x="72" y="46"/>
                  </a:cubicBezTo>
                  <a:cubicBezTo>
                    <a:pt x="56" y="37"/>
                    <a:pt x="43" y="25"/>
                    <a:pt x="29" y="13"/>
                  </a:cubicBezTo>
                  <a:cubicBezTo>
                    <a:pt x="21" y="6"/>
                    <a:pt x="13" y="0"/>
                    <a:pt x="2" y="3"/>
                  </a:cubicBezTo>
                  <a:cubicBezTo>
                    <a:pt x="0" y="3"/>
                    <a:pt x="1" y="7"/>
                    <a:pt x="3" y="7"/>
                  </a:cubicBezTo>
                  <a:close/>
                </a:path>
              </a:pathLst>
            </a:custGeom>
            <a:solidFill>
              <a:srgbClr val="1C1D1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26" name="Freeform 521">
              <a:extLst>
                <a:ext uri="{FF2B5EF4-FFF2-40B4-BE49-F238E27FC236}">
                  <a16:creationId xmlns:a16="http://schemas.microsoft.com/office/drawing/2014/main" id="{513DEBFF-C123-4BAB-A6EF-577AC2B42C2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965825" y="2997200"/>
              <a:ext cx="79375" cy="36513"/>
            </a:xfrm>
            <a:custGeom>
              <a:avLst/>
              <a:gdLst>
                <a:gd name="T0" fmla="*/ 2 w 47"/>
                <a:gd name="T1" fmla="*/ 4 h 21"/>
                <a:gd name="T2" fmla="*/ 43 w 47"/>
                <a:gd name="T3" fmla="*/ 20 h 21"/>
                <a:gd name="T4" fmla="*/ 45 w 47"/>
                <a:gd name="T5" fmla="*/ 16 h 21"/>
                <a:gd name="T6" fmla="*/ 26 w 47"/>
                <a:gd name="T7" fmla="*/ 8 h 21"/>
                <a:gd name="T8" fmla="*/ 4 w 47"/>
                <a:gd name="T9" fmla="*/ 1 h 21"/>
                <a:gd name="T10" fmla="*/ 2 w 47"/>
                <a:gd name="T11" fmla="*/ 4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7" h="21">
                  <a:moveTo>
                    <a:pt x="2" y="4"/>
                  </a:moveTo>
                  <a:cubicBezTo>
                    <a:pt x="13" y="13"/>
                    <a:pt x="30" y="17"/>
                    <a:pt x="43" y="20"/>
                  </a:cubicBezTo>
                  <a:cubicBezTo>
                    <a:pt x="46" y="21"/>
                    <a:pt x="47" y="17"/>
                    <a:pt x="45" y="16"/>
                  </a:cubicBezTo>
                  <a:cubicBezTo>
                    <a:pt x="39" y="13"/>
                    <a:pt x="33" y="10"/>
                    <a:pt x="26" y="8"/>
                  </a:cubicBezTo>
                  <a:cubicBezTo>
                    <a:pt x="19" y="6"/>
                    <a:pt x="11" y="4"/>
                    <a:pt x="4" y="1"/>
                  </a:cubicBezTo>
                  <a:cubicBezTo>
                    <a:pt x="2" y="0"/>
                    <a:pt x="0" y="2"/>
                    <a:pt x="2" y="4"/>
                  </a:cubicBezTo>
                  <a:close/>
                </a:path>
              </a:pathLst>
            </a:custGeom>
            <a:solidFill>
              <a:srgbClr val="1C1D1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27" name="Freeform 522">
              <a:extLst>
                <a:ext uri="{FF2B5EF4-FFF2-40B4-BE49-F238E27FC236}">
                  <a16:creationId xmlns:a16="http://schemas.microsoft.com/office/drawing/2014/main" id="{FE8F4F6D-C91C-45C8-AD7E-6AE795EC25A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986463" y="3032125"/>
              <a:ext cx="42863" cy="15875"/>
            </a:xfrm>
            <a:custGeom>
              <a:avLst/>
              <a:gdLst>
                <a:gd name="T0" fmla="*/ 2 w 25"/>
                <a:gd name="T1" fmla="*/ 4 h 10"/>
                <a:gd name="T2" fmla="*/ 22 w 25"/>
                <a:gd name="T3" fmla="*/ 10 h 10"/>
                <a:gd name="T4" fmla="*/ 23 w 25"/>
                <a:gd name="T5" fmla="*/ 7 h 10"/>
                <a:gd name="T6" fmla="*/ 4 w 25"/>
                <a:gd name="T7" fmla="*/ 1 h 10"/>
                <a:gd name="T8" fmla="*/ 2 w 25"/>
                <a:gd name="T9" fmla="*/ 4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5" h="10">
                  <a:moveTo>
                    <a:pt x="2" y="4"/>
                  </a:moveTo>
                  <a:cubicBezTo>
                    <a:pt x="8" y="7"/>
                    <a:pt x="15" y="9"/>
                    <a:pt x="22" y="10"/>
                  </a:cubicBezTo>
                  <a:cubicBezTo>
                    <a:pt x="24" y="10"/>
                    <a:pt x="25" y="8"/>
                    <a:pt x="23" y="7"/>
                  </a:cubicBezTo>
                  <a:cubicBezTo>
                    <a:pt x="17" y="5"/>
                    <a:pt x="10" y="4"/>
                    <a:pt x="4" y="1"/>
                  </a:cubicBezTo>
                  <a:cubicBezTo>
                    <a:pt x="2" y="0"/>
                    <a:pt x="0" y="3"/>
                    <a:pt x="2" y="4"/>
                  </a:cubicBezTo>
                  <a:close/>
                </a:path>
              </a:pathLst>
            </a:custGeom>
            <a:solidFill>
              <a:srgbClr val="1C1D1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28" name="Freeform 523">
              <a:extLst>
                <a:ext uri="{FF2B5EF4-FFF2-40B4-BE49-F238E27FC236}">
                  <a16:creationId xmlns:a16="http://schemas.microsoft.com/office/drawing/2014/main" id="{D6A04864-1782-4DDE-8581-8BBA9E4F920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278438" y="2862263"/>
              <a:ext cx="276225" cy="60325"/>
            </a:xfrm>
            <a:custGeom>
              <a:avLst/>
              <a:gdLst>
                <a:gd name="T0" fmla="*/ 1 w 164"/>
                <a:gd name="T1" fmla="*/ 3 h 36"/>
                <a:gd name="T2" fmla="*/ 160 w 164"/>
                <a:gd name="T3" fmla="*/ 36 h 36"/>
                <a:gd name="T4" fmla="*/ 161 w 164"/>
                <a:gd name="T5" fmla="*/ 32 h 36"/>
                <a:gd name="T6" fmla="*/ 83 w 164"/>
                <a:gd name="T7" fmla="*/ 18 h 36"/>
                <a:gd name="T8" fmla="*/ 2 w 164"/>
                <a:gd name="T9" fmla="*/ 0 h 36"/>
                <a:gd name="T10" fmla="*/ 1 w 164"/>
                <a:gd name="T11" fmla="*/ 3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64" h="36">
                  <a:moveTo>
                    <a:pt x="1" y="3"/>
                  </a:moveTo>
                  <a:cubicBezTo>
                    <a:pt x="54" y="16"/>
                    <a:pt x="107" y="27"/>
                    <a:pt x="160" y="36"/>
                  </a:cubicBezTo>
                  <a:cubicBezTo>
                    <a:pt x="163" y="36"/>
                    <a:pt x="164" y="32"/>
                    <a:pt x="161" y="32"/>
                  </a:cubicBezTo>
                  <a:cubicBezTo>
                    <a:pt x="135" y="25"/>
                    <a:pt x="109" y="22"/>
                    <a:pt x="83" y="18"/>
                  </a:cubicBezTo>
                  <a:cubicBezTo>
                    <a:pt x="55" y="13"/>
                    <a:pt x="29" y="6"/>
                    <a:pt x="2" y="0"/>
                  </a:cubicBezTo>
                  <a:cubicBezTo>
                    <a:pt x="0" y="0"/>
                    <a:pt x="0" y="3"/>
                    <a:pt x="1" y="3"/>
                  </a:cubicBezTo>
                  <a:close/>
                </a:path>
              </a:pathLst>
            </a:custGeom>
            <a:solidFill>
              <a:srgbClr val="1C1D1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29" name="Freeform 524">
              <a:extLst>
                <a:ext uri="{FF2B5EF4-FFF2-40B4-BE49-F238E27FC236}">
                  <a16:creationId xmlns:a16="http://schemas.microsoft.com/office/drawing/2014/main" id="{625509DD-5C24-4A21-93C8-F0176E670D3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568950" y="2916238"/>
              <a:ext cx="33338" cy="26988"/>
            </a:xfrm>
            <a:custGeom>
              <a:avLst/>
              <a:gdLst>
                <a:gd name="T0" fmla="*/ 3 w 20"/>
                <a:gd name="T1" fmla="*/ 5 h 16"/>
                <a:gd name="T2" fmla="*/ 16 w 20"/>
                <a:gd name="T3" fmla="*/ 15 h 16"/>
                <a:gd name="T4" fmla="*/ 19 w 20"/>
                <a:gd name="T5" fmla="*/ 12 h 16"/>
                <a:gd name="T6" fmla="*/ 4 w 20"/>
                <a:gd name="T7" fmla="*/ 1 h 16"/>
                <a:gd name="T8" fmla="*/ 3 w 20"/>
                <a:gd name="T9" fmla="*/ 5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" h="16">
                  <a:moveTo>
                    <a:pt x="3" y="5"/>
                  </a:moveTo>
                  <a:cubicBezTo>
                    <a:pt x="7" y="8"/>
                    <a:pt x="12" y="11"/>
                    <a:pt x="16" y="15"/>
                  </a:cubicBezTo>
                  <a:cubicBezTo>
                    <a:pt x="17" y="16"/>
                    <a:pt x="20" y="14"/>
                    <a:pt x="19" y="12"/>
                  </a:cubicBezTo>
                  <a:cubicBezTo>
                    <a:pt x="15" y="7"/>
                    <a:pt x="10" y="4"/>
                    <a:pt x="4" y="1"/>
                  </a:cubicBezTo>
                  <a:cubicBezTo>
                    <a:pt x="2" y="0"/>
                    <a:pt x="0" y="4"/>
                    <a:pt x="3" y="5"/>
                  </a:cubicBezTo>
                  <a:close/>
                </a:path>
              </a:pathLst>
            </a:custGeom>
            <a:solidFill>
              <a:srgbClr val="1C1D1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30" name="Freeform 525">
              <a:extLst>
                <a:ext uri="{FF2B5EF4-FFF2-40B4-BE49-F238E27FC236}">
                  <a16:creationId xmlns:a16="http://schemas.microsoft.com/office/drawing/2014/main" id="{60E87D30-1241-47B3-923A-3A6312106ED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611813" y="2936875"/>
              <a:ext cx="34925" cy="22225"/>
            </a:xfrm>
            <a:custGeom>
              <a:avLst/>
              <a:gdLst>
                <a:gd name="T0" fmla="*/ 3 w 21"/>
                <a:gd name="T1" fmla="*/ 8 h 13"/>
                <a:gd name="T2" fmla="*/ 16 w 21"/>
                <a:gd name="T3" fmla="*/ 12 h 13"/>
                <a:gd name="T4" fmla="*/ 20 w 21"/>
                <a:gd name="T5" fmla="*/ 10 h 13"/>
                <a:gd name="T6" fmla="*/ 18 w 21"/>
                <a:gd name="T7" fmla="*/ 6 h 13"/>
                <a:gd name="T8" fmla="*/ 8 w 21"/>
                <a:gd name="T9" fmla="*/ 2 h 13"/>
                <a:gd name="T10" fmla="*/ 3 w 21"/>
                <a:gd name="T11" fmla="*/ 8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1" h="13">
                  <a:moveTo>
                    <a:pt x="3" y="8"/>
                  </a:moveTo>
                  <a:cubicBezTo>
                    <a:pt x="7" y="10"/>
                    <a:pt x="12" y="12"/>
                    <a:pt x="16" y="12"/>
                  </a:cubicBezTo>
                  <a:cubicBezTo>
                    <a:pt x="18" y="13"/>
                    <a:pt x="20" y="12"/>
                    <a:pt x="20" y="10"/>
                  </a:cubicBezTo>
                  <a:cubicBezTo>
                    <a:pt x="21" y="9"/>
                    <a:pt x="20" y="6"/>
                    <a:pt x="18" y="6"/>
                  </a:cubicBezTo>
                  <a:cubicBezTo>
                    <a:pt x="15" y="5"/>
                    <a:pt x="11" y="4"/>
                    <a:pt x="8" y="2"/>
                  </a:cubicBezTo>
                  <a:cubicBezTo>
                    <a:pt x="4" y="0"/>
                    <a:pt x="0" y="5"/>
                    <a:pt x="3" y="8"/>
                  </a:cubicBezTo>
                  <a:close/>
                </a:path>
              </a:pathLst>
            </a:custGeom>
            <a:solidFill>
              <a:srgbClr val="1C1D1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31" name="Freeform 526">
              <a:extLst>
                <a:ext uri="{FF2B5EF4-FFF2-40B4-BE49-F238E27FC236}">
                  <a16:creationId xmlns:a16="http://schemas.microsoft.com/office/drawing/2014/main" id="{DC50DA72-F4C0-4E0F-9F0C-BB0130950BF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689600" y="2949575"/>
              <a:ext cx="234950" cy="65088"/>
            </a:xfrm>
            <a:custGeom>
              <a:avLst/>
              <a:gdLst>
                <a:gd name="T0" fmla="*/ 3 w 140"/>
                <a:gd name="T1" fmla="*/ 6 h 39"/>
                <a:gd name="T2" fmla="*/ 65 w 140"/>
                <a:gd name="T3" fmla="*/ 25 h 39"/>
                <a:gd name="T4" fmla="*/ 135 w 140"/>
                <a:gd name="T5" fmla="*/ 38 h 39"/>
                <a:gd name="T6" fmla="*/ 136 w 140"/>
                <a:gd name="T7" fmla="*/ 32 h 39"/>
                <a:gd name="T8" fmla="*/ 64 w 140"/>
                <a:gd name="T9" fmla="*/ 15 h 39"/>
                <a:gd name="T10" fmla="*/ 5 w 140"/>
                <a:gd name="T11" fmla="*/ 1 h 39"/>
                <a:gd name="T12" fmla="*/ 3 w 140"/>
                <a:gd name="T13" fmla="*/ 6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0" h="39">
                  <a:moveTo>
                    <a:pt x="3" y="6"/>
                  </a:moveTo>
                  <a:cubicBezTo>
                    <a:pt x="21" y="16"/>
                    <a:pt x="45" y="20"/>
                    <a:pt x="65" y="25"/>
                  </a:cubicBezTo>
                  <a:cubicBezTo>
                    <a:pt x="88" y="30"/>
                    <a:pt x="111" y="35"/>
                    <a:pt x="135" y="38"/>
                  </a:cubicBezTo>
                  <a:cubicBezTo>
                    <a:pt x="138" y="39"/>
                    <a:pt x="140" y="33"/>
                    <a:pt x="136" y="32"/>
                  </a:cubicBezTo>
                  <a:cubicBezTo>
                    <a:pt x="112" y="25"/>
                    <a:pt x="88" y="20"/>
                    <a:pt x="64" y="15"/>
                  </a:cubicBezTo>
                  <a:cubicBezTo>
                    <a:pt x="45" y="12"/>
                    <a:pt x="23" y="9"/>
                    <a:pt x="5" y="1"/>
                  </a:cubicBezTo>
                  <a:cubicBezTo>
                    <a:pt x="2" y="0"/>
                    <a:pt x="0" y="5"/>
                    <a:pt x="3" y="6"/>
                  </a:cubicBezTo>
                  <a:close/>
                </a:path>
              </a:pathLst>
            </a:custGeom>
            <a:solidFill>
              <a:srgbClr val="1C1D1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32" name="Freeform 527">
              <a:extLst>
                <a:ext uri="{FF2B5EF4-FFF2-40B4-BE49-F238E27FC236}">
                  <a16:creationId xmlns:a16="http://schemas.microsoft.com/office/drawing/2014/main" id="{42B29B4D-7D91-4180-9F27-216AE7489CD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735638" y="1025525"/>
              <a:ext cx="120650" cy="1843088"/>
            </a:xfrm>
            <a:custGeom>
              <a:avLst/>
              <a:gdLst>
                <a:gd name="T0" fmla="*/ 42 w 72"/>
                <a:gd name="T1" fmla="*/ 5 h 1097"/>
                <a:gd name="T2" fmla="*/ 45 w 72"/>
                <a:gd name="T3" fmla="*/ 53 h 1097"/>
                <a:gd name="T4" fmla="*/ 47 w 72"/>
                <a:gd name="T5" fmla="*/ 111 h 1097"/>
                <a:gd name="T6" fmla="*/ 54 w 72"/>
                <a:gd name="T7" fmla="*/ 220 h 1097"/>
                <a:gd name="T8" fmla="*/ 52 w 72"/>
                <a:gd name="T9" fmla="*/ 436 h 1097"/>
                <a:gd name="T10" fmla="*/ 9 w 72"/>
                <a:gd name="T11" fmla="*/ 868 h 1097"/>
                <a:gd name="T12" fmla="*/ 5 w 72"/>
                <a:gd name="T13" fmla="*/ 980 h 1097"/>
                <a:gd name="T14" fmla="*/ 11 w 72"/>
                <a:gd name="T15" fmla="*/ 1087 h 1097"/>
                <a:gd name="T16" fmla="*/ 24 w 72"/>
                <a:gd name="T17" fmla="*/ 1081 h 1097"/>
                <a:gd name="T18" fmla="*/ 19 w 72"/>
                <a:gd name="T19" fmla="*/ 1076 h 1097"/>
                <a:gd name="T20" fmla="*/ 8 w 72"/>
                <a:gd name="T21" fmla="*/ 1088 h 1097"/>
                <a:gd name="T22" fmla="*/ 13 w 72"/>
                <a:gd name="T23" fmla="*/ 1092 h 1097"/>
                <a:gd name="T24" fmla="*/ 27 w 72"/>
                <a:gd name="T25" fmla="*/ 1087 h 1097"/>
                <a:gd name="T26" fmla="*/ 22 w 72"/>
                <a:gd name="T27" fmla="*/ 988 h 1097"/>
                <a:gd name="T28" fmla="*/ 25 w 72"/>
                <a:gd name="T29" fmla="*/ 879 h 1097"/>
                <a:gd name="T30" fmla="*/ 46 w 72"/>
                <a:gd name="T31" fmla="*/ 660 h 1097"/>
                <a:gd name="T32" fmla="*/ 68 w 72"/>
                <a:gd name="T33" fmla="*/ 433 h 1097"/>
                <a:gd name="T34" fmla="*/ 67 w 72"/>
                <a:gd name="T35" fmla="*/ 220 h 1097"/>
                <a:gd name="T36" fmla="*/ 58 w 72"/>
                <a:gd name="T37" fmla="*/ 107 h 1097"/>
                <a:gd name="T38" fmla="*/ 55 w 72"/>
                <a:gd name="T39" fmla="*/ 42 h 1097"/>
                <a:gd name="T40" fmla="*/ 47 w 72"/>
                <a:gd name="T41" fmla="*/ 3 h 1097"/>
                <a:gd name="T42" fmla="*/ 42 w 72"/>
                <a:gd name="T43" fmla="*/ 5 h 10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72" h="1097">
                  <a:moveTo>
                    <a:pt x="42" y="5"/>
                  </a:moveTo>
                  <a:cubicBezTo>
                    <a:pt x="49" y="21"/>
                    <a:pt x="46" y="37"/>
                    <a:pt x="45" y="53"/>
                  </a:cubicBezTo>
                  <a:cubicBezTo>
                    <a:pt x="44" y="72"/>
                    <a:pt x="46" y="92"/>
                    <a:pt x="47" y="111"/>
                  </a:cubicBezTo>
                  <a:cubicBezTo>
                    <a:pt x="51" y="147"/>
                    <a:pt x="54" y="183"/>
                    <a:pt x="54" y="220"/>
                  </a:cubicBezTo>
                  <a:cubicBezTo>
                    <a:pt x="54" y="292"/>
                    <a:pt x="57" y="364"/>
                    <a:pt x="52" y="436"/>
                  </a:cubicBezTo>
                  <a:cubicBezTo>
                    <a:pt x="42" y="580"/>
                    <a:pt x="19" y="724"/>
                    <a:pt x="9" y="868"/>
                  </a:cubicBezTo>
                  <a:cubicBezTo>
                    <a:pt x="6" y="905"/>
                    <a:pt x="5" y="942"/>
                    <a:pt x="5" y="980"/>
                  </a:cubicBezTo>
                  <a:cubicBezTo>
                    <a:pt x="5" y="1016"/>
                    <a:pt x="9" y="1051"/>
                    <a:pt x="11" y="1087"/>
                  </a:cubicBezTo>
                  <a:cubicBezTo>
                    <a:pt x="15" y="1085"/>
                    <a:pt x="20" y="1083"/>
                    <a:pt x="24" y="1081"/>
                  </a:cubicBezTo>
                  <a:cubicBezTo>
                    <a:pt x="23" y="1079"/>
                    <a:pt x="21" y="1078"/>
                    <a:pt x="19" y="1076"/>
                  </a:cubicBezTo>
                  <a:cubicBezTo>
                    <a:pt x="12" y="1069"/>
                    <a:pt x="0" y="1080"/>
                    <a:pt x="8" y="1088"/>
                  </a:cubicBezTo>
                  <a:cubicBezTo>
                    <a:pt x="10" y="1089"/>
                    <a:pt x="11" y="1091"/>
                    <a:pt x="13" y="1092"/>
                  </a:cubicBezTo>
                  <a:cubicBezTo>
                    <a:pt x="18" y="1097"/>
                    <a:pt x="27" y="1094"/>
                    <a:pt x="27" y="1087"/>
                  </a:cubicBezTo>
                  <a:cubicBezTo>
                    <a:pt x="26" y="1054"/>
                    <a:pt x="22" y="1021"/>
                    <a:pt x="22" y="988"/>
                  </a:cubicBezTo>
                  <a:cubicBezTo>
                    <a:pt x="22" y="952"/>
                    <a:pt x="23" y="915"/>
                    <a:pt x="25" y="879"/>
                  </a:cubicBezTo>
                  <a:cubicBezTo>
                    <a:pt x="30" y="805"/>
                    <a:pt x="38" y="733"/>
                    <a:pt x="46" y="660"/>
                  </a:cubicBezTo>
                  <a:cubicBezTo>
                    <a:pt x="54" y="584"/>
                    <a:pt x="63" y="508"/>
                    <a:pt x="68" y="433"/>
                  </a:cubicBezTo>
                  <a:cubicBezTo>
                    <a:pt x="72" y="362"/>
                    <a:pt x="68" y="291"/>
                    <a:pt x="67" y="220"/>
                  </a:cubicBezTo>
                  <a:cubicBezTo>
                    <a:pt x="66" y="182"/>
                    <a:pt x="62" y="145"/>
                    <a:pt x="58" y="107"/>
                  </a:cubicBezTo>
                  <a:cubicBezTo>
                    <a:pt x="56" y="85"/>
                    <a:pt x="54" y="64"/>
                    <a:pt x="55" y="42"/>
                  </a:cubicBezTo>
                  <a:cubicBezTo>
                    <a:pt x="55" y="27"/>
                    <a:pt x="54" y="16"/>
                    <a:pt x="47" y="3"/>
                  </a:cubicBezTo>
                  <a:cubicBezTo>
                    <a:pt x="45" y="0"/>
                    <a:pt x="41" y="2"/>
                    <a:pt x="42" y="5"/>
                  </a:cubicBezTo>
                  <a:close/>
                </a:path>
              </a:pathLst>
            </a:custGeom>
            <a:solidFill>
              <a:srgbClr val="04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</p:grpSp>
      <p:sp>
        <p:nvSpPr>
          <p:cNvPr id="13" name="标题 1"/>
          <p:cNvSpPr>
            <a:spLocks noGrp="1"/>
          </p:cNvSpPr>
          <p:nvPr userDrawn="1">
            <p:ph type="ctrTitle" hasCustomPrompt="1"/>
          </p:nvPr>
        </p:nvSpPr>
        <p:spPr>
          <a:xfrm>
            <a:off x="673100" y="3657600"/>
            <a:ext cx="10845798" cy="1326357"/>
          </a:xfrm>
        </p:spPr>
        <p:txBody>
          <a:bodyPr anchor="b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3200">
                <a:solidFill>
                  <a:schemeClr val="tx1"/>
                </a:solidFill>
              </a:defRPr>
            </a:lvl1pPr>
          </a:lstStyle>
          <a:p>
            <a:r>
              <a:rPr lang="en-US" altLang="zh-CN"/>
              <a:t>Conclusion</a:t>
            </a:r>
            <a:endParaRPr lang="zh-CN" altLang="en-US"/>
          </a:p>
        </p:txBody>
      </p:sp>
      <p:sp>
        <p:nvSpPr>
          <p:cNvPr id="15" name="文本占位符 62"/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673100" y="5624792"/>
            <a:ext cx="10845798" cy="310871"/>
          </a:xfrm>
        </p:spPr>
        <p:txBody>
          <a:bodyPr vert="horz" lIns="91440" tIns="45720" rIns="91440" bIns="45720" rtlCol="0">
            <a:normAutofit/>
          </a:bodyPr>
          <a:lstStyle>
            <a:lvl1pPr marL="0" indent="0" algn="ctr">
              <a:buNone/>
              <a:defRPr lang="zh-CN" altLang="en-US" sz="1500" smtClean="0">
                <a:solidFill>
                  <a:schemeClr val="tx1"/>
                </a:solidFill>
              </a:defRPr>
            </a:lvl1pPr>
            <a:lvl2pPr>
              <a:defRPr lang="zh-CN" altLang="en-US" sz="2000" smtClean="0"/>
            </a:lvl2pPr>
            <a:lvl3pPr>
              <a:defRPr lang="zh-CN" altLang="en-US" sz="1800" smtClean="0"/>
            </a:lvl3pPr>
            <a:lvl4pPr>
              <a:defRPr lang="zh-CN" altLang="en-US" sz="1600" smtClean="0"/>
            </a:lvl4pPr>
            <a:lvl5pPr>
              <a:defRPr lang="zh-CN" altLang="en-US" sz="1600"/>
            </a:lvl5pPr>
          </a:lstStyle>
          <a:p>
            <a:pPr marL="228589" marR="0" lvl="0" indent="-228589" fontAlgn="auto">
              <a:spcAft>
                <a:spcPts val="0"/>
              </a:spcAft>
              <a:buClrTx/>
              <a:buSzTx/>
              <a:tabLst/>
            </a:pPr>
            <a:r>
              <a:rPr lang="en-US" altLang="zh-CN"/>
              <a:t>Data</a:t>
            </a:r>
          </a:p>
        </p:txBody>
      </p:sp>
      <p:sp>
        <p:nvSpPr>
          <p:cNvPr id="6" name="文本占位符 13">
            <a:extLst>
              <a:ext uri="{FF2B5EF4-FFF2-40B4-BE49-F238E27FC236}">
                <a16:creationId xmlns:a16="http://schemas.microsoft.com/office/drawing/2014/main" id="{05EBDA4F-7210-4CAE-8333-80DB24212E7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73102" y="5328521"/>
            <a:ext cx="10845798" cy="296271"/>
          </a:xfrm>
        </p:spPr>
        <p:txBody>
          <a:bodyPr vert="horz" anchor="ctr">
            <a:noAutofit/>
          </a:bodyPr>
          <a:lstStyle>
            <a:lvl1pPr marL="0" indent="0" algn="ctr">
              <a:buNone/>
              <a:defRPr sz="1500" b="0">
                <a:solidFill>
                  <a:schemeClr val="tx1"/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/>
              <a:t>Signature</a:t>
            </a:r>
          </a:p>
        </p:txBody>
      </p:sp>
    </p:spTree>
    <p:extLst>
      <p:ext uri="{BB962C8B-B14F-4D97-AF65-F5344CB8AC3E}">
        <p14:creationId xmlns:p14="http://schemas.microsoft.com/office/powerpoint/2010/main" val="237865840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669924" y="1"/>
            <a:ext cx="10850563" cy="1028699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altLang="zh-CN"/>
              <a:t>Click to edit Master title style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69924" y="1123950"/>
            <a:ext cx="10850563" cy="50196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zh-CN" altLang="en-US"/>
          </a:p>
        </p:txBody>
      </p:sp>
      <p:cxnSp>
        <p:nvCxnSpPr>
          <p:cNvPr id="7" name="直接连接符 6"/>
          <p:cNvCxnSpPr/>
          <p:nvPr userDrawn="1"/>
        </p:nvCxnSpPr>
        <p:spPr>
          <a:xfrm>
            <a:off x="669924" y="1028700"/>
            <a:ext cx="10850563" cy="0"/>
          </a:xfrm>
          <a:prstGeom prst="line">
            <a:avLst/>
          </a:prstGeom>
          <a:ln w="31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日期占位符 3">
            <a:extLst>
              <a:ext uri="{FF2B5EF4-FFF2-40B4-BE49-F238E27FC236}">
                <a16:creationId xmlns:a16="http://schemas.microsoft.com/office/drawing/2014/main" id="{04388434-9949-479C-A9C3-67A953F6A93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401732" y="6240463"/>
            <a:ext cx="1388536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4981FE16-1BC1-4115-98F9-27ACA4958045}" type="datetime1">
              <a:rPr lang="zh-CN" altLang="en-US" smtClean="0"/>
              <a:t>2019/12/8</a:t>
            </a:fld>
            <a:endParaRPr lang="zh-CN" altLang="en-US"/>
          </a:p>
        </p:txBody>
      </p:sp>
      <p:sp>
        <p:nvSpPr>
          <p:cNvPr id="9" name="页脚占位符 4">
            <a:extLst>
              <a:ext uri="{FF2B5EF4-FFF2-40B4-BE49-F238E27FC236}">
                <a16:creationId xmlns:a16="http://schemas.microsoft.com/office/drawing/2014/main" id="{50A5656E-7A33-4865-A262-1F96263BAA1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69924" y="6240463"/>
            <a:ext cx="4140201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altLang="zh-CN"/>
              <a:t>Web Analytics Group Project</a:t>
            </a:r>
            <a:endParaRPr lang="zh-CN" altLang="en-US"/>
          </a:p>
        </p:txBody>
      </p:sp>
      <p:sp>
        <p:nvSpPr>
          <p:cNvPr id="10" name="灯片编号占位符 5">
            <a:extLst>
              <a:ext uri="{FF2B5EF4-FFF2-40B4-BE49-F238E27FC236}">
                <a16:creationId xmlns:a16="http://schemas.microsoft.com/office/drawing/2014/main" id="{5BF52F79-380E-4278-8B67-588AFE5840F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599" y="6240463"/>
            <a:ext cx="2909888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7840277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0" r:id="rId1"/>
    <p:sldLayoutId id="2147483651" r:id="rId2"/>
    <p:sldLayoutId id="2147483669" r:id="rId3"/>
    <p:sldLayoutId id="2147483662" r:id="rId4"/>
    <p:sldLayoutId id="2147483655" r:id="rId5"/>
    <p:sldLayoutId id="2147483661" r:id="rId6"/>
  </p:sldLayoutIdLst>
  <p:hf hdr="0" dt="0"/>
  <p:txStyles>
    <p:titleStyle>
      <a:lvl1pPr algn="l" defTabSz="914354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89" indent="-228589" algn="l" defTabSz="914354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76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4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20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298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74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5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29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0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4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9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86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6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4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1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22" userDrawn="1">
          <p15:clr>
            <a:srgbClr val="F26B43"/>
          </p15:clr>
        </p15:guide>
        <p15:guide id="2" pos="7257" userDrawn="1">
          <p15:clr>
            <a:srgbClr val="F26B43"/>
          </p15:clr>
        </p15:guide>
        <p15:guide id="3" orient="horz" pos="648" userDrawn="1">
          <p15:clr>
            <a:srgbClr val="F26B43"/>
          </p15:clr>
        </p15:guide>
        <p15:guide id="4" orient="horz" pos="712" userDrawn="1">
          <p15:clr>
            <a:srgbClr val="F26B43"/>
          </p15:clr>
        </p15:guide>
        <p15:guide id="5" orient="horz" pos="3931" userDrawn="1">
          <p15:clr>
            <a:srgbClr val="F26B43"/>
          </p15:clr>
        </p15:guide>
        <p15:guide id="6" orient="horz" pos="3866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video" Target="../media/media1.mp4"/><Relationship Id="rId1" Type="http://schemas.microsoft.com/office/2007/relationships/media" Target="../media/media1.mp4"/><Relationship Id="rId5" Type="http://schemas.openxmlformats.org/officeDocument/2006/relationships/image" Target="../media/image1.png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jpg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5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4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4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6.png"/><Relationship Id="rId4" Type="http://schemas.openxmlformats.org/officeDocument/2006/relationships/image" Target="../media/image13.png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4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4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4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.bin"/><Relationship Id="rId4" Type="http://schemas.openxmlformats.org/officeDocument/2006/relationships/slideLayout" Target="../slideLayouts/slideLayout1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jpg"/><Relationship Id="rId1" Type="http://schemas.openxmlformats.org/officeDocument/2006/relationships/slideLayout" Target="../slideLayouts/slideLayout5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5.xml"/><Relationship Id="rId1" Type="http://schemas.openxmlformats.org/officeDocument/2006/relationships/tags" Target="../tags/tag4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4.gif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Nintendo">
            <a:hlinkClick r:id="" action="ppaction://media"/>
            <a:extLst>
              <a:ext uri="{FF2B5EF4-FFF2-40B4-BE49-F238E27FC236}">
                <a16:creationId xmlns:a16="http://schemas.microsoft.com/office/drawing/2014/main" id="{300ADE00-2C43-40A9-A638-ED4147761840}"/>
              </a:ext>
            </a:extLst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5"/>
          <a:stretch>
            <a:fillRect/>
          </a:stretch>
        </p:blipFill>
        <p:spPr>
          <a:xfrm>
            <a:off x="1" y="0"/>
            <a:ext cx="12192000" cy="69134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748445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134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3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3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3"/>
                  </p:tgtEl>
                </p:cond>
              </p:nextCondLst>
            </p:seq>
          </p:childTnLst>
        </p:cTn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altLang="zh-CN" sz="4800"/>
              <a:t>RESULT</a:t>
            </a:r>
            <a:endParaRPr lang="zh-CN" altLang="en-US" sz="480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8B64B3A-904E-414A-8B79-F486D158417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Sentiment Analysis | Data Mining | Comparison | Location</a:t>
            </a:r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04F69230-F3A6-4586-9371-A858F4763E9F}"/>
              </a:ext>
            </a:extLst>
          </p:cNvPr>
          <p:cNvSpPr txBox="1"/>
          <p:nvPr/>
        </p:nvSpPr>
        <p:spPr>
          <a:xfrm>
            <a:off x="1977887" y="3852315"/>
            <a:ext cx="1818862" cy="1581433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pc="100">
                <a:solidFill>
                  <a:schemeClr val="accent4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/04</a:t>
            </a:r>
            <a:endParaRPr lang="zh-CN" altLang="en-US" spc="100">
              <a:solidFill>
                <a:schemeClr val="accent4"/>
              </a:solidFill>
              <a:latin typeface="Impact" panose="020B080603090205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5888498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/>
              <a:t>04. RESULT – SENTIMENT ANALYSIS</a:t>
            </a:r>
            <a:endParaRPr lang="zh-CN" altLang="en-US"/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Web Analytics Group Project</a:t>
            </a:r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1</a:t>
            </a:fld>
            <a:endParaRPr lang="zh-CN" altLang="en-US"/>
          </a:p>
        </p:txBody>
      </p:sp>
      <p:graphicFrame>
        <p:nvGraphicFramePr>
          <p:cNvPr id="8" name="Table 7">
            <a:extLst>
              <a:ext uri="{FF2B5EF4-FFF2-40B4-BE49-F238E27FC236}">
                <a16:creationId xmlns:a16="http://schemas.microsoft.com/office/drawing/2014/main" id="{00E36CF3-69DC-4553-AB7A-1CBF677388F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7361355"/>
              </p:ext>
            </p:extLst>
          </p:nvPr>
        </p:nvGraphicFramePr>
        <p:xfrm>
          <a:off x="669924" y="1771471"/>
          <a:ext cx="6899800" cy="585502"/>
        </p:xfrm>
        <a:graphic>
          <a:graphicData uri="http://schemas.openxmlformats.org/drawingml/2006/table">
            <a:tbl>
              <a:tblPr firstRow="1" bandRow="1">
                <a:tableStyleId>{073A0DAA-6AF3-43AB-8588-CEC1D06C72B9}</a:tableStyleId>
              </a:tblPr>
              <a:tblGrid>
                <a:gridCol w="2415845">
                  <a:extLst>
                    <a:ext uri="{9D8B030D-6E8A-4147-A177-3AD203B41FA5}">
                      <a16:colId xmlns:a16="http://schemas.microsoft.com/office/drawing/2014/main" val="3417084893"/>
                    </a:ext>
                  </a:extLst>
                </a:gridCol>
                <a:gridCol w="775139">
                  <a:extLst>
                    <a:ext uri="{9D8B030D-6E8A-4147-A177-3AD203B41FA5}">
                      <a16:colId xmlns:a16="http://schemas.microsoft.com/office/drawing/2014/main" val="299325890"/>
                    </a:ext>
                  </a:extLst>
                </a:gridCol>
                <a:gridCol w="1291301">
                  <a:extLst>
                    <a:ext uri="{9D8B030D-6E8A-4147-A177-3AD203B41FA5}">
                      <a16:colId xmlns:a16="http://schemas.microsoft.com/office/drawing/2014/main" val="3763030331"/>
                    </a:ext>
                  </a:extLst>
                </a:gridCol>
                <a:gridCol w="2417515">
                  <a:extLst>
                    <a:ext uri="{9D8B030D-6E8A-4147-A177-3AD203B41FA5}">
                      <a16:colId xmlns:a16="http://schemas.microsoft.com/office/drawing/2014/main" val="1521823233"/>
                    </a:ext>
                  </a:extLst>
                </a:gridCol>
              </a:tblGrid>
              <a:tr h="292751">
                <a:tc>
                  <a:txBody>
                    <a:bodyPr/>
                    <a:lstStyle/>
                    <a:p>
                      <a:pPr algn="ctr"/>
                      <a:r>
                        <a:rPr lang="en-US">
                          <a:effectLst/>
                        </a:rPr>
                        <a:t>Average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>
                          <a:effectLst/>
                        </a:rPr>
                        <a:t>Mode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>
                          <a:effectLst/>
                        </a:rPr>
                        <a:t>Median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>
                          <a:effectLst/>
                        </a:rPr>
                        <a:t>Standard Deviation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532535155"/>
                  </a:ext>
                </a:extLst>
              </a:tr>
              <a:tr h="292751">
                <a:tc>
                  <a:txBody>
                    <a:bodyPr/>
                    <a:lstStyle/>
                    <a:p>
                      <a:pPr algn="ctr"/>
                      <a:r>
                        <a:rPr lang="en-US">
                          <a:effectLst/>
                        </a:rPr>
                        <a:t>0.19570891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0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0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0.36775081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475882674"/>
                  </a:ext>
                </a:extLst>
              </a:tr>
            </a:tbl>
          </a:graphicData>
        </a:graphic>
      </p:graphicFrame>
      <p:pic>
        <p:nvPicPr>
          <p:cNvPr id="7" name="Picture 6" descr="A picture containing screenshot, drawing&#10;&#10;Description automatically generated">
            <a:extLst>
              <a:ext uri="{FF2B5EF4-FFF2-40B4-BE49-F238E27FC236}">
                <a16:creationId xmlns:a16="http://schemas.microsoft.com/office/drawing/2014/main" id="{9756B40B-1F56-4691-BE1A-C4085355229B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915"/>
          <a:stretch/>
        </p:blipFill>
        <p:spPr>
          <a:xfrm>
            <a:off x="6550621" y="2632799"/>
            <a:ext cx="4839059" cy="3412400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5" name="Picture 5" descr="A screenshot of a cell phone&#10;&#10;Description generated with very high confidence">
            <a:extLst>
              <a:ext uri="{FF2B5EF4-FFF2-40B4-BE49-F238E27FC236}">
                <a16:creationId xmlns:a16="http://schemas.microsoft.com/office/drawing/2014/main" id="{38031348-6EF6-4538-B94C-52EBCAC3D62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69924" y="2632798"/>
            <a:ext cx="5676930" cy="3412401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D77B22B0-96DD-493D-9A2A-4351F12DCCFA}"/>
              </a:ext>
            </a:extLst>
          </p:cNvPr>
          <p:cNvSpPr txBox="1"/>
          <p:nvPr/>
        </p:nvSpPr>
        <p:spPr>
          <a:xfrm>
            <a:off x="669924" y="1227945"/>
            <a:ext cx="618729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/>
              <a:t>S</a:t>
            </a:r>
            <a:r>
              <a:rPr lang="en-US" altLang="zh-CN"/>
              <a:t>tatistic Analysis about Compound Sentiment Scores</a:t>
            </a:r>
            <a:endParaRPr lang="en-US"/>
          </a:p>
        </p:txBody>
      </p:sp>
      <p:pic>
        <p:nvPicPr>
          <p:cNvPr id="9" name="Picture 2" descr="Image result for youtube">
            <a:extLst>
              <a:ext uri="{FF2B5EF4-FFF2-40B4-BE49-F238E27FC236}">
                <a16:creationId xmlns:a16="http://schemas.microsoft.com/office/drawing/2014/main" id="{77CB3537-7330-4417-A610-CB196A7CB1D6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3274" b="32036"/>
          <a:stretch/>
        </p:blipFill>
        <p:spPr bwMode="auto">
          <a:xfrm>
            <a:off x="9848042" y="173712"/>
            <a:ext cx="1963881" cy="681276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12706120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E70B46DA-E699-4DBA-88D7-23155C3ACCB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>
                <a:cs typeface="Arial"/>
              </a:rPr>
              <a:t>04. </a:t>
            </a:r>
            <a:r>
              <a:rPr lang="zh-CN" altLang="en-US">
                <a:cs typeface="Arial"/>
              </a:rPr>
              <a:t>Unsupervised &amp; Supervised Data Mining Models</a:t>
            </a:r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D907B920-4906-4BE2-9526-899CBB7F013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Web Analytics Group Project</a:t>
            </a:r>
            <a:endParaRPr lang="zh-CN" altLang="en-US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44FADC40-DA3A-4C4D-A94E-D01171AA2CD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2</a:t>
            </a:fld>
            <a:endParaRPr lang="zh-CN" altLang="en-US"/>
          </a:p>
        </p:txBody>
      </p:sp>
      <p:pic>
        <p:nvPicPr>
          <p:cNvPr id="10" name="图片 10" descr="手机屏幕截图&#10;&#10;已生成高可信度的说明">
            <a:extLst>
              <a:ext uri="{FF2B5EF4-FFF2-40B4-BE49-F238E27FC236}">
                <a16:creationId xmlns:a16="http://schemas.microsoft.com/office/drawing/2014/main" id="{4FF0E2A8-13B3-4F91-BEF5-F3F745213293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5737" t="27342" r="58688" b="20880"/>
          <a:stretch/>
        </p:blipFill>
        <p:spPr>
          <a:xfrm>
            <a:off x="2682239" y="2563408"/>
            <a:ext cx="4391467" cy="3374716"/>
          </a:xfrm>
          <a:prstGeom prst="rect">
            <a:avLst/>
          </a:prstGeom>
          <a:ln w="12700">
            <a:solidFill>
              <a:schemeClr val="tx1"/>
            </a:solidFill>
          </a:ln>
        </p:spPr>
      </p:pic>
      <p:sp>
        <p:nvSpPr>
          <p:cNvPr id="16" name="文本框 15">
            <a:extLst>
              <a:ext uri="{FF2B5EF4-FFF2-40B4-BE49-F238E27FC236}">
                <a16:creationId xmlns:a16="http://schemas.microsoft.com/office/drawing/2014/main" id="{E616EAAA-0CBF-4744-8E9C-F5B25A121C5D}"/>
              </a:ext>
            </a:extLst>
          </p:cNvPr>
          <p:cNvSpPr txBox="1"/>
          <p:nvPr/>
        </p:nvSpPr>
        <p:spPr>
          <a:xfrm>
            <a:off x="669924" y="3291840"/>
            <a:ext cx="1865376" cy="1572768"/>
          </a:xfrm>
          <a:prstGeom prst="rect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wrap="square" rtlCol="0" anchor="ctr" anchorCtr="0">
            <a:normAutofit/>
          </a:bodyPr>
          <a:lstStyle>
            <a:defPPr>
              <a:defRPr lang="zh-CN"/>
            </a:defPPr>
            <a:lvl1pPr algn="ctr">
              <a:defRPr sz="2400">
                <a:solidFill>
                  <a:schemeClr val="lt1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zh-CN" altLang="en-US"/>
              <a:t>K-means</a:t>
            </a:r>
            <a:endParaRPr lang="en-US" altLang="zh-CN"/>
          </a:p>
          <a:p>
            <a:r>
              <a:rPr lang="zh-CN" altLang="en-US"/>
              <a:t>Cluster</a:t>
            </a:r>
            <a:endParaRPr lang="en-US" altLang="zh-CN"/>
          </a:p>
          <a:p>
            <a:r>
              <a:rPr lang="zh-CN" altLang="en-US"/>
              <a:t>Model</a:t>
            </a:r>
          </a:p>
        </p:txBody>
      </p:sp>
      <p:sp>
        <p:nvSpPr>
          <p:cNvPr id="7" name="文本框 4">
            <a:extLst>
              <a:ext uri="{FF2B5EF4-FFF2-40B4-BE49-F238E27FC236}">
                <a16:creationId xmlns:a16="http://schemas.microsoft.com/office/drawing/2014/main" id="{62187116-6C13-4B05-88FC-08B0A8046041}"/>
              </a:ext>
            </a:extLst>
          </p:cNvPr>
          <p:cNvSpPr txBox="1"/>
          <p:nvPr/>
        </p:nvSpPr>
        <p:spPr>
          <a:xfrm>
            <a:off x="669924" y="1225296"/>
            <a:ext cx="10490199" cy="369332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zh-CN" altLang="en-US">
                <a:latin typeface="+mj-lt"/>
                <a:cs typeface="Arial"/>
              </a:rPr>
              <a:t>We choose frequencies of 13 adjectives and verbs to create a dataset for unsupervised data mining.</a:t>
            </a:r>
          </a:p>
        </p:txBody>
      </p:sp>
      <p:graphicFrame>
        <p:nvGraphicFramePr>
          <p:cNvPr id="8" name="表格 6">
            <a:extLst>
              <a:ext uri="{FF2B5EF4-FFF2-40B4-BE49-F238E27FC236}">
                <a16:creationId xmlns:a16="http://schemas.microsoft.com/office/drawing/2014/main" id="{05AF74C2-91F4-4000-9A18-DA25DB1B514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25310411"/>
              </p:ext>
            </p:extLst>
          </p:nvPr>
        </p:nvGraphicFramePr>
        <p:xfrm>
          <a:off x="669924" y="1786866"/>
          <a:ext cx="10850563" cy="441984"/>
        </p:xfrm>
        <a:graphic>
          <a:graphicData uri="http://schemas.openxmlformats.org/drawingml/2006/table">
            <a:tbl>
              <a:tblPr firstRow="1" bandRow="1">
                <a:tableStyleId>{7E9639D4-E3E2-4D34-9284-5A2195B3D0D7}</a:tableStyleId>
              </a:tblPr>
              <a:tblGrid>
                <a:gridCol w="701676">
                  <a:extLst>
                    <a:ext uri="{9D8B030D-6E8A-4147-A177-3AD203B41FA5}">
                      <a16:colId xmlns:a16="http://schemas.microsoft.com/office/drawing/2014/main" val="1782143142"/>
                    </a:ext>
                  </a:extLst>
                </a:gridCol>
                <a:gridCol w="873760">
                  <a:extLst>
                    <a:ext uri="{9D8B030D-6E8A-4147-A177-3AD203B41FA5}">
                      <a16:colId xmlns:a16="http://schemas.microsoft.com/office/drawing/2014/main" val="1213552328"/>
                    </a:ext>
                  </a:extLst>
                </a:gridCol>
                <a:gridCol w="1249680">
                  <a:extLst>
                    <a:ext uri="{9D8B030D-6E8A-4147-A177-3AD203B41FA5}">
                      <a16:colId xmlns:a16="http://schemas.microsoft.com/office/drawing/2014/main" val="134208993"/>
                    </a:ext>
                  </a:extLst>
                </a:gridCol>
                <a:gridCol w="843280">
                  <a:extLst>
                    <a:ext uri="{9D8B030D-6E8A-4147-A177-3AD203B41FA5}">
                      <a16:colId xmlns:a16="http://schemas.microsoft.com/office/drawing/2014/main" val="3105118387"/>
                    </a:ext>
                  </a:extLst>
                </a:gridCol>
                <a:gridCol w="690880">
                  <a:extLst>
                    <a:ext uri="{9D8B030D-6E8A-4147-A177-3AD203B41FA5}">
                      <a16:colId xmlns:a16="http://schemas.microsoft.com/office/drawing/2014/main" val="228455609"/>
                    </a:ext>
                  </a:extLst>
                </a:gridCol>
                <a:gridCol w="579120">
                  <a:extLst>
                    <a:ext uri="{9D8B030D-6E8A-4147-A177-3AD203B41FA5}">
                      <a16:colId xmlns:a16="http://schemas.microsoft.com/office/drawing/2014/main" val="2101484110"/>
                    </a:ext>
                  </a:extLst>
                </a:gridCol>
                <a:gridCol w="726943">
                  <a:extLst>
                    <a:ext uri="{9D8B030D-6E8A-4147-A177-3AD203B41FA5}">
                      <a16:colId xmlns:a16="http://schemas.microsoft.com/office/drawing/2014/main" val="1008691434"/>
                    </a:ext>
                  </a:extLst>
                </a:gridCol>
                <a:gridCol w="864204">
                  <a:extLst>
                    <a:ext uri="{9D8B030D-6E8A-4147-A177-3AD203B41FA5}">
                      <a16:colId xmlns:a16="http://schemas.microsoft.com/office/drawing/2014/main" val="3780971000"/>
                    </a:ext>
                  </a:extLst>
                </a:gridCol>
                <a:gridCol w="864204">
                  <a:extLst>
                    <a:ext uri="{9D8B030D-6E8A-4147-A177-3AD203B41FA5}">
                      <a16:colId xmlns:a16="http://schemas.microsoft.com/office/drawing/2014/main" val="1492937088"/>
                    </a:ext>
                  </a:extLst>
                </a:gridCol>
                <a:gridCol w="864204">
                  <a:extLst>
                    <a:ext uri="{9D8B030D-6E8A-4147-A177-3AD203B41FA5}">
                      <a16:colId xmlns:a16="http://schemas.microsoft.com/office/drawing/2014/main" val="291348465"/>
                    </a:ext>
                  </a:extLst>
                </a:gridCol>
                <a:gridCol w="864204">
                  <a:extLst>
                    <a:ext uri="{9D8B030D-6E8A-4147-A177-3AD203B41FA5}">
                      <a16:colId xmlns:a16="http://schemas.microsoft.com/office/drawing/2014/main" val="888536162"/>
                    </a:ext>
                  </a:extLst>
                </a:gridCol>
                <a:gridCol w="864204">
                  <a:extLst>
                    <a:ext uri="{9D8B030D-6E8A-4147-A177-3AD203B41FA5}">
                      <a16:colId xmlns:a16="http://schemas.microsoft.com/office/drawing/2014/main" val="2087811654"/>
                    </a:ext>
                  </a:extLst>
                </a:gridCol>
                <a:gridCol w="864204">
                  <a:extLst>
                    <a:ext uri="{9D8B030D-6E8A-4147-A177-3AD203B41FA5}">
                      <a16:colId xmlns:a16="http://schemas.microsoft.com/office/drawing/2014/main" val="3969356570"/>
                    </a:ext>
                  </a:extLst>
                </a:gridCol>
              </a:tblGrid>
              <a:tr h="441984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600"/>
                        <a:t>cool</a:t>
                      </a:r>
                      <a:endParaRPr lang="zh-CN" altLang="en-US" sz="1600">
                        <a:latin typeface="+mj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600"/>
                        <a:t>better</a:t>
                      </a:r>
                      <a:endParaRPr lang="zh-CN" altLang="en-US" sz="1600">
                        <a:latin typeface="+mj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600"/>
                        <a:t>awesome</a:t>
                      </a:r>
                      <a:endParaRPr lang="zh-CN" altLang="en-US" sz="1600">
                        <a:latin typeface="+mj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600"/>
                        <a:t>amaze</a:t>
                      </a:r>
                      <a:endParaRPr lang="zh-CN" altLang="en-US" sz="1600">
                        <a:latin typeface="+mj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600"/>
                        <a:t>new</a:t>
                      </a:r>
                      <a:endParaRPr lang="zh-CN" altLang="en-US" sz="1600">
                        <a:latin typeface="+mj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600"/>
                        <a:t>like</a:t>
                      </a:r>
                      <a:endParaRPr lang="zh-CN" altLang="en-US" sz="1600">
                        <a:latin typeface="+mj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600"/>
                        <a:t>want</a:t>
                      </a:r>
                      <a:endParaRPr lang="zh-CN" altLang="en-US" sz="1600">
                        <a:latin typeface="+mj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600"/>
                        <a:t>buy</a:t>
                      </a:r>
                      <a:endParaRPr lang="zh-CN" altLang="en-US" sz="1600">
                        <a:latin typeface="+mj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600"/>
                        <a:t>wait</a:t>
                      </a:r>
                      <a:endParaRPr lang="zh-CN" altLang="en-US" sz="1600">
                        <a:latin typeface="+mj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600"/>
                        <a:t>need</a:t>
                      </a:r>
                      <a:endParaRPr lang="zh-CN" altLang="en-US" sz="1600">
                        <a:latin typeface="+mj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zh-CN" altLang="en-US" sz="1600"/>
                        <a:t>love</a:t>
                      </a:r>
                      <a:endParaRPr lang="zh-CN" altLang="en-US" sz="1600">
                        <a:latin typeface="+mj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zh-CN" altLang="en-US" sz="1600"/>
                        <a:t>omg</a:t>
                      </a:r>
                      <a:endParaRPr lang="zh-CN" altLang="en-US" sz="1600">
                        <a:latin typeface="+mj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zh-CN" altLang="en-US" sz="1600"/>
                        <a:t>best</a:t>
                      </a:r>
                      <a:endParaRPr lang="zh-CN" altLang="en-US" sz="1600">
                        <a:latin typeface="+mj-lt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738243811"/>
                  </a:ext>
                </a:extLst>
              </a:tr>
            </a:tbl>
          </a:graphicData>
        </a:graphic>
      </p:graphicFrame>
      <p:pic>
        <p:nvPicPr>
          <p:cNvPr id="9" name="图片 10" descr="手机屏幕截图&#10;&#10;已生成高可信度的说明">
            <a:extLst>
              <a:ext uri="{FF2B5EF4-FFF2-40B4-BE49-F238E27FC236}">
                <a16:creationId xmlns:a16="http://schemas.microsoft.com/office/drawing/2014/main" id="{ED4EC28D-1B24-4619-8D74-307AD9D72C6A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58973" t="9713" r="9408" b="42535"/>
          <a:stretch/>
        </p:blipFill>
        <p:spPr>
          <a:xfrm>
            <a:off x="7288110" y="2563408"/>
            <a:ext cx="4232377" cy="3374717"/>
          </a:xfrm>
          <a:prstGeom prst="rect">
            <a:avLst/>
          </a:prstGeom>
          <a:ln w="12700">
            <a:solidFill>
              <a:schemeClr val="tx1"/>
            </a:solidFill>
          </a:ln>
        </p:spPr>
      </p:pic>
      <p:pic>
        <p:nvPicPr>
          <p:cNvPr id="12" name="Picture 2" descr="Image result for youtube">
            <a:extLst>
              <a:ext uri="{FF2B5EF4-FFF2-40B4-BE49-F238E27FC236}">
                <a16:creationId xmlns:a16="http://schemas.microsoft.com/office/drawing/2014/main" id="{02DB1273-A18F-49D4-8717-D4A88455BE42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3274" b="32036"/>
          <a:stretch/>
        </p:blipFill>
        <p:spPr bwMode="auto">
          <a:xfrm>
            <a:off x="9848042" y="173712"/>
            <a:ext cx="1963881" cy="681276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527552448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E70B46DA-E699-4DBA-88D7-23155C3ACCB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>
                <a:cs typeface="Arial"/>
              </a:rPr>
              <a:t>04. </a:t>
            </a:r>
            <a:r>
              <a:rPr lang="zh-CN" altLang="en-US">
                <a:cs typeface="Arial"/>
              </a:rPr>
              <a:t>Unsupervised &amp; Supervised Data Mining Models</a:t>
            </a:r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D907B920-4906-4BE2-9526-899CBB7F013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Web Analytics Group Project</a:t>
            </a:r>
            <a:endParaRPr lang="zh-CN" altLang="en-US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44FADC40-DA3A-4C4D-A94E-D01171AA2CD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3</a:t>
            </a:fld>
            <a:endParaRPr lang="zh-CN" altLang="en-US"/>
          </a:p>
        </p:txBody>
      </p:sp>
      <p:pic>
        <p:nvPicPr>
          <p:cNvPr id="7" name="图片 7" descr="手机截图图社交软件的信息&#10;&#10;已生成高可信度的说明">
            <a:extLst>
              <a:ext uri="{FF2B5EF4-FFF2-40B4-BE49-F238E27FC236}">
                <a16:creationId xmlns:a16="http://schemas.microsoft.com/office/drawing/2014/main" id="{902DB0E4-957D-4ABA-B3E8-5E52FB58876C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2138" t="25962" r="3661" b="42443"/>
          <a:stretch/>
        </p:blipFill>
        <p:spPr>
          <a:xfrm>
            <a:off x="3461784" y="2575044"/>
            <a:ext cx="8058697" cy="3386290"/>
          </a:xfrm>
          <a:prstGeom prst="rect">
            <a:avLst/>
          </a:prstGeom>
          <a:ln>
            <a:solidFill>
              <a:schemeClr val="tx1"/>
            </a:solidFill>
          </a:ln>
        </p:spPr>
      </p:pic>
      <p:graphicFrame>
        <p:nvGraphicFramePr>
          <p:cNvPr id="6" name="表格 6">
            <a:extLst>
              <a:ext uri="{FF2B5EF4-FFF2-40B4-BE49-F238E27FC236}">
                <a16:creationId xmlns:a16="http://schemas.microsoft.com/office/drawing/2014/main" id="{967DF90C-1E08-4968-B431-646DB39B966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11620322"/>
              </p:ext>
            </p:extLst>
          </p:nvPr>
        </p:nvGraphicFramePr>
        <p:xfrm>
          <a:off x="669919" y="1791406"/>
          <a:ext cx="10850562" cy="435420"/>
        </p:xfrm>
        <a:graphic>
          <a:graphicData uri="http://schemas.openxmlformats.org/drawingml/2006/table">
            <a:tbl>
              <a:tblPr firstRow="1" bandRow="1">
                <a:tableStyleId>{7E9639D4-E3E2-4D34-9284-5A2195B3D0D7}</a:tableStyleId>
              </a:tblPr>
              <a:tblGrid>
                <a:gridCol w="651583">
                  <a:extLst>
                    <a:ext uri="{9D8B030D-6E8A-4147-A177-3AD203B41FA5}">
                      <a16:colId xmlns:a16="http://schemas.microsoft.com/office/drawing/2014/main" val="1782143142"/>
                    </a:ext>
                  </a:extLst>
                </a:gridCol>
                <a:gridCol w="803441">
                  <a:extLst>
                    <a:ext uri="{9D8B030D-6E8A-4147-A177-3AD203B41FA5}">
                      <a16:colId xmlns:a16="http://schemas.microsoft.com/office/drawing/2014/main" val="1213552328"/>
                    </a:ext>
                  </a:extLst>
                </a:gridCol>
                <a:gridCol w="1172079">
                  <a:extLst>
                    <a:ext uri="{9D8B030D-6E8A-4147-A177-3AD203B41FA5}">
                      <a16:colId xmlns:a16="http://schemas.microsoft.com/office/drawing/2014/main" val="134208993"/>
                    </a:ext>
                  </a:extLst>
                </a:gridCol>
                <a:gridCol w="879058">
                  <a:extLst>
                    <a:ext uri="{9D8B030D-6E8A-4147-A177-3AD203B41FA5}">
                      <a16:colId xmlns:a16="http://schemas.microsoft.com/office/drawing/2014/main" val="3105118387"/>
                    </a:ext>
                  </a:extLst>
                </a:gridCol>
                <a:gridCol w="633301">
                  <a:extLst>
                    <a:ext uri="{9D8B030D-6E8A-4147-A177-3AD203B41FA5}">
                      <a16:colId xmlns:a16="http://schemas.microsoft.com/office/drawing/2014/main" val="228455609"/>
                    </a:ext>
                  </a:extLst>
                </a:gridCol>
                <a:gridCol w="567136">
                  <a:extLst>
                    <a:ext uri="{9D8B030D-6E8A-4147-A177-3AD203B41FA5}">
                      <a16:colId xmlns:a16="http://schemas.microsoft.com/office/drawing/2014/main" val="2101484110"/>
                    </a:ext>
                  </a:extLst>
                </a:gridCol>
                <a:gridCol w="733326">
                  <a:extLst>
                    <a:ext uri="{9D8B030D-6E8A-4147-A177-3AD203B41FA5}">
                      <a16:colId xmlns:a16="http://schemas.microsoft.com/office/drawing/2014/main" val="1008691434"/>
                    </a:ext>
                  </a:extLst>
                </a:gridCol>
                <a:gridCol w="777132">
                  <a:extLst>
                    <a:ext uri="{9D8B030D-6E8A-4147-A177-3AD203B41FA5}">
                      <a16:colId xmlns:a16="http://schemas.microsoft.com/office/drawing/2014/main" val="3780971000"/>
                    </a:ext>
                  </a:extLst>
                </a:gridCol>
                <a:gridCol w="777132">
                  <a:extLst>
                    <a:ext uri="{9D8B030D-6E8A-4147-A177-3AD203B41FA5}">
                      <a16:colId xmlns:a16="http://schemas.microsoft.com/office/drawing/2014/main" val="1492937088"/>
                    </a:ext>
                  </a:extLst>
                </a:gridCol>
                <a:gridCol w="777132">
                  <a:extLst>
                    <a:ext uri="{9D8B030D-6E8A-4147-A177-3AD203B41FA5}">
                      <a16:colId xmlns:a16="http://schemas.microsoft.com/office/drawing/2014/main" val="291348465"/>
                    </a:ext>
                  </a:extLst>
                </a:gridCol>
                <a:gridCol w="777132">
                  <a:extLst>
                    <a:ext uri="{9D8B030D-6E8A-4147-A177-3AD203B41FA5}">
                      <a16:colId xmlns:a16="http://schemas.microsoft.com/office/drawing/2014/main" val="888536162"/>
                    </a:ext>
                  </a:extLst>
                </a:gridCol>
                <a:gridCol w="777132">
                  <a:extLst>
                    <a:ext uri="{9D8B030D-6E8A-4147-A177-3AD203B41FA5}">
                      <a16:colId xmlns:a16="http://schemas.microsoft.com/office/drawing/2014/main" val="2087811654"/>
                    </a:ext>
                  </a:extLst>
                </a:gridCol>
                <a:gridCol w="664821">
                  <a:extLst>
                    <a:ext uri="{9D8B030D-6E8A-4147-A177-3AD203B41FA5}">
                      <a16:colId xmlns:a16="http://schemas.microsoft.com/office/drawing/2014/main" val="3969356570"/>
                    </a:ext>
                  </a:extLst>
                </a:gridCol>
                <a:gridCol w="860157">
                  <a:extLst>
                    <a:ext uri="{9D8B030D-6E8A-4147-A177-3AD203B41FA5}">
                      <a16:colId xmlns:a16="http://schemas.microsoft.com/office/drawing/2014/main" val="1529185095"/>
                    </a:ext>
                  </a:extLst>
                </a:gridCol>
              </a:tblGrid>
              <a:tr h="435420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600"/>
                        <a:t>cool</a:t>
                      </a:r>
                      <a:endParaRPr lang="zh-CN" altLang="en-US" sz="1600">
                        <a:latin typeface="+mj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600"/>
                        <a:t>better</a:t>
                      </a:r>
                      <a:endParaRPr lang="zh-CN" altLang="en-US" sz="1600">
                        <a:latin typeface="+mj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600"/>
                        <a:t>awesome</a:t>
                      </a:r>
                      <a:endParaRPr lang="zh-CN" altLang="en-US" sz="1600">
                        <a:latin typeface="+mj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600"/>
                        <a:t>amaze</a:t>
                      </a:r>
                      <a:endParaRPr lang="zh-CN" altLang="en-US" sz="1600">
                        <a:latin typeface="+mj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600"/>
                        <a:t>new</a:t>
                      </a:r>
                      <a:endParaRPr lang="zh-CN" altLang="en-US" sz="1600">
                        <a:latin typeface="+mj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600"/>
                        <a:t>like</a:t>
                      </a:r>
                      <a:endParaRPr lang="zh-CN" altLang="en-US" sz="1600">
                        <a:latin typeface="+mj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600"/>
                        <a:t>want</a:t>
                      </a:r>
                      <a:endParaRPr lang="zh-CN" altLang="en-US" sz="1600">
                        <a:latin typeface="+mj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600"/>
                        <a:t>buy</a:t>
                      </a:r>
                      <a:endParaRPr lang="zh-CN" altLang="en-US" sz="1600">
                        <a:latin typeface="+mj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600"/>
                        <a:t>wait</a:t>
                      </a:r>
                      <a:endParaRPr lang="zh-CN" altLang="en-US" sz="1600">
                        <a:latin typeface="+mj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600"/>
                        <a:t>need</a:t>
                      </a:r>
                      <a:endParaRPr lang="zh-CN" altLang="en-US" sz="1600">
                        <a:latin typeface="+mj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zh-CN" altLang="en-US" sz="1600"/>
                        <a:t>love</a:t>
                      </a:r>
                      <a:endParaRPr lang="zh-CN" altLang="en-US" sz="1600">
                        <a:latin typeface="+mj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zh-CN" altLang="en-US" sz="1600"/>
                        <a:t>omg</a:t>
                      </a:r>
                      <a:endParaRPr lang="zh-CN" altLang="en-US" sz="1600">
                        <a:latin typeface="+mj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zh-CN" altLang="en-US" sz="1600"/>
                        <a:t>best</a:t>
                      </a:r>
                      <a:endParaRPr lang="zh-CN" altLang="en-US" sz="1600">
                        <a:latin typeface="+mj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zh-CN" altLang="en-US" sz="1600"/>
                        <a:t>scores</a:t>
                      </a:r>
                      <a:endParaRPr lang="zh-CN" altLang="en-US" sz="1600">
                        <a:latin typeface="+mj-lt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738243811"/>
                  </a:ext>
                </a:extLst>
              </a:tr>
            </a:tbl>
          </a:graphicData>
        </a:graphic>
      </p:graphicFrame>
      <p:sp>
        <p:nvSpPr>
          <p:cNvPr id="8" name="TextBox 7">
            <a:extLst>
              <a:ext uri="{FF2B5EF4-FFF2-40B4-BE49-F238E27FC236}">
                <a16:creationId xmlns:a16="http://schemas.microsoft.com/office/drawing/2014/main" id="{FCF5E400-EF8F-4E0D-9959-197DB8A3C11D}"/>
              </a:ext>
            </a:extLst>
          </p:cNvPr>
          <p:cNvSpPr txBox="1"/>
          <p:nvPr/>
        </p:nvSpPr>
        <p:spPr>
          <a:xfrm>
            <a:off x="669919" y="3291840"/>
            <a:ext cx="1866508" cy="1569660"/>
          </a:xfrm>
          <a:prstGeom prst="rect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algn="ctr"/>
            <a:r>
              <a:rPr lang="en-US" sz="2400"/>
              <a:t>ANN</a:t>
            </a:r>
          </a:p>
          <a:p>
            <a:pPr algn="ctr"/>
            <a:r>
              <a:rPr lang="en-US" sz="2400"/>
              <a:t>Regression</a:t>
            </a:r>
          </a:p>
          <a:p>
            <a:pPr algn="ctr"/>
            <a:r>
              <a:rPr lang="en-US" sz="2400"/>
              <a:t>Model</a:t>
            </a:r>
          </a:p>
          <a:p>
            <a:pPr algn="ctr"/>
            <a:r>
              <a:rPr lang="en-US" sz="2400"/>
              <a:t>Analysis</a:t>
            </a:r>
          </a:p>
        </p:txBody>
      </p:sp>
      <p:sp>
        <p:nvSpPr>
          <p:cNvPr id="11" name="文本框 4">
            <a:extLst>
              <a:ext uri="{FF2B5EF4-FFF2-40B4-BE49-F238E27FC236}">
                <a16:creationId xmlns:a16="http://schemas.microsoft.com/office/drawing/2014/main" id="{B6A5E57A-F3A2-4516-9092-A8C9A74F306F}"/>
              </a:ext>
            </a:extLst>
          </p:cNvPr>
          <p:cNvSpPr txBox="1"/>
          <p:nvPr/>
        </p:nvSpPr>
        <p:spPr>
          <a:xfrm>
            <a:off x="669924" y="1225296"/>
            <a:ext cx="10490199" cy="369332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zh-CN" altLang="en-US">
                <a:cs typeface="Arial"/>
              </a:rPr>
              <a:t>We also insert compound sentiment scores into this dataset for supervised data mining</a:t>
            </a:r>
            <a:r>
              <a:rPr lang="zh-CN" altLang="en-US">
                <a:latin typeface="+mj-lt"/>
                <a:cs typeface="Arial"/>
              </a:rPr>
              <a:t>.</a:t>
            </a:r>
          </a:p>
        </p:txBody>
      </p:sp>
      <p:pic>
        <p:nvPicPr>
          <p:cNvPr id="12" name="Picture 2" descr="Image result for youtube">
            <a:extLst>
              <a:ext uri="{FF2B5EF4-FFF2-40B4-BE49-F238E27FC236}">
                <a16:creationId xmlns:a16="http://schemas.microsoft.com/office/drawing/2014/main" id="{85504DB3-BB4F-45A7-9920-8CB02D4AF56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3274" b="32036"/>
          <a:stretch/>
        </p:blipFill>
        <p:spPr bwMode="auto">
          <a:xfrm>
            <a:off x="9848042" y="173712"/>
            <a:ext cx="1963881" cy="681276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66603539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43120E0-547A-4BA4-BB9A-06AA461D583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cs typeface="Arial"/>
              </a:rPr>
              <a:t>04. Word Clouds of Three Products</a:t>
            </a:r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C83025B-DB00-4135-A0BC-FC0C6A73411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Web Analytics Group Project</a:t>
            </a:r>
            <a:endParaRPr lang="zh-CN" alt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7481064-3FF0-4345-B484-35E4735C004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4</a:t>
            </a:fld>
            <a:endParaRPr lang="zh-CN" altLang="en-US"/>
          </a:p>
        </p:txBody>
      </p:sp>
      <p:pic>
        <p:nvPicPr>
          <p:cNvPr id="5" name="Picture 5" descr="A screenshot of a cell phone&#10;&#10;Description generated with very high confidence">
            <a:extLst>
              <a:ext uri="{FF2B5EF4-FFF2-40B4-BE49-F238E27FC236}">
                <a16:creationId xmlns:a16="http://schemas.microsoft.com/office/drawing/2014/main" id="{BCEB4BE1-1A67-463B-A5E6-3960FC056B98}"/>
              </a:ext>
            </a:extLst>
          </p:cNvPr>
          <p:cNvPicPr>
            <a:picLocks/>
          </p:cNvPicPr>
          <p:nvPr/>
        </p:nvPicPr>
        <p:blipFill rotWithShape="1">
          <a:blip r:embed="rId2"/>
          <a:srcRect l="11771" t="5374" r="13148" b="10877"/>
          <a:stretch/>
        </p:blipFill>
        <p:spPr>
          <a:xfrm>
            <a:off x="6340476" y="1183989"/>
            <a:ext cx="4114800" cy="2450592"/>
          </a:xfrm>
          <a:prstGeom prst="rect">
            <a:avLst/>
          </a:prstGeom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7" name="Picture 7" descr="A screenshot of a cell phone&#10;&#10;Description generated with very high confidence">
            <a:extLst>
              <a:ext uri="{FF2B5EF4-FFF2-40B4-BE49-F238E27FC236}">
                <a16:creationId xmlns:a16="http://schemas.microsoft.com/office/drawing/2014/main" id="{49E0D896-ED74-4F20-A423-75BC28EE13FA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1416" t="6584" r="10013" b="10113"/>
          <a:stretch/>
        </p:blipFill>
        <p:spPr>
          <a:xfrm>
            <a:off x="1736724" y="1186021"/>
            <a:ext cx="4114800" cy="2448560"/>
          </a:xfrm>
          <a:prstGeom prst="rect">
            <a:avLst/>
          </a:prstGeom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9" name="Picture 9" descr="A screenshot of a cell phone&#10;&#10;Description generated with very high confidence">
            <a:extLst>
              <a:ext uri="{FF2B5EF4-FFF2-40B4-BE49-F238E27FC236}">
                <a16:creationId xmlns:a16="http://schemas.microsoft.com/office/drawing/2014/main" id="{0E56ECB6-7523-427B-A38E-1F82F45CAEBE}"/>
              </a:ext>
            </a:extLst>
          </p:cNvPr>
          <p:cNvPicPr>
            <a:picLocks/>
          </p:cNvPicPr>
          <p:nvPr/>
        </p:nvPicPr>
        <p:blipFill rotWithShape="1">
          <a:blip r:embed="rId4"/>
          <a:srcRect l="11587" t="6008" r="14928" b="11947"/>
          <a:stretch/>
        </p:blipFill>
        <p:spPr>
          <a:xfrm>
            <a:off x="4037805" y="3789871"/>
            <a:ext cx="4114800" cy="2450592"/>
          </a:xfrm>
          <a:prstGeom prst="rect">
            <a:avLst/>
          </a:prstGeom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8" name="Picture 4" descr="Image result for twitter">
            <a:extLst>
              <a:ext uri="{FF2B5EF4-FFF2-40B4-BE49-F238E27FC236}">
                <a16:creationId xmlns:a16="http://schemas.microsoft.com/office/drawing/2014/main" id="{9E948DEB-06C6-49A7-A8CD-69202BF277B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824228" y="166220"/>
            <a:ext cx="696259" cy="696259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922554635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/>
              <a:t>04. RESULT – NS vs PS vs XBOX</a:t>
            </a:r>
            <a:endParaRPr lang="zh-CN" altLang="en-US"/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Web Analytics Group Project</a:t>
            </a:r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5</a:t>
            </a:fld>
            <a:endParaRPr lang="zh-CN" altLang="en-US"/>
          </a:p>
        </p:txBody>
      </p:sp>
      <p:graphicFrame>
        <p:nvGraphicFramePr>
          <p:cNvPr id="29" name="Table 28">
            <a:extLst>
              <a:ext uri="{FF2B5EF4-FFF2-40B4-BE49-F238E27FC236}">
                <a16:creationId xmlns:a16="http://schemas.microsoft.com/office/drawing/2014/main" id="{C3A101A0-1107-4B1D-93B7-B5AB788E9CC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70528351"/>
              </p:ext>
            </p:extLst>
          </p:nvPr>
        </p:nvGraphicFramePr>
        <p:xfrm>
          <a:off x="199166" y="1628056"/>
          <a:ext cx="11792078" cy="4225786"/>
        </p:xfrm>
        <a:graphic>
          <a:graphicData uri="http://schemas.openxmlformats.org/drawingml/2006/table">
            <a:tbl>
              <a:tblPr>
                <a:tableStyleId>{18603FDC-E32A-4AB5-989C-0864C3EAD2B8}</a:tableStyleId>
              </a:tblPr>
              <a:tblGrid>
                <a:gridCol w="1188945">
                  <a:extLst>
                    <a:ext uri="{9D8B030D-6E8A-4147-A177-3AD203B41FA5}">
                      <a16:colId xmlns:a16="http://schemas.microsoft.com/office/drawing/2014/main" val="1268443567"/>
                    </a:ext>
                  </a:extLst>
                </a:gridCol>
                <a:gridCol w="2222817">
                  <a:extLst>
                    <a:ext uri="{9D8B030D-6E8A-4147-A177-3AD203B41FA5}">
                      <a16:colId xmlns:a16="http://schemas.microsoft.com/office/drawing/2014/main" val="3682623959"/>
                    </a:ext>
                  </a:extLst>
                </a:gridCol>
                <a:gridCol w="1313491">
                  <a:extLst>
                    <a:ext uri="{9D8B030D-6E8A-4147-A177-3AD203B41FA5}">
                      <a16:colId xmlns:a16="http://schemas.microsoft.com/office/drawing/2014/main" val="4194894230"/>
                    </a:ext>
                  </a:extLst>
                </a:gridCol>
                <a:gridCol w="2221230">
                  <a:extLst>
                    <a:ext uri="{9D8B030D-6E8A-4147-A177-3AD203B41FA5}">
                      <a16:colId xmlns:a16="http://schemas.microsoft.com/office/drawing/2014/main" val="4146117173"/>
                    </a:ext>
                  </a:extLst>
                </a:gridCol>
                <a:gridCol w="1357220">
                  <a:extLst>
                    <a:ext uri="{9D8B030D-6E8A-4147-A177-3AD203B41FA5}">
                      <a16:colId xmlns:a16="http://schemas.microsoft.com/office/drawing/2014/main" val="1414657755"/>
                    </a:ext>
                  </a:extLst>
                </a:gridCol>
                <a:gridCol w="2130743">
                  <a:extLst>
                    <a:ext uri="{9D8B030D-6E8A-4147-A177-3AD203B41FA5}">
                      <a16:colId xmlns:a16="http://schemas.microsoft.com/office/drawing/2014/main" val="4244130321"/>
                    </a:ext>
                  </a:extLst>
                </a:gridCol>
                <a:gridCol w="1357632">
                  <a:extLst>
                    <a:ext uri="{9D8B030D-6E8A-4147-A177-3AD203B41FA5}">
                      <a16:colId xmlns:a16="http://schemas.microsoft.com/office/drawing/2014/main" val="1104346917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algn="ctr" fontAlgn="b"/>
                      <a:endParaRPr lang="en-US" sz="1600" u="none" strike="noStrike" dirty="0">
                        <a:solidFill>
                          <a:sysClr val="windowText" lastClr="000000"/>
                        </a:solidFill>
                        <a:effectLst/>
                        <a:latin typeface="+mj-lt"/>
                      </a:endParaRPr>
                    </a:p>
                  </a:txBody>
                  <a:tcPr marL="8685" marR="8685" marT="868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u="none" strike="noStrike" dirty="0"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+mj-lt"/>
                        </a:rPr>
                        <a:t>Nintendo Switch</a:t>
                      </a:r>
                    </a:p>
                  </a:txBody>
                  <a:tcPr marL="8685" marR="8685" marT="868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54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u="none" strike="noStrike" dirty="0"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+mj-lt"/>
                        </a:rPr>
                        <a:t>Word</a:t>
                      </a:r>
                    </a:p>
                    <a:p>
                      <a:pPr marL="0" marR="0" indent="0" algn="ctr" defTabSz="914354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u="none" strike="noStrike" dirty="0"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+mj-lt"/>
                        </a:rPr>
                        <a:t>Frequency </a:t>
                      </a:r>
                    </a:p>
                  </a:txBody>
                  <a:tcPr marL="8685" marR="8685" marT="868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u="none" strike="noStrike" dirty="0"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+mj-lt"/>
                        </a:rPr>
                        <a:t>PlayStation</a:t>
                      </a:r>
                    </a:p>
                  </a:txBody>
                  <a:tcPr marL="8685" marR="8685" marT="868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60A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54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u="none" strike="noStrike" dirty="0"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+mj-lt"/>
                        </a:rPr>
                        <a:t>Word</a:t>
                      </a:r>
                    </a:p>
                    <a:p>
                      <a:pPr marL="0" marR="0" indent="0" algn="ctr" defTabSz="914354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u="none" strike="noStrike" dirty="0"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+mj-lt"/>
                        </a:rPr>
                        <a:t>Frequency </a:t>
                      </a:r>
                    </a:p>
                  </a:txBody>
                  <a:tcPr marL="8685" marR="8685" marT="868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60A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u="none" strike="noStrike" dirty="0"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+mj-lt"/>
                        </a:rPr>
                        <a:t>Xbox</a:t>
                      </a:r>
                    </a:p>
                  </a:txBody>
                  <a:tcPr marL="8685" marR="8685" marT="868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54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u="none" strike="noStrike" dirty="0"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+mj-lt"/>
                        </a:rPr>
                        <a:t>Word</a:t>
                      </a:r>
                    </a:p>
                    <a:p>
                      <a:pPr marL="0" marR="0" indent="0" algn="ctr" defTabSz="914354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u="none" strike="noStrike" dirty="0"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+mj-lt"/>
                        </a:rPr>
                        <a:t>Frequency </a:t>
                      </a:r>
                    </a:p>
                  </a:txBody>
                  <a:tcPr marL="8685" marR="8685" marT="868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80287142"/>
                  </a:ext>
                </a:extLst>
              </a:tr>
              <a:tr h="553259"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u="none" strike="noStrike" dirty="0"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+mj-lt"/>
                        </a:rPr>
                        <a:t>Controller</a:t>
                      </a:r>
                    </a:p>
                  </a:txBody>
                  <a:tcPr marL="8685" marR="8685" marT="868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54" rtl="0" eaLnBrk="1" fontAlgn="b" latinLnBrk="0" hangingPunct="1">
                        <a:spcAft>
                          <a:spcPts val="0"/>
                        </a:spcAft>
                      </a:pPr>
                      <a:r>
                        <a:rPr lang="en-US" sz="1600" u="none" strike="noStrike" kern="1200" dirty="0">
                          <a:solidFill>
                            <a:schemeClr val="lt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delay-592 -46.83%</a:t>
                      </a:r>
                    </a:p>
                    <a:p>
                      <a:pPr marL="0" algn="ctr" defTabSz="914354" rtl="0" eaLnBrk="1" fontAlgn="b" latinLnBrk="0" hangingPunct="1">
                        <a:spcAft>
                          <a:spcPts val="0"/>
                        </a:spcAft>
                      </a:pPr>
                      <a:r>
                        <a:rPr lang="en-US" sz="1600" u="none" strike="noStrike" kern="1200" dirty="0">
                          <a:solidFill>
                            <a:schemeClr val="lt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8bitdo-182-14.40%</a:t>
                      </a:r>
                    </a:p>
                    <a:p>
                      <a:pPr marL="0" algn="ctr" defTabSz="914354" rtl="0" eaLnBrk="1" fontAlgn="b" latinLnBrk="0" hangingPunct="1">
                        <a:spcAft>
                          <a:spcPts val="0"/>
                        </a:spcAft>
                      </a:pPr>
                      <a:r>
                        <a:rPr lang="en-US" sz="1600" u="none" strike="noStrike" kern="1200" dirty="0">
                          <a:solidFill>
                            <a:schemeClr val="lt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small-38-3.00%</a:t>
                      </a:r>
                    </a:p>
                  </a:txBody>
                  <a:tcPr marL="8890" marR="8890" marT="889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54" rtl="0" eaLnBrk="1" fontAlgn="b" latinLnBrk="0" hangingPunct="1">
                        <a:spcAft>
                          <a:spcPts val="0"/>
                        </a:spcAft>
                      </a:pPr>
                      <a:r>
                        <a:rPr lang="en-US" sz="1600" u="none" strike="noStrike" kern="1200" dirty="0">
                          <a:solidFill>
                            <a:schemeClr val="lt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1264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54" rtl="0" eaLnBrk="1" fontAlgn="b" latinLnBrk="0" hangingPunct="1">
                        <a:spcAft>
                          <a:spcPts val="0"/>
                        </a:spcAft>
                      </a:pPr>
                      <a:r>
                        <a:rPr lang="en-US" sz="1600" u="none" strike="noStrike" kern="1200" dirty="0">
                          <a:solidFill>
                            <a:schemeClr val="lt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light-35 -1.71% </a:t>
                      </a:r>
                    </a:p>
                    <a:p>
                      <a:pPr marL="0" algn="ctr" defTabSz="914354" rtl="0" eaLnBrk="1" fontAlgn="b" latinLnBrk="0" hangingPunct="1">
                        <a:spcAft>
                          <a:spcPts val="0"/>
                        </a:spcAft>
                      </a:pPr>
                      <a:r>
                        <a:rPr lang="en-US" sz="1600" u="none" strike="noStrike" kern="1200" dirty="0">
                          <a:solidFill>
                            <a:schemeClr val="lt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botton-19 -0.93% </a:t>
                      </a:r>
                    </a:p>
                    <a:p>
                      <a:pPr marL="0" algn="ctr" defTabSz="914354" rtl="0" eaLnBrk="1" fontAlgn="b" latinLnBrk="0" hangingPunct="1">
                        <a:spcAft>
                          <a:spcPts val="0"/>
                        </a:spcAft>
                      </a:pPr>
                      <a:r>
                        <a:rPr lang="en-US" sz="1600" u="none" strike="noStrike" kern="1200" dirty="0">
                          <a:solidFill>
                            <a:schemeClr val="lt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keypad-14-0.68%</a:t>
                      </a:r>
                    </a:p>
                  </a:txBody>
                  <a:tcPr marL="8890" marR="8890" marT="889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60A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54" rtl="0" eaLnBrk="1" fontAlgn="b" latinLnBrk="0" hangingPunct="1">
                        <a:spcAft>
                          <a:spcPts val="0"/>
                        </a:spcAft>
                      </a:pPr>
                      <a:r>
                        <a:rPr lang="en-US" sz="1600" u="none" strike="noStrike" kern="1200" dirty="0">
                          <a:solidFill>
                            <a:schemeClr val="lt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2044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60A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54" rtl="0" eaLnBrk="1" fontAlgn="b" latinLnBrk="0" hangingPunct="1">
                        <a:spcAft>
                          <a:spcPts val="0"/>
                        </a:spcAft>
                      </a:pPr>
                      <a:r>
                        <a:rPr lang="en-US" sz="1600" u="none" strike="noStrike" kern="1200" dirty="0">
                          <a:solidFill>
                            <a:schemeClr val="lt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handheld-287- 7.56% </a:t>
                      </a:r>
                    </a:p>
                    <a:p>
                      <a:pPr marL="0" algn="ctr" defTabSz="914354" rtl="0" eaLnBrk="1" fontAlgn="b" latinLnBrk="0" hangingPunct="1">
                        <a:spcAft>
                          <a:spcPts val="0"/>
                        </a:spcAft>
                      </a:pPr>
                      <a:r>
                        <a:rPr lang="en-US" sz="1600" u="none" strike="noStrike" kern="1200" dirty="0">
                          <a:solidFill>
                            <a:schemeClr val="lt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wireless-204-5.37% </a:t>
                      </a:r>
                    </a:p>
                    <a:p>
                      <a:pPr marL="0" algn="ctr" defTabSz="914354" rtl="0" eaLnBrk="1" fontAlgn="b" latinLnBrk="0" hangingPunct="1">
                        <a:spcAft>
                          <a:spcPts val="0"/>
                        </a:spcAft>
                      </a:pPr>
                      <a:r>
                        <a:rPr lang="en-US" sz="1600" u="none" strike="noStrike" kern="1200" dirty="0">
                          <a:solidFill>
                            <a:schemeClr val="lt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adaptive-59 -1.55%</a:t>
                      </a:r>
                    </a:p>
                  </a:txBody>
                  <a:tcPr marL="8890" marR="8890" marT="889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54" rtl="0" eaLnBrk="1" fontAlgn="b" latinLnBrk="0" hangingPunct="1">
                        <a:spcAft>
                          <a:spcPts val="0"/>
                        </a:spcAft>
                      </a:pPr>
                      <a:r>
                        <a:rPr lang="en-US" sz="1600" u="none" strike="noStrike" kern="1200" dirty="0">
                          <a:solidFill>
                            <a:schemeClr val="lt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3798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4865359"/>
                  </a:ext>
                </a:extLst>
              </a:tr>
              <a:tr h="898591"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u="none" strike="noStrike" dirty="0"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+mj-lt"/>
                        </a:rPr>
                        <a:t>Games</a:t>
                      </a:r>
                    </a:p>
                  </a:txBody>
                  <a:tcPr marL="8685" marR="8685" marT="868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54" rtl="0" eaLnBrk="1" fontAlgn="b" latinLnBrk="0" hangingPunct="1">
                        <a:spcAft>
                          <a:spcPts val="0"/>
                        </a:spcAft>
                      </a:pPr>
                      <a:r>
                        <a:rPr lang="en-US" sz="1600" u="none" strike="noStrike" kern="1200">
                          <a:solidFill>
                            <a:schemeClr val="lt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YouTube-200-4.97%  </a:t>
                      </a:r>
                    </a:p>
                    <a:p>
                      <a:pPr marL="0" algn="ctr" defTabSz="914354" rtl="0" eaLnBrk="1" fontAlgn="b" latinLnBrk="0" hangingPunct="1">
                        <a:spcAft>
                          <a:spcPts val="0"/>
                        </a:spcAft>
                      </a:pPr>
                      <a:r>
                        <a:rPr lang="en-US" sz="1600" u="none" strike="noStrike" kern="1200">
                          <a:solidFill>
                            <a:schemeClr val="lt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smash-180 -4.47%</a:t>
                      </a:r>
                    </a:p>
                    <a:p>
                      <a:pPr marL="0" algn="ctr" defTabSz="914354" rtl="0" eaLnBrk="1" fontAlgn="b" latinLnBrk="0" hangingPunct="1">
                        <a:spcAft>
                          <a:spcPts val="0"/>
                        </a:spcAft>
                      </a:pPr>
                      <a:r>
                        <a:rPr lang="en-US" sz="1600" u="none" strike="noStrike" kern="1200">
                          <a:solidFill>
                            <a:schemeClr val="lt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community-155-3.85%  </a:t>
                      </a:r>
                    </a:p>
                  </a:txBody>
                  <a:tcPr marL="8890" marR="8890" marT="889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54" rtl="0" eaLnBrk="1" fontAlgn="b" latinLnBrk="0" hangingPunct="1">
                        <a:spcAft>
                          <a:spcPts val="0"/>
                        </a:spcAft>
                      </a:pPr>
                      <a:r>
                        <a:rPr lang="en-US" sz="1600" u="none" strike="noStrike" kern="1200" dirty="0">
                          <a:solidFill>
                            <a:schemeClr val="lt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4024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54" rtl="0" eaLnBrk="1" fontAlgn="b" latinLnBrk="0" hangingPunct="1">
                        <a:spcAft>
                          <a:spcPts val="0"/>
                        </a:spcAft>
                      </a:pPr>
                      <a:r>
                        <a:rPr lang="en-US" sz="1600" u="none" strike="noStrike" kern="1200" dirty="0">
                          <a:solidFill>
                            <a:schemeClr val="lt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year-144 -6.38%</a:t>
                      </a:r>
                    </a:p>
                    <a:p>
                      <a:pPr marL="0" algn="ctr" defTabSz="914354" rtl="0" eaLnBrk="1" fontAlgn="b" latinLnBrk="0" hangingPunct="1">
                        <a:spcAft>
                          <a:spcPts val="0"/>
                        </a:spcAft>
                      </a:pPr>
                      <a:r>
                        <a:rPr lang="en-US" sz="1600" u="none" strike="noStrike" kern="1200" dirty="0">
                          <a:solidFill>
                            <a:schemeClr val="lt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official-99-4.38%  </a:t>
                      </a:r>
                    </a:p>
                    <a:p>
                      <a:pPr marL="0" algn="ctr" defTabSz="914354" rtl="0" eaLnBrk="1" fontAlgn="b" latinLnBrk="0" hangingPunct="1">
                        <a:spcAft>
                          <a:spcPts val="0"/>
                        </a:spcAft>
                      </a:pPr>
                      <a:r>
                        <a:rPr lang="en-US" sz="1600" u="none" strike="noStrike" kern="1200" dirty="0">
                          <a:solidFill>
                            <a:schemeClr val="lt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bundle-36-1.59%</a:t>
                      </a:r>
                    </a:p>
                  </a:txBody>
                  <a:tcPr marL="8890" marR="8890" marT="889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60A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54" rtl="0" eaLnBrk="1" fontAlgn="b" latinLnBrk="0" hangingPunct="1">
                        <a:spcAft>
                          <a:spcPts val="0"/>
                        </a:spcAft>
                      </a:pPr>
                      <a:r>
                        <a:rPr lang="en-US" sz="1600" u="none" strike="noStrike" kern="1200" dirty="0">
                          <a:solidFill>
                            <a:schemeClr val="lt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2258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60A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54" rtl="0" eaLnBrk="1" fontAlgn="b" latinLnBrk="0" hangingPunct="1">
                        <a:spcAft>
                          <a:spcPts val="0"/>
                        </a:spcAft>
                      </a:pPr>
                      <a:r>
                        <a:rPr lang="en-US" sz="1600" u="none" strike="noStrike" kern="1200">
                          <a:solidFill>
                            <a:schemeClr val="lt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free-34-2.32%  </a:t>
                      </a:r>
                    </a:p>
                    <a:p>
                      <a:pPr marL="0" algn="ctr" defTabSz="914354" rtl="0" eaLnBrk="1" fontAlgn="b" latinLnBrk="0" hangingPunct="1">
                        <a:spcAft>
                          <a:spcPts val="0"/>
                        </a:spcAft>
                      </a:pPr>
                      <a:r>
                        <a:rPr lang="en-US" sz="1600" u="none" strike="noStrike" kern="1200">
                          <a:solidFill>
                            <a:schemeClr val="lt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membership-34-2.32%</a:t>
                      </a:r>
                    </a:p>
                  </a:txBody>
                  <a:tcPr marL="8890" marR="8890" marT="889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54" rtl="0" eaLnBrk="1" fontAlgn="b" latinLnBrk="0" hangingPunct="1">
                        <a:spcAft>
                          <a:spcPts val="0"/>
                        </a:spcAft>
                      </a:pPr>
                      <a:r>
                        <a:rPr lang="en-US" sz="1600" u="none" strike="noStrike" kern="1200" dirty="0">
                          <a:solidFill>
                            <a:schemeClr val="lt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1464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22566799"/>
                  </a:ext>
                </a:extLst>
              </a:tr>
              <a:tr h="898591"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u="none" strike="noStrike" dirty="0"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+mj-lt"/>
                        </a:rPr>
                        <a:t>Price</a:t>
                      </a:r>
                    </a:p>
                  </a:txBody>
                  <a:tcPr marL="8685" marR="8685" marT="868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54" rtl="0" eaLnBrk="1" fontAlgn="b" latinLnBrk="0" hangingPunct="1">
                        <a:spcAft>
                          <a:spcPts val="0"/>
                        </a:spcAft>
                      </a:pPr>
                      <a:r>
                        <a:rPr lang="en-US" sz="1600" u="none" strike="noStrike" kern="1200">
                          <a:solidFill>
                            <a:schemeClr val="lt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lite-452-11.79%</a:t>
                      </a:r>
                    </a:p>
                    <a:p>
                      <a:pPr marL="0" algn="ctr" defTabSz="914354" rtl="0" eaLnBrk="1" fontAlgn="b" latinLnBrk="0" hangingPunct="1">
                        <a:spcAft>
                          <a:spcPts val="0"/>
                        </a:spcAft>
                      </a:pPr>
                      <a:r>
                        <a:rPr lang="en-US" sz="1600" u="none" strike="noStrike" kern="1200">
                          <a:solidFill>
                            <a:schemeClr val="lt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holiday-358-9.33% </a:t>
                      </a:r>
                    </a:p>
                    <a:p>
                      <a:pPr marL="0" algn="ctr" defTabSz="914354" rtl="0" eaLnBrk="1" fontAlgn="b" latinLnBrk="0" hangingPunct="1">
                        <a:spcAft>
                          <a:spcPts val="0"/>
                        </a:spcAft>
                      </a:pPr>
                      <a:r>
                        <a:rPr lang="en-US" sz="1600" u="none" strike="noStrike" kern="1200">
                          <a:solidFill>
                            <a:schemeClr val="lt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mobile-209-5.45%</a:t>
                      </a:r>
                    </a:p>
                  </a:txBody>
                  <a:tcPr marL="8890" marR="8890" marT="889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54" rtl="0" eaLnBrk="1" fontAlgn="b" latinLnBrk="0" hangingPunct="1">
                        <a:spcAft>
                          <a:spcPts val="0"/>
                        </a:spcAft>
                      </a:pPr>
                      <a:r>
                        <a:rPr lang="en-US" sz="1600" u="none" strike="noStrike" kern="1200" dirty="0">
                          <a:solidFill>
                            <a:schemeClr val="lt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3834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54" rtl="0" eaLnBrk="1" fontAlgn="b" latinLnBrk="0" hangingPunct="1">
                        <a:spcAft>
                          <a:spcPts val="0"/>
                        </a:spcAft>
                      </a:pPr>
                      <a:r>
                        <a:rPr lang="en-US" sz="1600" u="none" strike="noStrike" kern="1200">
                          <a:solidFill>
                            <a:schemeClr val="lt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ebay-892-16.48%  </a:t>
                      </a:r>
                    </a:p>
                    <a:p>
                      <a:pPr marL="0" algn="ctr" defTabSz="914354" rtl="0" eaLnBrk="1" fontAlgn="b" latinLnBrk="0" hangingPunct="1">
                        <a:spcAft>
                          <a:spcPts val="0"/>
                        </a:spcAft>
                      </a:pPr>
                      <a:r>
                        <a:rPr lang="en-US" sz="1600" u="none" strike="noStrike" kern="1200">
                          <a:solidFill>
                            <a:schemeClr val="lt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used-321 -5.93% </a:t>
                      </a:r>
                    </a:p>
                    <a:p>
                      <a:pPr marL="0" algn="ctr" defTabSz="914354" rtl="0" eaLnBrk="1" fontAlgn="b" latinLnBrk="0" hangingPunct="1">
                        <a:spcAft>
                          <a:spcPts val="0"/>
                        </a:spcAft>
                      </a:pPr>
                      <a:r>
                        <a:rPr lang="en-US" sz="1600" u="none" strike="noStrike" kern="1200">
                          <a:solidFill>
                            <a:schemeClr val="lt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holiday-212-3.92% </a:t>
                      </a:r>
                    </a:p>
                    <a:p>
                      <a:pPr marL="0" algn="ctr" defTabSz="914354" rtl="0" eaLnBrk="1" fontAlgn="b" latinLnBrk="0" hangingPunct="1">
                        <a:spcAft>
                          <a:spcPts val="0"/>
                        </a:spcAft>
                      </a:pPr>
                      <a:r>
                        <a:rPr lang="en-US" sz="1600" u="none" strike="noStrike" kern="1200">
                          <a:solidFill>
                            <a:schemeClr val="lt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season-209-3.86%</a:t>
                      </a:r>
                    </a:p>
                  </a:txBody>
                  <a:tcPr marL="8890" marR="8890" marT="889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60A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54" rtl="0" eaLnBrk="1" fontAlgn="b" latinLnBrk="0" hangingPunct="1">
                        <a:spcAft>
                          <a:spcPts val="0"/>
                        </a:spcAft>
                      </a:pPr>
                      <a:r>
                        <a:rPr lang="en-US" sz="1600" u="none" strike="noStrike" kern="1200" dirty="0">
                          <a:solidFill>
                            <a:schemeClr val="lt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5413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60A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54" rtl="0" eaLnBrk="1" fontAlgn="b" latinLnBrk="0" hangingPunct="1">
                        <a:spcAft>
                          <a:spcPts val="0"/>
                        </a:spcAft>
                      </a:pPr>
                      <a:r>
                        <a:rPr lang="en-US" sz="1600" u="none" strike="noStrike" kern="1200" dirty="0">
                          <a:solidFill>
                            <a:schemeClr val="lt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ebay-428-15.83% </a:t>
                      </a:r>
                    </a:p>
                    <a:p>
                      <a:pPr marL="0" algn="ctr" defTabSz="914354" rtl="0" eaLnBrk="1" fontAlgn="b" latinLnBrk="0" hangingPunct="1">
                        <a:spcAft>
                          <a:spcPts val="0"/>
                        </a:spcAft>
                      </a:pPr>
                      <a:r>
                        <a:rPr lang="en-US" sz="1600" u="none" strike="noStrike" kern="1200" dirty="0">
                          <a:solidFill>
                            <a:schemeClr val="lt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used-139-5.14%  </a:t>
                      </a:r>
                    </a:p>
                    <a:p>
                      <a:pPr marL="0" algn="ctr" defTabSz="914354" rtl="0" eaLnBrk="1" fontAlgn="b" latinLnBrk="0" hangingPunct="1">
                        <a:spcAft>
                          <a:spcPts val="0"/>
                        </a:spcAft>
                      </a:pPr>
                      <a:r>
                        <a:rPr lang="en-US" sz="1600" u="none" strike="noStrike" kern="1200" dirty="0">
                          <a:solidFill>
                            <a:schemeClr val="lt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bundle-86-3.18%</a:t>
                      </a:r>
                    </a:p>
                  </a:txBody>
                  <a:tcPr marL="8890" marR="8890" marT="889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54" rtl="0" eaLnBrk="1" fontAlgn="b" latinLnBrk="0" hangingPunct="1">
                        <a:spcAft>
                          <a:spcPts val="0"/>
                        </a:spcAft>
                      </a:pPr>
                      <a:r>
                        <a:rPr lang="en-US" sz="1600" u="none" strike="noStrike" kern="1200" dirty="0">
                          <a:solidFill>
                            <a:schemeClr val="lt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2704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31492395"/>
                  </a:ext>
                </a:extLst>
              </a:tr>
              <a:tr h="898589"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2000" u="none" strike="noStrike"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+mj-lt"/>
                        </a:rPr>
                        <a:t>Graphics</a:t>
                      </a:r>
                      <a:endParaRPr lang="en-US">
                        <a:solidFill>
                          <a:schemeClr val="tx1"/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+mj-lt"/>
                      </a:endParaRPr>
                    </a:p>
                  </a:txBody>
                  <a:tcPr marL="8685" marR="8685" marT="868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54" rtl="0" eaLnBrk="1" fontAlgn="b" latinLnBrk="0" hangingPunct="1">
                        <a:spcAft>
                          <a:spcPts val="0"/>
                        </a:spcAft>
                      </a:pPr>
                      <a:r>
                        <a:rPr lang="en-US" sz="1600" u="none" strike="noStrike" kern="1200">
                          <a:solidFill>
                            <a:schemeClr val="lt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brilliant-18-9,57%</a:t>
                      </a:r>
                    </a:p>
                    <a:p>
                      <a:pPr marL="0" algn="ctr" defTabSz="914354" rtl="0" eaLnBrk="1" fontAlgn="b" latinLnBrk="0" hangingPunct="1">
                        <a:spcAft>
                          <a:spcPts val="0"/>
                        </a:spcAft>
                      </a:pPr>
                      <a:r>
                        <a:rPr lang="en-US" sz="1600" u="none" strike="noStrike" kern="1200">
                          <a:solidFill>
                            <a:schemeClr val="lt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good-9-4.79%</a:t>
                      </a:r>
                    </a:p>
                    <a:p>
                      <a:pPr marL="0" algn="ctr" defTabSz="914354" rtl="0" eaLnBrk="1" fontAlgn="b" latinLnBrk="0" hangingPunct="1">
                        <a:spcAft>
                          <a:spcPts val="0"/>
                        </a:spcAft>
                      </a:pPr>
                      <a:r>
                        <a:rPr lang="en-US" sz="1600" u="none" strike="noStrike" kern="1200">
                          <a:solidFill>
                            <a:schemeClr val="lt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cutting-edge-8-4.26%</a:t>
                      </a:r>
                    </a:p>
                  </a:txBody>
                  <a:tcPr marL="8890" marR="8890" marT="889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54" rtl="0" eaLnBrk="1" fontAlgn="b" latinLnBrk="0" hangingPunct="1">
                        <a:spcAft>
                          <a:spcPts val="0"/>
                        </a:spcAft>
                      </a:pPr>
                      <a:r>
                        <a:rPr lang="en-US" sz="1600" u="none" strike="noStrike" kern="1200" dirty="0">
                          <a:solidFill>
                            <a:schemeClr val="lt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188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54" rtl="0" eaLnBrk="1" fontAlgn="b" latinLnBrk="0" hangingPunct="1">
                        <a:spcAft>
                          <a:spcPts val="0"/>
                        </a:spcAft>
                      </a:pPr>
                      <a:r>
                        <a:rPr lang="en-US" sz="1600" u="none" strike="noStrike" kern="1200" dirty="0">
                          <a:solidFill>
                            <a:schemeClr val="lt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reality-22 -7.56% </a:t>
                      </a:r>
                    </a:p>
                    <a:p>
                      <a:pPr marL="0" algn="ctr" defTabSz="914354" rtl="0" eaLnBrk="1" fontAlgn="b" latinLnBrk="0" hangingPunct="1">
                        <a:spcAft>
                          <a:spcPts val="0"/>
                        </a:spcAft>
                      </a:pPr>
                      <a:r>
                        <a:rPr lang="en-US" sz="1600" u="none" strike="noStrike" kern="1200" dirty="0">
                          <a:solidFill>
                            <a:schemeClr val="lt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worst-22-7.56%  </a:t>
                      </a:r>
                    </a:p>
                    <a:p>
                      <a:pPr marL="0" algn="ctr" defTabSz="914354" rtl="0" eaLnBrk="1" fontAlgn="b" latinLnBrk="0" hangingPunct="1">
                        <a:spcAft>
                          <a:spcPts val="0"/>
                        </a:spcAft>
                      </a:pPr>
                      <a:r>
                        <a:rPr lang="en-US" sz="1600" u="none" strike="noStrike" kern="1200" dirty="0">
                          <a:solidFill>
                            <a:schemeClr val="lt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self-esteem-22-7.56% </a:t>
                      </a:r>
                    </a:p>
                    <a:p>
                      <a:pPr marL="0" algn="ctr" defTabSz="914354" rtl="0" eaLnBrk="1" fontAlgn="b" latinLnBrk="0" hangingPunct="1">
                        <a:spcAft>
                          <a:spcPts val="0"/>
                        </a:spcAft>
                      </a:pPr>
                      <a:r>
                        <a:rPr lang="en-US" sz="1600" u="none" strike="noStrike" kern="1200" dirty="0">
                          <a:solidFill>
                            <a:schemeClr val="lt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self-confident-22-7.56%</a:t>
                      </a:r>
                    </a:p>
                  </a:txBody>
                  <a:tcPr marL="8890" marR="8890" marT="889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60A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54" rtl="0" eaLnBrk="1" fontAlgn="b" latinLnBrk="0" hangingPunct="1">
                        <a:spcAft>
                          <a:spcPts val="0"/>
                        </a:spcAft>
                      </a:pPr>
                      <a:r>
                        <a:rPr lang="en-US" sz="1600" u="none" strike="noStrike" kern="1200" dirty="0">
                          <a:solidFill>
                            <a:schemeClr val="lt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29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60A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54" rtl="0" eaLnBrk="1" fontAlgn="b" latinLnBrk="0" hangingPunct="1">
                        <a:spcAft>
                          <a:spcPts val="0"/>
                        </a:spcAft>
                      </a:pPr>
                      <a:r>
                        <a:rPr lang="en-US" sz="1600" u="none" strike="noStrike" kern="1200" dirty="0">
                          <a:solidFill>
                            <a:schemeClr val="lt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original-193.66% </a:t>
                      </a:r>
                    </a:p>
                    <a:p>
                      <a:pPr marL="0" algn="ctr" defTabSz="914354" rtl="0" eaLnBrk="1" fontAlgn="b" latinLnBrk="0" hangingPunct="1">
                        <a:spcAft>
                          <a:spcPts val="0"/>
                        </a:spcAft>
                      </a:pPr>
                      <a:r>
                        <a:rPr lang="en-US" sz="1600" u="none" strike="noStrike" kern="1200" dirty="0">
                          <a:solidFill>
                            <a:schemeClr val="lt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battery-173.28%  </a:t>
                      </a:r>
                    </a:p>
                    <a:p>
                      <a:pPr marL="0" algn="ctr" defTabSz="914354" rtl="0" eaLnBrk="1" fontAlgn="b" latinLnBrk="0" hangingPunct="1">
                        <a:spcAft>
                          <a:spcPts val="0"/>
                        </a:spcAft>
                      </a:pPr>
                      <a:r>
                        <a:rPr lang="en-US" sz="1600" u="none" strike="noStrike" kern="1200" dirty="0">
                          <a:solidFill>
                            <a:schemeClr val="lt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amaze-13-2.50%</a:t>
                      </a:r>
                    </a:p>
                  </a:txBody>
                  <a:tcPr marL="8890" marR="8890" marT="889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54" rtl="0" eaLnBrk="1" fontAlgn="b" latinLnBrk="0" hangingPunct="1">
                        <a:spcAft>
                          <a:spcPts val="0"/>
                        </a:spcAft>
                      </a:pPr>
                      <a:r>
                        <a:rPr lang="en-US" sz="1600" u="none" strike="noStrike" kern="1200" dirty="0">
                          <a:solidFill>
                            <a:schemeClr val="lt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519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99116494"/>
                  </a:ext>
                </a:extLst>
              </a:tr>
            </a:tbl>
          </a:graphicData>
        </a:graphic>
      </p:graphicFrame>
      <p:pic>
        <p:nvPicPr>
          <p:cNvPr id="6" name="Picture 4" descr="Image result for twitter">
            <a:extLst>
              <a:ext uri="{FF2B5EF4-FFF2-40B4-BE49-F238E27FC236}">
                <a16:creationId xmlns:a16="http://schemas.microsoft.com/office/drawing/2014/main" id="{56FBC730-2D86-4095-8031-1150CAB379B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824228" y="166220"/>
            <a:ext cx="696259" cy="696259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437154966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5A1FAC9-06FD-4FEB-8D66-25F36DFF3FF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04. Twitter Location Heat Map in US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7DC25A5-6A75-4B95-889F-681A809EF69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Web Analytics Group Project</a:t>
            </a:r>
            <a:endParaRPr lang="zh-CN" alt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399C1F4-EE20-4867-ABEF-CBB695B0D82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6</a:t>
            </a:fld>
            <a:endParaRPr lang="zh-CN" altLang="en-US"/>
          </a:p>
        </p:txBody>
      </p:sp>
      <p:pic>
        <p:nvPicPr>
          <p:cNvPr id="6" name="Picture 5" descr="A picture containing toy, black&#10;&#10;Description automatically generated">
            <a:extLst>
              <a:ext uri="{FF2B5EF4-FFF2-40B4-BE49-F238E27FC236}">
                <a16:creationId xmlns:a16="http://schemas.microsoft.com/office/drawing/2014/main" id="{594D32AF-B534-493D-BA33-91438DCAC3F8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300" t="19796" r="16422" b="8937"/>
          <a:stretch/>
        </p:blipFill>
        <p:spPr>
          <a:xfrm>
            <a:off x="3525625" y="1273722"/>
            <a:ext cx="7994862" cy="4721718"/>
          </a:xfrm>
          <a:prstGeom prst="rect">
            <a:avLst/>
          </a:prstGeom>
        </p:spPr>
      </p:pic>
      <p:pic>
        <p:nvPicPr>
          <p:cNvPr id="7" name="Picture 4" descr="Image result for twitter">
            <a:extLst>
              <a:ext uri="{FF2B5EF4-FFF2-40B4-BE49-F238E27FC236}">
                <a16:creationId xmlns:a16="http://schemas.microsoft.com/office/drawing/2014/main" id="{AAD750CA-F84E-4D85-98CB-47E761ACC65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824228" y="166220"/>
            <a:ext cx="696259" cy="696259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868EB9BD-7C15-4058-ACAF-3648CE581055}"/>
              </a:ext>
            </a:extLst>
          </p:cNvPr>
          <p:cNvSpPr txBox="1"/>
          <p:nvPr/>
        </p:nvSpPr>
        <p:spPr>
          <a:xfrm>
            <a:off x="669924" y="1273722"/>
            <a:ext cx="1584960" cy="17030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b="1"/>
              <a:t>Rankings</a:t>
            </a:r>
          </a:p>
          <a:p>
            <a:pPr marL="342900" indent="-342900">
              <a:lnSpc>
                <a:spcPct val="150000"/>
              </a:lnSpc>
              <a:buAutoNum type="arabicPeriod"/>
            </a:pPr>
            <a:r>
              <a:rPr lang="en-US" b="1"/>
              <a:t>CA</a:t>
            </a:r>
          </a:p>
          <a:p>
            <a:pPr marL="342900" indent="-342900">
              <a:lnSpc>
                <a:spcPct val="150000"/>
              </a:lnSpc>
              <a:buAutoNum type="arabicPeriod"/>
            </a:pPr>
            <a:r>
              <a:rPr lang="en-US" b="1"/>
              <a:t>NY</a:t>
            </a:r>
          </a:p>
          <a:p>
            <a:pPr marL="342900" indent="-342900">
              <a:lnSpc>
                <a:spcPct val="150000"/>
              </a:lnSpc>
              <a:buAutoNum type="arabicPeriod"/>
            </a:pPr>
            <a:r>
              <a:rPr lang="en-US" b="1"/>
              <a:t>TX, FL</a:t>
            </a:r>
          </a:p>
        </p:txBody>
      </p:sp>
    </p:spTree>
    <p:extLst>
      <p:ext uri="{BB962C8B-B14F-4D97-AF65-F5344CB8AC3E}">
        <p14:creationId xmlns:p14="http://schemas.microsoft.com/office/powerpoint/2010/main" val="2767923759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5A1FAC9-06FD-4FEB-8D66-25F36DFF3FF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04. Twitter Location Heat Map Worldwid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7DC25A5-6A75-4B95-889F-681A809EF69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Web Analytics Group Project</a:t>
            </a:r>
            <a:endParaRPr lang="zh-CN" alt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399C1F4-EE20-4867-ABEF-CBB695B0D82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7</a:t>
            </a:fld>
            <a:endParaRPr lang="zh-CN" altLang="en-US"/>
          </a:p>
        </p:txBody>
      </p:sp>
      <p:pic>
        <p:nvPicPr>
          <p:cNvPr id="7" name="Picture 6" descr="A picture containing map, food&#10;&#10;Description automatically generated">
            <a:extLst>
              <a:ext uri="{FF2B5EF4-FFF2-40B4-BE49-F238E27FC236}">
                <a16:creationId xmlns:a16="http://schemas.microsoft.com/office/drawing/2014/main" id="{52770A20-D9E2-46AD-8321-2B8102836FA9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898" r="10883" b="3884"/>
          <a:stretch/>
        </p:blipFill>
        <p:spPr>
          <a:xfrm>
            <a:off x="3532700" y="1275429"/>
            <a:ext cx="7987787" cy="4718304"/>
          </a:xfrm>
          <a:prstGeom prst="rect">
            <a:avLst/>
          </a:prstGeom>
        </p:spPr>
      </p:pic>
      <p:pic>
        <p:nvPicPr>
          <p:cNvPr id="8" name="Picture 4" descr="Image result for twitter">
            <a:extLst>
              <a:ext uri="{FF2B5EF4-FFF2-40B4-BE49-F238E27FC236}">
                <a16:creationId xmlns:a16="http://schemas.microsoft.com/office/drawing/2014/main" id="{04AD5A6D-2498-4E06-928B-801329840E4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824228" y="166220"/>
            <a:ext cx="696259" cy="696259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89A52FC6-E3D8-48C3-B008-F70DD3048851}"/>
              </a:ext>
            </a:extLst>
          </p:cNvPr>
          <p:cNvSpPr txBox="1"/>
          <p:nvPr/>
        </p:nvSpPr>
        <p:spPr>
          <a:xfrm>
            <a:off x="669924" y="1273722"/>
            <a:ext cx="1584960" cy="29495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b="1"/>
              <a:t>Rankings</a:t>
            </a:r>
          </a:p>
          <a:p>
            <a:pPr marL="342900" indent="-342900">
              <a:lnSpc>
                <a:spcPct val="150000"/>
              </a:lnSpc>
              <a:buAutoNum type="arabicPeriod"/>
            </a:pPr>
            <a:r>
              <a:rPr lang="en-US" b="1"/>
              <a:t>US</a:t>
            </a:r>
          </a:p>
          <a:p>
            <a:pPr marL="342900" indent="-342900">
              <a:lnSpc>
                <a:spcPct val="150000"/>
              </a:lnSpc>
              <a:buAutoNum type="arabicPeriod"/>
            </a:pPr>
            <a:r>
              <a:rPr lang="en-US" b="1"/>
              <a:t>UK</a:t>
            </a:r>
          </a:p>
          <a:p>
            <a:pPr marL="342900" indent="-342900">
              <a:lnSpc>
                <a:spcPct val="150000"/>
              </a:lnSpc>
              <a:buAutoNum type="arabicPeriod"/>
            </a:pPr>
            <a:r>
              <a:rPr lang="en-US" b="1"/>
              <a:t>Canada</a:t>
            </a:r>
          </a:p>
          <a:p>
            <a:pPr>
              <a:lnSpc>
                <a:spcPct val="150000"/>
              </a:lnSpc>
            </a:pPr>
            <a:endParaRPr lang="en-US" b="1"/>
          </a:p>
          <a:p>
            <a:pPr>
              <a:lnSpc>
                <a:spcPct val="150000"/>
              </a:lnSpc>
            </a:pPr>
            <a:r>
              <a:rPr lang="en-US" b="1"/>
              <a:t>China?</a:t>
            </a:r>
          </a:p>
          <a:p>
            <a:pPr>
              <a:lnSpc>
                <a:spcPct val="150000"/>
              </a:lnSpc>
            </a:pPr>
            <a:endParaRPr lang="en-US" b="1"/>
          </a:p>
        </p:txBody>
      </p:sp>
    </p:spTree>
    <p:extLst>
      <p:ext uri="{BB962C8B-B14F-4D97-AF65-F5344CB8AC3E}">
        <p14:creationId xmlns:p14="http://schemas.microsoft.com/office/powerpoint/2010/main" val="3388890105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altLang="zh-CN" sz="4800"/>
              <a:t>CONCLUSION</a:t>
            </a:r>
            <a:endParaRPr lang="zh-CN" altLang="en-US" sz="4800"/>
          </a:p>
        </p:txBody>
      </p:sp>
      <p:sp>
        <p:nvSpPr>
          <p:cNvPr id="6" name="文本占位符 5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>
              <a:lnSpc>
                <a:spcPct val="100000"/>
              </a:lnSpc>
            </a:pPr>
            <a:r>
              <a:rPr lang="en-US" altLang="zh-CN"/>
              <a:t>Technical Conclusion</a:t>
            </a:r>
          </a:p>
          <a:p>
            <a:pPr lvl="0">
              <a:lnSpc>
                <a:spcPct val="100000"/>
              </a:lnSpc>
            </a:pPr>
            <a:r>
              <a:rPr lang="en-US" altLang="zh-CN"/>
              <a:t>Managerial Suggestion</a:t>
            </a:r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04F69230-F3A6-4586-9371-A858F4763E9F}"/>
              </a:ext>
            </a:extLst>
          </p:cNvPr>
          <p:cNvSpPr txBox="1"/>
          <p:nvPr/>
        </p:nvSpPr>
        <p:spPr>
          <a:xfrm>
            <a:off x="1977887" y="3852315"/>
            <a:ext cx="1818862" cy="1581433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pc="100">
                <a:solidFill>
                  <a:schemeClr val="accent4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/05</a:t>
            </a:r>
            <a:endParaRPr lang="zh-CN" altLang="en-US" spc="100">
              <a:solidFill>
                <a:schemeClr val="accent4"/>
              </a:solidFill>
              <a:latin typeface="Impact" panose="020B080603090205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6502143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/>
              <a:t>05. CONCLUSION</a:t>
            </a:r>
            <a:endParaRPr lang="zh-CN" altLang="en-US"/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Web Analytics Group Project</a:t>
            </a:r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9</a:t>
            </a:fld>
            <a:endParaRPr lang="zh-CN" altLang="en-US"/>
          </a:p>
        </p:txBody>
      </p:sp>
      <p:pic>
        <p:nvPicPr>
          <p:cNvPr id="5" name="Picture 8">
            <a:extLst>
              <a:ext uri="{FF2B5EF4-FFF2-40B4-BE49-F238E27FC236}">
                <a16:creationId xmlns:a16="http://schemas.microsoft.com/office/drawing/2014/main" id="{945C2542-1BD6-49C5-9719-AD963012080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ackgroundRemoval t="9307" b="89964" l="7667" r="97167">
                        <a14:foregroundMark x1="8500" y1="26642" x2="9000" y2="40328"/>
                        <a14:foregroundMark x1="20000" y1="9489" x2="25333" y2="9489"/>
                        <a14:foregroundMark x1="52833" y1="25182" x2="95833" y2="72263"/>
                        <a14:foregroundMark x1="95833" y1="72263" x2="96500" y2="73723"/>
                        <a14:foregroundMark x1="52000" y1="77372" x2="94333" y2="25912"/>
                        <a14:foregroundMark x1="94333" y1="25912" x2="95500" y2="25000"/>
                        <a14:foregroundMark x1="96000" y1="27555" x2="97167" y2="34672"/>
                        <a14:foregroundMark x1="97167" y1="34672" x2="96000" y2="47080"/>
                        <a14:foregroundMark x1="96000" y1="47080" x2="83500" y2="69708"/>
                        <a14:foregroundMark x1="83500" y1="69708" x2="76000" y2="72628"/>
                        <a14:foregroundMark x1="76000" y1="72628" x2="71500" y2="67153"/>
                        <a14:foregroundMark x1="71500" y1="67153" x2="96000" y2="63869"/>
                        <a14:foregroundMark x1="95167" y1="78102" x2="53167" y2="77190"/>
                        <a14:foregroundMark x1="53167" y1="77190" x2="49667" y2="71350"/>
                        <a14:foregroundMark x1="49667" y1="71350" x2="49000" y2="34489"/>
                        <a14:foregroundMark x1="49000" y1="34489" x2="51667" y2="27190"/>
                        <a14:foregroundMark x1="51667" y1="27190" x2="65167" y2="24635"/>
                        <a14:foregroundMark x1="65167" y1="24635" x2="81833" y2="26460"/>
                        <a14:foregroundMark x1="81833" y1="26460" x2="89500" y2="25547"/>
                        <a14:foregroundMark x1="89500" y1="25547" x2="83667" y2="33942"/>
                        <a14:foregroundMark x1="83667" y1="33942" x2="68333" y2="40693"/>
                        <a14:foregroundMark x1="68333" y1="40693" x2="62000" y2="41788"/>
                        <a14:foregroundMark x1="62000" y1="41788" x2="54333" y2="39416"/>
                        <a14:foregroundMark x1="54333" y1="39416" x2="48333" y2="35036"/>
                        <a14:foregroundMark x1="48333" y1="35036" x2="59000" y2="30657"/>
                        <a14:foregroundMark x1="59000" y1="30657" x2="81167" y2="34672"/>
                        <a14:foregroundMark x1="81167" y1="34672" x2="58000" y2="54927"/>
                        <a14:foregroundMark x1="58000" y1="54927" x2="70167" y2="37044"/>
                        <a14:foregroundMark x1="70167" y1="37044" x2="79167" y2="29745"/>
                        <a14:foregroundMark x1="79167" y1="29745" x2="76833" y2="39051"/>
                        <a14:foregroundMark x1="76833" y1="39051" x2="66000" y2="56934"/>
                        <a14:foregroundMark x1="66000" y1="56934" x2="57333" y2="63869"/>
                        <a14:foregroundMark x1="57333" y1="63869" x2="50833" y2="64599"/>
                        <a14:foregroundMark x1="50833" y1="64599" x2="47333" y2="50912"/>
                        <a14:foregroundMark x1="47333" y1="50912" x2="47500" y2="41241"/>
                        <a14:foregroundMark x1="47500" y1="41241" x2="52333" y2="32117"/>
                        <a14:foregroundMark x1="52333" y1="32117" x2="62333" y2="29745"/>
                        <a14:foregroundMark x1="62333" y1="29745" x2="63000" y2="31022"/>
                        <a14:foregroundMark x1="8333" y1="19526" x2="8333" y2="19526"/>
                        <a14:foregroundMark x1="7667" y1="28650" x2="7667" y2="28650"/>
                        <a14:backgroundMark x1="5167" y1="6022" x2="5167" y2="16241"/>
                        <a14:backgroundMark x1="6167" y1="6204" x2="23667" y2="3285"/>
                        <a14:backgroundMark x1="23667" y1="3285" x2="32333" y2="6752"/>
                        <a14:backgroundMark x1="32333" y1="6752" x2="49500" y2="1642"/>
                        <a14:backgroundMark x1="49500" y1="1642" x2="55833" y2="1460"/>
                        <a14:backgroundMark x1="55833" y1="1460" x2="64833" y2="3285"/>
                        <a14:backgroundMark x1="64833" y1="3285" x2="83000" y2="2372"/>
                        <a14:backgroundMark x1="83000" y1="2372" x2="97833" y2="6204"/>
                        <a14:backgroundMark x1="97833" y1="6204" x2="97833" y2="6204"/>
                        <a14:backgroundMark x1="4167" y1="6752" x2="2167" y2="83942"/>
                        <a14:backgroundMark x1="2167" y1="83942" x2="7000" y2="90693"/>
                        <a14:backgroundMark x1="7000" y1="90693" x2="13000" y2="93613"/>
                        <a14:backgroundMark x1="13000" y1="93613" x2="90667" y2="97993"/>
                        <a14:backgroundMark x1="90667" y1="97993" x2="96167" y2="97628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r="9466"/>
          <a:stretch/>
        </p:blipFill>
        <p:spPr bwMode="auto">
          <a:xfrm>
            <a:off x="8233934" y="2453879"/>
            <a:ext cx="3958066" cy="39929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5855EE45-54E6-43DA-AB5F-B143CD825FD1}"/>
              </a:ext>
            </a:extLst>
          </p:cNvPr>
          <p:cNvSpPr txBox="1"/>
          <p:nvPr/>
        </p:nvSpPr>
        <p:spPr>
          <a:xfrm>
            <a:off x="669924" y="1305272"/>
            <a:ext cx="7458076" cy="382668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/>
              <a:t>Conclusion</a:t>
            </a:r>
          </a:p>
          <a:p>
            <a:endParaRPr lang="en-US"/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/>
              <a:t>How do people like Nintendo Switch? </a:t>
            </a:r>
          </a:p>
          <a:p>
            <a:pPr>
              <a:lnSpc>
                <a:spcPct val="150000"/>
              </a:lnSpc>
            </a:pPr>
            <a:r>
              <a:rPr lang="en-US"/>
              <a:t>	Most neutral, Generally Positive, Few Negative</a:t>
            </a:r>
          </a:p>
          <a:p>
            <a:pPr>
              <a:lnSpc>
                <a:spcPct val="150000"/>
              </a:lnSpc>
            </a:pPr>
            <a:endParaRPr lang="en-US" sz="1000"/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/>
              <a:t>What’s the Strategy for next generation of Nintendo Switch?</a:t>
            </a:r>
          </a:p>
          <a:p>
            <a:pPr>
              <a:lnSpc>
                <a:spcPct val="150000"/>
              </a:lnSpc>
            </a:pPr>
            <a:r>
              <a:rPr lang="en-US"/>
              <a:t>	Marketing in target place, Improve controller</a:t>
            </a:r>
          </a:p>
          <a:p>
            <a:pPr>
              <a:lnSpc>
                <a:spcPct val="150000"/>
              </a:lnSpc>
            </a:pPr>
            <a:endParaRPr lang="en-US" sz="1000"/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/>
              <a:t>How to carry on the Differentiation Strategy against PS &amp; XBOX?</a:t>
            </a:r>
          </a:p>
          <a:p>
            <a:pPr lvl="2"/>
            <a:r>
              <a:rPr lang="en-US"/>
              <a:t>Game streamer, Release amazing games, Proper iteration</a:t>
            </a:r>
          </a:p>
          <a:p>
            <a:pPr>
              <a:lnSpc>
                <a:spcPct val="150000"/>
              </a:lnSpc>
            </a:pPr>
            <a:endParaRPr lang="en-US" b="1"/>
          </a:p>
        </p:txBody>
      </p:sp>
    </p:spTree>
    <p:extLst>
      <p:ext uri="{BB962C8B-B14F-4D97-AF65-F5344CB8AC3E}">
        <p14:creationId xmlns:p14="http://schemas.microsoft.com/office/powerpoint/2010/main" val="255503808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>
            <a:extLst>
              <a:ext uri="{FF2B5EF4-FFF2-40B4-BE49-F238E27FC236}">
                <a16:creationId xmlns:a16="http://schemas.microsoft.com/office/drawing/2014/main" id="{3C326D0B-7DAB-41B6-8030-2E4A18CC949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840861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02"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3" name="对象 2" hidden="1">
                        <a:extLst>
                          <a:ext uri="{FF2B5EF4-FFF2-40B4-BE49-F238E27FC236}">
                            <a16:creationId xmlns:a16="http://schemas.microsoft.com/office/drawing/2014/main" id="{3C326D0B-7DAB-41B6-8030-2E4A18CC94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>
            <a:extLst>
              <a:ext uri="{FF2B5EF4-FFF2-40B4-BE49-F238E27FC236}">
                <a16:creationId xmlns:a16="http://schemas.microsoft.com/office/drawing/2014/main" id="{EC933494-1B63-4A32-964F-D05236799BAA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4000" b="1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副标题 4"/>
          <p:cNvSpPr>
            <a:spLocks noGrp="1"/>
          </p:cNvSpPr>
          <p:nvPr>
            <p:ph type="subTitle" idx="1"/>
          </p:nvPr>
        </p:nvSpPr>
        <p:spPr>
          <a:xfrm>
            <a:off x="2931459" y="5578476"/>
            <a:ext cx="2516841" cy="558799"/>
          </a:xfrm>
        </p:spPr>
        <p:txBody>
          <a:bodyPr>
            <a:normAutofit/>
          </a:bodyPr>
          <a:lstStyle/>
          <a:p>
            <a:r>
              <a:rPr lang="en-US" altLang="zh-CN" sz="2800"/>
              <a:t>Web Analytics</a:t>
            </a:r>
          </a:p>
        </p:txBody>
      </p:sp>
      <p:sp>
        <p:nvSpPr>
          <p:cNvPr id="4" name="标题 3"/>
          <p:cNvSpPr>
            <a:spLocks noGrp="1"/>
          </p:cNvSpPr>
          <p:nvPr>
            <p:ph type="ctrTitle"/>
          </p:nvPr>
        </p:nvSpPr>
        <p:spPr>
          <a:xfrm>
            <a:off x="2363822" y="3554253"/>
            <a:ext cx="7587574" cy="1477328"/>
          </a:xfrm>
          <a:solidFill>
            <a:schemeClr val="accent2">
              <a:lumMod val="75000"/>
            </a:schemeClr>
          </a:solidFill>
        </p:spPr>
        <p:txBody>
          <a:bodyPr wrap="square">
            <a:spAutoFit/>
          </a:bodyPr>
          <a:lstStyle/>
          <a:p>
            <a:r>
              <a:rPr lang="en-US" altLang="zh-CN" sz="6000">
                <a:solidFill>
                  <a:schemeClr val="bg1"/>
                </a:solidFill>
              </a:rPr>
              <a:t>NINTENDO SWITCH</a:t>
            </a:r>
            <a:br>
              <a:rPr lang="en-US" altLang="zh-CN" sz="6000"/>
            </a:br>
            <a:r>
              <a:rPr lang="en-US" altLang="zh-CN"/>
              <a:t>Product &amp; Strategy Analysis</a:t>
            </a:r>
            <a:endParaRPr lang="zh-CN" altLang="en-US" sz="6000"/>
          </a:p>
        </p:txBody>
      </p:sp>
      <p:sp>
        <p:nvSpPr>
          <p:cNvPr id="6" name="文本占位符 5"/>
          <p:cNvSpPr>
            <a:spLocks noGrp="1"/>
          </p:cNvSpPr>
          <p:nvPr>
            <p:ph type="body" sz="quarter" idx="10"/>
          </p:nvPr>
        </p:nvSpPr>
        <p:spPr>
          <a:xfrm>
            <a:off x="6743701" y="5544733"/>
            <a:ext cx="2392641" cy="538754"/>
          </a:xfrm>
        </p:spPr>
        <p:txBody>
          <a:bodyPr/>
          <a:lstStyle/>
          <a:p>
            <a:r>
              <a:rPr lang="en-US" altLang="zh-CN"/>
              <a:t>Ji </a:t>
            </a:r>
            <a:r>
              <a:rPr lang="en-US" altLang="zh-CN" err="1"/>
              <a:t>Lyu</a:t>
            </a:r>
            <a:r>
              <a:rPr lang="en-US" altLang="zh-CN"/>
              <a:t>       Chang Liu</a:t>
            </a:r>
          </a:p>
          <a:p>
            <a:r>
              <a:rPr lang="en-US" altLang="zh-CN"/>
              <a:t>Tianyi Hu        Ting Ding</a:t>
            </a:r>
          </a:p>
        </p:txBody>
      </p:sp>
      <p:sp>
        <p:nvSpPr>
          <p:cNvPr id="16" name="矩形 15">
            <a:extLst>
              <a:ext uri="{FF2B5EF4-FFF2-40B4-BE49-F238E27FC236}">
                <a16:creationId xmlns:a16="http://schemas.microsoft.com/office/drawing/2014/main" id="{CC00B064-7CD7-4688-9F41-CDBD829D0F3F}"/>
              </a:ext>
            </a:extLst>
          </p:cNvPr>
          <p:cNvSpPr/>
          <p:nvPr/>
        </p:nvSpPr>
        <p:spPr>
          <a:xfrm>
            <a:off x="0" y="5674659"/>
            <a:ext cx="2756647" cy="408828"/>
          </a:xfrm>
          <a:prstGeom prst="rect">
            <a:avLst/>
          </a:prstGeom>
          <a:solidFill>
            <a:srgbClr val="F6B8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A82D37DB-EC89-454F-BFE2-8EB1CBCFB97C}"/>
              </a:ext>
            </a:extLst>
          </p:cNvPr>
          <p:cNvSpPr/>
          <p:nvPr/>
        </p:nvSpPr>
        <p:spPr>
          <a:xfrm>
            <a:off x="9435353" y="5674659"/>
            <a:ext cx="2756647" cy="408828"/>
          </a:xfrm>
          <a:prstGeom prst="rect">
            <a:avLst/>
          </a:prstGeom>
          <a:solidFill>
            <a:srgbClr val="F6B8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3A5F1FE4-C938-477C-9D77-93B700E6EEE9}"/>
              </a:ext>
            </a:extLst>
          </p:cNvPr>
          <p:cNvSpPr/>
          <p:nvPr/>
        </p:nvSpPr>
        <p:spPr>
          <a:xfrm>
            <a:off x="5656730" y="5674659"/>
            <a:ext cx="878541" cy="408828"/>
          </a:xfrm>
          <a:prstGeom prst="rect">
            <a:avLst/>
          </a:prstGeom>
          <a:solidFill>
            <a:srgbClr val="F6B8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271741893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 l="-6000" r="-6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矩形 3">
            <a:extLst>
              <a:ext uri="{FF2B5EF4-FFF2-40B4-BE49-F238E27FC236}">
                <a16:creationId xmlns:a16="http://schemas.microsoft.com/office/drawing/2014/main" id="{554C52D8-C360-48C6-9328-2D475A399D92}"/>
              </a:ext>
            </a:extLst>
          </p:cNvPr>
          <p:cNvSpPr/>
          <p:nvPr/>
        </p:nvSpPr>
        <p:spPr>
          <a:xfrm>
            <a:off x="4124960" y="2306320"/>
            <a:ext cx="3911600" cy="1686560"/>
          </a:xfrm>
          <a:prstGeom prst="rect">
            <a:avLst/>
          </a:prstGeom>
          <a:solidFill>
            <a:srgbClr val="FBFBFB"/>
          </a:solidFill>
          <a:ln>
            <a:solidFill>
              <a:srgbClr val="FBFBF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800" b="1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Black" panose="020B0A04020102020204" pitchFamily="34" charset="0"/>
              </a:rPr>
              <a:t>T</a:t>
            </a:r>
            <a:r>
              <a:rPr lang="en-US" altLang="zh-CN" sz="4800" b="1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Black" panose="020B0A04020102020204" pitchFamily="34" charset="0"/>
              </a:rPr>
              <a:t>hank You</a:t>
            </a:r>
            <a:endParaRPr lang="en-US" b="1"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 Black" panose="020B0A040201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9711768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F8DD0D76-2960-413B-8700-5868C9379FDE}"/>
              </a:ext>
            </a:extLst>
          </p:cNvPr>
          <p:cNvSpPr/>
          <p:nvPr/>
        </p:nvSpPr>
        <p:spPr>
          <a:xfrm rot="16200000">
            <a:off x="-3177540" y="3177538"/>
            <a:ext cx="6858005" cy="502920"/>
          </a:xfrm>
          <a:prstGeom prst="rect">
            <a:avLst/>
          </a:prstGeom>
          <a:solidFill>
            <a:srgbClr val="F2CF4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911"/>
          </a:p>
        </p:txBody>
      </p:sp>
      <p:grpSp>
        <p:nvGrpSpPr>
          <p:cNvPr id="13" name="293147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<a:extLst>
              <a:ext uri="{FF2B5EF4-FFF2-40B4-BE49-F238E27FC236}">
                <a16:creationId xmlns:a16="http://schemas.microsoft.com/office/drawing/2014/main" id="{2D650102-DC1C-46C1-AD8D-E602F2670EBC}"/>
              </a:ext>
            </a:extLst>
          </p:cNvPr>
          <p:cNvGrpSpPr>
            <a:grpSpLocks noChangeAspect="1"/>
          </p:cNvGrpSpPr>
          <p:nvPr>
            <p:custDataLst>
              <p:tags r:id="rId1"/>
            </p:custDataLst>
          </p:nvPr>
        </p:nvGrpSpPr>
        <p:grpSpPr>
          <a:xfrm>
            <a:off x="1356350" y="698090"/>
            <a:ext cx="10208673" cy="5436010"/>
            <a:chOff x="1356350" y="1130300"/>
            <a:chExt cx="9396995" cy="5003800"/>
          </a:xfrm>
        </p:grpSpPr>
        <p:sp>
          <p:nvSpPr>
            <p:cNvPr id="14" name="í$1îḍe">
              <a:extLst>
                <a:ext uri="{FF2B5EF4-FFF2-40B4-BE49-F238E27FC236}">
                  <a16:creationId xmlns:a16="http://schemas.microsoft.com/office/drawing/2014/main" id="{2BDF1FCB-847D-4F54-AE09-5492A9F9E103}"/>
                </a:ext>
              </a:extLst>
            </p:cNvPr>
            <p:cNvSpPr/>
            <p:nvPr/>
          </p:nvSpPr>
          <p:spPr bwMode="auto">
            <a:xfrm>
              <a:off x="5068601" y="2838840"/>
              <a:ext cx="5684744" cy="2772856"/>
            </a:xfrm>
            <a:custGeom>
              <a:avLst/>
              <a:gdLst>
                <a:gd name="T0" fmla="*/ 1193 w 3611"/>
                <a:gd name="T1" fmla="*/ 65 h 1760"/>
                <a:gd name="T2" fmla="*/ 1206 w 3611"/>
                <a:gd name="T3" fmla="*/ 92 h 1760"/>
                <a:gd name="T4" fmla="*/ 1114 w 3611"/>
                <a:gd name="T5" fmla="*/ 118 h 1760"/>
                <a:gd name="T6" fmla="*/ 878 w 3611"/>
                <a:gd name="T7" fmla="*/ 183 h 1760"/>
                <a:gd name="T8" fmla="*/ 444 w 3611"/>
                <a:gd name="T9" fmla="*/ 223 h 1760"/>
                <a:gd name="T10" fmla="*/ 2612 w 3611"/>
                <a:gd name="T11" fmla="*/ 223 h 1760"/>
                <a:gd name="T12" fmla="*/ 1363 w 3611"/>
                <a:gd name="T13" fmla="*/ 249 h 1760"/>
                <a:gd name="T14" fmla="*/ 2928 w 3611"/>
                <a:gd name="T15" fmla="*/ 236 h 1760"/>
                <a:gd name="T16" fmla="*/ 431 w 3611"/>
                <a:gd name="T17" fmla="*/ 289 h 1760"/>
                <a:gd name="T18" fmla="*/ 1981 w 3611"/>
                <a:gd name="T19" fmla="*/ 301 h 1760"/>
                <a:gd name="T20" fmla="*/ 3125 w 3611"/>
                <a:gd name="T21" fmla="*/ 301 h 1760"/>
                <a:gd name="T22" fmla="*/ 496 w 3611"/>
                <a:gd name="T23" fmla="*/ 328 h 1760"/>
                <a:gd name="T24" fmla="*/ 1981 w 3611"/>
                <a:gd name="T25" fmla="*/ 315 h 1760"/>
                <a:gd name="T26" fmla="*/ 2836 w 3611"/>
                <a:gd name="T27" fmla="*/ 328 h 1760"/>
                <a:gd name="T28" fmla="*/ 128 w 3611"/>
                <a:gd name="T29" fmla="*/ 380 h 1760"/>
                <a:gd name="T30" fmla="*/ 1232 w 3611"/>
                <a:gd name="T31" fmla="*/ 380 h 1760"/>
                <a:gd name="T32" fmla="*/ 2546 w 3611"/>
                <a:gd name="T33" fmla="*/ 367 h 1760"/>
                <a:gd name="T34" fmla="*/ 3361 w 3611"/>
                <a:gd name="T35" fmla="*/ 355 h 1760"/>
                <a:gd name="T36" fmla="*/ 707 w 3611"/>
                <a:gd name="T37" fmla="*/ 407 h 1760"/>
                <a:gd name="T38" fmla="*/ 2494 w 3611"/>
                <a:gd name="T39" fmla="*/ 420 h 1760"/>
                <a:gd name="T40" fmla="*/ 3401 w 3611"/>
                <a:gd name="T41" fmla="*/ 420 h 1760"/>
                <a:gd name="T42" fmla="*/ 1955 w 3611"/>
                <a:gd name="T43" fmla="*/ 446 h 1760"/>
                <a:gd name="T44" fmla="*/ 2770 w 3611"/>
                <a:gd name="T45" fmla="*/ 434 h 1760"/>
                <a:gd name="T46" fmla="*/ 628 w 3611"/>
                <a:gd name="T47" fmla="*/ 486 h 1760"/>
                <a:gd name="T48" fmla="*/ 2336 w 3611"/>
                <a:gd name="T49" fmla="*/ 499 h 1760"/>
                <a:gd name="T50" fmla="*/ 404 w 3611"/>
                <a:gd name="T51" fmla="*/ 512 h 1760"/>
                <a:gd name="T52" fmla="*/ 1876 w 3611"/>
                <a:gd name="T53" fmla="*/ 525 h 1760"/>
                <a:gd name="T54" fmla="*/ 2691 w 3611"/>
                <a:gd name="T55" fmla="*/ 512 h 1760"/>
                <a:gd name="T56" fmla="*/ 786 w 3611"/>
                <a:gd name="T57" fmla="*/ 565 h 1760"/>
                <a:gd name="T58" fmla="*/ 2218 w 3611"/>
                <a:gd name="T59" fmla="*/ 577 h 1760"/>
                <a:gd name="T60" fmla="*/ 3085 w 3611"/>
                <a:gd name="T61" fmla="*/ 577 h 1760"/>
                <a:gd name="T62" fmla="*/ 1758 w 3611"/>
                <a:gd name="T63" fmla="*/ 604 h 1760"/>
                <a:gd name="T64" fmla="*/ 2573 w 3611"/>
                <a:gd name="T65" fmla="*/ 591 h 1760"/>
                <a:gd name="T66" fmla="*/ 707 w 3611"/>
                <a:gd name="T67" fmla="*/ 643 h 1760"/>
                <a:gd name="T68" fmla="*/ 2376 w 3611"/>
                <a:gd name="T69" fmla="*/ 656 h 1760"/>
                <a:gd name="T70" fmla="*/ 602 w 3611"/>
                <a:gd name="T71" fmla="*/ 696 h 1760"/>
                <a:gd name="T72" fmla="*/ 2270 w 3611"/>
                <a:gd name="T73" fmla="*/ 683 h 1760"/>
                <a:gd name="T74" fmla="*/ 523 w 3611"/>
                <a:gd name="T75" fmla="*/ 710 h 1760"/>
                <a:gd name="T76" fmla="*/ 2284 w 3611"/>
                <a:gd name="T77" fmla="*/ 722 h 1760"/>
                <a:gd name="T78" fmla="*/ 602 w 3611"/>
                <a:gd name="T79" fmla="*/ 774 h 1760"/>
                <a:gd name="T80" fmla="*/ 2415 w 3611"/>
                <a:gd name="T81" fmla="*/ 774 h 1760"/>
                <a:gd name="T82" fmla="*/ 772 w 3611"/>
                <a:gd name="T83" fmla="*/ 801 h 1760"/>
                <a:gd name="T84" fmla="*/ 2415 w 3611"/>
                <a:gd name="T85" fmla="*/ 788 h 1760"/>
                <a:gd name="T86" fmla="*/ 1693 w 3611"/>
                <a:gd name="T87" fmla="*/ 841 h 1760"/>
                <a:gd name="T88" fmla="*/ 2573 w 3611"/>
                <a:gd name="T89" fmla="*/ 853 h 1760"/>
                <a:gd name="T90" fmla="*/ 1981 w 3611"/>
                <a:gd name="T91" fmla="*/ 893 h 1760"/>
                <a:gd name="T92" fmla="*/ 628 w 3611"/>
                <a:gd name="T93" fmla="*/ 919 h 1760"/>
                <a:gd name="T94" fmla="*/ 2218 w 3611"/>
                <a:gd name="T95" fmla="*/ 907 h 1760"/>
                <a:gd name="T96" fmla="*/ 1876 w 3611"/>
                <a:gd name="T97" fmla="*/ 959 h 1760"/>
                <a:gd name="T98" fmla="*/ 1745 w 3611"/>
                <a:gd name="T99" fmla="*/ 1011 h 1760"/>
                <a:gd name="T100" fmla="*/ 1627 w 3611"/>
                <a:gd name="T101" fmla="*/ 1025 h 1760"/>
                <a:gd name="T102" fmla="*/ 1127 w 3611"/>
                <a:gd name="T103" fmla="*/ 1077 h 1760"/>
                <a:gd name="T104" fmla="*/ 1075 w 3611"/>
                <a:gd name="T105" fmla="*/ 1104 h 1760"/>
                <a:gd name="T106" fmla="*/ 1023 w 3611"/>
                <a:gd name="T107" fmla="*/ 1156 h 1760"/>
                <a:gd name="T108" fmla="*/ 917 w 3611"/>
                <a:gd name="T109" fmla="*/ 1183 h 1760"/>
                <a:gd name="T110" fmla="*/ 956 w 3611"/>
                <a:gd name="T111" fmla="*/ 1222 h 1760"/>
                <a:gd name="T112" fmla="*/ 1101 w 3611"/>
                <a:gd name="T113" fmla="*/ 1274 h 1760"/>
                <a:gd name="T114" fmla="*/ 1272 w 3611"/>
                <a:gd name="T115" fmla="*/ 1326 h 1760"/>
                <a:gd name="T116" fmla="*/ 1245 w 3611"/>
                <a:gd name="T117" fmla="*/ 1353 h 1760"/>
                <a:gd name="T118" fmla="*/ 1114 w 3611"/>
                <a:gd name="T119" fmla="*/ 1405 h 1760"/>
                <a:gd name="T120" fmla="*/ 1154 w 3611"/>
                <a:gd name="T121" fmla="*/ 1445 h 1760"/>
                <a:gd name="T122" fmla="*/ 1929 w 3611"/>
                <a:gd name="T123" fmla="*/ 1471 h 1760"/>
                <a:gd name="T124" fmla="*/ 948 w 3611"/>
                <a:gd name="T125" fmla="*/ 1590 h 17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3611" h="1760">
                  <a:moveTo>
                    <a:pt x="825" y="13"/>
                  </a:moveTo>
                  <a:cubicBezTo>
                    <a:pt x="825" y="6"/>
                    <a:pt x="831" y="0"/>
                    <a:pt x="838" y="0"/>
                  </a:cubicBezTo>
                  <a:cubicBezTo>
                    <a:pt x="845" y="0"/>
                    <a:pt x="851" y="6"/>
                    <a:pt x="851" y="13"/>
                  </a:cubicBezTo>
                  <a:cubicBezTo>
                    <a:pt x="851" y="20"/>
                    <a:pt x="845" y="25"/>
                    <a:pt x="838" y="25"/>
                  </a:cubicBezTo>
                  <a:cubicBezTo>
                    <a:pt x="831" y="25"/>
                    <a:pt x="825" y="20"/>
                    <a:pt x="825" y="13"/>
                  </a:cubicBezTo>
                  <a:close/>
                  <a:moveTo>
                    <a:pt x="878" y="25"/>
                  </a:moveTo>
                  <a:cubicBezTo>
                    <a:pt x="885" y="25"/>
                    <a:pt x="890" y="20"/>
                    <a:pt x="890" y="13"/>
                  </a:cubicBezTo>
                  <a:cubicBezTo>
                    <a:pt x="890" y="6"/>
                    <a:pt x="885" y="0"/>
                    <a:pt x="878" y="0"/>
                  </a:cubicBezTo>
                  <a:cubicBezTo>
                    <a:pt x="870" y="0"/>
                    <a:pt x="865" y="6"/>
                    <a:pt x="865" y="13"/>
                  </a:cubicBezTo>
                  <a:cubicBezTo>
                    <a:pt x="865" y="20"/>
                    <a:pt x="870" y="25"/>
                    <a:pt x="878" y="25"/>
                  </a:cubicBezTo>
                  <a:close/>
                  <a:moveTo>
                    <a:pt x="917" y="25"/>
                  </a:moveTo>
                  <a:cubicBezTo>
                    <a:pt x="924" y="25"/>
                    <a:pt x="930" y="20"/>
                    <a:pt x="930" y="13"/>
                  </a:cubicBezTo>
                  <a:cubicBezTo>
                    <a:pt x="930" y="6"/>
                    <a:pt x="924" y="0"/>
                    <a:pt x="917" y="0"/>
                  </a:cubicBezTo>
                  <a:cubicBezTo>
                    <a:pt x="910" y="0"/>
                    <a:pt x="904" y="6"/>
                    <a:pt x="904" y="13"/>
                  </a:cubicBezTo>
                  <a:cubicBezTo>
                    <a:pt x="904" y="20"/>
                    <a:pt x="910" y="25"/>
                    <a:pt x="917" y="25"/>
                  </a:cubicBezTo>
                  <a:close/>
                  <a:moveTo>
                    <a:pt x="956" y="25"/>
                  </a:moveTo>
                  <a:cubicBezTo>
                    <a:pt x="963" y="25"/>
                    <a:pt x="969" y="20"/>
                    <a:pt x="969" y="13"/>
                  </a:cubicBezTo>
                  <a:cubicBezTo>
                    <a:pt x="969" y="6"/>
                    <a:pt x="963" y="0"/>
                    <a:pt x="956" y="0"/>
                  </a:cubicBezTo>
                  <a:cubicBezTo>
                    <a:pt x="949" y="0"/>
                    <a:pt x="944" y="6"/>
                    <a:pt x="944" y="13"/>
                  </a:cubicBezTo>
                  <a:cubicBezTo>
                    <a:pt x="944" y="20"/>
                    <a:pt x="949" y="25"/>
                    <a:pt x="956" y="25"/>
                  </a:cubicBezTo>
                  <a:close/>
                  <a:moveTo>
                    <a:pt x="996" y="25"/>
                  </a:moveTo>
                  <a:cubicBezTo>
                    <a:pt x="1003" y="25"/>
                    <a:pt x="1009" y="20"/>
                    <a:pt x="1009" y="13"/>
                  </a:cubicBezTo>
                  <a:cubicBezTo>
                    <a:pt x="1009" y="6"/>
                    <a:pt x="1003" y="0"/>
                    <a:pt x="996" y="0"/>
                  </a:cubicBezTo>
                  <a:cubicBezTo>
                    <a:pt x="989" y="0"/>
                    <a:pt x="983" y="6"/>
                    <a:pt x="983" y="13"/>
                  </a:cubicBezTo>
                  <a:cubicBezTo>
                    <a:pt x="983" y="20"/>
                    <a:pt x="989" y="25"/>
                    <a:pt x="996" y="25"/>
                  </a:cubicBezTo>
                  <a:close/>
                  <a:moveTo>
                    <a:pt x="1035" y="25"/>
                  </a:moveTo>
                  <a:cubicBezTo>
                    <a:pt x="1042" y="25"/>
                    <a:pt x="1048" y="20"/>
                    <a:pt x="1048" y="13"/>
                  </a:cubicBezTo>
                  <a:cubicBezTo>
                    <a:pt x="1048" y="6"/>
                    <a:pt x="1042" y="0"/>
                    <a:pt x="1035" y="0"/>
                  </a:cubicBezTo>
                  <a:cubicBezTo>
                    <a:pt x="1028" y="0"/>
                    <a:pt x="1022" y="6"/>
                    <a:pt x="1022" y="13"/>
                  </a:cubicBezTo>
                  <a:cubicBezTo>
                    <a:pt x="1022" y="20"/>
                    <a:pt x="1028" y="25"/>
                    <a:pt x="1035" y="25"/>
                  </a:cubicBezTo>
                  <a:close/>
                  <a:moveTo>
                    <a:pt x="1114" y="25"/>
                  </a:moveTo>
                  <a:cubicBezTo>
                    <a:pt x="1121" y="25"/>
                    <a:pt x="1127" y="20"/>
                    <a:pt x="1127" y="13"/>
                  </a:cubicBezTo>
                  <a:cubicBezTo>
                    <a:pt x="1127" y="6"/>
                    <a:pt x="1121" y="0"/>
                    <a:pt x="1114" y="0"/>
                  </a:cubicBezTo>
                  <a:cubicBezTo>
                    <a:pt x="1107" y="0"/>
                    <a:pt x="1101" y="6"/>
                    <a:pt x="1101" y="13"/>
                  </a:cubicBezTo>
                  <a:cubicBezTo>
                    <a:pt x="1101" y="20"/>
                    <a:pt x="1107" y="25"/>
                    <a:pt x="1114" y="25"/>
                  </a:cubicBezTo>
                  <a:close/>
                  <a:moveTo>
                    <a:pt x="1193" y="25"/>
                  </a:moveTo>
                  <a:cubicBezTo>
                    <a:pt x="1200" y="25"/>
                    <a:pt x="1206" y="20"/>
                    <a:pt x="1206" y="13"/>
                  </a:cubicBezTo>
                  <a:cubicBezTo>
                    <a:pt x="1206" y="6"/>
                    <a:pt x="1200" y="0"/>
                    <a:pt x="1193" y="0"/>
                  </a:cubicBezTo>
                  <a:cubicBezTo>
                    <a:pt x="1186" y="0"/>
                    <a:pt x="1180" y="6"/>
                    <a:pt x="1180" y="13"/>
                  </a:cubicBezTo>
                  <a:cubicBezTo>
                    <a:pt x="1180" y="20"/>
                    <a:pt x="1186" y="25"/>
                    <a:pt x="1193" y="25"/>
                  </a:cubicBezTo>
                  <a:close/>
                  <a:moveTo>
                    <a:pt x="1272" y="25"/>
                  </a:moveTo>
                  <a:cubicBezTo>
                    <a:pt x="1279" y="25"/>
                    <a:pt x="1285" y="20"/>
                    <a:pt x="1285" y="13"/>
                  </a:cubicBezTo>
                  <a:cubicBezTo>
                    <a:pt x="1285" y="6"/>
                    <a:pt x="1279" y="0"/>
                    <a:pt x="1272" y="0"/>
                  </a:cubicBezTo>
                  <a:cubicBezTo>
                    <a:pt x="1265" y="0"/>
                    <a:pt x="1259" y="6"/>
                    <a:pt x="1259" y="13"/>
                  </a:cubicBezTo>
                  <a:cubicBezTo>
                    <a:pt x="1259" y="20"/>
                    <a:pt x="1265" y="25"/>
                    <a:pt x="1272" y="25"/>
                  </a:cubicBezTo>
                  <a:close/>
                  <a:moveTo>
                    <a:pt x="1311" y="25"/>
                  </a:moveTo>
                  <a:cubicBezTo>
                    <a:pt x="1318" y="25"/>
                    <a:pt x="1324" y="20"/>
                    <a:pt x="1324" y="13"/>
                  </a:cubicBezTo>
                  <a:cubicBezTo>
                    <a:pt x="1324" y="6"/>
                    <a:pt x="1318" y="0"/>
                    <a:pt x="1311" y="0"/>
                  </a:cubicBezTo>
                  <a:cubicBezTo>
                    <a:pt x="1304" y="0"/>
                    <a:pt x="1298" y="6"/>
                    <a:pt x="1298" y="13"/>
                  </a:cubicBezTo>
                  <a:cubicBezTo>
                    <a:pt x="1298" y="20"/>
                    <a:pt x="1304" y="25"/>
                    <a:pt x="1311" y="25"/>
                  </a:cubicBezTo>
                  <a:close/>
                  <a:moveTo>
                    <a:pt x="1351" y="25"/>
                  </a:moveTo>
                  <a:cubicBezTo>
                    <a:pt x="1358" y="25"/>
                    <a:pt x="1363" y="20"/>
                    <a:pt x="1363" y="13"/>
                  </a:cubicBezTo>
                  <a:cubicBezTo>
                    <a:pt x="1363" y="6"/>
                    <a:pt x="1358" y="0"/>
                    <a:pt x="1351" y="0"/>
                  </a:cubicBezTo>
                  <a:cubicBezTo>
                    <a:pt x="1344" y="0"/>
                    <a:pt x="1338" y="6"/>
                    <a:pt x="1338" y="13"/>
                  </a:cubicBezTo>
                  <a:cubicBezTo>
                    <a:pt x="1338" y="20"/>
                    <a:pt x="1344" y="25"/>
                    <a:pt x="1351" y="25"/>
                  </a:cubicBezTo>
                  <a:close/>
                  <a:moveTo>
                    <a:pt x="1390" y="25"/>
                  </a:moveTo>
                  <a:cubicBezTo>
                    <a:pt x="1397" y="25"/>
                    <a:pt x="1403" y="20"/>
                    <a:pt x="1403" y="13"/>
                  </a:cubicBezTo>
                  <a:cubicBezTo>
                    <a:pt x="1403" y="6"/>
                    <a:pt x="1397" y="0"/>
                    <a:pt x="1390" y="0"/>
                  </a:cubicBezTo>
                  <a:cubicBezTo>
                    <a:pt x="1383" y="0"/>
                    <a:pt x="1377" y="6"/>
                    <a:pt x="1377" y="13"/>
                  </a:cubicBezTo>
                  <a:cubicBezTo>
                    <a:pt x="1377" y="20"/>
                    <a:pt x="1383" y="25"/>
                    <a:pt x="1390" y="25"/>
                  </a:cubicBezTo>
                  <a:close/>
                  <a:moveTo>
                    <a:pt x="1429" y="20"/>
                  </a:moveTo>
                  <a:cubicBezTo>
                    <a:pt x="1434" y="20"/>
                    <a:pt x="1437" y="17"/>
                    <a:pt x="1437" y="13"/>
                  </a:cubicBezTo>
                  <a:cubicBezTo>
                    <a:pt x="1437" y="9"/>
                    <a:pt x="1434" y="5"/>
                    <a:pt x="1429" y="5"/>
                  </a:cubicBezTo>
                  <a:cubicBezTo>
                    <a:pt x="1425" y="5"/>
                    <a:pt x="1422" y="9"/>
                    <a:pt x="1422" y="13"/>
                  </a:cubicBezTo>
                  <a:cubicBezTo>
                    <a:pt x="1422" y="17"/>
                    <a:pt x="1425" y="20"/>
                    <a:pt x="1429" y="20"/>
                  </a:cubicBezTo>
                  <a:close/>
                  <a:moveTo>
                    <a:pt x="759" y="65"/>
                  </a:moveTo>
                  <a:cubicBezTo>
                    <a:pt x="766" y="65"/>
                    <a:pt x="772" y="59"/>
                    <a:pt x="772" y="52"/>
                  </a:cubicBezTo>
                  <a:cubicBezTo>
                    <a:pt x="772" y="45"/>
                    <a:pt x="766" y="39"/>
                    <a:pt x="759" y="39"/>
                  </a:cubicBezTo>
                  <a:cubicBezTo>
                    <a:pt x="752" y="39"/>
                    <a:pt x="746" y="45"/>
                    <a:pt x="746" y="52"/>
                  </a:cubicBezTo>
                  <a:cubicBezTo>
                    <a:pt x="746" y="59"/>
                    <a:pt x="752" y="65"/>
                    <a:pt x="759" y="65"/>
                  </a:cubicBezTo>
                  <a:close/>
                  <a:moveTo>
                    <a:pt x="838" y="43"/>
                  </a:moveTo>
                  <a:cubicBezTo>
                    <a:pt x="833" y="43"/>
                    <a:pt x="829" y="47"/>
                    <a:pt x="829" y="52"/>
                  </a:cubicBezTo>
                  <a:cubicBezTo>
                    <a:pt x="829" y="57"/>
                    <a:pt x="833" y="61"/>
                    <a:pt x="838" y="61"/>
                  </a:cubicBezTo>
                  <a:cubicBezTo>
                    <a:pt x="843" y="61"/>
                    <a:pt x="847" y="57"/>
                    <a:pt x="847" y="52"/>
                  </a:cubicBezTo>
                  <a:cubicBezTo>
                    <a:pt x="847" y="47"/>
                    <a:pt x="843" y="43"/>
                    <a:pt x="838" y="43"/>
                  </a:cubicBezTo>
                  <a:close/>
                  <a:moveTo>
                    <a:pt x="917" y="65"/>
                  </a:moveTo>
                  <a:cubicBezTo>
                    <a:pt x="924" y="65"/>
                    <a:pt x="930" y="59"/>
                    <a:pt x="930" y="52"/>
                  </a:cubicBezTo>
                  <a:cubicBezTo>
                    <a:pt x="930" y="45"/>
                    <a:pt x="924" y="39"/>
                    <a:pt x="917" y="39"/>
                  </a:cubicBezTo>
                  <a:cubicBezTo>
                    <a:pt x="910" y="39"/>
                    <a:pt x="904" y="45"/>
                    <a:pt x="904" y="52"/>
                  </a:cubicBezTo>
                  <a:cubicBezTo>
                    <a:pt x="904" y="59"/>
                    <a:pt x="910" y="65"/>
                    <a:pt x="917" y="65"/>
                  </a:cubicBezTo>
                  <a:close/>
                  <a:moveTo>
                    <a:pt x="956" y="65"/>
                  </a:moveTo>
                  <a:cubicBezTo>
                    <a:pt x="963" y="65"/>
                    <a:pt x="969" y="59"/>
                    <a:pt x="969" y="52"/>
                  </a:cubicBezTo>
                  <a:cubicBezTo>
                    <a:pt x="969" y="45"/>
                    <a:pt x="963" y="39"/>
                    <a:pt x="956" y="39"/>
                  </a:cubicBezTo>
                  <a:cubicBezTo>
                    <a:pt x="949" y="39"/>
                    <a:pt x="944" y="45"/>
                    <a:pt x="944" y="52"/>
                  </a:cubicBezTo>
                  <a:cubicBezTo>
                    <a:pt x="944" y="59"/>
                    <a:pt x="949" y="65"/>
                    <a:pt x="956" y="65"/>
                  </a:cubicBezTo>
                  <a:close/>
                  <a:moveTo>
                    <a:pt x="1035" y="65"/>
                  </a:moveTo>
                  <a:cubicBezTo>
                    <a:pt x="1042" y="65"/>
                    <a:pt x="1048" y="59"/>
                    <a:pt x="1048" y="52"/>
                  </a:cubicBezTo>
                  <a:cubicBezTo>
                    <a:pt x="1048" y="45"/>
                    <a:pt x="1042" y="39"/>
                    <a:pt x="1035" y="39"/>
                  </a:cubicBezTo>
                  <a:cubicBezTo>
                    <a:pt x="1028" y="39"/>
                    <a:pt x="1022" y="45"/>
                    <a:pt x="1022" y="52"/>
                  </a:cubicBezTo>
                  <a:cubicBezTo>
                    <a:pt x="1022" y="59"/>
                    <a:pt x="1028" y="65"/>
                    <a:pt x="1035" y="65"/>
                  </a:cubicBezTo>
                  <a:close/>
                  <a:moveTo>
                    <a:pt x="1075" y="65"/>
                  </a:moveTo>
                  <a:cubicBezTo>
                    <a:pt x="1082" y="65"/>
                    <a:pt x="1087" y="59"/>
                    <a:pt x="1087" y="52"/>
                  </a:cubicBezTo>
                  <a:cubicBezTo>
                    <a:pt x="1087" y="45"/>
                    <a:pt x="1082" y="39"/>
                    <a:pt x="1075" y="39"/>
                  </a:cubicBezTo>
                  <a:cubicBezTo>
                    <a:pt x="1068" y="39"/>
                    <a:pt x="1062" y="45"/>
                    <a:pt x="1062" y="52"/>
                  </a:cubicBezTo>
                  <a:cubicBezTo>
                    <a:pt x="1062" y="59"/>
                    <a:pt x="1068" y="65"/>
                    <a:pt x="1075" y="65"/>
                  </a:cubicBezTo>
                  <a:close/>
                  <a:moveTo>
                    <a:pt x="1114" y="65"/>
                  </a:moveTo>
                  <a:cubicBezTo>
                    <a:pt x="1121" y="65"/>
                    <a:pt x="1127" y="59"/>
                    <a:pt x="1127" y="52"/>
                  </a:cubicBezTo>
                  <a:cubicBezTo>
                    <a:pt x="1127" y="45"/>
                    <a:pt x="1121" y="39"/>
                    <a:pt x="1114" y="39"/>
                  </a:cubicBezTo>
                  <a:cubicBezTo>
                    <a:pt x="1107" y="39"/>
                    <a:pt x="1101" y="45"/>
                    <a:pt x="1101" y="52"/>
                  </a:cubicBezTo>
                  <a:cubicBezTo>
                    <a:pt x="1101" y="59"/>
                    <a:pt x="1107" y="65"/>
                    <a:pt x="1114" y="65"/>
                  </a:cubicBezTo>
                  <a:close/>
                  <a:moveTo>
                    <a:pt x="1153" y="65"/>
                  </a:moveTo>
                  <a:cubicBezTo>
                    <a:pt x="1161" y="65"/>
                    <a:pt x="1166" y="59"/>
                    <a:pt x="1166" y="52"/>
                  </a:cubicBezTo>
                  <a:cubicBezTo>
                    <a:pt x="1166" y="45"/>
                    <a:pt x="1161" y="39"/>
                    <a:pt x="1153" y="39"/>
                  </a:cubicBezTo>
                  <a:cubicBezTo>
                    <a:pt x="1146" y="39"/>
                    <a:pt x="1141" y="45"/>
                    <a:pt x="1141" y="52"/>
                  </a:cubicBezTo>
                  <a:cubicBezTo>
                    <a:pt x="1141" y="59"/>
                    <a:pt x="1146" y="65"/>
                    <a:pt x="1153" y="65"/>
                  </a:cubicBezTo>
                  <a:close/>
                  <a:moveTo>
                    <a:pt x="1193" y="65"/>
                  </a:moveTo>
                  <a:cubicBezTo>
                    <a:pt x="1200" y="65"/>
                    <a:pt x="1206" y="59"/>
                    <a:pt x="1206" y="52"/>
                  </a:cubicBezTo>
                  <a:cubicBezTo>
                    <a:pt x="1206" y="45"/>
                    <a:pt x="1200" y="39"/>
                    <a:pt x="1193" y="39"/>
                  </a:cubicBezTo>
                  <a:cubicBezTo>
                    <a:pt x="1186" y="39"/>
                    <a:pt x="1180" y="45"/>
                    <a:pt x="1180" y="52"/>
                  </a:cubicBezTo>
                  <a:cubicBezTo>
                    <a:pt x="1180" y="59"/>
                    <a:pt x="1186" y="65"/>
                    <a:pt x="1193" y="65"/>
                  </a:cubicBezTo>
                  <a:close/>
                  <a:moveTo>
                    <a:pt x="1232" y="65"/>
                  </a:moveTo>
                  <a:cubicBezTo>
                    <a:pt x="1239" y="65"/>
                    <a:pt x="1245" y="59"/>
                    <a:pt x="1245" y="52"/>
                  </a:cubicBezTo>
                  <a:cubicBezTo>
                    <a:pt x="1245" y="45"/>
                    <a:pt x="1239" y="39"/>
                    <a:pt x="1232" y="39"/>
                  </a:cubicBezTo>
                  <a:cubicBezTo>
                    <a:pt x="1225" y="39"/>
                    <a:pt x="1220" y="45"/>
                    <a:pt x="1220" y="52"/>
                  </a:cubicBezTo>
                  <a:cubicBezTo>
                    <a:pt x="1220" y="59"/>
                    <a:pt x="1225" y="65"/>
                    <a:pt x="1232" y="65"/>
                  </a:cubicBezTo>
                  <a:close/>
                  <a:moveTo>
                    <a:pt x="1272" y="65"/>
                  </a:moveTo>
                  <a:cubicBezTo>
                    <a:pt x="1279" y="65"/>
                    <a:pt x="1285" y="59"/>
                    <a:pt x="1285" y="52"/>
                  </a:cubicBezTo>
                  <a:cubicBezTo>
                    <a:pt x="1285" y="45"/>
                    <a:pt x="1279" y="39"/>
                    <a:pt x="1272" y="39"/>
                  </a:cubicBezTo>
                  <a:cubicBezTo>
                    <a:pt x="1265" y="39"/>
                    <a:pt x="1259" y="45"/>
                    <a:pt x="1259" y="52"/>
                  </a:cubicBezTo>
                  <a:cubicBezTo>
                    <a:pt x="1259" y="59"/>
                    <a:pt x="1265" y="65"/>
                    <a:pt x="1272" y="65"/>
                  </a:cubicBezTo>
                  <a:close/>
                  <a:moveTo>
                    <a:pt x="1311" y="65"/>
                  </a:moveTo>
                  <a:cubicBezTo>
                    <a:pt x="1318" y="65"/>
                    <a:pt x="1324" y="59"/>
                    <a:pt x="1324" y="52"/>
                  </a:cubicBezTo>
                  <a:cubicBezTo>
                    <a:pt x="1324" y="45"/>
                    <a:pt x="1318" y="39"/>
                    <a:pt x="1311" y="39"/>
                  </a:cubicBezTo>
                  <a:cubicBezTo>
                    <a:pt x="1304" y="39"/>
                    <a:pt x="1298" y="45"/>
                    <a:pt x="1298" y="52"/>
                  </a:cubicBezTo>
                  <a:cubicBezTo>
                    <a:pt x="1298" y="59"/>
                    <a:pt x="1304" y="65"/>
                    <a:pt x="1311" y="65"/>
                  </a:cubicBezTo>
                  <a:close/>
                  <a:moveTo>
                    <a:pt x="1351" y="65"/>
                  </a:moveTo>
                  <a:cubicBezTo>
                    <a:pt x="1358" y="65"/>
                    <a:pt x="1363" y="59"/>
                    <a:pt x="1363" y="52"/>
                  </a:cubicBezTo>
                  <a:cubicBezTo>
                    <a:pt x="1363" y="45"/>
                    <a:pt x="1358" y="39"/>
                    <a:pt x="1351" y="39"/>
                  </a:cubicBezTo>
                  <a:cubicBezTo>
                    <a:pt x="1344" y="39"/>
                    <a:pt x="1338" y="45"/>
                    <a:pt x="1338" y="52"/>
                  </a:cubicBezTo>
                  <a:cubicBezTo>
                    <a:pt x="1338" y="59"/>
                    <a:pt x="1344" y="65"/>
                    <a:pt x="1351" y="65"/>
                  </a:cubicBezTo>
                  <a:close/>
                  <a:moveTo>
                    <a:pt x="1390" y="65"/>
                  </a:moveTo>
                  <a:cubicBezTo>
                    <a:pt x="1397" y="65"/>
                    <a:pt x="1403" y="59"/>
                    <a:pt x="1403" y="52"/>
                  </a:cubicBezTo>
                  <a:cubicBezTo>
                    <a:pt x="1403" y="45"/>
                    <a:pt x="1397" y="39"/>
                    <a:pt x="1390" y="39"/>
                  </a:cubicBezTo>
                  <a:cubicBezTo>
                    <a:pt x="1383" y="39"/>
                    <a:pt x="1377" y="45"/>
                    <a:pt x="1377" y="52"/>
                  </a:cubicBezTo>
                  <a:cubicBezTo>
                    <a:pt x="1377" y="59"/>
                    <a:pt x="1383" y="65"/>
                    <a:pt x="1390" y="65"/>
                  </a:cubicBezTo>
                  <a:close/>
                  <a:moveTo>
                    <a:pt x="1429" y="65"/>
                  </a:moveTo>
                  <a:cubicBezTo>
                    <a:pt x="1437" y="65"/>
                    <a:pt x="1442" y="59"/>
                    <a:pt x="1442" y="52"/>
                  </a:cubicBezTo>
                  <a:cubicBezTo>
                    <a:pt x="1442" y="45"/>
                    <a:pt x="1437" y="39"/>
                    <a:pt x="1429" y="39"/>
                  </a:cubicBezTo>
                  <a:cubicBezTo>
                    <a:pt x="1422" y="39"/>
                    <a:pt x="1417" y="45"/>
                    <a:pt x="1417" y="52"/>
                  </a:cubicBezTo>
                  <a:cubicBezTo>
                    <a:pt x="1417" y="59"/>
                    <a:pt x="1422" y="65"/>
                    <a:pt x="1429" y="65"/>
                  </a:cubicBezTo>
                  <a:close/>
                  <a:moveTo>
                    <a:pt x="1469" y="65"/>
                  </a:moveTo>
                  <a:cubicBezTo>
                    <a:pt x="1476" y="65"/>
                    <a:pt x="1482" y="59"/>
                    <a:pt x="1482" y="52"/>
                  </a:cubicBezTo>
                  <a:cubicBezTo>
                    <a:pt x="1482" y="45"/>
                    <a:pt x="1476" y="39"/>
                    <a:pt x="1469" y="39"/>
                  </a:cubicBezTo>
                  <a:cubicBezTo>
                    <a:pt x="1462" y="39"/>
                    <a:pt x="1456" y="45"/>
                    <a:pt x="1456" y="52"/>
                  </a:cubicBezTo>
                  <a:cubicBezTo>
                    <a:pt x="1456" y="59"/>
                    <a:pt x="1462" y="65"/>
                    <a:pt x="1469" y="65"/>
                  </a:cubicBezTo>
                  <a:close/>
                  <a:moveTo>
                    <a:pt x="1508" y="65"/>
                  </a:moveTo>
                  <a:cubicBezTo>
                    <a:pt x="1515" y="65"/>
                    <a:pt x="1521" y="59"/>
                    <a:pt x="1521" y="52"/>
                  </a:cubicBezTo>
                  <a:cubicBezTo>
                    <a:pt x="1521" y="45"/>
                    <a:pt x="1515" y="39"/>
                    <a:pt x="1508" y="39"/>
                  </a:cubicBezTo>
                  <a:cubicBezTo>
                    <a:pt x="1501" y="39"/>
                    <a:pt x="1496" y="45"/>
                    <a:pt x="1496" y="52"/>
                  </a:cubicBezTo>
                  <a:cubicBezTo>
                    <a:pt x="1496" y="59"/>
                    <a:pt x="1501" y="65"/>
                    <a:pt x="1508" y="65"/>
                  </a:cubicBezTo>
                  <a:close/>
                  <a:moveTo>
                    <a:pt x="2652" y="65"/>
                  </a:moveTo>
                  <a:cubicBezTo>
                    <a:pt x="2659" y="65"/>
                    <a:pt x="2664" y="59"/>
                    <a:pt x="2664" y="52"/>
                  </a:cubicBezTo>
                  <a:cubicBezTo>
                    <a:pt x="2664" y="45"/>
                    <a:pt x="2659" y="39"/>
                    <a:pt x="2652" y="39"/>
                  </a:cubicBezTo>
                  <a:cubicBezTo>
                    <a:pt x="2645" y="39"/>
                    <a:pt x="2639" y="45"/>
                    <a:pt x="2639" y="52"/>
                  </a:cubicBezTo>
                  <a:cubicBezTo>
                    <a:pt x="2639" y="59"/>
                    <a:pt x="2645" y="65"/>
                    <a:pt x="2652" y="65"/>
                  </a:cubicBezTo>
                  <a:close/>
                  <a:moveTo>
                    <a:pt x="641" y="102"/>
                  </a:moveTo>
                  <a:cubicBezTo>
                    <a:pt x="647" y="102"/>
                    <a:pt x="652" y="97"/>
                    <a:pt x="652" y="92"/>
                  </a:cubicBezTo>
                  <a:cubicBezTo>
                    <a:pt x="652" y="86"/>
                    <a:pt x="647" y="81"/>
                    <a:pt x="641" y="81"/>
                  </a:cubicBezTo>
                  <a:cubicBezTo>
                    <a:pt x="635" y="81"/>
                    <a:pt x="630" y="86"/>
                    <a:pt x="630" y="92"/>
                  </a:cubicBezTo>
                  <a:cubicBezTo>
                    <a:pt x="630" y="97"/>
                    <a:pt x="635" y="102"/>
                    <a:pt x="641" y="102"/>
                  </a:cubicBezTo>
                  <a:close/>
                  <a:moveTo>
                    <a:pt x="759" y="104"/>
                  </a:moveTo>
                  <a:cubicBezTo>
                    <a:pt x="766" y="104"/>
                    <a:pt x="772" y="99"/>
                    <a:pt x="772" y="92"/>
                  </a:cubicBezTo>
                  <a:cubicBezTo>
                    <a:pt x="772" y="84"/>
                    <a:pt x="766" y="79"/>
                    <a:pt x="759" y="79"/>
                  </a:cubicBezTo>
                  <a:cubicBezTo>
                    <a:pt x="752" y="79"/>
                    <a:pt x="746" y="84"/>
                    <a:pt x="746" y="92"/>
                  </a:cubicBezTo>
                  <a:cubicBezTo>
                    <a:pt x="746" y="99"/>
                    <a:pt x="752" y="104"/>
                    <a:pt x="759" y="104"/>
                  </a:cubicBezTo>
                  <a:close/>
                  <a:moveTo>
                    <a:pt x="799" y="104"/>
                  </a:moveTo>
                  <a:cubicBezTo>
                    <a:pt x="806" y="104"/>
                    <a:pt x="811" y="99"/>
                    <a:pt x="811" y="92"/>
                  </a:cubicBezTo>
                  <a:cubicBezTo>
                    <a:pt x="811" y="84"/>
                    <a:pt x="806" y="79"/>
                    <a:pt x="799" y="79"/>
                  </a:cubicBezTo>
                  <a:cubicBezTo>
                    <a:pt x="792" y="79"/>
                    <a:pt x="786" y="84"/>
                    <a:pt x="786" y="92"/>
                  </a:cubicBezTo>
                  <a:cubicBezTo>
                    <a:pt x="786" y="99"/>
                    <a:pt x="792" y="104"/>
                    <a:pt x="799" y="104"/>
                  </a:cubicBezTo>
                  <a:close/>
                  <a:moveTo>
                    <a:pt x="838" y="104"/>
                  </a:moveTo>
                  <a:cubicBezTo>
                    <a:pt x="845" y="104"/>
                    <a:pt x="851" y="99"/>
                    <a:pt x="851" y="92"/>
                  </a:cubicBezTo>
                  <a:cubicBezTo>
                    <a:pt x="851" y="84"/>
                    <a:pt x="845" y="79"/>
                    <a:pt x="838" y="79"/>
                  </a:cubicBezTo>
                  <a:cubicBezTo>
                    <a:pt x="831" y="79"/>
                    <a:pt x="825" y="84"/>
                    <a:pt x="825" y="92"/>
                  </a:cubicBezTo>
                  <a:cubicBezTo>
                    <a:pt x="825" y="99"/>
                    <a:pt x="831" y="104"/>
                    <a:pt x="838" y="104"/>
                  </a:cubicBezTo>
                  <a:close/>
                  <a:moveTo>
                    <a:pt x="878" y="104"/>
                  </a:moveTo>
                  <a:cubicBezTo>
                    <a:pt x="885" y="104"/>
                    <a:pt x="890" y="99"/>
                    <a:pt x="890" y="92"/>
                  </a:cubicBezTo>
                  <a:cubicBezTo>
                    <a:pt x="890" y="84"/>
                    <a:pt x="885" y="79"/>
                    <a:pt x="878" y="79"/>
                  </a:cubicBezTo>
                  <a:cubicBezTo>
                    <a:pt x="870" y="79"/>
                    <a:pt x="865" y="84"/>
                    <a:pt x="865" y="92"/>
                  </a:cubicBezTo>
                  <a:cubicBezTo>
                    <a:pt x="865" y="99"/>
                    <a:pt x="870" y="104"/>
                    <a:pt x="878" y="104"/>
                  </a:cubicBezTo>
                  <a:close/>
                  <a:moveTo>
                    <a:pt x="917" y="104"/>
                  </a:moveTo>
                  <a:cubicBezTo>
                    <a:pt x="924" y="104"/>
                    <a:pt x="930" y="99"/>
                    <a:pt x="930" y="92"/>
                  </a:cubicBezTo>
                  <a:cubicBezTo>
                    <a:pt x="930" y="84"/>
                    <a:pt x="924" y="79"/>
                    <a:pt x="917" y="79"/>
                  </a:cubicBezTo>
                  <a:cubicBezTo>
                    <a:pt x="910" y="79"/>
                    <a:pt x="904" y="84"/>
                    <a:pt x="904" y="92"/>
                  </a:cubicBezTo>
                  <a:cubicBezTo>
                    <a:pt x="904" y="99"/>
                    <a:pt x="910" y="104"/>
                    <a:pt x="917" y="104"/>
                  </a:cubicBezTo>
                  <a:close/>
                  <a:moveTo>
                    <a:pt x="996" y="104"/>
                  </a:moveTo>
                  <a:cubicBezTo>
                    <a:pt x="1003" y="104"/>
                    <a:pt x="1009" y="99"/>
                    <a:pt x="1009" y="92"/>
                  </a:cubicBezTo>
                  <a:cubicBezTo>
                    <a:pt x="1009" y="84"/>
                    <a:pt x="1003" y="79"/>
                    <a:pt x="996" y="79"/>
                  </a:cubicBezTo>
                  <a:cubicBezTo>
                    <a:pt x="989" y="79"/>
                    <a:pt x="983" y="84"/>
                    <a:pt x="983" y="92"/>
                  </a:cubicBezTo>
                  <a:cubicBezTo>
                    <a:pt x="983" y="99"/>
                    <a:pt x="989" y="104"/>
                    <a:pt x="996" y="104"/>
                  </a:cubicBezTo>
                  <a:close/>
                  <a:moveTo>
                    <a:pt x="1035" y="104"/>
                  </a:moveTo>
                  <a:cubicBezTo>
                    <a:pt x="1042" y="104"/>
                    <a:pt x="1048" y="99"/>
                    <a:pt x="1048" y="92"/>
                  </a:cubicBezTo>
                  <a:cubicBezTo>
                    <a:pt x="1048" y="84"/>
                    <a:pt x="1042" y="79"/>
                    <a:pt x="1035" y="79"/>
                  </a:cubicBezTo>
                  <a:cubicBezTo>
                    <a:pt x="1028" y="79"/>
                    <a:pt x="1022" y="84"/>
                    <a:pt x="1022" y="92"/>
                  </a:cubicBezTo>
                  <a:cubicBezTo>
                    <a:pt x="1022" y="99"/>
                    <a:pt x="1028" y="104"/>
                    <a:pt x="1035" y="104"/>
                  </a:cubicBezTo>
                  <a:close/>
                  <a:moveTo>
                    <a:pt x="1075" y="104"/>
                  </a:moveTo>
                  <a:cubicBezTo>
                    <a:pt x="1082" y="104"/>
                    <a:pt x="1087" y="99"/>
                    <a:pt x="1087" y="92"/>
                  </a:cubicBezTo>
                  <a:cubicBezTo>
                    <a:pt x="1087" y="84"/>
                    <a:pt x="1082" y="79"/>
                    <a:pt x="1075" y="79"/>
                  </a:cubicBezTo>
                  <a:cubicBezTo>
                    <a:pt x="1068" y="79"/>
                    <a:pt x="1062" y="84"/>
                    <a:pt x="1062" y="92"/>
                  </a:cubicBezTo>
                  <a:cubicBezTo>
                    <a:pt x="1062" y="99"/>
                    <a:pt x="1068" y="104"/>
                    <a:pt x="1075" y="104"/>
                  </a:cubicBezTo>
                  <a:close/>
                  <a:moveTo>
                    <a:pt x="1114" y="104"/>
                  </a:moveTo>
                  <a:cubicBezTo>
                    <a:pt x="1121" y="104"/>
                    <a:pt x="1127" y="99"/>
                    <a:pt x="1127" y="92"/>
                  </a:cubicBezTo>
                  <a:cubicBezTo>
                    <a:pt x="1127" y="84"/>
                    <a:pt x="1121" y="79"/>
                    <a:pt x="1114" y="79"/>
                  </a:cubicBezTo>
                  <a:cubicBezTo>
                    <a:pt x="1107" y="79"/>
                    <a:pt x="1101" y="84"/>
                    <a:pt x="1101" y="92"/>
                  </a:cubicBezTo>
                  <a:cubicBezTo>
                    <a:pt x="1101" y="99"/>
                    <a:pt x="1107" y="104"/>
                    <a:pt x="1114" y="104"/>
                  </a:cubicBezTo>
                  <a:close/>
                  <a:moveTo>
                    <a:pt x="1153" y="104"/>
                  </a:moveTo>
                  <a:cubicBezTo>
                    <a:pt x="1161" y="104"/>
                    <a:pt x="1166" y="99"/>
                    <a:pt x="1166" y="92"/>
                  </a:cubicBezTo>
                  <a:cubicBezTo>
                    <a:pt x="1166" y="84"/>
                    <a:pt x="1161" y="79"/>
                    <a:pt x="1153" y="79"/>
                  </a:cubicBezTo>
                  <a:cubicBezTo>
                    <a:pt x="1146" y="79"/>
                    <a:pt x="1141" y="84"/>
                    <a:pt x="1141" y="92"/>
                  </a:cubicBezTo>
                  <a:cubicBezTo>
                    <a:pt x="1141" y="99"/>
                    <a:pt x="1146" y="104"/>
                    <a:pt x="1153" y="104"/>
                  </a:cubicBezTo>
                  <a:close/>
                  <a:moveTo>
                    <a:pt x="1193" y="104"/>
                  </a:moveTo>
                  <a:cubicBezTo>
                    <a:pt x="1200" y="104"/>
                    <a:pt x="1206" y="99"/>
                    <a:pt x="1206" y="92"/>
                  </a:cubicBezTo>
                  <a:cubicBezTo>
                    <a:pt x="1206" y="84"/>
                    <a:pt x="1200" y="79"/>
                    <a:pt x="1193" y="79"/>
                  </a:cubicBezTo>
                  <a:cubicBezTo>
                    <a:pt x="1186" y="79"/>
                    <a:pt x="1180" y="84"/>
                    <a:pt x="1180" y="92"/>
                  </a:cubicBezTo>
                  <a:cubicBezTo>
                    <a:pt x="1180" y="99"/>
                    <a:pt x="1186" y="104"/>
                    <a:pt x="1193" y="104"/>
                  </a:cubicBezTo>
                  <a:close/>
                  <a:moveTo>
                    <a:pt x="1232" y="104"/>
                  </a:moveTo>
                  <a:cubicBezTo>
                    <a:pt x="1239" y="104"/>
                    <a:pt x="1245" y="99"/>
                    <a:pt x="1245" y="92"/>
                  </a:cubicBezTo>
                  <a:cubicBezTo>
                    <a:pt x="1245" y="84"/>
                    <a:pt x="1239" y="79"/>
                    <a:pt x="1232" y="79"/>
                  </a:cubicBezTo>
                  <a:cubicBezTo>
                    <a:pt x="1225" y="79"/>
                    <a:pt x="1220" y="84"/>
                    <a:pt x="1220" y="92"/>
                  </a:cubicBezTo>
                  <a:cubicBezTo>
                    <a:pt x="1220" y="99"/>
                    <a:pt x="1225" y="104"/>
                    <a:pt x="1232" y="104"/>
                  </a:cubicBezTo>
                  <a:close/>
                  <a:moveTo>
                    <a:pt x="1272" y="104"/>
                  </a:moveTo>
                  <a:cubicBezTo>
                    <a:pt x="1279" y="104"/>
                    <a:pt x="1285" y="99"/>
                    <a:pt x="1285" y="92"/>
                  </a:cubicBezTo>
                  <a:cubicBezTo>
                    <a:pt x="1285" y="84"/>
                    <a:pt x="1279" y="79"/>
                    <a:pt x="1272" y="79"/>
                  </a:cubicBezTo>
                  <a:cubicBezTo>
                    <a:pt x="1265" y="79"/>
                    <a:pt x="1259" y="84"/>
                    <a:pt x="1259" y="92"/>
                  </a:cubicBezTo>
                  <a:cubicBezTo>
                    <a:pt x="1259" y="99"/>
                    <a:pt x="1265" y="104"/>
                    <a:pt x="1272" y="104"/>
                  </a:cubicBezTo>
                  <a:close/>
                  <a:moveTo>
                    <a:pt x="1311" y="104"/>
                  </a:moveTo>
                  <a:cubicBezTo>
                    <a:pt x="1318" y="104"/>
                    <a:pt x="1324" y="99"/>
                    <a:pt x="1324" y="92"/>
                  </a:cubicBezTo>
                  <a:cubicBezTo>
                    <a:pt x="1324" y="84"/>
                    <a:pt x="1318" y="79"/>
                    <a:pt x="1311" y="79"/>
                  </a:cubicBezTo>
                  <a:cubicBezTo>
                    <a:pt x="1304" y="79"/>
                    <a:pt x="1298" y="84"/>
                    <a:pt x="1298" y="92"/>
                  </a:cubicBezTo>
                  <a:cubicBezTo>
                    <a:pt x="1298" y="99"/>
                    <a:pt x="1304" y="104"/>
                    <a:pt x="1311" y="104"/>
                  </a:cubicBezTo>
                  <a:close/>
                  <a:moveTo>
                    <a:pt x="1351" y="104"/>
                  </a:moveTo>
                  <a:cubicBezTo>
                    <a:pt x="1358" y="104"/>
                    <a:pt x="1363" y="99"/>
                    <a:pt x="1363" y="92"/>
                  </a:cubicBezTo>
                  <a:cubicBezTo>
                    <a:pt x="1363" y="84"/>
                    <a:pt x="1358" y="79"/>
                    <a:pt x="1351" y="79"/>
                  </a:cubicBezTo>
                  <a:cubicBezTo>
                    <a:pt x="1344" y="79"/>
                    <a:pt x="1338" y="84"/>
                    <a:pt x="1338" y="92"/>
                  </a:cubicBezTo>
                  <a:cubicBezTo>
                    <a:pt x="1338" y="99"/>
                    <a:pt x="1344" y="104"/>
                    <a:pt x="1351" y="104"/>
                  </a:cubicBezTo>
                  <a:close/>
                  <a:moveTo>
                    <a:pt x="1390" y="104"/>
                  </a:moveTo>
                  <a:cubicBezTo>
                    <a:pt x="1397" y="104"/>
                    <a:pt x="1403" y="99"/>
                    <a:pt x="1403" y="92"/>
                  </a:cubicBezTo>
                  <a:cubicBezTo>
                    <a:pt x="1403" y="84"/>
                    <a:pt x="1397" y="79"/>
                    <a:pt x="1390" y="79"/>
                  </a:cubicBezTo>
                  <a:cubicBezTo>
                    <a:pt x="1383" y="79"/>
                    <a:pt x="1377" y="84"/>
                    <a:pt x="1377" y="92"/>
                  </a:cubicBezTo>
                  <a:cubicBezTo>
                    <a:pt x="1377" y="99"/>
                    <a:pt x="1383" y="104"/>
                    <a:pt x="1390" y="104"/>
                  </a:cubicBezTo>
                  <a:close/>
                  <a:moveTo>
                    <a:pt x="1429" y="104"/>
                  </a:moveTo>
                  <a:cubicBezTo>
                    <a:pt x="1437" y="104"/>
                    <a:pt x="1442" y="99"/>
                    <a:pt x="1442" y="92"/>
                  </a:cubicBezTo>
                  <a:cubicBezTo>
                    <a:pt x="1442" y="84"/>
                    <a:pt x="1437" y="79"/>
                    <a:pt x="1429" y="79"/>
                  </a:cubicBezTo>
                  <a:cubicBezTo>
                    <a:pt x="1422" y="79"/>
                    <a:pt x="1417" y="84"/>
                    <a:pt x="1417" y="92"/>
                  </a:cubicBezTo>
                  <a:cubicBezTo>
                    <a:pt x="1417" y="99"/>
                    <a:pt x="1422" y="104"/>
                    <a:pt x="1429" y="104"/>
                  </a:cubicBezTo>
                  <a:close/>
                  <a:moveTo>
                    <a:pt x="1469" y="104"/>
                  </a:moveTo>
                  <a:cubicBezTo>
                    <a:pt x="1476" y="104"/>
                    <a:pt x="1482" y="99"/>
                    <a:pt x="1482" y="92"/>
                  </a:cubicBezTo>
                  <a:cubicBezTo>
                    <a:pt x="1482" y="84"/>
                    <a:pt x="1476" y="79"/>
                    <a:pt x="1469" y="79"/>
                  </a:cubicBezTo>
                  <a:cubicBezTo>
                    <a:pt x="1462" y="79"/>
                    <a:pt x="1456" y="84"/>
                    <a:pt x="1456" y="92"/>
                  </a:cubicBezTo>
                  <a:cubicBezTo>
                    <a:pt x="1456" y="99"/>
                    <a:pt x="1462" y="104"/>
                    <a:pt x="1469" y="104"/>
                  </a:cubicBezTo>
                  <a:close/>
                  <a:moveTo>
                    <a:pt x="1824" y="104"/>
                  </a:moveTo>
                  <a:cubicBezTo>
                    <a:pt x="1831" y="104"/>
                    <a:pt x="1836" y="99"/>
                    <a:pt x="1836" y="92"/>
                  </a:cubicBezTo>
                  <a:cubicBezTo>
                    <a:pt x="1836" y="84"/>
                    <a:pt x="1831" y="79"/>
                    <a:pt x="1824" y="79"/>
                  </a:cubicBezTo>
                  <a:cubicBezTo>
                    <a:pt x="1817" y="79"/>
                    <a:pt x="1811" y="84"/>
                    <a:pt x="1811" y="92"/>
                  </a:cubicBezTo>
                  <a:cubicBezTo>
                    <a:pt x="1811" y="99"/>
                    <a:pt x="1817" y="104"/>
                    <a:pt x="1824" y="104"/>
                  </a:cubicBezTo>
                  <a:close/>
                  <a:moveTo>
                    <a:pt x="1863" y="104"/>
                  </a:moveTo>
                  <a:cubicBezTo>
                    <a:pt x="1870" y="104"/>
                    <a:pt x="1876" y="99"/>
                    <a:pt x="1876" y="92"/>
                  </a:cubicBezTo>
                  <a:cubicBezTo>
                    <a:pt x="1876" y="84"/>
                    <a:pt x="1870" y="79"/>
                    <a:pt x="1863" y="79"/>
                  </a:cubicBezTo>
                  <a:cubicBezTo>
                    <a:pt x="1856" y="79"/>
                    <a:pt x="1850" y="84"/>
                    <a:pt x="1850" y="92"/>
                  </a:cubicBezTo>
                  <a:cubicBezTo>
                    <a:pt x="1850" y="99"/>
                    <a:pt x="1856" y="104"/>
                    <a:pt x="1863" y="104"/>
                  </a:cubicBezTo>
                  <a:close/>
                  <a:moveTo>
                    <a:pt x="1903" y="104"/>
                  </a:moveTo>
                  <a:cubicBezTo>
                    <a:pt x="1910" y="104"/>
                    <a:pt x="1915" y="99"/>
                    <a:pt x="1915" y="92"/>
                  </a:cubicBezTo>
                  <a:cubicBezTo>
                    <a:pt x="1915" y="84"/>
                    <a:pt x="1910" y="79"/>
                    <a:pt x="1903" y="79"/>
                  </a:cubicBezTo>
                  <a:cubicBezTo>
                    <a:pt x="1896" y="79"/>
                    <a:pt x="1890" y="84"/>
                    <a:pt x="1890" y="92"/>
                  </a:cubicBezTo>
                  <a:cubicBezTo>
                    <a:pt x="1890" y="99"/>
                    <a:pt x="1896" y="104"/>
                    <a:pt x="1903" y="104"/>
                  </a:cubicBezTo>
                  <a:close/>
                  <a:moveTo>
                    <a:pt x="2691" y="101"/>
                  </a:moveTo>
                  <a:cubicBezTo>
                    <a:pt x="2696" y="101"/>
                    <a:pt x="2700" y="97"/>
                    <a:pt x="2700" y="92"/>
                  </a:cubicBezTo>
                  <a:cubicBezTo>
                    <a:pt x="2700" y="86"/>
                    <a:pt x="2696" y="82"/>
                    <a:pt x="2691" y="82"/>
                  </a:cubicBezTo>
                  <a:cubicBezTo>
                    <a:pt x="2686" y="82"/>
                    <a:pt x="2682" y="86"/>
                    <a:pt x="2682" y="92"/>
                  </a:cubicBezTo>
                  <a:cubicBezTo>
                    <a:pt x="2682" y="97"/>
                    <a:pt x="2686" y="101"/>
                    <a:pt x="2691" y="101"/>
                  </a:cubicBezTo>
                  <a:close/>
                  <a:moveTo>
                    <a:pt x="2730" y="104"/>
                  </a:moveTo>
                  <a:cubicBezTo>
                    <a:pt x="2737" y="104"/>
                    <a:pt x="2743" y="99"/>
                    <a:pt x="2743" y="92"/>
                  </a:cubicBezTo>
                  <a:cubicBezTo>
                    <a:pt x="2743" y="84"/>
                    <a:pt x="2737" y="79"/>
                    <a:pt x="2730" y="79"/>
                  </a:cubicBezTo>
                  <a:cubicBezTo>
                    <a:pt x="2723" y="79"/>
                    <a:pt x="2718" y="84"/>
                    <a:pt x="2718" y="92"/>
                  </a:cubicBezTo>
                  <a:cubicBezTo>
                    <a:pt x="2718" y="99"/>
                    <a:pt x="2723" y="104"/>
                    <a:pt x="2730" y="104"/>
                  </a:cubicBezTo>
                  <a:close/>
                  <a:moveTo>
                    <a:pt x="483" y="144"/>
                  </a:moveTo>
                  <a:cubicBezTo>
                    <a:pt x="490" y="144"/>
                    <a:pt x="496" y="138"/>
                    <a:pt x="496" y="131"/>
                  </a:cubicBezTo>
                  <a:cubicBezTo>
                    <a:pt x="496" y="124"/>
                    <a:pt x="490" y="118"/>
                    <a:pt x="483" y="118"/>
                  </a:cubicBezTo>
                  <a:cubicBezTo>
                    <a:pt x="476" y="118"/>
                    <a:pt x="471" y="124"/>
                    <a:pt x="471" y="131"/>
                  </a:cubicBezTo>
                  <a:cubicBezTo>
                    <a:pt x="471" y="138"/>
                    <a:pt x="476" y="144"/>
                    <a:pt x="483" y="144"/>
                  </a:cubicBezTo>
                  <a:close/>
                  <a:moveTo>
                    <a:pt x="720" y="144"/>
                  </a:moveTo>
                  <a:cubicBezTo>
                    <a:pt x="727" y="144"/>
                    <a:pt x="733" y="138"/>
                    <a:pt x="733" y="131"/>
                  </a:cubicBezTo>
                  <a:cubicBezTo>
                    <a:pt x="733" y="124"/>
                    <a:pt x="727" y="118"/>
                    <a:pt x="720" y="118"/>
                  </a:cubicBezTo>
                  <a:cubicBezTo>
                    <a:pt x="713" y="118"/>
                    <a:pt x="707" y="124"/>
                    <a:pt x="707" y="131"/>
                  </a:cubicBezTo>
                  <a:cubicBezTo>
                    <a:pt x="707" y="138"/>
                    <a:pt x="713" y="144"/>
                    <a:pt x="720" y="144"/>
                  </a:cubicBezTo>
                  <a:close/>
                  <a:moveTo>
                    <a:pt x="799" y="118"/>
                  </a:moveTo>
                  <a:cubicBezTo>
                    <a:pt x="792" y="118"/>
                    <a:pt x="786" y="124"/>
                    <a:pt x="786" y="131"/>
                  </a:cubicBezTo>
                  <a:cubicBezTo>
                    <a:pt x="786" y="138"/>
                    <a:pt x="792" y="144"/>
                    <a:pt x="799" y="144"/>
                  </a:cubicBezTo>
                  <a:cubicBezTo>
                    <a:pt x="806" y="144"/>
                    <a:pt x="811" y="138"/>
                    <a:pt x="811" y="131"/>
                  </a:cubicBezTo>
                  <a:cubicBezTo>
                    <a:pt x="811" y="124"/>
                    <a:pt x="806" y="118"/>
                    <a:pt x="799" y="118"/>
                  </a:cubicBezTo>
                  <a:close/>
                  <a:moveTo>
                    <a:pt x="838" y="144"/>
                  </a:moveTo>
                  <a:cubicBezTo>
                    <a:pt x="845" y="144"/>
                    <a:pt x="851" y="138"/>
                    <a:pt x="851" y="131"/>
                  </a:cubicBezTo>
                  <a:cubicBezTo>
                    <a:pt x="851" y="124"/>
                    <a:pt x="845" y="118"/>
                    <a:pt x="838" y="118"/>
                  </a:cubicBezTo>
                  <a:cubicBezTo>
                    <a:pt x="831" y="118"/>
                    <a:pt x="825" y="124"/>
                    <a:pt x="825" y="131"/>
                  </a:cubicBezTo>
                  <a:cubicBezTo>
                    <a:pt x="825" y="138"/>
                    <a:pt x="831" y="144"/>
                    <a:pt x="838" y="144"/>
                  </a:cubicBezTo>
                  <a:close/>
                  <a:moveTo>
                    <a:pt x="878" y="144"/>
                  </a:moveTo>
                  <a:cubicBezTo>
                    <a:pt x="885" y="144"/>
                    <a:pt x="890" y="138"/>
                    <a:pt x="890" y="131"/>
                  </a:cubicBezTo>
                  <a:cubicBezTo>
                    <a:pt x="890" y="124"/>
                    <a:pt x="885" y="118"/>
                    <a:pt x="878" y="118"/>
                  </a:cubicBezTo>
                  <a:cubicBezTo>
                    <a:pt x="870" y="118"/>
                    <a:pt x="865" y="124"/>
                    <a:pt x="865" y="131"/>
                  </a:cubicBezTo>
                  <a:cubicBezTo>
                    <a:pt x="865" y="138"/>
                    <a:pt x="870" y="144"/>
                    <a:pt x="878" y="144"/>
                  </a:cubicBezTo>
                  <a:close/>
                  <a:moveTo>
                    <a:pt x="1009" y="131"/>
                  </a:moveTo>
                  <a:cubicBezTo>
                    <a:pt x="1009" y="124"/>
                    <a:pt x="1003" y="118"/>
                    <a:pt x="996" y="118"/>
                  </a:cubicBezTo>
                  <a:cubicBezTo>
                    <a:pt x="989" y="118"/>
                    <a:pt x="983" y="124"/>
                    <a:pt x="983" y="131"/>
                  </a:cubicBezTo>
                  <a:cubicBezTo>
                    <a:pt x="983" y="138"/>
                    <a:pt x="989" y="144"/>
                    <a:pt x="996" y="144"/>
                  </a:cubicBezTo>
                  <a:cubicBezTo>
                    <a:pt x="1003" y="144"/>
                    <a:pt x="1009" y="138"/>
                    <a:pt x="1009" y="131"/>
                  </a:cubicBezTo>
                  <a:close/>
                  <a:moveTo>
                    <a:pt x="1035" y="144"/>
                  </a:moveTo>
                  <a:cubicBezTo>
                    <a:pt x="1042" y="144"/>
                    <a:pt x="1048" y="138"/>
                    <a:pt x="1048" y="131"/>
                  </a:cubicBezTo>
                  <a:cubicBezTo>
                    <a:pt x="1048" y="124"/>
                    <a:pt x="1042" y="118"/>
                    <a:pt x="1035" y="118"/>
                  </a:cubicBezTo>
                  <a:cubicBezTo>
                    <a:pt x="1028" y="118"/>
                    <a:pt x="1022" y="124"/>
                    <a:pt x="1022" y="131"/>
                  </a:cubicBezTo>
                  <a:cubicBezTo>
                    <a:pt x="1022" y="138"/>
                    <a:pt x="1028" y="144"/>
                    <a:pt x="1035" y="144"/>
                  </a:cubicBezTo>
                  <a:close/>
                  <a:moveTo>
                    <a:pt x="1075" y="144"/>
                  </a:moveTo>
                  <a:cubicBezTo>
                    <a:pt x="1082" y="144"/>
                    <a:pt x="1087" y="138"/>
                    <a:pt x="1087" y="131"/>
                  </a:cubicBezTo>
                  <a:cubicBezTo>
                    <a:pt x="1087" y="124"/>
                    <a:pt x="1082" y="118"/>
                    <a:pt x="1075" y="118"/>
                  </a:cubicBezTo>
                  <a:cubicBezTo>
                    <a:pt x="1068" y="118"/>
                    <a:pt x="1062" y="124"/>
                    <a:pt x="1062" y="131"/>
                  </a:cubicBezTo>
                  <a:cubicBezTo>
                    <a:pt x="1062" y="138"/>
                    <a:pt x="1068" y="144"/>
                    <a:pt x="1075" y="144"/>
                  </a:cubicBezTo>
                  <a:close/>
                  <a:moveTo>
                    <a:pt x="1114" y="144"/>
                  </a:moveTo>
                  <a:cubicBezTo>
                    <a:pt x="1121" y="144"/>
                    <a:pt x="1127" y="138"/>
                    <a:pt x="1127" y="131"/>
                  </a:cubicBezTo>
                  <a:cubicBezTo>
                    <a:pt x="1127" y="124"/>
                    <a:pt x="1121" y="118"/>
                    <a:pt x="1114" y="118"/>
                  </a:cubicBezTo>
                  <a:cubicBezTo>
                    <a:pt x="1107" y="118"/>
                    <a:pt x="1101" y="124"/>
                    <a:pt x="1101" y="131"/>
                  </a:cubicBezTo>
                  <a:cubicBezTo>
                    <a:pt x="1101" y="138"/>
                    <a:pt x="1107" y="144"/>
                    <a:pt x="1114" y="144"/>
                  </a:cubicBezTo>
                  <a:close/>
                  <a:moveTo>
                    <a:pt x="1153" y="144"/>
                  </a:moveTo>
                  <a:cubicBezTo>
                    <a:pt x="1161" y="144"/>
                    <a:pt x="1166" y="138"/>
                    <a:pt x="1166" y="131"/>
                  </a:cubicBezTo>
                  <a:cubicBezTo>
                    <a:pt x="1166" y="124"/>
                    <a:pt x="1161" y="118"/>
                    <a:pt x="1153" y="118"/>
                  </a:cubicBezTo>
                  <a:cubicBezTo>
                    <a:pt x="1146" y="118"/>
                    <a:pt x="1141" y="124"/>
                    <a:pt x="1141" y="131"/>
                  </a:cubicBezTo>
                  <a:cubicBezTo>
                    <a:pt x="1141" y="138"/>
                    <a:pt x="1146" y="144"/>
                    <a:pt x="1153" y="144"/>
                  </a:cubicBezTo>
                  <a:close/>
                  <a:moveTo>
                    <a:pt x="1193" y="118"/>
                  </a:moveTo>
                  <a:cubicBezTo>
                    <a:pt x="1186" y="118"/>
                    <a:pt x="1180" y="124"/>
                    <a:pt x="1180" y="131"/>
                  </a:cubicBezTo>
                  <a:cubicBezTo>
                    <a:pt x="1180" y="138"/>
                    <a:pt x="1186" y="144"/>
                    <a:pt x="1193" y="144"/>
                  </a:cubicBezTo>
                  <a:cubicBezTo>
                    <a:pt x="1200" y="144"/>
                    <a:pt x="1206" y="138"/>
                    <a:pt x="1206" y="131"/>
                  </a:cubicBezTo>
                  <a:cubicBezTo>
                    <a:pt x="1206" y="124"/>
                    <a:pt x="1200" y="118"/>
                    <a:pt x="1193" y="118"/>
                  </a:cubicBezTo>
                  <a:close/>
                  <a:moveTo>
                    <a:pt x="1232" y="118"/>
                  </a:moveTo>
                  <a:cubicBezTo>
                    <a:pt x="1225" y="118"/>
                    <a:pt x="1220" y="124"/>
                    <a:pt x="1220" y="131"/>
                  </a:cubicBezTo>
                  <a:cubicBezTo>
                    <a:pt x="1220" y="138"/>
                    <a:pt x="1225" y="144"/>
                    <a:pt x="1232" y="144"/>
                  </a:cubicBezTo>
                  <a:cubicBezTo>
                    <a:pt x="1239" y="144"/>
                    <a:pt x="1245" y="138"/>
                    <a:pt x="1245" y="131"/>
                  </a:cubicBezTo>
                  <a:cubicBezTo>
                    <a:pt x="1245" y="124"/>
                    <a:pt x="1239" y="118"/>
                    <a:pt x="1232" y="118"/>
                  </a:cubicBezTo>
                  <a:close/>
                  <a:moveTo>
                    <a:pt x="1272" y="118"/>
                  </a:moveTo>
                  <a:cubicBezTo>
                    <a:pt x="1265" y="118"/>
                    <a:pt x="1259" y="124"/>
                    <a:pt x="1259" y="131"/>
                  </a:cubicBezTo>
                  <a:cubicBezTo>
                    <a:pt x="1259" y="138"/>
                    <a:pt x="1265" y="144"/>
                    <a:pt x="1272" y="144"/>
                  </a:cubicBezTo>
                  <a:cubicBezTo>
                    <a:pt x="1279" y="144"/>
                    <a:pt x="1285" y="138"/>
                    <a:pt x="1285" y="131"/>
                  </a:cubicBezTo>
                  <a:cubicBezTo>
                    <a:pt x="1285" y="124"/>
                    <a:pt x="1279" y="118"/>
                    <a:pt x="1272" y="118"/>
                  </a:cubicBezTo>
                  <a:close/>
                  <a:moveTo>
                    <a:pt x="1311" y="144"/>
                  </a:moveTo>
                  <a:cubicBezTo>
                    <a:pt x="1318" y="144"/>
                    <a:pt x="1324" y="138"/>
                    <a:pt x="1324" y="131"/>
                  </a:cubicBezTo>
                  <a:cubicBezTo>
                    <a:pt x="1324" y="124"/>
                    <a:pt x="1318" y="118"/>
                    <a:pt x="1311" y="118"/>
                  </a:cubicBezTo>
                  <a:cubicBezTo>
                    <a:pt x="1304" y="118"/>
                    <a:pt x="1298" y="124"/>
                    <a:pt x="1298" y="131"/>
                  </a:cubicBezTo>
                  <a:cubicBezTo>
                    <a:pt x="1298" y="138"/>
                    <a:pt x="1304" y="144"/>
                    <a:pt x="1311" y="144"/>
                  </a:cubicBezTo>
                  <a:close/>
                  <a:moveTo>
                    <a:pt x="1351" y="144"/>
                  </a:moveTo>
                  <a:cubicBezTo>
                    <a:pt x="1358" y="144"/>
                    <a:pt x="1363" y="138"/>
                    <a:pt x="1363" y="131"/>
                  </a:cubicBezTo>
                  <a:cubicBezTo>
                    <a:pt x="1363" y="124"/>
                    <a:pt x="1358" y="118"/>
                    <a:pt x="1351" y="118"/>
                  </a:cubicBezTo>
                  <a:cubicBezTo>
                    <a:pt x="1344" y="118"/>
                    <a:pt x="1338" y="124"/>
                    <a:pt x="1338" y="131"/>
                  </a:cubicBezTo>
                  <a:cubicBezTo>
                    <a:pt x="1338" y="138"/>
                    <a:pt x="1344" y="144"/>
                    <a:pt x="1351" y="144"/>
                  </a:cubicBezTo>
                  <a:close/>
                  <a:moveTo>
                    <a:pt x="1390" y="144"/>
                  </a:moveTo>
                  <a:cubicBezTo>
                    <a:pt x="1397" y="144"/>
                    <a:pt x="1403" y="138"/>
                    <a:pt x="1403" y="131"/>
                  </a:cubicBezTo>
                  <a:cubicBezTo>
                    <a:pt x="1403" y="124"/>
                    <a:pt x="1397" y="118"/>
                    <a:pt x="1390" y="118"/>
                  </a:cubicBezTo>
                  <a:cubicBezTo>
                    <a:pt x="1383" y="118"/>
                    <a:pt x="1377" y="124"/>
                    <a:pt x="1377" y="131"/>
                  </a:cubicBezTo>
                  <a:cubicBezTo>
                    <a:pt x="1377" y="138"/>
                    <a:pt x="1383" y="144"/>
                    <a:pt x="1390" y="144"/>
                  </a:cubicBezTo>
                  <a:close/>
                  <a:moveTo>
                    <a:pt x="1429" y="144"/>
                  </a:moveTo>
                  <a:cubicBezTo>
                    <a:pt x="1437" y="144"/>
                    <a:pt x="1442" y="138"/>
                    <a:pt x="1442" y="131"/>
                  </a:cubicBezTo>
                  <a:cubicBezTo>
                    <a:pt x="1442" y="124"/>
                    <a:pt x="1437" y="118"/>
                    <a:pt x="1429" y="118"/>
                  </a:cubicBezTo>
                  <a:cubicBezTo>
                    <a:pt x="1422" y="118"/>
                    <a:pt x="1417" y="124"/>
                    <a:pt x="1417" y="131"/>
                  </a:cubicBezTo>
                  <a:cubicBezTo>
                    <a:pt x="1417" y="138"/>
                    <a:pt x="1422" y="144"/>
                    <a:pt x="1429" y="144"/>
                  </a:cubicBezTo>
                  <a:close/>
                  <a:moveTo>
                    <a:pt x="1469" y="118"/>
                  </a:moveTo>
                  <a:cubicBezTo>
                    <a:pt x="1462" y="118"/>
                    <a:pt x="1456" y="124"/>
                    <a:pt x="1456" y="131"/>
                  </a:cubicBezTo>
                  <a:cubicBezTo>
                    <a:pt x="1456" y="138"/>
                    <a:pt x="1462" y="144"/>
                    <a:pt x="1469" y="144"/>
                  </a:cubicBezTo>
                  <a:cubicBezTo>
                    <a:pt x="1476" y="144"/>
                    <a:pt x="1482" y="138"/>
                    <a:pt x="1482" y="131"/>
                  </a:cubicBezTo>
                  <a:cubicBezTo>
                    <a:pt x="1482" y="124"/>
                    <a:pt x="1476" y="118"/>
                    <a:pt x="1469" y="118"/>
                  </a:cubicBezTo>
                  <a:close/>
                  <a:moveTo>
                    <a:pt x="1508" y="144"/>
                  </a:moveTo>
                  <a:cubicBezTo>
                    <a:pt x="1515" y="144"/>
                    <a:pt x="1521" y="138"/>
                    <a:pt x="1521" y="131"/>
                  </a:cubicBezTo>
                  <a:cubicBezTo>
                    <a:pt x="1521" y="124"/>
                    <a:pt x="1515" y="118"/>
                    <a:pt x="1508" y="118"/>
                  </a:cubicBezTo>
                  <a:cubicBezTo>
                    <a:pt x="1501" y="118"/>
                    <a:pt x="1496" y="124"/>
                    <a:pt x="1496" y="131"/>
                  </a:cubicBezTo>
                  <a:cubicBezTo>
                    <a:pt x="1496" y="138"/>
                    <a:pt x="1501" y="144"/>
                    <a:pt x="1508" y="144"/>
                  </a:cubicBezTo>
                  <a:close/>
                  <a:moveTo>
                    <a:pt x="1876" y="131"/>
                  </a:moveTo>
                  <a:cubicBezTo>
                    <a:pt x="1876" y="124"/>
                    <a:pt x="1870" y="118"/>
                    <a:pt x="1863" y="118"/>
                  </a:cubicBezTo>
                  <a:cubicBezTo>
                    <a:pt x="1856" y="118"/>
                    <a:pt x="1850" y="124"/>
                    <a:pt x="1850" y="131"/>
                  </a:cubicBezTo>
                  <a:cubicBezTo>
                    <a:pt x="1850" y="138"/>
                    <a:pt x="1856" y="144"/>
                    <a:pt x="1863" y="144"/>
                  </a:cubicBezTo>
                  <a:cubicBezTo>
                    <a:pt x="1870" y="144"/>
                    <a:pt x="1876" y="138"/>
                    <a:pt x="1876" y="131"/>
                  </a:cubicBezTo>
                  <a:close/>
                  <a:moveTo>
                    <a:pt x="2730" y="144"/>
                  </a:moveTo>
                  <a:cubicBezTo>
                    <a:pt x="2738" y="144"/>
                    <a:pt x="2743" y="138"/>
                    <a:pt x="2743" y="131"/>
                  </a:cubicBezTo>
                  <a:cubicBezTo>
                    <a:pt x="2743" y="124"/>
                    <a:pt x="2738" y="118"/>
                    <a:pt x="2730" y="118"/>
                  </a:cubicBezTo>
                  <a:cubicBezTo>
                    <a:pt x="2723" y="118"/>
                    <a:pt x="2718" y="124"/>
                    <a:pt x="2718" y="131"/>
                  </a:cubicBezTo>
                  <a:cubicBezTo>
                    <a:pt x="2718" y="138"/>
                    <a:pt x="2723" y="144"/>
                    <a:pt x="2730" y="144"/>
                  </a:cubicBezTo>
                  <a:close/>
                  <a:moveTo>
                    <a:pt x="2770" y="141"/>
                  </a:moveTo>
                  <a:cubicBezTo>
                    <a:pt x="2775" y="141"/>
                    <a:pt x="2780" y="136"/>
                    <a:pt x="2780" y="131"/>
                  </a:cubicBezTo>
                  <a:cubicBezTo>
                    <a:pt x="2780" y="125"/>
                    <a:pt x="2775" y="121"/>
                    <a:pt x="2770" y="121"/>
                  </a:cubicBezTo>
                  <a:cubicBezTo>
                    <a:pt x="2764" y="121"/>
                    <a:pt x="2760" y="125"/>
                    <a:pt x="2760" y="131"/>
                  </a:cubicBezTo>
                  <a:cubicBezTo>
                    <a:pt x="2760" y="136"/>
                    <a:pt x="2764" y="141"/>
                    <a:pt x="2770" y="141"/>
                  </a:cubicBezTo>
                  <a:close/>
                  <a:moveTo>
                    <a:pt x="523" y="183"/>
                  </a:moveTo>
                  <a:cubicBezTo>
                    <a:pt x="530" y="183"/>
                    <a:pt x="535" y="177"/>
                    <a:pt x="535" y="170"/>
                  </a:cubicBezTo>
                  <a:cubicBezTo>
                    <a:pt x="535" y="163"/>
                    <a:pt x="530" y="158"/>
                    <a:pt x="523" y="158"/>
                  </a:cubicBezTo>
                  <a:cubicBezTo>
                    <a:pt x="516" y="158"/>
                    <a:pt x="510" y="163"/>
                    <a:pt x="510" y="170"/>
                  </a:cubicBezTo>
                  <a:cubicBezTo>
                    <a:pt x="510" y="177"/>
                    <a:pt x="516" y="183"/>
                    <a:pt x="523" y="183"/>
                  </a:cubicBezTo>
                  <a:close/>
                  <a:moveTo>
                    <a:pt x="602" y="183"/>
                  </a:moveTo>
                  <a:cubicBezTo>
                    <a:pt x="609" y="183"/>
                    <a:pt x="614" y="177"/>
                    <a:pt x="614" y="170"/>
                  </a:cubicBezTo>
                  <a:cubicBezTo>
                    <a:pt x="614" y="163"/>
                    <a:pt x="609" y="158"/>
                    <a:pt x="602" y="158"/>
                  </a:cubicBezTo>
                  <a:cubicBezTo>
                    <a:pt x="595" y="158"/>
                    <a:pt x="589" y="163"/>
                    <a:pt x="589" y="170"/>
                  </a:cubicBezTo>
                  <a:cubicBezTo>
                    <a:pt x="589" y="177"/>
                    <a:pt x="595" y="183"/>
                    <a:pt x="602" y="183"/>
                  </a:cubicBezTo>
                  <a:close/>
                  <a:moveTo>
                    <a:pt x="641" y="183"/>
                  </a:moveTo>
                  <a:cubicBezTo>
                    <a:pt x="648" y="183"/>
                    <a:pt x="654" y="177"/>
                    <a:pt x="654" y="170"/>
                  </a:cubicBezTo>
                  <a:cubicBezTo>
                    <a:pt x="654" y="163"/>
                    <a:pt x="648" y="158"/>
                    <a:pt x="641" y="158"/>
                  </a:cubicBezTo>
                  <a:cubicBezTo>
                    <a:pt x="634" y="158"/>
                    <a:pt x="628" y="163"/>
                    <a:pt x="628" y="170"/>
                  </a:cubicBezTo>
                  <a:cubicBezTo>
                    <a:pt x="628" y="177"/>
                    <a:pt x="634" y="183"/>
                    <a:pt x="641" y="183"/>
                  </a:cubicBezTo>
                  <a:close/>
                  <a:moveTo>
                    <a:pt x="680" y="183"/>
                  </a:moveTo>
                  <a:cubicBezTo>
                    <a:pt x="687" y="183"/>
                    <a:pt x="693" y="177"/>
                    <a:pt x="693" y="170"/>
                  </a:cubicBezTo>
                  <a:cubicBezTo>
                    <a:pt x="693" y="163"/>
                    <a:pt x="687" y="158"/>
                    <a:pt x="680" y="158"/>
                  </a:cubicBezTo>
                  <a:cubicBezTo>
                    <a:pt x="673" y="158"/>
                    <a:pt x="668" y="163"/>
                    <a:pt x="668" y="170"/>
                  </a:cubicBezTo>
                  <a:cubicBezTo>
                    <a:pt x="668" y="177"/>
                    <a:pt x="673" y="183"/>
                    <a:pt x="680" y="183"/>
                  </a:cubicBezTo>
                  <a:close/>
                  <a:moveTo>
                    <a:pt x="720" y="183"/>
                  </a:moveTo>
                  <a:cubicBezTo>
                    <a:pt x="727" y="183"/>
                    <a:pt x="733" y="177"/>
                    <a:pt x="733" y="170"/>
                  </a:cubicBezTo>
                  <a:cubicBezTo>
                    <a:pt x="733" y="163"/>
                    <a:pt x="727" y="158"/>
                    <a:pt x="720" y="158"/>
                  </a:cubicBezTo>
                  <a:cubicBezTo>
                    <a:pt x="713" y="158"/>
                    <a:pt x="707" y="163"/>
                    <a:pt x="707" y="170"/>
                  </a:cubicBezTo>
                  <a:cubicBezTo>
                    <a:pt x="707" y="177"/>
                    <a:pt x="713" y="183"/>
                    <a:pt x="720" y="183"/>
                  </a:cubicBezTo>
                  <a:close/>
                  <a:moveTo>
                    <a:pt x="799" y="183"/>
                  </a:moveTo>
                  <a:cubicBezTo>
                    <a:pt x="806" y="183"/>
                    <a:pt x="811" y="177"/>
                    <a:pt x="811" y="170"/>
                  </a:cubicBezTo>
                  <a:cubicBezTo>
                    <a:pt x="811" y="163"/>
                    <a:pt x="806" y="158"/>
                    <a:pt x="799" y="158"/>
                  </a:cubicBezTo>
                  <a:cubicBezTo>
                    <a:pt x="792" y="158"/>
                    <a:pt x="786" y="163"/>
                    <a:pt x="786" y="170"/>
                  </a:cubicBezTo>
                  <a:cubicBezTo>
                    <a:pt x="786" y="177"/>
                    <a:pt x="792" y="183"/>
                    <a:pt x="799" y="183"/>
                  </a:cubicBezTo>
                  <a:close/>
                  <a:moveTo>
                    <a:pt x="838" y="183"/>
                  </a:moveTo>
                  <a:cubicBezTo>
                    <a:pt x="845" y="183"/>
                    <a:pt x="851" y="177"/>
                    <a:pt x="851" y="170"/>
                  </a:cubicBezTo>
                  <a:cubicBezTo>
                    <a:pt x="851" y="163"/>
                    <a:pt x="845" y="158"/>
                    <a:pt x="838" y="158"/>
                  </a:cubicBezTo>
                  <a:cubicBezTo>
                    <a:pt x="831" y="158"/>
                    <a:pt x="825" y="163"/>
                    <a:pt x="825" y="170"/>
                  </a:cubicBezTo>
                  <a:cubicBezTo>
                    <a:pt x="825" y="177"/>
                    <a:pt x="831" y="183"/>
                    <a:pt x="838" y="183"/>
                  </a:cubicBezTo>
                  <a:close/>
                  <a:moveTo>
                    <a:pt x="890" y="170"/>
                  </a:moveTo>
                  <a:cubicBezTo>
                    <a:pt x="890" y="163"/>
                    <a:pt x="885" y="158"/>
                    <a:pt x="878" y="158"/>
                  </a:cubicBezTo>
                  <a:cubicBezTo>
                    <a:pt x="871" y="158"/>
                    <a:pt x="865" y="163"/>
                    <a:pt x="865" y="170"/>
                  </a:cubicBezTo>
                  <a:cubicBezTo>
                    <a:pt x="865" y="177"/>
                    <a:pt x="871" y="183"/>
                    <a:pt x="878" y="183"/>
                  </a:cubicBezTo>
                  <a:cubicBezTo>
                    <a:pt x="885" y="183"/>
                    <a:pt x="890" y="177"/>
                    <a:pt x="890" y="170"/>
                  </a:cubicBezTo>
                  <a:close/>
                  <a:moveTo>
                    <a:pt x="1114" y="183"/>
                  </a:moveTo>
                  <a:cubicBezTo>
                    <a:pt x="1121" y="183"/>
                    <a:pt x="1127" y="177"/>
                    <a:pt x="1127" y="170"/>
                  </a:cubicBezTo>
                  <a:cubicBezTo>
                    <a:pt x="1127" y="163"/>
                    <a:pt x="1121" y="158"/>
                    <a:pt x="1114" y="158"/>
                  </a:cubicBezTo>
                  <a:cubicBezTo>
                    <a:pt x="1107" y="158"/>
                    <a:pt x="1101" y="163"/>
                    <a:pt x="1101" y="170"/>
                  </a:cubicBezTo>
                  <a:cubicBezTo>
                    <a:pt x="1101" y="177"/>
                    <a:pt x="1107" y="183"/>
                    <a:pt x="1114" y="183"/>
                  </a:cubicBezTo>
                  <a:close/>
                  <a:moveTo>
                    <a:pt x="1153" y="183"/>
                  </a:moveTo>
                  <a:cubicBezTo>
                    <a:pt x="1161" y="183"/>
                    <a:pt x="1166" y="177"/>
                    <a:pt x="1166" y="170"/>
                  </a:cubicBezTo>
                  <a:cubicBezTo>
                    <a:pt x="1166" y="163"/>
                    <a:pt x="1161" y="158"/>
                    <a:pt x="1153" y="158"/>
                  </a:cubicBezTo>
                  <a:cubicBezTo>
                    <a:pt x="1146" y="158"/>
                    <a:pt x="1141" y="163"/>
                    <a:pt x="1141" y="170"/>
                  </a:cubicBezTo>
                  <a:cubicBezTo>
                    <a:pt x="1141" y="177"/>
                    <a:pt x="1146" y="183"/>
                    <a:pt x="1153" y="183"/>
                  </a:cubicBezTo>
                  <a:close/>
                  <a:moveTo>
                    <a:pt x="1193" y="183"/>
                  </a:moveTo>
                  <a:cubicBezTo>
                    <a:pt x="1200" y="183"/>
                    <a:pt x="1206" y="177"/>
                    <a:pt x="1206" y="170"/>
                  </a:cubicBezTo>
                  <a:cubicBezTo>
                    <a:pt x="1206" y="163"/>
                    <a:pt x="1200" y="158"/>
                    <a:pt x="1193" y="158"/>
                  </a:cubicBezTo>
                  <a:cubicBezTo>
                    <a:pt x="1186" y="158"/>
                    <a:pt x="1180" y="163"/>
                    <a:pt x="1180" y="170"/>
                  </a:cubicBezTo>
                  <a:cubicBezTo>
                    <a:pt x="1180" y="177"/>
                    <a:pt x="1186" y="183"/>
                    <a:pt x="1193" y="183"/>
                  </a:cubicBezTo>
                  <a:close/>
                  <a:moveTo>
                    <a:pt x="1232" y="183"/>
                  </a:moveTo>
                  <a:cubicBezTo>
                    <a:pt x="1239" y="183"/>
                    <a:pt x="1245" y="177"/>
                    <a:pt x="1245" y="170"/>
                  </a:cubicBezTo>
                  <a:cubicBezTo>
                    <a:pt x="1245" y="163"/>
                    <a:pt x="1239" y="158"/>
                    <a:pt x="1232" y="158"/>
                  </a:cubicBezTo>
                  <a:cubicBezTo>
                    <a:pt x="1225" y="158"/>
                    <a:pt x="1220" y="163"/>
                    <a:pt x="1220" y="170"/>
                  </a:cubicBezTo>
                  <a:cubicBezTo>
                    <a:pt x="1220" y="177"/>
                    <a:pt x="1225" y="183"/>
                    <a:pt x="1232" y="183"/>
                  </a:cubicBezTo>
                  <a:close/>
                  <a:moveTo>
                    <a:pt x="1272" y="183"/>
                  </a:moveTo>
                  <a:cubicBezTo>
                    <a:pt x="1279" y="183"/>
                    <a:pt x="1285" y="177"/>
                    <a:pt x="1285" y="170"/>
                  </a:cubicBezTo>
                  <a:cubicBezTo>
                    <a:pt x="1285" y="163"/>
                    <a:pt x="1279" y="158"/>
                    <a:pt x="1272" y="158"/>
                  </a:cubicBezTo>
                  <a:cubicBezTo>
                    <a:pt x="1265" y="158"/>
                    <a:pt x="1259" y="163"/>
                    <a:pt x="1259" y="170"/>
                  </a:cubicBezTo>
                  <a:cubicBezTo>
                    <a:pt x="1259" y="177"/>
                    <a:pt x="1265" y="183"/>
                    <a:pt x="1272" y="183"/>
                  </a:cubicBezTo>
                  <a:close/>
                  <a:moveTo>
                    <a:pt x="1311" y="183"/>
                  </a:moveTo>
                  <a:cubicBezTo>
                    <a:pt x="1318" y="183"/>
                    <a:pt x="1324" y="177"/>
                    <a:pt x="1324" y="170"/>
                  </a:cubicBezTo>
                  <a:cubicBezTo>
                    <a:pt x="1324" y="163"/>
                    <a:pt x="1318" y="158"/>
                    <a:pt x="1311" y="158"/>
                  </a:cubicBezTo>
                  <a:cubicBezTo>
                    <a:pt x="1304" y="158"/>
                    <a:pt x="1298" y="163"/>
                    <a:pt x="1298" y="170"/>
                  </a:cubicBezTo>
                  <a:cubicBezTo>
                    <a:pt x="1298" y="177"/>
                    <a:pt x="1304" y="183"/>
                    <a:pt x="1311" y="183"/>
                  </a:cubicBezTo>
                  <a:close/>
                  <a:moveTo>
                    <a:pt x="1351" y="183"/>
                  </a:moveTo>
                  <a:cubicBezTo>
                    <a:pt x="1358" y="183"/>
                    <a:pt x="1363" y="177"/>
                    <a:pt x="1363" y="170"/>
                  </a:cubicBezTo>
                  <a:cubicBezTo>
                    <a:pt x="1363" y="163"/>
                    <a:pt x="1358" y="158"/>
                    <a:pt x="1351" y="158"/>
                  </a:cubicBezTo>
                  <a:cubicBezTo>
                    <a:pt x="1344" y="158"/>
                    <a:pt x="1338" y="163"/>
                    <a:pt x="1338" y="170"/>
                  </a:cubicBezTo>
                  <a:cubicBezTo>
                    <a:pt x="1338" y="177"/>
                    <a:pt x="1344" y="183"/>
                    <a:pt x="1351" y="183"/>
                  </a:cubicBezTo>
                  <a:close/>
                  <a:moveTo>
                    <a:pt x="1390" y="183"/>
                  </a:moveTo>
                  <a:cubicBezTo>
                    <a:pt x="1397" y="183"/>
                    <a:pt x="1403" y="177"/>
                    <a:pt x="1403" y="170"/>
                  </a:cubicBezTo>
                  <a:cubicBezTo>
                    <a:pt x="1403" y="163"/>
                    <a:pt x="1397" y="158"/>
                    <a:pt x="1390" y="158"/>
                  </a:cubicBezTo>
                  <a:cubicBezTo>
                    <a:pt x="1383" y="158"/>
                    <a:pt x="1377" y="163"/>
                    <a:pt x="1377" y="170"/>
                  </a:cubicBezTo>
                  <a:cubicBezTo>
                    <a:pt x="1377" y="177"/>
                    <a:pt x="1383" y="183"/>
                    <a:pt x="1390" y="183"/>
                  </a:cubicBezTo>
                  <a:close/>
                  <a:moveTo>
                    <a:pt x="1429" y="183"/>
                  </a:moveTo>
                  <a:cubicBezTo>
                    <a:pt x="1437" y="183"/>
                    <a:pt x="1442" y="177"/>
                    <a:pt x="1442" y="170"/>
                  </a:cubicBezTo>
                  <a:cubicBezTo>
                    <a:pt x="1442" y="163"/>
                    <a:pt x="1437" y="158"/>
                    <a:pt x="1429" y="158"/>
                  </a:cubicBezTo>
                  <a:cubicBezTo>
                    <a:pt x="1422" y="158"/>
                    <a:pt x="1417" y="163"/>
                    <a:pt x="1417" y="170"/>
                  </a:cubicBezTo>
                  <a:cubicBezTo>
                    <a:pt x="1417" y="177"/>
                    <a:pt x="1422" y="183"/>
                    <a:pt x="1429" y="183"/>
                  </a:cubicBezTo>
                  <a:close/>
                  <a:moveTo>
                    <a:pt x="1469" y="183"/>
                  </a:moveTo>
                  <a:cubicBezTo>
                    <a:pt x="1476" y="183"/>
                    <a:pt x="1482" y="177"/>
                    <a:pt x="1482" y="170"/>
                  </a:cubicBezTo>
                  <a:cubicBezTo>
                    <a:pt x="1482" y="163"/>
                    <a:pt x="1476" y="158"/>
                    <a:pt x="1469" y="158"/>
                  </a:cubicBezTo>
                  <a:cubicBezTo>
                    <a:pt x="1462" y="158"/>
                    <a:pt x="1456" y="163"/>
                    <a:pt x="1456" y="170"/>
                  </a:cubicBezTo>
                  <a:cubicBezTo>
                    <a:pt x="1456" y="177"/>
                    <a:pt x="1462" y="183"/>
                    <a:pt x="1469" y="183"/>
                  </a:cubicBezTo>
                  <a:close/>
                  <a:moveTo>
                    <a:pt x="1508" y="158"/>
                  </a:moveTo>
                  <a:cubicBezTo>
                    <a:pt x="1501" y="158"/>
                    <a:pt x="1496" y="163"/>
                    <a:pt x="1496" y="170"/>
                  </a:cubicBezTo>
                  <a:cubicBezTo>
                    <a:pt x="1496" y="177"/>
                    <a:pt x="1501" y="183"/>
                    <a:pt x="1508" y="183"/>
                  </a:cubicBezTo>
                  <a:cubicBezTo>
                    <a:pt x="1515" y="183"/>
                    <a:pt x="1521" y="177"/>
                    <a:pt x="1521" y="170"/>
                  </a:cubicBezTo>
                  <a:cubicBezTo>
                    <a:pt x="1521" y="163"/>
                    <a:pt x="1515" y="158"/>
                    <a:pt x="1508" y="158"/>
                  </a:cubicBezTo>
                  <a:close/>
                  <a:moveTo>
                    <a:pt x="2297" y="183"/>
                  </a:moveTo>
                  <a:cubicBezTo>
                    <a:pt x="2304" y="183"/>
                    <a:pt x="2310" y="177"/>
                    <a:pt x="2310" y="170"/>
                  </a:cubicBezTo>
                  <a:cubicBezTo>
                    <a:pt x="2310" y="163"/>
                    <a:pt x="2304" y="158"/>
                    <a:pt x="2297" y="158"/>
                  </a:cubicBezTo>
                  <a:cubicBezTo>
                    <a:pt x="2290" y="158"/>
                    <a:pt x="2284" y="163"/>
                    <a:pt x="2284" y="170"/>
                  </a:cubicBezTo>
                  <a:cubicBezTo>
                    <a:pt x="2284" y="177"/>
                    <a:pt x="2290" y="183"/>
                    <a:pt x="2297" y="183"/>
                  </a:cubicBezTo>
                  <a:close/>
                  <a:moveTo>
                    <a:pt x="2612" y="183"/>
                  </a:moveTo>
                  <a:cubicBezTo>
                    <a:pt x="2619" y="183"/>
                    <a:pt x="2625" y="177"/>
                    <a:pt x="2625" y="170"/>
                  </a:cubicBezTo>
                  <a:cubicBezTo>
                    <a:pt x="2625" y="163"/>
                    <a:pt x="2619" y="158"/>
                    <a:pt x="2612" y="158"/>
                  </a:cubicBezTo>
                  <a:cubicBezTo>
                    <a:pt x="2605" y="158"/>
                    <a:pt x="2599" y="163"/>
                    <a:pt x="2599" y="170"/>
                  </a:cubicBezTo>
                  <a:cubicBezTo>
                    <a:pt x="2599" y="177"/>
                    <a:pt x="2605" y="183"/>
                    <a:pt x="2612" y="183"/>
                  </a:cubicBezTo>
                  <a:close/>
                  <a:moveTo>
                    <a:pt x="2652" y="158"/>
                  </a:moveTo>
                  <a:cubicBezTo>
                    <a:pt x="2645" y="158"/>
                    <a:pt x="2639" y="163"/>
                    <a:pt x="2639" y="170"/>
                  </a:cubicBezTo>
                  <a:cubicBezTo>
                    <a:pt x="2639" y="177"/>
                    <a:pt x="2645" y="183"/>
                    <a:pt x="2652" y="183"/>
                  </a:cubicBezTo>
                  <a:cubicBezTo>
                    <a:pt x="2659" y="183"/>
                    <a:pt x="2664" y="177"/>
                    <a:pt x="2664" y="170"/>
                  </a:cubicBezTo>
                  <a:cubicBezTo>
                    <a:pt x="2664" y="163"/>
                    <a:pt x="2659" y="158"/>
                    <a:pt x="2652" y="158"/>
                  </a:cubicBezTo>
                  <a:close/>
                  <a:moveTo>
                    <a:pt x="2691" y="183"/>
                  </a:moveTo>
                  <a:cubicBezTo>
                    <a:pt x="2698" y="183"/>
                    <a:pt x="2704" y="177"/>
                    <a:pt x="2704" y="170"/>
                  </a:cubicBezTo>
                  <a:cubicBezTo>
                    <a:pt x="2704" y="163"/>
                    <a:pt x="2698" y="158"/>
                    <a:pt x="2691" y="158"/>
                  </a:cubicBezTo>
                  <a:cubicBezTo>
                    <a:pt x="2684" y="158"/>
                    <a:pt x="2678" y="163"/>
                    <a:pt x="2678" y="170"/>
                  </a:cubicBezTo>
                  <a:cubicBezTo>
                    <a:pt x="2678" y="177"/>
                    <a:pt x="2684" y="183"/>
                    <a:pt x="2691" y="183"/>
                  </a:cubicBezTo>
                  <a:close/>
                  <a:moveTo>
                    <a:pt x="2730" y="183"/>
                  </a:moveTo>
                  <a:cubicBezTo>
                    <a:pt x="2738" y="183"/>
                    <a:pt x="2743" y="177"/>
                    <a:pt x="2743" y="170"/>
                  </a:cubicBezTo>
                  <a:cubicBezTo>
                    <a:pt x="2743" y="163"/>
                    <a:pt x="2738" y="158"/>
                    <a:pt x="2730" y="158"/>
                  </a:cubicBezTo>
                  <a:cubicBezTo>
                    <a:pt x="2723" y="158"/>
                    <a:pt x="2718" y="163"/>
                    <a:pt x="2718" y="170"/>
                  </a:cubicBezTo>
                  <a:cubicBezTo>
                    <a:pt x="2718" y="177"/>
                    <a:pt x="2723" y="183"/>
                    <a:pt x="2730" y="183"/>
                  </a:cubicBezTo>
                  <a:close/>
                  <a:moveTo>
                    <a:pt x="2770" y="183"/>
                  </a:moveTo>
                  <a:cubicBezTo>
                    <a:pt x="2777" y="183"/>
                    <a:pt x="2783" y="177"/>
                    <a:pt x="2783" y="170"/>
                  </a:cubicBezTo>
                  <a:cubicBezTo>
                    <a:pt x="2783" y="163"/>
                    <a:pt x="2777" y="158"/>
                    <a:pt x="2770" y="158"/>
                  </a:cubicBezTo>
                  <a:cubicBezTo>
                    <a:pt x="2763" y="158"/>
                    <a:pt x="2757" y="163"/>
                    <a:pt x="2757" y="170"/>
                  </a:cubicBezTo>
                  <a:cubicBezTo>
                    <a:pt x="2757" y="177"/>
                    <a:pt x="2763" y="183"/>
                    <a:pt x="2770" y="183"/>
                  </a:cubicBezTo>
                  <a:close/>
                  <a:moveTo>
                    <a:pt x="2809" y="183"/>
                  </a:moveTo>
                  <a:cubicBezTo>
                    <a:pt x="2816" y="183"/>
                    <a:pt x="2822" y="177"/>
                    <a:pt x="2822" y="170"/>
                  </a:cubicBezTo>
                  <a:cubicBezTo>
                    <a:pt x="2822" y="163"/>
                    <a:pt x="2816" y="158"/>
                    <a:pt x="2809" y="158"/>
                  </a:cubicBezTo>
                  <a:cubicBezTo>
                    <a:pt x="2802" y="158"/>
                    <a:pt x="2797" y="163"/>
                    <a:pt x="2797" y="170"/>
                  </a:cubicBezTo>
                  <a:cubicBezTo>
                    <a:pt x="2797" y="177"/>
                    <a:pt x="2802" y="183"/>
                    <a:pt x="2809" y="183"/>
                  </a:cubicBezTo>
                  <a:close/>
                  <a:moveTo>
                    <a:pt x="3125" y="183"/>
                  </a:moveTo>
                  <a:cubicBezTo>
                    <a:pt x="3132" y="183"/>
                    <a:pt x="3137" y="177"/>
                    <a:pt x="3137" y="170"/>
                  </a:cubicBezTo>
                  <a:cubicBezTo>
                    <a:pt x="3137" y="163"/>
                    <a:pt x="3132" y="158"/>
                    <a:pt x="3125" y="158"/>
                  </a:cubicBezTo>
                  <a:cubicBezTo>
                    <a:pt x="3118" y="158"/>
                    <a:pt x="3112" y="163"/>
                    <a:pt x="3112" y="170"/>
                  </a:cubicBezTo>
                  <a:cubicBezTo>
                    <a:pt x="3112" y="177"/>
                    <a:pt x="3118" y="183"/>
                    <a:pt x="3125" y="183"/>
                  </a:cubicBezTo>
                  <a:close/>
                  <a:moveTo>
                    <a:pt x="3204" y="183"/>
                  </a:moveTo>
                  <a:cubicBezTo>
                    <a:pt x="3211" y="183"/>
                    <a:pt x="3216" y="177"/>
                    <a:pt x="3216" y="170"/>
                  </a:cubicBezTo>
                  <a:cubicBezTo>
                    <a:pt x="3216" y="163"/>
                    <a:pt x="3211" y="158"/>
                    <a:pt x="3204" y="158"/>
                  </a:cubicBezTo>
                  <a:cubicBezTo>
                    <a:pt x="3197" y="158"/>
                    <a:pt x="3191" y="163"/>
                    <a:pt x="3191" y="170"/>
                  </a:cubicBezTo>
                  <a:cubicBezTo>
                    <a:pt x="3191" y="177"/>
                    <a:pt x="3197" y="183"/>
                    <a:pt x="3204" y="183"/>
                  </a:cubicBezTo>
                  <a:close/>
                  <a:moveTo>
                    <a:pt x="444" y="223"/>
                  </a:moveTo>
                  <a:cubicBezTo>
                    <a:pt x="451" y="223"/>
                    <a:pt x="457" y="217"/>
                    <a:pt x="457" y="210"/>
                  </a:cubicBezTo>
                  <a:cubicBezTo>
                    <a:pt x="457" y="203"/>
                    <a:pt x="451" y="197"/>
                    <a:pt x="444" y="197"/>
                  </a:cubicBezTo>
                  <a:cubicBezTo>
                    <a:pt x="437" y="197"/>
                    <a:pt x="431" y="203"/>
                    <a:pt x="431" y="210"/>
                  </a:cubicBezTo>
                  <a:cubicBezTo>
                    <a:pt x="431" y="217"/>
                    <a:pt x="437" y="223"/>
                    <a:pt x="444" y="223"/>
                  </a:cubicBezTo>
                  <a:close/>
                  <a:moveTo>
                    <a:pt x="483" y="223"/>
                  </a:moveTo>
                  <a:cubicBezTo>
                    <a:pt x="490" y="223"/>
                    <a:pt x="496" y="217"/>
                    <a:pt x="496" y="210"/>
                  </a:cubicBezTo>
                  <a:cubicBezTo>
                    <a:pt x="496" y="203"/>
                    <a:pt x="490" y="197"/>
                    <a:pt x="483" y="197"/>
                  </a:cubicBezTo>
                  <a:cubicBezTo>
                    <a:pt x="476" y="197"/>
                    <a:pt x="471" y="203"/>
                    <a:pt x="471" y="210"/>
                  </a:cubicBezTo>
                  <a:cubicBezTo>
                    <a:pt x="471" y="217"/>
                    <a:pt x="476" y="223"/>
                    <a:pt x="483" y="223"/>
                  </a:cubicBezTo>
                  <a:close/>
                  <a:moveTo>
                    <a:pt x="523" y="223"/>
                  </a:moveTo>
                  <a:cubicBezTo>
                    <a:pt x="530" y="223"/>
                    <a:pt x="535" y="217"/>
                    <a:pt x="535" y="210"/>
                  </a:cubicBezTo>
                  <a:cubicBezTo>
                    <a:pt x="535" y="203"/>
                    <a:pt x="530" y="197"/>
                    <a:pt x="523" y="197"/>
                  </a:cubicBezTo>
                  <a:cubicBezTo>
                    <a:pt x="516" y="197"/>
                    <a:pt x="510" y="203"/>
                    <a:pt x="510" y="210"/>
                  </a:cubicBezTo>
                  <a:cubicBezTo>
                    <a:pt x="510" y="217"/>
                    <a:pt x="516" y="223"/>
                    <a:pt x="523" y="223"/>
                  </a:cubicBezTo>
                  <a:close/>
                  <a:moveTo>
                    <a:pt x="602" y="223"/>
                  </a:moveTo>
                  <a:cubicBezTo>
                    <a:pt x="609" y="223"/>
                    <a:pt x="614" y="217"/>
                    <a:pt x="614" y="210"/>
                  </a:cubicBezTo>
                  <a:cubicBezTo>
                    <a:pt x="614" y="203"/>
                    <a:pt x="609" y="197"/>
                    <a:pt x="602" y="197"/>
                  </a:cubicBezTo>
                  <a:cubicBezTo>
                    <a:pt x="595" y="197"/>
                    <a:pt x="589" y="203"/>
                    <a:pt x="589" y="210"/>
                  </a:cubicBezTo>
                  <a:cubicBezTo>
                    <a:pt x="589" y="217"/>
                    <a:pt x="595" y="223"/>
                    <a:pt x="602" y="223"/>
                  </a:cubicBezTo>
                  <a:close/>
                  <a:moveTo>
                    <a:pt x="680" y="223"/>
                  </a:moveTo>
                  <a:cubicBezTo>
                    <a:pt x="687" y="223"/>
                    <a:pt x="693" y="217"/>
                    <a:pt x="693" y="210"/>
                  </a:cubicBezTo>
                  <a:cubicBezTo>
                    <a:pt x="693" y="203"/>
                    <a:pt x="687" y="197"/>
                    <a:pt x="680" y="197"/>
                  </a:cubicBezTo>
                  <a:cubicBezTo>
                    <a:pt x="673" y="197"/>
                    <a:pt x="668" y="203"/>
                    <a:pt x="668" y="210"/>
                  </a:cubicBezTo>
                  <a:cubicBezTo>
                    <a:pt x="668" y="217"/>
                    <a:pt x="673" y="223"/>
                    <a:pt x="680" y="223"/>
                  </a:cubicBezTo>
                  <a:close/>
                  <a:moveTo>
                    <a:pt x="747" y="210"/>
                  </a:moveTo>
                  <a:cubicBezTo>
                    <a:pt x="747" y="217"/>
                    <a:pt x="752" y="223"/>
                    <a:pt x="759" y="223"/>
                  </a:cubicBezTo>
                  <a:cubicBezTo>
                    <a:pt x="766" y="223"/>
                    <a:pt x="772" y="217"/>
                    <a:pt x="772" y="210"/>
                  </a:cubicBezTo>
                  <a:cubicBezTo>
                    <a:pt x="772" y="203"/>
                    <a:pt x="766" y="197"/>
                    <a:pt x="759" y="197"/>
                  </a:cubicBezTo>
                  <a:cubicBezTo>
                    <a:pt x="752" y="197"/>
                    <a:pt x="747" y="203"/>
                    <a:pt x="747" y="210"/>
                  </a:cubicBezTo>
                  <a:close/>
                  <a:moveTo>
                    <a:pt x="799" y="223"/>
                  </a:moveTo>
                  <a:cubicBezTo>
                    <a:pt x="806" y="223"/>
                    <a:pt x="811" y="217"/>
                    <a:pt x="811" y="210"/>
                  </a:cubicBezTo>
                  <a:cubicBezTo>
                    <a:pt x="811" y="203"/>
                    <a:pt x="806" y="197"/>
                    <a:pt x="799" y="197"/>
                  </a:cubicBezTo>
                  <a:cubicBezTo>
                    <a:pt x="792" y="197"/>
                    <a:pt x="786" y="203"/>
                    <a:pt x="786" y="210"/>
                  </a:cubicBezTo>
                  <a:cubicBezTo>
                    <a:pt x="786" y="217"/>
                    <a:pt x="792" y="223"/>
                    <a:pt x="799" y="223"/>
                  </a:cubicBezTo>
                  <a:close/>
                  <a:moveTo>
                    <a:pt x="838" y="223"/>
                  </a:moveTo>
                  <a:cubicBezTo>
                    <a:pt x="845" y="223"/>
                    <a:pt x="851" y="217"/>
                    <a:pt x="851" y="210"/>
                  </a:cubicBezTo>
                  <a:cubicBezTo>
                    <a:pt x="851" y="203"/>
                    <a:pt x="845" y="197"/>
                    <a:pt x="838" y="197"/>
                  </a:cubicBezTo>
                  <a:cubicBezTo>
                    <a:pt x="831" y="197"/>
                    <a:pt x="825" y="203"/>
                    <a:pt x="825" y="210"/>
                  </a:cubicBezTo>
                  <a:cubicBezTo>
                    <a:pt x="825" y="217"/>
                    <a:pt x="831" y="223"/>
                    <a:pt x="838" y="223"/>
                  </a:cubicBezTo>
                  <a:close/>
                  <a:moveTo>
                    <a:pt x="917" y="197"/>
                  </a:moveTo>
                  <a:cubicBezTo>
                    <a:pt x="910" y="197"/>
                    <a:pt x="904" y="203"/>
                    <a:pt x="904" y="210"/>
                  </a:cubicBezTo>
                  <a:cubicBezTo>
                    <a:pt x="904" y="217"/>
                    <a:pt x="910" y="222"/>
                    <a:pt x="917" y="222"/>
                  </a:cubicBezTo>
                  <a:cubicBezTo>
                    <a:pt x="924" y="222"/>
                    <a:pt x="930" y="217"/>
                    <a:pt x="930" y="210"/>
                  </a:cubicBezTo>
                  <a:cubicBezTo>
                    <a:pt x="930" y="203"/>
                    <a:pt x="924" y="197"/>
                    <a:pt x="917" y="197"/>
                  </a:cubicBezTo>
                  <a:close/>
                  <a:moveTo>
                    <a:pt x="1153" y="223"/>
                  </a:moveTo>
                  <a:cubicBezTo>
                    <a:pt x="1161" y="223"/>
                    <a:pt x="1166" y="217"/>
                    <a:pt x="1166" y="210"/>
                  </a:cubicBezTo>
                  <a:cubicBezTo>
                    <a:pt x="1166" y="203"/>
                    <a:pt x="1161" y="197"/>
                    <a:pt x="1153" y="197"/>
                  </a:cubicBezTo>
                  <a:cubicBezTo>
                    <a:pt x="1146" y="197"/>
                    <a:pt x="1141" y="203"/>
                    <a:pt x="1141" y="210"/>
                  </a:cubicBezTo>
                  <a:cubicBezTo>
                    <a:pt x="1141" y="217"/>
                    <a:pt x="1146" y="223"/>
                    <a:pt x="1153" y="223"/>
                  </a:cubicBezTo>
                  <a:close/>
                  <a:moveTo>
                    <a:pt x="1193" y="223"/>
                  </a:moveTo>
                  <a:cubicBezTo>
                    <a:pt x="1200" y="223"/>
                    <a:pt x="1206" y="217"/>
                    <a:pt x="1206" y="210"/>
                  </a:cubicBezTo>
                  <a:cubicBezTo>
                    <a:pt x="1206" y="203"/>
                    <a:pt x="1200" y="197"/>
                    <a:pt x="1193" y="197"/>
                  </a:cubicBezTo>
                  <a:cubicBezTo>
                    <a:pt x="1186" y="197"/>
                    <a:pt x="1180" y="203"/>
                    <a:pt x="1180" y="210"/>
                  </a:cubicBezTo>
                  <a:cubicBezTo>
                    <a:pt x="1180" y="217"/>
                    <a:pt x="1186" y="223"/>
                    <a:pt x="1193" y="223"/>
                  </a:cubicBezTo>
                  <a:close/>
                  <a:moveTo>
                    <a:pt x="1232" y="223"/>
                  </a:moveTo>
                  <a:cubicBezTo>
                    <a:pt x="1239" y="223"/>
                    <a:pt x="1245" y="217"/>
                    <a:pt x="1245" y="210"/>
                  </a:cubicBezTo>
                  <a:cubicBezTo>
                    <a:pt x="1245" y="203"/>
                    <a:pt x="1239" y="197"/>
                    <a:pt x="1232" y="197"/>
                  </a:cubicBezTo>
                  <a:cubicBezTo>
                    <a:pt x="1225" y="197"/>
                    <a:pt x="1220" y="203"/>
                    <a:pt x="1220" y="210"/>
                  </a:cubicBezTo>
                  <a:cubicBezTo>
                    <a:pt x="1220" y="217"/>
                    <a:pt x="1225" y="223"/>
                    <a:pt x="1232" y="223"/>
                  </a:cubicBezTo>
                  <a:close/>
                  <a:moveTo>
                    <a:pt x="1272" y="223"/>
                  </a:moveTo>
                  <a:cubicBezTo>
                    <a:pt x="1279" y="223"/>
                    <a:pt x="1285" y="217"/>
                    <a:pt x="1285" y="210"/>
                  </a:cubicBezTo>
                  <a:cubicBezTo>
                    <a:pt x="1285" y="203"/>
                    <a:pt x="1279" y="197"/>
                    <a:pt x="1272" y="197"/>
                  </a:cubicBezTo>
                  <a:cubicBezTo>
                    <a:pt x="1265" y="197"/>
                    <a:pt x="1259" y="203"/>
                    <a:pt x="1259" y="210"/>
                  </a:cubicBezTo>
                  <a:cubicBezTo>
                    <a:pt x="1259" y="217"/>
                    <a:pt x="1265" y="223"/>
                    <a:pt x="1272" y="223"/>
                  </a:cubicBezTo>
                  <a:close/>
                  <a:moveTo>
                    <a:pt x="1311" y="223"/>
                  </a:moveTo>
                  <a:cubicBezTo>
                    <a:pt x="1318" y="223"/>
                    <a:pt x="1324" y="217"/>
                    <a:pt x="1324" y="210"/>
                  </a:cubicBezTo>
                  <a:cubicBezTo>
                    <a:pt x="1324" y="203"/>
                    <a:pt x="1318" y="197"/>
                    <a:pt x="1311" y="197"/>
                  </a:cubicBezTo>
                  <a:cubicBezTo>
                    <a:pt x="1304" y="197"/>
                    <a:pt x="1298" y="203"/>
                    <a:pt x="1298" y="210"/>
                  </a:cubicBezTo>
                  <a:cubicBezTo>
                    <a:pt x="1298" y="217"/>
                    <a:pt x="1304" y="223"/>
                    <a:pt x="1311" y="223"/>
                  </a:cubicBezTo>
                  <a:close/>
                  <a:moveTo>
                    <a:pt x="1351" y="223"/>
                  </a:moveTo>
                  <a:cubicBezTo>
                    <a:pt x="1358" y="223"/>
                    <a:pt x="1363" y="217"/>
                    <a:pt x="1363" y="210"/>
                  </a:cubicBezTo>
                  <a:cubicBezTo>
                    <a:pt x="1363" y="203"/>
                    <a:pt x="1358" y="197"/>
                    <a:pt x="1351" y="197"/>
                  </a:cubicBezTo>
                  <a:cubicBezTo>
                    <a:pt x="1344" y="197"/>
                    <a:pt x="1338" y="203"/>
                    <a:pt x="1338" y="210"/>
                  </a:cubicBezTo>
                  <a:cubicBezTo>
                    <a:pt x="1338" y="217"/>
                    <a:pt x="1344" y="223"/>
                    <a:pt x="1351" y="223"/>
                  </a:cubicBezTo>
                  <a:close/>
                  <a:moveTo>
                    <a:pt x="1390" y="223"/>
                  </a:moveTo>
                  <a:cubicBezTo>
                    <a:pt x="1397" y="223"/>
                    <a:pt x="1403" y="217"/>
                    <a:pt x="1403" y="210"/>
                  </a:cubicBezTo>
                  <a:cubicBezTo>
                    <a:pt x="1403" y="203"/>
                    <a:pt x="1397" y="197"/>
                    <a:pt x="1390" y="197"/>
                  </a:cubicBezTo>
                  <a:cubicBezTo>
                    <a:pt x="1383" y="197"/>
                    <a:pt x="1377" y="203"/>
                    <a:pt x="1377" y="210"/>
                  </a:cubicBezTo>
                  <a:cubicBezTo>
                    <a:pt x="1377" y="217"/>
                    <a:pt x="1383" y="223"/>
                    <a:pt x="1390" y="223"/>
                  </a:cubicBezTo>
                  <a:close/>
                  <a:moveTo>
                    <a:pt x="1429" y="223"/>
                  </a:moveTo>
                  <a:cubicBezTo>
                    <a:pt x="1437" y="223"/>
                    <a:pt x="1442" y="217"/>
                    <a:pt x="1442" y="210"/>
                  </a:cubicBezTo>
                  <a:cubicBezTo>
                    <a:pt x="1442" y="203"/>
                    <a:pt x="1437" y="197"/>
                    <a:pt x="1429" y="197"/>
                  </a:cubicBezTo>
                  <a:cubicBezTo>
                    <a:pt x="1422" y="197"/>
                    <a:pt x="1417" y="203"/>
                    <a:pt x="1417" y="210"/>
                  </a:cubicBezTo>
                  <a:cubicBezTo>
                    <a:pt x="1417" y="217"/>
                    <a:pt x="1422" y="223"/>
                    <a:pt x="1429" y="223"/>
                  </a:cubicBezTo>
                  <a:close/>
                  <a:moveTo>
                    <a:pt x="2257" y="223"/>
                  </a:moveTo>
                  <a:cubicBezTo>
                    <a:pt x="2264" y="223"/>
                    <a:pt x="2270" y="217"/>
                    <a:pt x="2270" y="210"/>
                  </a:cubicBezTo>
                  <a:cubicBezTo>
                    <a:pt x="2270" y="203"/>
                    <a:pt x="2264" y="197"/>
                    <a:pt x="2257" y="197"/>
                  </a:cubicBezTo>
                  <a:cubicBezTo>
                    <a:pt x="2250" y="197"/>
                    <a:pt x="2245" y="203"/>
                    <a:pt x="2245" y="210"/>
                  </a:cubicBezTo>
                  <a:cubicBezTo>
                    <a:pt x="2245" y="217"/>
                    <a:pt x="2250" y="223"/>
                    <a:pt x="2257" y="223"/>
                  </a:cubicBezTo>
                  <a:close/>
                  <a:moveTo>
                    <a:pt x="2415" y="223"/>
                  </a:moveTo>
                  <a:cubicBezTo>
                    <a:pt x="2422" y="223"/>
                    <a:pt x="2428" y="217"/>
                    <a:pt x="2428" y="210"/>
                  </a:cubicBezTo>
                  <a:cubicBezTo>
                    <a:pt x="2428" y="203"/>
                    <a:pt x="2422" y="197"/>
                    <a:pt x="2415" y="197"/>
                  </a:cubicBezTo>
                  <a:cubicBezTo>
                    <a:pt x="2408" y="197"/>
                    <a:pt x="2402" y="203"/>
                    <a:pt x="2402" y="210"/>
                  </a:cubicBezTo>
                  <a:cubicBezTo>
                    <a:pt x="2402" y="217"/>
                    <a:pt x="2408" y="223"/>
                    <a:pt x="2415" y="223"/>
                  </a:cubicBezTo>
                  <a:close/>
                  <a:moveTo>
                    <a:pt x="2454" y="218"/>
                  </a:moveTo>
                  <a:cubicBezTo>
                    <a:pt x="2459" y="218"/>
                    <a:pt x="2462" y="214"/>
                    <a:pt x="2462" y="210"/>
                  </a:cubicBezTo>
                  <a:cubicBezTo>
                    <a:pt x="2462" y="205"/>
                    <a:pt x="2459" y="202"/>
                    <a:pt x="2454" y="202"/>
                  </a:cubicBezTo>
                  <a:cubicBezTo>
                    <a:pt x="2450" y="202"/>
                    <a:pt x="2447" y="205"/>
                    <a:pt x="2447" y="210"/>
                  </a:cubicBezTo>
                  <a:cubicBezTo>
                    <a:pt x="2447" y="214"/>
                    <a:pt x="2450" y="218"/>
                    <a:pt x="2454" y="218"/>
                  </a:cubicBezTo>
                  <a:close/>
                  <a:moveTo>
                    <a:pt x="2533" y="223"/>
                  </a:moveTo>
                  <a:cubicBezTo>
                    <a:pt x="2540" y="223"/>
                    <a:pt x="2546" y="217"/>
                    <a:pt x="2546" y="210"/>
                  </a:cubicBezTo>
                  <a:cubicBezTo>
                    <a:pt x="2546" y="203"/>
                    <a:pt x="2540" y="197"/>
                    <a:pt x="2533" y="197"/>
                  </a:cubicBezTo>
                  <a:cubicBezTo>
                    <a:pt x="2526" y="197"/>
                    <a:pt x="2521" y="203"/>
                    <a:pt x="2521" y="210"/>
                  </a:cubicBezTo>
                  <a:cubicBezTo>
                    <a:pt x="2521" y="217"/>
                    <a:pt x="2526" y="223"/>
                    <a:pt x="2533" y="223"/>
                  </a:cubicBezTo>
                  <a:close/>
                  <a:moveTo>
                    <a:pt x="2573" y="223"/>
                  </a:moveTo>
                  <a:cubicBezTo>
                    <a:pt x="2580" y="223"/>
                    <a:pt x="2586" y="217"/>
                    <a:pt x="2586" y="210"/>
                  </a:cubicBezTo>
                  <a:cubicBezTo>
                    <a:pt x="2586" y="203"/>
                    <a:pt x="2580" y="197"/>
                    <a:pt x="2573" y="197"/>
                  </a:cubicBezTo>
                  <a:cubicBezTo>
                    <a:pt x="2566" y="197"/>
                    <a:pt x="2560" y="203"/>
                    <a:pt x="2560" y="210"/>
                  </a:cubicBezTo>
                  <a:cubicBezTo>
                    <a:pt x="2560" y="217"/>
                    <a:pt x="2566" y="223"/>
                    <a:pt x="2573" y="223"/>
                  </a:cubicBezTo>
                  <a:close/>
                  <a:moveTo>
                    <a:pt x="2612" y="223"/>
                  </a:moveTo>
                  <a:cubicBezTo>
                    <a:pt x="2619" y="223"/>
                    <a:pt x="2625" y="217"/>
                    <a:pt x="2625" y="210"/>
                  </a:cubicBezTo>
                  <a:cubicBezTo>
                    <a:pt x="2625" y="203"/>
                    <a:pt x="2619" y="197"/>
                    <a:pt x="2612" y="197"/>
                  </a:cubicBezTo>
                  <a:cubicBezTo>
                    <a:pt x="2605" y="197"/>
                    <a:pt x="2599" y="203"/>
                    <a:pt x="2599" y="210"/>
                  </a:cubicBezTo>
                  <a:cubicBezTo>
                    <a:pt x="2599" y="217"/>
                    <a:pt x="2605" y="223"/>
                    <a:pt x="2612" y="223"/>
                  </a:cubicBezTo>
                  <a:close/>
                  <a:moveTo>
                    <a:pt x="2639" y="210"/>
                  </a:moveTo>
                  <a:cubicBezTo>
                    <a:pt x="2639" y="217"/>
                    <a:pt x="2645" y="223"/>
                    <a:pt x="2652" y="223"/>
                  </a:cubicBezTo>
                  <a:cubicBezTo>
                    <a:pt x="2659" y="223"/>
                    <a:pt x="2664" y="217"/>
                    <a:pt x="2664" y="210"/>
                  </a:cubicBezTo>
                  <a:cubicBezTo>
                    <a:pt x="2664" y="203"/>
                    <a:pt x="2659" y="197"/>
                    <a:pt x="2652" y="197"/>
                  </a:cubicBezTo>
                  <a:cubicBezTo>
                    <a:pt x="2645" y="197"/>
                    <a:pt x="2639" y="203"/>
                    <a:pt x="2639" y="210"/>
                  </a:cubicBezTo>
                  <a:close/>
                  <a:moveTo>
                    <a:pt x="2691" y="197"/>
                  </a:moveTo>
                  <a:cubicBezTo>
                    <a:pt x="2684" y="197"/>
                    <a:pt x="2678" y="203"/>
                    <a:pt x="2678" y="210"/>
                  </a:cubicBezTo>
                  <a:cubicBezTo>
                    <a:pt x="2678" y="217"/>
                    <a:pt x="2684" y="223"/>
                    <a:pt x="2691" y="223"/>
                  </a:cubicBezTo>
                  <a:cubicBezTo>
                    <a:pt x="2698" y="223"/>
                    <a:pt x="2704" y="217"/>
                    <a:pt x="2704" y="210"/>
                  </a:cubicBezTo>
                  <a:cubicBezTo>
                    <a:pt x="2704" y="203"/>
                    <a:pt x="2698" y="197"/>
                    <a:pt x="2691" y="197"/>
                  </a:cubicBezTo>
                  <a:close/>
                  <a:moveTo>
                    <a:pt x="2718" y="210"/>
                  </a:moveTo>
                  <a:cubicBezTo>
                    <a:pt x="2718" y="217"/>
                    <a:pt x="2723" y="223"/>
                    <a:pt x="2730" y="223"/>
                  </a:cubicBezTo>
                  <a:cubicBezTo>
                    <a:pt x="2738" y="223"/>
                    <a:pt x="2743" y="217"/>
                    <a:pt x="2743" y="210"/>
                  </a:cubicBezTo>
                  <a:cubicBezTo>
                    <a:pt x="2743" y="203"/>
                    <a:pt x="2738" y="197"/>
                    <a:pt x="2730" y="197"/>
                  </a:cubicBezTo>
                  <a:cubicBezTo>
                    <a:pt x="2723" y="197"/>
                    <a:pt x="2718" y="203"/>
                    <a:pt x="2718" y="210"/>
                  </a:cubicBezTo>
                  <a:close/>
                  <a:moveTo>
                    <a:pt x="2809" y="197"/>
                  </a:moveTo>
                  <a:cubicBezTo>
                    <a:pt x="2802" y="197"/>
                    <a:pt x="2797" y="203"/>
                    <a:pt x="2797" y="210"/>
                  </a:cubicBezTo>
                  <a:cubicBezTo>
                    <a:pt x="2797" y="217"/>
                    <a:pt x="2802" y="223"/>
                    <a:pt x="2809" y="223"/>
                  </a:cubicBezTo>
                  <a:cubicBezTo>
                    <a:pt x="2816" y="223"/>
                    <a:pt x="2822" y="217"/>
                    <a:pt x="2822" y="210"/>
                  </a:cubicBezTo>
                  <a:cubicBezTo>
                    <a:pt x="2822" y="203"/>
                    <a:pt x="2816" y="197"/>
                    <a:pt x="2809" y="197"/>
                  </a:cubicBezTo>
                  <a:close/>
                  <a:moveTo>
                    <a:pt x="2849" y="223"/>
                  </a:moveTo>
                  <a:cubicBezTo>
                    <a:pt x="2856" y="223"/>
                    <a:pt x="2861" y="217"/>
                    <a:pt x="2861" y="210"/>
                  </a:cubicBezTo>
                  <a:cubicBezTo>
                    <a:pt x="2861" y="203"/>
                    <a:pt x="2856" y="197"/>
                    <a:pt x="2849" y="197"/>
                  </a:cubicBezTo>
                  <a:cubicBezTo>
                    <a:pt x="2842" y="197"/>
                    <a:pt x="2836" y="203"/>
                    <a:pt x="2836" y="210"/>
                  </a:cubicBezTo>
                  <a:cubicBezTo>
                    <a:pt x="2836" y="217"/>
                    <a:pt x="2842" y="223"/>
                    <a:pt x="2849" y="223"/>
                  </a:cubicBezTo>
                  <a:close/>
                  <a:moveTo>
                    <a:pt x="2888" y="223"/>
                  </a:moveTo>
                  <a:cubicBezTo>
                    <a:pt x="2895" y="223"/>
                    <a:pt x="2901" y="217"/>
                    <a:pt x="2901" y="210"/>
                  </a:cubicBezTo>
                  <a:cubicBezTo>
                    <a:pt x="2901" y="203"/>
                    <a:pt x="2895" y="197"/>
                    <a:pt x="2888" y="197"/>
                  </a:cubicBezTo>
                  <a:cubicBezTo>
                    <a:pt x="2881" y="197"/>
                    <a:pt x="2875" y="203"/>
                    <a:pt x="2875" y="210"/>
                  </a:cubicBezTo>
                  <a:cubicBezTo>
                    <a:pt x="2875" y="217"/>
                    <a:pt x="2881" y="223"/>
                    <a:pt x="2888" y="223"/>
                  </a:cubicBezTo>
                  <a:close/>
                  <a:moveTo>
                    <a:pt x="2967" y="223"/>
                  </a:moveTo>
                  <a:cubicBezTo>
                    <a:pt x="2974" y="223"/>
                    <a:pt x="2980" y="217"/>
                    <a:pt x="2980" y="210"/>
                  </a:cubicBezTo>
                  <a:cubicBezTo>
                    <a:pt x="2980" y="203"/>
                    <a:pt x="2974" y="197"/>
                    <a:pt x="2967" y="197"/>
                  </a:cubicBezTo>
                  <a:cubicBezTo>
                    <a:pt x="2960" y="197"/>
                    <a:pt x="2954" y="203"/>
                    <a:pt x="2954" y="210"/>
                  </a:cubicBezTo>
                  <a:cubicBezTo>
                    <a:pt x="2954" y="217"/>
                    <a:pt x="2960" y="223"/>
                    <a:pt x="2967" y="223"/>
                  </a:cubicBezTo>
                  <a:close/>
                  <a:moveTo>
                    <a:pt x="523" y="262"/>
                  </a:moveTo>
                  <a:cubicBezTo>
                    <a:pt x="530" y="262"/>
                    <a:pt x="535" y="256"/>
                    <a:pt x="535" y="249"/>
                  </a:cubicBezTo>
                  <a:cubicBezTo>
                    <a:pt x="535" y="242"/>
                    <a:pt x="530" y="236"/>
                    <a:pt x="523" y="236"/>
                  </a:cubicBezTo>
                  <a:cubicBezTo>
                    <a:pt x="516" y="236"/>
                    <a:pt x="510" y="242"/>
                    <a:pt x="510" y="249"/>
                  </a:cubicBezTo>
                  <a:cubicBezTo>
                    <a:pt x="510" y="256"/>
                    <a:pt x="516" y="262"/>
                    <a:pt x="523" y="262"/>
                  </a:cubicBezTo>
                  <a:close/>
                  <a:moveTo>
                    <a:pt x="562" y="262"/>
                  </a:moveTo>
                  <a:cubicBezTo>
                    <a:pt x="569" y="262"/>
                    <a:pt x="575" y="256"/>
                    <a:pt x="575" y="249"/>
                  </a:cubicBezTo>
                  <a:cubicBezTo>
                    <a:pt x="575" y="242"/>
                    <a:pt x="569" y="236"/>
                    <a:pt x="562" y="236"/>
                  </a:cubicBezTo>
                  <a:cubicBezTo>
                    <a:pt x="555" y="236"/>
                    <a:pt x="549" y="242"/>
                    <a:pt x="549" y="249"/>
                  </a:cubicBezTo>
                  <a:cubicBezTo>
                    <a:pt x="549" y="256"/>
                    <a:pt x="555" y="262"/>
                    <a:pt x="562" y="262"/>
                  </a:cubicBezTo>
                  <a:close/>
                  <a:moveTo>
                    <a:pt x="602" y="262"/>
                  </a:moveTo>
                  <a:cubicBezTo>
                    <a:pt x="609" y="262"/>
                    <a:pt x="614" y="256"/>
                    <a:pt x="614" y="249"/>
                  </a:cubicBezTo>
                  <a:cubicBezTo>
                    <a:pt x="614" y="242"/>
                    <a:pt x="609" y="236"/>
                    <a:pt x="602" y="236"/>
                  </a:cubicBezTo>
                  <a:cubicBezTo>
                    <a:pt x="595" y="236"/>
                    <a:pt x="589" y="242"/>
                    <a:pt x="589" y="249"/>
                  </a:cubicBezTo>
                  <a:cubicBezTo>
                    <a:pt x="589" y="256"/>
                    <a:pt x="595" y="262"/>
                    <a:pt x="602" y="262"/>
                  </a:cubicBezTo>
                  <a:close/>
                  <a:moveTo>
                    <a:pt x="720" y="237"/>
                  </a:moveTo>
                  <a:cubicBezTo>
                    <a:pt x="713" y="237"/>
                    <a:pt x="707" y="242"/>
                    <a:pt x="707" y="249"/>
                  </a:cubicBezTo>
                  <a:cubicBezTo>
                    <a:pt x="707" y="256"/>
                    <a:pt x="713" y="262"/>
                    <a:pt x="720" y="262"/>
                  </a:cubicBezTo>
                  <a:cubicBezTo>
                    <a:pt x="727" y="262"/>
                    <a:pt x="733" y="256"/>
                    <a:pt x="733" y="249"/>
                  </a:cubicBezTo>
                  <a:cubicBezTo>
                    <a:pt x="733" y="242"/>
                    <a:pt x="727" y="237"/>
                    <a:pt x="720" y="237"/>
                  </a:cubicBezTo>
                  <a:close/>
                  <a:moveTo>
                    <a:pt x="803" y="249"/>
                  </a:moveTo>
                  <a:cubicBezTo>
                    <a:pt x="803" y="247"/>
                    <a:pt x="801" y="245"/>
                    <a:pt x="799" y="245"/>
                  </a:cubicBezTo>
                  <a:cubicBezTo>
                    <a:pt x="796" y="245"/>
                    <a:pt x="795" y="247"/>
                    <a:pt x="795" y="249"/>
                  </a:cubicBezTo>
                  <a:cubicBezTo>
                    <a:pt x="795" y="251"/>
                    <a:pt x="796" y="253"/>
                    <a:pt x="799" y="253"/>
                  </a:cubicBezTo>
                  <a:cubicBezTo>
                    <a:pt x="801" y="253"/>
                    <a:pt x="803" y="251"/>
                    <a:pt x="803" y="249"/>
                  </a:cubicBezTo>
                  <a:close/>
                  <a:moveTo>
                    <a:pt x="838" y="262"/>
                  </a:moveTo>
                  <a:cubicBezTo>
                    <a:pt x="845" y="262"/>
                    <a:pt x="851" y="256"/>
                    <a:pt x="851" y="249"/>
                  </a:cubicBezTo>
                  <a:cubicBezTo>
                    <a:pt x="851" y="242"/>
                    <a:pt x="845" y="236"/>
                    <a:pt x="838" y="236"/>
                  </a:cubicBezTo>
                  <a:cubicBezTo>
                    <a:pt x="831" y="236"/>
                    <a:pt x="825" y="242"/>
                    <a:pt x="825" y="249"/>
                  </a:cubicBezTo>
                  <a:cubicBezTo>
                    <a:pt x="825" y="256"/>
                    <a:pt x="831" y="262"/>
                    <a:pt x="838" y="262"/>
                  </a:cubicBezTo>
                  <a:close/>
                  <a:moveTo>
                    <a:pt x="878" y="262"/>
                  </a:moveTo>
                  <a:cubicBezTo>
                    <a:pt x="885" y="262"/>
                    <a:pt x="890" y="256"/>
                    <a:pt x="890" y="249"/>
                  </a:cubicBezTo>
                  <a:cubicBezTo>
                    <a:pt x="890" y="242"/>
                    <a:pt x="885" y="236"/>
                    <a:pt x="878" y="236"/>
                  </a:cubicBezTo>
                  <a:cubicBezTo>
                    <a:pt x="870" y="236"/>
                    <a:pt x="865" y="242"/>
                    <a:pt x="865" y="249"/>
                  </a:cubicBezTo>
                  <a:cubicBezTo>
                    <a:pt x="865" y="256"/>
                    <a:pt x="870" y="262"/>
                    <a:pt x="878" y="262"/>
                  </a:cubicBezTo>
                  <a:close/>
                  <a:moveTo>
                    <a:pt x="917" y="262"/>
                  </a:moveTo>
                  <a:cubicBezTo>
                    <a:pt x="924" y="262"/>
                    <a:pt x="930" y="256"/>
                    <a:pt x="930" y="249"/>
                  </a:cubicBezTo>
                  <a:cubicBezTo>
                    <a:pt x="930" y="242"/>
                    <a:pt x="924" y="236"/>
                    <a:pt x="917" y="236"/>
                  </a:cubicBezTo>
                  <a:cubicBezTo>
                    <a:pt x="910" y="236"/>
                    <a:pt x="904" y="242"/>
                    <a:pt x="904" y="249"/>
                  </a:cubicBezTo>
                  <a:cubicBezTo>
                    <a:pt x="904" y="256"/>
                    <a:pt x="910" y="262"/>
                    <a:pt x="917" y="262"/>
                  </a:cubicBezTo>
                  <a:close/>
                  <a:moveTo>
                    <a:pt x="956" y="237"/>
                  </a:moveTo>
                  <a:cubicBezTo>
                    <a:pt x="949" y="237"/>
                    <a:pt x="944" y="242"/>
                    <a:pt x="944" y="249"/>
                  </a:cubicBezTo>
                  <a:cubicBezTo>
                    <a:pt x="944" y="256"/>
                    <a:pt x="949" y="262"/>
                    <a:pt x="956" y="262"/>
                  </a:cubicBezTo>
                  <a:cubicBezTo>
                    <a:pt x="963" y="262"/>
                    <a:pt x="969" y="256"/>
                    <a:pt x="969" y="249"/>
                  </a:cubicBezTo>
                  <a:cubicBezTo>
                    <a:pt x="969" y="242"/>
                    <a:pt x="963" y="237"/>
                    <a:pt x="956" y="237"/>
                  </a:cubicBezTo>
                  <a:close/>
                  <a:moveTo>
                    <a:pt x="1193" y="262"/>
                  </a:moveTo>
                  <a:cubicBezTo>
                    <a:pt x="1200" y="262"/>
                    <a:pt x="1206" y="256"/>
                    <a:pt x="1206" y="249"/>
                  </a:cubicBezTo>
                  <a:cubicBezTo>
                    <a:pt x="1206" y="242"/>
                    <a:pt x="1200" y="236"/>
                    <a:pt x="1193" y="236"/>
                  </a:cubicBezTo>
                  <a:cubicBezTo>
                    <a:pt x="1186" y="236"/>
                    <a:pt x="1180" y="242"/>
                    <a:pt x="1180" y="249"/>
                  </a:cubicBezTo>
                  <a:cubicBezTo>
                    <a:pt x="1180" y="256"/>
                    <a:pt x="1186" y="262"/>
                    <a:pt x="1193" y="262"/>
                  </a:cubicBezTo>
                  <a:close/>
                  <a:moveTo>
                    <a:pt x="1232" y="262"/>
                  </a:moveTo>
                  <a:cubicBezTo>
                    <a:pt x="1239" y="262"/>
                    <a:pt x="1245" y="256"/>
                    <a:pt x="1245" y="249"/>
                  </a:cubicBezTo>
                  <a:cubicBezTo>
                    <a:pt x="1245" y="242"/>
                    <a:pt x="1239" y="236"/>
                    <a:pt x="1232" y="236"/>
                  </a:cubicBezTo>
                  <a:cubicBezTo>
                    <a:pt x="1225" y="236"/>
                    <a:pt x="1220" y="242"/>
                    <a:pt x="1220" y="249"/>
                  </a:cubicBezTo>
                  <a:cubicBezTo>
                    <a:pt x="1220" y="256"/>
                    <a:pt x="1225" y="262"/>
                    <a:pt x="1232" y="262"/>
                  </a:cubicBezTo>
                  <a:close/>
                  <a:moveTo>
                    <a:pt x="1272" y="262"/>
                  </a:moveTo>
                  <a:cubicBezTo>
                    <a:pt x="1279" y="262"/>
                    <a:pt x="1285" y="256"/>
                    <a:pt x="1285" y="249"/>
                  </a:cubicBezTo>
                  <a:cubicBezTo>
                    <a:pt x="1285" y="242"/>
                    <a:pt x="1279" y="236"/>
                    <a:pt x="1272" y="236"/>
                  </a:cubicBezTo>
                  <a:cubicBezTo>
                    <a:pt x="1265" y="236"/>
                    <a:pt x="1259" y="242"/>
                    <a:pt x="1259" y="249"/>
                  </a:cubicBezTo>
                  <a:cubicBezTo>
                    <a:pt x="1259" y="256"/>
                    <a:pt x="1265" y="262"/>
                    <a:pt x="1272" y="262"/>
                  </a:cubicBezTo>
                  <a:close/>
                  <a:moveTo>
                    <a:pt x="1311" y="262"/>
                  </a:moveTo>
                  <a:cubicBezTo>
                    <a:pt x="1318" y="262"/>
                    <a:pt x="1324" y="256"/>
                    <a:pt x="1324" y="249"/>
                  </a:cubicBezTo>
                  <a:cubicBezTo>
                    <a:pt x="1324" y="242"/>
                    <a:pt x="1318" y="236"/>
                    <a:pt x="1311" y="236"/>
                  </a:cubicBezTo>
                  <a:cubicBezTo>
                    <a:pt x="1304" y="236"/>
                    <a:pt x="1298" y="242"/>
                    <a:pt x="1298" y="249"/>
                  </a:cubicBezTo>
                  <a:cubicBezTo>
                    <a:pt x="1298" y="256"/>
                    <a:pt x="1304" y="262"/>
                    <a:pt x="1311" y="262"/>
                  </a:cubicBezTo>
                  <a:close/>
                  <a:moveTo>
                    <a:pt x="1351" y="262"/>
                  </a:moveTo>
                  <a:cubicBezTo>
                    <a:pt x="1358" y="262"/>
                    <a:pt x="1363" y="256"/>
                    <a:pt x="1363" y="249"/>
                  </a:cubicBezTo>
                  <a:cubicBezTo>
                    <a:pt x="1363" y="242"/>
                    <a:pt x="1358" y="236"/>
                    <a:pt x="1351" y="236"/>
                  </a:cubicBezTo>
                  <a:cubicBezTo>
                    <a:pt x="1344" y="236"/>
                    <a:pt x="1338" y="242"/>
                    <a:pt x="1338" y="249"/>
                  </a:cubicBezTo>
                  <a:cubicBezTo>
                    <a:pt x="1338" y="256"/>
                    <a:pt x="1344" y="262"/>
                    <a:pt x="1351" y="262"/>
                  </a:cubicBezTo>
                  <a:close/>
                  <a:moveTo>
                    <a:pt x="1390" y="262"/>
                  </a:moveTo>
                  <a:cubicBezTo>
                    <a:pt x="1397" y="262"/>
                    <a:pt x="1403" y="256"/>
                    <a:pt x="1403" y="249"/>
                  </a:cubicBezTo>
                  <a:cubicBezTo>
                    <a:pt x="1403" y="242"/>
                    <a:pt x="1397" y="236"/>
                    <a:pt x="1390" y="236"/>
                  </a:cubicBezTo>
                  <a:cubicBezTo>
                    <a:pt x="1383" y="236"/>
                    <a:pt x="1377" y="242"/>
                    <a:pt x="1377" y="249"/>
                  </a:cubicBezTo>
                  <a:cubicBezTo>
                    <a:pt x="1377" y="256"/>
                    <a:pt x="1383" y="262"/>
                    <a:pt x="1390" y="262"/>
                  </a:cubicBezTo>
                  <a:close/>
                  <a:moveTo>
                    <a:pt x="1429" y="262"/>
                  </a:moveTo>
                  <a:cubicBezTo>
                    <a:pt x="1437" y="262"/>
                    <a:pt x="1442" y="256"/>
                    <a:pt x="1442" y="249"/>
                  </a:cubicBezTo>
                  <a:cubicBezTo>
                    <a:pt x="1442" y="242"/>
                    <a:pt x="1437" y="236"/>
                    <a:pt x="1429" y="236"/>
                  </a:cubicBezTo>
                  <a:cubicBezTo>
                    <a:pt x="1422" y="236"/>
                    <a:pt x="1417" y="242"/>
                    <a:pt x="1417" y="249"/>
                  </a:cubicBezTo>
                  <a:cubicBezTo>
                    <a:pt x="1417" y="256"/>
                    <a:pt x="1422" y="262"/>
                    <a:pt x="1429" y="262"/>
                  </a:cubicBezTo>
                  <a:close/>
                  <a:moveTo>
                    <a:pt x="1469" y="236"/>
                  </a:moveTo>
                  <a:cubicBezTo>
                    <a:pt x="1462" y="236"/>
                    <a:pt x="1456" y="242"/>
                    <a:pt x="1456" y="249"/>
                  </a:cubicBezTo>
                  <a:cubicBezTo>
                    <a:pt x="1456" y="256"/>
                    <a:pt x="1462" y="262"/>
                    <a:pt x="1469" y="262"/>
                  </a:cubicBezTo>
                  <a:cubicBezTo>
                    <a:pt x="1476" y="262"/>
                    <a:pt x="1482" y="256"/>
                    <a:pt x="1482" y="249"/>
                  </a:cubicBezTo>
                  <a:cubicBezTo>
                    <a:pt x="1482" y="242"/>
                    <a:pt x="1476" y="236"/>
                    <a:pt x="1469" y="236"/>
                  </a:cubicBezTo>
                  <a:close/>
                  <a:moveTo>
                    <a:pt x="1981" y="262"/>
                  </a:moveTo>
                  <a:cubicBezTo>
                    <a:pt x="1988" y="262"/>
                    <a:pt x="1994" y="256"/>
                    <a:pt x="1994" y="249"/>
                  </a:cubicBezTo>
                  <a:cubicBezTo>
                    <a:pt x="1994" y="242"/>
                    <a:pt x="1988" y="237"/>
                    <a:pt x="1981" y="237"/>
                  </a:cubicBezTo>
                  <a:cubicBezTo>
                    <a:pt x="1974" y="237"/>
                    <a:pt x="1969" y="242"/>
                    <a:pt x="1969" y="249"/>
                  </a:cubicBezTo>
                  <a:cubicBezTo>
                    <a:pt x="1969" y="256"/>
                    <a:pt x="1974" y="262"/>
                    <a:pt x="1981" y="262"/>
                  </a:cubicBezTo>
                  <a:close/>
                  <a:moveTo>
                    <a:pt x="2257" y="262"/>
                  </a:moveTo>
                  <a:cubicBezTo>
                    <a:pt x="2264" y="262"/>
                    <a:pt x="2270" y="256"/>
                    <a:pt x="2270" y="249"/>
                  </a:cubicBezTo>
                  <a:cubicBezTo>
                    <a:pt x="2270" y="242"/>
                    <a:pt x="2264" y="236"/>
                    <a:pt x="2257" y="236"/>
                  </a:cubicBezTo>
                  <a:cubicBezTo>
                    <a:pt x="2250" y="236"/>
                    <a:pt x="2245" y="242"/>
                    <a:pt x="2245" y="249"/>
                  </a:cubicBezTo>
                  <a:cubicBezTo>
                    <a:pt x="2245" y="256"/>
                    <a:pt x="2250" y="262"/>
                    <a:pt x="2257" y="262"/>
                  </a:cubicBezTo>
                  <a:close/>
                  <a:moveTo>
                    <a:pt x="2376" y="262"/>
                  </a:moveTo>
                  <a:cubicBezTo>
                    <a:pt x="2383" y="262"/>
                    <a:pt x="2388" y="256"/>
                    <a:pt x="2388" y="249"/>
                  </a:cubicBezTo>
                  <a:cubicBezTo>
                    <a:pt x="2388" y="242"/>
                    <a:pt x="2383" y="236"/>
                    <a:pt x="2376" y="236"/>
                  </a:cubicBezTo>
                  <a:cubicBezTo>
                    <a:pt x="2369" y="236"/>
                    <a:pt x="2363" y="242"/>
                    <a:pt x="2363" y="249"/>
                  </a:cubicBezTo>
                  <a:cubicBezTo>
                    <a:pt x="2363" y="256"/>
                    <a:pt x="2369" y="262"/>
                    <a:pt x="2376" y="262"/>
                  </a:cubicBezTo>
                  <a:close/>
                  <a:moveTo>
                    <a:pt x="2415" y="262"/>
                  </a:moveTo>
                  <a:cubicBezTo>
                    <a:pt x="2422" y="262"/>
                    <a:pt x="2428" y="256"/>
                    <a:pt x="2428" y="249"/>
                  </a:cubicBezTo>
                  <a:cubicBezTo>
                    <a:pt x="2428" y="242"/>
                    <a:pt x="2422" y="236"/>
                    <a:pt x="2415" y="236"/>
                  </a:cubicBezTo>
                  <a:cubicBezTo>
                    <a:pt x="2408" y="236"/>
                    <a:pt x="2402" y="242"/>
                    <a:pt x="2402" y="249"/>
                  </a:cubicBezTo>
                  <a:cubicBezTo>
                    <a:pt x="2402" y="256"/>
                    <a:pt x="2408" y="262"/>
                    <a:pt x="2415" y="262"/>
                  </a:cubicBezTo>
                  <a:close/>
                  <a:moveTo>
                    <a:pt x="2454" y="262"/>
                  </a:moveTo>
                  <a:cubicBezTo>
                    <a:pt x="2462" y="262"/>
                    <a:pt x="2467" y="256"/>
                    <a:pt x="2467" y="249"/>
                  </a:cubicBezTo>
                  <a:cubicBezTo>
                    <a:pt x="2467" y="242"/>
                    <a:pt x="2462" y="236"/>
                    <a:pt x="2454" y="236"/>
                  </a:cubicBezTo>
                  <a:cubicBezTo>
                    <a:pt x="2447" y="236"/>
                    <a:pt x="2442" y="242"/>
                    <a:pt x="2442" y="249"/>
                  </a:cubicBezTo>
                  <a:cubicBezTo>
                    <a:pt x="2442" y="256"/>
                    <a:pt x="2447" y="262"/>
                    <a:pt x="2454" y="262"/>
                  </a:cubicBezTo>
                  <a:close/>
                  <a:moveTo>
                    <a:pt x="2494" y="262"/>
                  </a:moveTo>
                  <a:cubicBezTo>
                    <a:pt x="2501" y="262"/>
                    <a:pt x="2507" y="256"/>
                    <a:pt x="2507" y="249"/>
                  </a:cubicBezTo>
                  <a:cubicBezTo>
                    <a:pt x="2507" y="242"/>
                    <a:pt x="2501" y="236"/>
                    <a:pt x="2494" y="236"/>
                  </a:cubicBezTo>
                  <a:cubicBezTo>
                    <a:pt x="2487" y="236"/>
                    <a:pt x="2481" y="242"/>
                    <a:pt x="2481" y="249"/>
                  </a:cubicBezTo>
                  <a:cubicBezTo>
                    <a:pt x="2481" y="256"/>
                    <a:pt x="2487" y="262"/>
                    <a:pt x="2494" y="262"/>
                  </a:cubicBezTo>
                  <a:close/>
                  <a:moveTo>
                    <a:pt x="2533" y="262"/>
                  </a:moveTo>
                  <a:cubicBezTo>
                    <a:pt x="2540" y="262"/>
                    <a:pt x="2546" y="256"/>
                    <a:pt x="2546" y="249"/>
                  </a:cubicBezTo>
                  <a:cubicBezTo>
                    <a:pt x="2546" y="242"/>
                    <a:pt x="2540" y="236"/>
                    <a:pt x="2533" y="236"/>
                  </a:cubicBezTo>
                  <a:cubicBezTo>
                    <a:pt x="2526" y="236"/>
                    <a:pt x="2521" y="242"/>
                    <a:pt x="2521" y="249"/>
                  </a:cubicBezTo>
                  <a:cubicBezTo>
                    <a:pt x="2521" y="256"/>
                    <a:pt x="2526" y="262"/>
                    <a:pt x="2533" y="262"/>
                  </a:cubicBezTo>
                  <a:close/>
                  <a:moveTo>
                    <a:pt x="2573" y="262"/>
                  </a:moveTo>
                  <a:cubicBezTo>
                    <a:pt x="2580" y="262"/>
                    <a:pt x="2586" y="256"/>
                    <a:pt x="2586" y="249"/>
                  </a:cubicBezTo>
                  <a:cubicBezTo>
                    <a:pt x="2586" y="242"/>
                    <a:pt x="2580" y="236"/>
                    <a:pt x="2573" y="236"/>
                  </a:cubicBezTo>
                  <a:cubicBezTo>
                    <a:pt x="2566" y="236"/>
                    <a:pt x="2560" y="242"/>
                    <a:pt x="2560" y="249"/>
                  </a:cubicBezTo>
                  <a:cubicBezTo>
                    <a:pt x="2560" y="256"/>
                    <a:pt x="2566" y="262"/>
                    <a:pt x="2573" y="262"/>
                  </a:cubicBezTo>
                  <a:close/>
                  <a:moveTo>
                    <a:pt x="2612" y="262"/>
                  </a:moveTo>
                  <a:cubicBezTo>
                    <a:pt x="2619" y="262"/>
                    <a:pt x="2625" y="256"/>
                    <a:pt x="2625" y="249"/>
                  </a:cubicBezTo>
                  <a:cubicBezTo>
                    <a:pt x="2625" y="242"/>
                    <a:pt x="2619" y="236"/>
                    <a:pt x="2612" y="236"/>
                  </a:cubicBezTo>
                  <a:cubicBezTo>
                    <a:pt x="2605" y="236"/>
                    <a:pt x="2599" y="242"/>
                    <a:pt x="2599" y="249"/>
                  </a:cubicBezTo>
                  <a:cubicBezTo>
                    <a:pt x="2599" y="256"/>
                    <a:pt x="2605" y="262"/>
                    <a:pt x="2612" y="262"/>
                  </a:cubicBezTo>
                  <a:close/>
                  <a:moveTo>
                    <a:pt x="2652" y="262"/>
                  </a:moveTo>
                  <a:cubicBezTo>
                    <a:pt x="2659" y="262"/>
                    <a:pt x="2664" y="256"/>
                    <a:pt x="2664" y="249"/>
                  </a:cubicBezTo>
                  <a:cubicBezTo>
                    <a:pt x="2664" y="242"/>
                    <a:pt x="2659" y="236"/>
                    <a:pt x="2652" y="236"/>
                  </a:cubicBezTo>
                  <a:cubicBezTo>
                    <a:pt x="2645" y="236"/>
                    <a:pt x="2639" y="242"/>
                    <a:pt x="2639" y="249"/>
                  </a:cubicBezTo>
                  <a:cubicBezTo>
                    <a:pt x="2639" y="256"/>
                    <a:pt x="2645" y="262"/>
                    <a:pt x="2652" y="262"/>
                  </a:cubicBezTo>
                  <a:close/>
                  <a:moveTo>
                    <a:pt x="2691" y="262"/>
                  </a:moveTo>
                  <a:cubicBezTo>
                    <a:pt x="2698" y="262"/>
                    <a:pt x="2704" y="256"/>
                    <a:pt x="2704" y="249"/>
                  </a:cubicBezTo>
                  <a:cubicBezTo>
                    <a:pt x="2704" y="242"/>
                    <a:pt x="2698" y="236"/>
                    <a:pt x="2691" y="236"/>
                  </a:cubicBezTo>
                  <a:cubicBezTo>
                    <a:pt x="2684" y="236"/>
                    <a:pt x="2678" y="242"/>
                    <a:pt x="2678" y="249"/>
                  </a:cubicBezTo>
                  <a:cubicBezTo>
                    <a:pt x="2678" y="256"/>
                    <a:pt x="2684" y="262"/>
                    <a:pt x="2691" y="262"/>
                  </a:cubicBezTo>
                  <a:close/>
                  <a:moveTo>
                    <a:pt x="2730" y="262"/>
                  </a:moveTo>
                  <a:cubicBezTo>
                    <a:pt x="2738" y="262"/>
                    <a:pt x="2743" y="256"/>
                    <a:pt x="2743" y="249"/>
                  </a:cubicBezTo>
                  <a:cubicBezTo>
                    <a:pt x="2743" y="242"/>
                    <a:pt x="2738" y="236"/>
                    <a:pt x="2730" y="236"/>
                  </a:cubicBezTo>
                  <a:cubicBezTo>
                    <a:pt x="2723" y="236"/>
                    <a:pt x="2718" y="242"/>
                    <a:pt x="2718" y="249"/>
                  </a:cubicBezTo>
                  <a:cubicBezTo>
                    <a:pt x="2718" y="256"/>
                    <a:pt x="2723" y="262"/>
                    <a:pt x="2730" y="262"/>
                  </a:cubicBezTo>
                  <a:close/>
                  <a:moveTo>
                    <a:pt x="2770" y="262"/>
                  </a:moveTo>
                  <a:cubicBezTo>
                    <a:pt x="2777" y="262"/>
                    <a:pt x="2783" y="256"/>
                    <a:pt x="2783" y="249"/>
                  </a:cubicBezTo>
                  <a:cubicBezTo>
                    <a:pt x="2783" y="242"/>
                    <a:pt x="2777" y="236"/>
                    <a:pt x="2770" y="236"/>
                  </a:cubicBezTo>
                  <a:cubicBezTo>
                    <a:pt x="2763" y="236"/>
                    <a:pt x="2757" y="242"/>
                    <a:pt x="2757" y="249"/>
                  </a:cubicBezTo>
                  <a:cubicBezTo>
                    <a:pt x="2757" y="256"/>
                    <a:pt x="2763" y="262"/>
                    <a:pt x="2770" y="262"/>
                  </a:cubicBezTo>
                  <a:close/>
                  <a:moveTo>
                    <a:pt x="2770" y="223"/>
                  </a:moveTo>
                  <a:cubicBezTo>
                    <a:pt x="2777" y="223"/>
                    <a:pt x="2783" y="217"/>
                    <a:pt x="2783" y="210"/>
                  </a:cubicBezTo>
                  <a:cubicBezTo>
                    <a:pt x="2783" y="203"/>
                    <a:pt x="2777" y="197"/>
                    <a:pt x="2770" y="197"/>
                  </a:cubicBezTo>
                  <a:cubicBezTo>
                    <a:pt x="2763" y="197"/>
                    <a:pt x="2757" y="203"/>
                    <a:pt x="2757" y="210"/>
                  </a:cubicBezTo>
                  <a:cubicBezTo>
                    <a:pt x="2757" y="217"/>
                    <a:pt x="2763" y="223"/>
                    <a:pt x="2770" y="223"/>
                  </a:cubicBezTo>
                  <a:close/>
                  <a:moveTo>
                    <a:pt x="2809" y="262"/>
                  </a:moveTo>
                  <a:cubicBezTo>
                    <a:pt x="2816" y="262"/>
                    <a:pt x="2822" y="256"/>
                    <a:pt x="2822" y="249"/>
                  </a:cubicBezTo>
                  <a:cubicBezTo>
                    <a:pt x="2822" y="242"/>
                    <a:pt x="2816" y="236"/>
                    <a:pt x="2809" y="236"/>
                  </a:cubicBezTo>
                  <a:cubicBezTo>
                    <a:pt x="2802" y="236"/>
                    <a:pt x="2797" y="242"/>
                    <a:pt x="2797" y="249"/>
                  </a:cubicBezTo>
                  <a:cubicBezTo>
                    <a:pt x="2797" y="256"/>
                    <a:pt x="2802" y="262"/>
                    <a:pt x="2809" y="262"/>
                  </a:cubicBezTo>
                  <a:close/>
                  <a:moveTo>
                    <a:pt x="2849" y="262"/>
                  </a:moveTo>
                  <a:cubicBezTo>
                    <a:pt x="2856" y="262"/>
                    <a:pt x="2861" y="256"/>
                    <a:pt x="2861" y="249"/>
                  </a:cubicBezTo>
                  <a:cubicBezTo>
                    <a:pt x="2861" y="242"/>
                    <a:pt x="2856" y="236"/>
                    <a:pt x="2849" y="236"/>
                  </a:cubicBezTo>
                  <a:cubicBezTo>
                    <a:pt x="2842" y="236"/>
                    <a:pt x="2836" y="242"/>
                    <a:pt x="2836" y="249"/>
                  </a:cubicBezTo>
                  <a:cubicBezTo>
                    <a:pt x="2836" y="256"/>
                    <a:pt x="2842" y="262"/>
                    <a:pt x="2849" y="262"/>
                  </a:cubicBezTo>
                  <a:close/>
                  <a:moveTo>
                    <a:pt x="2888" y="262"/>
                  </a:moveTo>
                  <a:cubicBezTo>
                    <a:pt x="2895" y="262"/>
                    <a:pt x="2901" y="256"/>
                    <a:pt x="2901" y="249"/>
                  </a:cubicBezTo>
                  <a:cubicBezTo>
                    <a:pt x="2901" y="242"/>
                    <a:pt x="2895" y="236"/>
                    <a:pt x="2888" y="236"/>
                  </a:cubicBezTo>
                  <a:cubicBezTo>
                    <a:pt x="2881" y="236"/>
                    <a:pt x="2875" y="242"/>
                    <a:pt x="2875" y="249"/>
                  </a:cubicBezTo>
                  <a:cubicBezTo>
                    <a:pt x="2875" y="256"/>
                    <a:pt x="2881" y="262"/>
                    <a:pt x="2888" y="262"/>
                  </a:cubicBezTo>
                  <a:close/>
                  <a:moveTo>
                    <a:pt x="2928" y="262"/>
                  </a:moveTo>
                  <a:cubicBezTo>
                    <a:pt x="2935" y="262"/>
                    <a:pt x="2940" y="256"/>
                    <a:pt x="2940" y="249"/>
                  </a:cubicBezTo>
                  <a:cubicBezTo>
                    <a:pt x="2940" y="242"/>
                    <a:pt x="2935" y="236"/>
                    <a:pt x="2928" y="236"/>
                  </a:cubicBezTo>
                  <a:cubicBezTo>
                    <a:pt x="2921" y="236"/>
                    <a:pt x="2915" y="242"/>
                    <a:pt x="2915" y="249"/>
                  </a:cubicBezTo>
                  <a:cubicBezTo>
                    <a:pt x="2915" y="256"/>
                    <a:pt x="2921" y="262"/>
                    <a:pt x="2928" y="262"/>
                  </a:cubicBezTo>
                  <a:close/>
                  <a:moveTo>
                    <a:pt x="2967" y="262"/>
                  </a:moveTo>
                  <a:cubicBezTo>
                    <a:pt x="2974" y="262"/>
                    <a:pt x="2980" y="256"/>
                    <a:pt x="2980" y="249"/>
                  </a:cubicBezTo>
                  <a:cubicBezTo>
                    <a:pt x="2980" y="242"/>
                    <a:pt x="2974" y="236"/>
                    <a:pt x="2967" y="236"/>
                  </a:cubicBezTo>
                  <a:cubicBezTo>
                    <a:pt x="2960" y="236"/>
                    <a:pt x="2954" y="242"/>
                    <a:pt x="2954" y="249"/>
                  </a:cubicBezTo>
                  <a:cubicBezTo>
                    <a:pt x="2954" y="256"/>
                    <a:pt x="2960" y="262"/>
                    <a:pt x="2967" y="262"/>
                  </a:cubicBezTo>
                  <a:close/>
                  <a:moveTo>
                    <a:pt x="3006" y="262"/>
                  </a:moveTo>
                  <a:cubicBezTo>
                    <a:pt x="3013" y="262"/>
                    <a:pt x="3019" y="256"/>
                    <a:pt x="3019" y="249"/>
                  </a:cubicBezTo>
                  <a:cubicBezTo>
                    <a:pt x="3019" y="242"/>
                    <a:pt x="3013" y="236"/>
                    <a:pt x="3006" y="236"/>
                  </a:cubicBezTo>
                  <a:cubicBezTo>
                    <a:pt x="2999" y="236"/>
                    <a:pt x="2994" y="242"/>
                    <a:pt x="2994" y="249"/>
                  </a:cubicBezTo>
                  <a:cubicBezTo>
                    <a:pt x="2994" y="256"/>
                    <a:pt x="2999" y="262"/>
                    <a:pt x="3006" y="262"/>
                  </a:cubicBezTo>
                  <a:close/>
                  <a:moveTo>
                    <a:pt x="3046" y="262"/>
                  </a:moveTo>
                  <a:cubicBezTo>
                    <a:pt x="3053" y="262"/>
                    <a:pt x="3059" y="256"/>
                    <a:pt x="3059" y="249"/>
                  </a:cubicBezTo>
                  <a:cubicBezTo>
                    <a:pt x="3059" y="242"/>
                    <a:pt x="3053" y="237"/>
                    <a:pt x="3046" y="237"/>
                  </a:cubicBezTo>
                  <a:cubicBezTo>
                    <a:pt x="3039" y="237"/>
                    <a:pt x="3033" y="242"/>
                    <a:pt x="3033" y="249"/>
                  </a:cubicBezTo>
                  <a:cubicBezTo>
                    <a:pt x="3033" y="256"/>
                    <a:pt x="3039" y="262"/>
                    <a:pt x="3046" y="262"/>
                  </a:cubicBezTo>
                  <a:close/>
                  <a:moveTo>
                    <a:pt x="3085" y="262"/>
                  </a:moveTo>
                  <a:cubicBezTo>
                    <a:pt x="3092" y="262"/>
                    <a:pt x="3098" y="256"/>
                    <a:pt x="3098" y="249"/>
                  </a:cubicBezTo>
                  <a:cubicBezTo>
                    <a:pt x="3098" y="242"/>
                    <a:pt x="3092" y="236"/>
                    <a:pt x="3085" y="236"/>
                  </a:cubicBezTo>
                  <a:cubicBezTo>
                    <a:pt x="3078" y="236"/>
                    <a:pt x="3073" y="242"/>
                    <a:pt x="3073" y="249"/>
                  </a:cubicBezTo>
                  <a:cubicBezTo>
                    <a:pt x="3073" y="256"/>
                    <a:pt x="3078" y="262"/>
                    <a:pt x="3085" y="262"/>
                  </a:cubicBezTo>
                  <a:close/>
                  <a:moveTo>
                    <a:pt x="3125" y="262"/>
                  </a:moveTo>
                  <a:cubicBezTo>
                    <a:pt x="3132" y="262"/>
                    <a:pt x="3137" y="256"/>
                    <a:pt x="3137" y="249"/>
                  </a:cubicBezTo>
                  <a:cubicBezTo>
                    <a:pt x="3137" y="242"/>
                    <a:pt x="3132" y="236"/>
                    <a:pt x="3125" y="236"/>
                  </a:cubicBezTo>
                  <a:cubicBezTo>
                    <a:pt x="3118" y="236"/>
                    <a:pt x="3112" y="242"/>
                    <a:pt x="3112" y="249"/>
                  </a:cubicBezTo>
                  <a:cubicBezTo>
                    <a:pt x="3112" y="256"/>
                    <a:pt x="3118" y="262"/>
                    <a:pt x="3125" y="262"/>
                  </a:cubicBezTo>
                  <a:close/>
                  <a:moveTo>
                    <a:pt x="3164" y="262"/>
                  </a:moveTo>
                  <a:cubicBezTo>
                    <a:pt x="3171" y="262"/>
                    <a:pt x="3177" y="256"/>
                    <a:pt x="3177" y="249"/>
                  </a:cubicBezTo>
                  <a:cubicBezTo>
                    <a:pt x="3177" y="242"/>
                    <a:pt x="3171" y="236"/>
                    <a:pt x="3164" y="236"/>
                  </a:cubicBezTo>
                  <a:cubicBezTo>
                    <a:pt x="3157" y="236"/>
                    <a:pt x="3151" y="242"/>
                    <a:pt x="3151" y="249"/>
                  </a:cubicBezTo>
                  <a:cubicBezTo>
                    <a:pt x="3151" y="256"/>
                    <a:pt x="3157" y="262"/>
                    <a:pt x="3164" y="262"/>
                  </a:cubicBezTo>
                  <a:close/>
                  <a:moveTo>
                    <a:pt x="3204" y="262"/>
                  </a:moveTo>
                  <a:cubicBezTo>
                    <a:pt x="3211" y="262"/>
                    <a:pt x="3216" y="256"/>
                    <a:pt x="3216" y="249"/>
                  </a:cubicBezTo>
                  <a:cubicBezTo>
                    <a:pt x="3216" y="242"/>
                    <a:pt x="3211" y="236"/>
                    <a:pt x="3204" y="236"/>
                  </a:cubicBezTo>
                  <a:cubicBezTo>
                    <a:pt x="3197" y="236"/>
                    <a:pt x="3191" y="242"/>
                    <a:pt x="3191" y="249"/>
                  </a:cubicBezTo>
                  <a:cubicBezTo>
                    <a:pt x="3191" y="256"/>
                    <a:pt x="3197" y="262"/>
                    <a:pt x="3204" y="262"/>
                  </a:cubicBezTo>
                  <a:close/>
                  <a:moveTo>
                    <a:pt x="3282" y="262"/>
                  </a:moveTo>
                  <a:cubicBezTo>
                    <a:pt x="3289" y="262"/>
                    <a:pt x="3295" y="256"/>
                    <a:pt x="3295" y="249"/>
                  </a:cubicBezTo>
                  <a:cubicBezTo>
                    <a:pt x="3295" y="242"/>
                    <a:pt x="3289" y="236"/>
                    <a:pt x="3282" y="236"/>
                  </a:cubicBezTo>
                  <a:cubicBezTo>
                    <a:pt x="3275" y="236"/>
                    <a:pt x="3270" y="242"/>
                    <a:pt x="3270" y="249"/>
                  </a:cubicBezTo>
                  <a:cubicBezTo>
                    <a:pt x="3270" y="256"/>
                    <a:pt x="3275" y="262"/>
                    <a:pt x="3282" y="262"/>
                  </a:cubicBezTo>
                  <a:close/>
                  <a:moveTo>
                    <a:pt x="3519" y="262"/>
                  </a:moveTo>
                  <a:cubicBezTo>
                    <a:pt x="3526" y="262"/>
                    <a:pt x="3532" y="256"/>
                    <a:pt x="3532" y="249"/>
                  </a:cubicBezTo>
                  <a:cubicBezTo>
                    <a:pt x="3532" y="242"/>
                    <a:pt x="3526" y="236"/>
                    <a:pt x="3519" y="236"/>
                  </a:cubicBezTo>
                  <a:cubicBezTo>
                    <a:pt x="3512" y="236"/>
                    <a:pt x="3506" y="242"/>
                    <a:pt x="3506" y="249"/>
                  </a:cubicBezTo>
                  <a:cubicBezTo>
                    <a:pt x="3506" y="256"/>
                    <a:pt x="3512" y="262"/>
                    <a:pt x="3519" y="262"/>
                  </a:cubicBezTo>
                  <a:close/>
                  <a:moveTo>
                    <a:pt x="10" y="278"/>
                  </a:moveTo>
                  <a:cubicBezTo>
                    <a:pt x="4" y="278"/>
                    <a:pt x="0" y="283"/>
                    <a:pt x="0" y="289"/>
                  </a:cubicBezTo>
                  <a:cubicBezTo>
                    <a:pt x="0" y="295"/>
                    <a:pt x="4" y="299"/>
                    <a:pt x="10" y="299"/>
                  </a:cubicBezTo>
                  <a:cubicBezTo>
                    <a:pt x="16" y="299"/>
                    <a:pt x="21" y="295"/>
                    <a:pt x="21" y="289"/>
                  </a:cubicBezTo>
                  <a:cubicBezTo>
                    <a:pt x="21" y="283"/>
                    <a:pt x="16" y="278"/>
                    <a:pt x="10" y="278"/>
                  </a:cubicBezTo>
                  <a:close/>
                  <a:moveTo>
                    <a:pt x="50" y="301"/>
                  </a:moveTo>
                  <a:cubicBezTo>
                    <a:pt x="57" y="301"/>
                    <a:pt x="62" y="296"/>
                    <a:pt x="62" y="289"/>
                  </a:cubicBezTo>
                  <a:cubicBezTo>
                    <a:pt x="62" y="282"/>
                    <a:pt x="57" y="276"/>
                    <a:pt x="50" y="276"/>
                  </a:cubicBezTo>
                  <a:cubicBezTo>
                    <a:pt x="43" y="276"/>
                    <a:pt x="37" y="282"/>
                    <a:pt x="37" y="289"/>
                  </a:cubicBezTo>
                  <a:cubicBezTo>
                    <a:pt x="37" y="296"/>
                    <a:pt x="43" y="301"/>
                    <a:pt x="50" y="301"/>
                  </a:cubicBezTo>
                  <a:close/>
                  <a:moveTo>
                    <a:pt x="89" y="301"/>
                  </a:moveTo>
                  <a:cubicBezTo>
                    <a:pt x="96" y="301"/>
                    <a:pt x="102" y="296"/>
                    <a:pt x="102" y="289"/>
                  </a:cubicBezTo>
                  <a:cubicBezTo>
                    <a:pt x="102" y="282"/>
                    <a:pt x="96" y="276"/>
                    <a:pt x="89" y="276"/>
                  </a:cubicBezTo>
                  <a:cubicBezTo>
                    <a:pt x="82" y="276"/>
                    <a:pt x="76" y="282"/>
                    <a:pt x="76" y="289"/>
                  </a:cubicBezTo>
                  <a:cubicBezTo>
                    <a:pt x="76" y="296"/>
                    <a:pt x="82" y="301"/>
                    <a:pt x="89" y="301"/>
                  </a:cubicBezTo>
                  <a:close/>
                  <a:moveTo>
                    <a:pt x="128" y="301"/>
                  </a:moveTo>
                  <a:cubicBezTo>
                    <a:pt x="136" y="301"/>
                    <a:pt x="141" y="296"/>
                    <a:pt x="141" y="289"/>
                  </a:cubicBezTo>
                  <a:cubicBezTo>
                    <a:pt x="141" y="282"/>
                    <a:pt x="136" y="276"/>
                    <a:pt x="128" y="276"/>
                  </a:cubicBezTo>
                  <a:cubicBezTo>
                    <a:pt x="121" y="276"/>
                    <a:pt x="116" y="282"/>
                    <a:pt x="116" y="289"/>
                  </a:cubicBezTo>
                  <a:cubicBezTo>
                    <a:pt x="116" y="296"/>
                    <a:pt x="121" y="301"/>
                    <a:pt x="128" y="301"/>
                  </a:cubicBezTo>
                  <a:close/>
                  <a:moveTo>
                    <a:pt x="168" y="301"/>
                  </a:moveTo>
                  <a:cubicBezTo>
                    <a:pt x="175" y="301"/>
                    <a:pt x="181" y="296"/>
                    <a:pt x="181" y="289"/>
                  </a:cubicBezTo>
                  <a:cubicBezTo>
                    <a:pt x="181" y="282"/>
                    <a:pt x="175" y="276"/>
                    <a:pt x="168" y="276"/>
                  </a:cubicBezTo>
                  <a:cubicBezTo>
                    <a:pt x="161" y="276"/>
                    <a:pt x="155" y="282"/>
                    <a:pt x="155" y="289"/>
                  </a:cubicBezTo>
                  <a:cubicBezTo>
                    <a:pt x="155" y="296"/>
                    <a:pt x="161" y="301"/>
                    <a:pt x="168" y="301"/>
                  </a:cubicBezTo>
                  <a:close/>
                  <a:moveTo>
                    <a:pt x="207" y="301"/>
                  </a:moveTo>
                  <a:cubicBezTo>
                    <a:pt x="214" y="301"/>
                    <a:pt x="220" y="296"/>
                    <a:pt x="220" y="289"/>
                  </a:cubicBezTo>
                  <a:cubicBezTo>
                    <a:pt x="220" y="282"/>
                    <a:pt x="214" y="276"/>
                    <a:pt x="207" y="276"/>
                  </a:cubicBezTo>
                  <a:cubicBezTo>
                    <a:pt x="200" y="276"/>
                    <a:pt x="195" y="282"/>
                    <a:pt x="195" y="289"/>
                  </a:cubicBezTo>
                  <a:cubicBezTo>
                    <a:pt x="195" y="296"/>
                    <a:pt x="200" y="301"/>
                    <a:pt x="207" y="301"/>
                  </a:cubicBezTo>
                  <a:close/>
                  <a:moveTo>
                    <a:pt x="247" y="301"/>
                  </a:moveTo>
                  <a:cubicBezTo>
                    <a:pt x="254" y="301"/>
                    <a:pt x="259" y="296"/>
                    <a:pt x="259" y="289"/>
                  </a:cubicBezTo>
                  <a:cubicBezTo>
                    <a:pt x="259" y="282"/>
                    <a:pt x="254" y="276"/>
                    <a:pt x="247" y="276"/>
                  </a:cubicBezTo>
                  <a:cubicBezTo>
                    <a:pt x="240" y="276"/>
                    <a:pt x="234" y="282"/>
                    <a:pt x="234" y="289"/>
                  </a:cubicBezTo>
                  <a:cubicBezTo>
                    <a:pt x="234" y="296"/>
                    <a:pt x="240" y="301"/>
                    <a:pt x="247" y="301"/>
                  </a:cubicBezTo>
                  <a:close/>
                  <a:moveTo>
                    <a:pt x="286" y="301"/>
                  </a:moveTo>
                  <a:cubicBezTo>
                    <a:pt x="293" y="301"/>
                    <a:pt x="299" y="296"/>
                    <a:pt x="299" y="289"/>
                  </a:cubicBezTo>
                  <a:cubicBezTo>
                    <a:pt x="299" y="282"/>
                    <a:pt x="293" y="276"/>
                    <a:pt x="286" y="276"/>
                  </a:cubicBezTo>
                  <a:cubicBezTo>
                    <a:pt x="279" y="276"/>
                    <a:pt x="273" y="282"/>
                    <a:pt x="273" y="289"/>
                  </a:cubicBezTo>
                  <a:cubicBezTo>
                    <a:pt x="273" y="296"/>
                    <a:pt x="279" y="301"/>
                    <a:pt x="286" y="301"/>
                  </a:cubicBezTo>
                  <a:close/>
                  <a:moveTo>
                    <a:pt x="326" y="301"/>
                  </a:moveTo>
                  <a:cubicBezTo>
                    <a:pt x="333" y="301"/>
                    <a:pt x="338" y="296"/>
                    <a:pt x="338" y="289"/>
                  </a:cubicBezTo>
                  <a:cubicBezTo>
                    <a:pt x="338" y="282"/>
                    <a:pt x="333" y="276"/>
                    <a:pt x="326" y="276"/>
                  </a:cubicBezTo>
                  <a:cubicBezTo>
                    <a:pt x="319" y="276"/>
                    <a:pt x="313" y="282"/>
                    <a:pt x="313" y="289"/>
                  </a:cubicBezTo>
                  <a:cubicBezTo>
                    <a:pt x="313" y="296"/>
                    <a:pt x="319" y="301"/>
                    <a:pt x="326" y="301"/>
                  </a:cubicBezTo>
                  <a:close/>
                  <a:moveTo>
                    <a:pt x="365" y="301"/>
                  </a:moveTo>
                  <a:cubicBezTo>
                    <a:pt x="372" y="301"/>
                    <a:pt x="378" y="296"/>
                    <a:pt x="378" y="289"/>
                  </a:cubicBezTo>
                  <a:cubicBezTo>
                    <a:pt x="378" y="282"/>
                    <a:pt x="372" y="276"/>
                    <a:pt x="365" y="276"/>
                  </a:cubicBezTo>
                  <a:cubicBezTo>
                    <a:pt x="358" y="276"/>
                    <a:pt x="352" y="282"/>
                    <a:pt x="352" y="289"/>
                  </a:cubicBezTo>
                  <a:cubicBezTo>
                    <a:pt x="352" y="296"/>
                    <a:pt x="358" y="301"/>
                    <a:pt x="365" y="301"/>
                  </a:cubicBezTo>
                  <a:close/>
                  <a:moveTo>
                    <a:pt x="404" y="301"/>
                  </a:moveTo>
                  <a:cubicBezTo>
                    <a:pt x="411" y="301"/>
                    <a:pt x="417" y="296"/>
                    <a:pt x="417" y="289"/>
                  </a:cubicBezTo>
                  <a:cubicBezTo>
                    <a:pt x="417" y="282"/>
                    <a:pt x="411" y="276"/>
                    <a:pt x="404" y="276"/>
                  </a:cubicBezTo>
                  <a:cubicBezTo>
                    <a:pt x="397" y="276"/>
                    <a:pt x="392" y="282"/>
                    <a:pt x="392" y="289"/>
                  </a:cubicBezTo>
                  <a:cubicBezTo>
                    <a:pt x="392" y="296"/>
                    <a:pt x="397" y="301"/>
                    <a:pt x="404" y="301"/>
                  </a:cubicBezTo>
                  <a:close/>
                  <a:moveTo>
                    <a:pt x="444" y="301"/>
                  </a:moveTo>
                  <a:cubicBezTo>
                    <a:pt x="451" y="301"/>
                    <a:pt x="457" y="296"/>
                    <a:pt x="457" y="289"/>
                  </a:cubicBezTo>
                  <a:cubicBezTo>
                    <a:pt x="457" y="282"/>
                    <a:pt x="451" y="276"/>
                    <a:pt x="444" y="276"/>
                  </a:cubicBezTo>
                  <a:cubicBezTo>
                    <a:pt x="437" y="276"/>
                    <a:pt x="431" y="282"/>
                    <a:pt x="431" y="289"/>
                  </a:cubicBezTo>
                  <a:cubicBezTo>
                    <a:pt x="431" y="296"/>
                    <a:pt x="437" y="301"/>
                    <a:pt x="444" y="301"/>
                  </a:cubicBezTo>
                  <a:close/>
                  <a:moveTo>
                    <a:pt x="483" y="301"/>
                  </a:moveTo>
                  <a:cubicBezTo>
                    <a:pt x="490" y="301"/>
                    <a:pt x="496" y="296"/>
                    <a:pt x="496" y="289"/>
                  </a:cubicBezTo>
                  <a:cubicBezTo>
                    <a:pt x="496" y="282"/>
                    <a:pt x="490" y="276"/>
                    <a:pt x="483" y="276"/>
                  </a:cubicBezTo>
                  <a:cubicBezTo>
                    <a:pt x="476" y="276"/>
                    <a:pt x="471" y="282"/>
                    <a:pt x="471" y="289"/>
                  </a:cubicBezTo>
                  <a:cubicBezTo>
                    <a:pt x="471" y="296"/>
                    <a:pt x="476" y="301"/>
                    <a:pt x="483" y="301"/>
                  </a:cubicBezTo>
                  <a:close/>
                  <a:moveTo>
                    <a:pt x="523" y="301"/>
                  </a:moveTo>
                  <a:cubicBezTo>
                    <a:pt x="530" y="301"/>
                    <a:pt x="535" y="296"/>
                    <a:pt x="535" y="289"/>
                  </a:cubicBezTo>
                  <a:cubicBezTo>
                    <a:pt x="535" y="282"/>
                    <a:pt x="530" y="276"/>
                    <a:pt x="523" y="276"/>
                  </a:cubicBezTo>
                  <a:cubicBezTo>
                    <a:pt x="516" y="276"/>
                    <a:pt x="510" y="282"/>
                    <a:pt x="510" y="289"/>
                  </a:cubicBezTo>
                  <a:cubicBezTo>
                    <a:pt x="510" y="296"/>
                    <a:pt x="516" y="301"/>
                    <a:pt x="523" y="301"/>
                  </a:cubicBezTo>
                  <a:close/>
                  <a:moveTo>
                    <a:pt x="562" y="301"/>
                  </a:moveTo>
                  <a:cubicBezTo>
                    <a:pt x="569" y="301"/>
                    <a:pt x="575" y="296"/>
                    <a:pt x="575" y="289"/>
                  </a:cubicBezTo>
                  <a:cubicBezTo>
                    <a:pt x="575" y="282"/>
                    <a:pt x="569" y="276"/>
                    <a:pt x="562" y="276"/>
                  </a:cubicBezTo>
                  <a:cubicBezTo>
                    <a:pt x="555" y="276"/>
                    <a:pt x="549" y="282"/>
                    <a:pt x="549" y="289"/>
                  </a:cubicBezTo>
                  <a:cubicBezTo>
                    <a:pt x="549" y="296"/>
                    <a:pt x="555" y="301"/>
                    <a:pt x="562" y="301"/>
                  </a:cubicBezTo>
                  <a:close/>
                  <a:moveTo>
                    <a:pt x="641" y="301"/>
                  </a:moveTo>
                  <a:cubicBezTo>
                    <a:pt x="648" y="301"/>
                    <a:pt x="654" y="296"/>
                    <a:pt x="654" y="289"/>
                  </a:cubicBezTo>
                  <a:cubicBezTo>
                    <a:pt x="654" y="282"/>
                    <a:pt x="648" y="276"/>
                    <a:pt x="641" y="276"/>
                  </a:cubicBezTo>
                  <a:cubicBezTo>
                    <a:pt x="634" y="276"/>
                    <a:pt x="628" y="282"/>
                    <a:pt x="628" y="289"/>
                  </a:cubicBezTo>
                  <a:cubicBezTo>
                    <a:pt x="628" y="296"/>
                    <a:pt x="634" y="301"/>
                    <a:pt x="641" y="301"/>
                  </a:cubicBezTo>
                  <a:close/>
                  <a:moveTo>
                    <a:pt x="720" y="301"/>
                  </a:moveTo>
                  <a:cubicBezTo>
                    <a:pt x="727" y="301"/>
                    <a:pt x="733" y="296"/>
                    <a:pt x="733" y="289"/>
                  </a:cubicBezTo>
                  <a:cubicBezTo>
                    <a:pt x="733" y="282"/>
                    <a:pt x="727" y="276"/>
                    <a:pt x="720" y="276"/>
                  </a:cubicBezTo>
                  <a:cubicBezTo>
                    <a:pt x="713" y="276"/>
                    <a:pt x="707" y="282"/>
                    <a:pt x="707" y="289"/>
                  </a:cubicBezTo>
                  <a:cubicBezTo>
                    <a:pt x="707" y="296"/>
                    <a:pt x="713" y="301"/>
                    <a:pt x="720" y="301"/>
                  </a:cubicBezTo>
                  <a:close/>
                  <a:moveTo>
                    <a:pt x="759" y="301"/>
                  </a:moveTo>
                  <a:cubicBezTo>
                    <a:pt x="766" y="301"/>
                    <a:pt x="772" y="296"/>
                    <a:pt x="772" y="289"/>
                  </a:cubicBezTo>
                  <a:cubicBezTo>
                    <a:pt x="772" y="282"/>
                    <a:pt x="766" y="276"/>
                    <a:pt x="759" y="276"/>
                  </a:cubicBezTo>
                  <a:cubicBezTo>
                    <a:pt x="752" y="276"/>
                    <a:pt x="747" y="282"/>
                    <a:pt x="747" y="289"/>
                  </a:cubicBezTo>
                  <a:cubicBezTo>
                    <a:pt x="747" y="296"/>
                    <a:pt x="752" y="301"/>
                    <a:pt x="759" y="301"/>
                  </a:cubicBezTo>
                  <a:close/>
                  <a:moveTo>
                    <a:pt x="786" y="289"/>
                  </a:moveTo>
                  <a:cubicBezTo>
                    <a:pt x="786" y="296"/>
                    <a:pt x="792" y="301"/>
                    <a:pt x="799" y="301"/>
                  </a:cubicBezTo>
                  <a:cubicBezTo>
                    <a:pt x="806" y="301"/>
                    <a:pt x="811" y="296"/>
                    <a:pt x="811" y="289"/>
                  </a:cubicBezTo>
                  <a:cubicBezTo>
                    <a:pt x="811" y="282"/>
                    <a:pt x="806" y="276"/>
                    <a:pt x="799" y="276"/>
                  </a:cubicBezTo>
                  <a:cubicBezTo>
                    <a:pt x="792" y="276"/>
                    <a:pt x="786" y="282"/>
                    <a:pt x="786" y="289"/>
                  </a:cubicBezTo>
                  <a:close/>
                  <a:moveTo>
                    <a:pt x="838" y="301"/>
                  </a:moveTo>
                  <a:cubicBezTo>
                    <a:pt x="845" y="301"/>
                    <a:pt x="851" y="296"/>
                    <a:pt x="851" y="289"/>
                  </a:cubicBezTo>
                  <a:cubicBezTo>
                    <a:pt x="851" y="282"/>
                    <a:pt x="845" y="276"/>
                    <a:pt x="838" y="276"/>
                  </a:cubicBezTo>
                  <a:cubicBezTo>
                    <a:pt x="831" y="276"/>
                    <a:pt x="825" y="282"/>
                    <a:pt x="825" y="289"/>
                  </a:cubicBezTo>
                  <a:cubicBezTo>
                    <a:pt x="825" y="296"/>
                    <a:pt x="831" y="301"/>
                    <a:pt x="838" y="301"/>
                  </a:cubicBezTo>
                  <a:close/>
                  <a:moveTo>
                    <a:pt x="956" y="301"/>
                  </a:moveTo>
                  <a:cubicBezTo>
                    <a:pt x="963" y="301"/>
                    <a:pt x="969" y="296"/>
                    <a:pt x="969" y="289"/>
                  </a:cubicBezTo>
                  <a:cubicBezTo>
                    <a:pt x="969" y="282"/>
                    <a:pt x="963" y="276"/>
                    <a:pt x="956" y="276"/>
                  </a:cubicBezTo>
                  <a:cubicBezTo>
                    <a:pt x="949" y="276"/>
                    <a:pt x="944" y="282"/>
                    <a:pt x="944" y="289"/>
                  </a:cubicBezTo>
                  <a:cubicBezTo>
                    <a:pt x="944" y="296"/>
                    <a:pt x="949" y="301"/>
                    <a:pt x="956" y="301"/>
                  </a:cubicBezTo>
                  <a:close/>
                  <a:moveTo>
                    <a:pt x="996" y="301"/>
                  </a:moveTo>
                  <a:cubicBezTo>
                    <a:pt x="1003" y="301"/>
                    <a:pt x="1009" y="296"/>
                    <a:pt x="1009" y="289"/>
                  </a:cubicBezTo>
                  <a:cubicBezTo>
                    <a:pt x="1009" y="282"/>
                    <a:pt x="1003" y="276"/>
                    <a:pt x="996" y="276"/>
                  </a:cubicBezTo>
                  <a:cubicBezTo>
                    <a:pt x="989" y="276"/>
                    <a:pt x="983" y="282"/>
                    <a:pt x="983" y="289"/>
                  </a:cubicBezTo>
                  <a:cubicBezTo>
                    <a:pt x="983" y="296"/>
                    <a:pt x="989" y="301"/>
                    <a:pt x="996" y="301"/>
                  </a:cubicBezTo>
                  <a:close/>
                  <a:moveTo>
                    <a:pt x="1193" y="301"/>
                  </a:moveTo>
                  <a:cubicBezTo>
                    <a:pt x="1200" y="301"/>
                    <a:pt x="1206" y="296"/>
                    <a:pt x="1206" y="289"/>
                  </a:cubicBezTo>
                  <a:cubicBezTo>
                    <a:pt x="1206" y="282"/>
                    <a:pt x="1200" y="276"/>
                    <a:pt x="1193" y="276"/>
                  </a:cubicBezTo>
                  <a:cubicBezTo>
                    <a:pt x="1186" y="276"/>
                    <a:pt x="1180" y="282"/>
                    <a:pt x="1180" y="289"/>
                  </a:cubicBezTo>
                  <a:cubicBezTo>
                    <a:pt x="1180" y="296"/>
                    <a:pt x="1186" y="301"/>
                    <a:pt x="1193" y="301"/>
                  </a:cubicBezTo>
                  <a:close/>
                  <a:moveTo>
                    <a:pt x="1232" y="301"/>
                  </a:moveTo>
                  <a:cubicBezTo>
                    <a:pt x="1239" y="301"/>
                    <a:pt x="1245" y="296"/>
                    <a:pt x="1245" y="289"/>
                  </a:cubicBezTo>
                  <a:cubicBezTo>
                    <a:pt x="1245" y="282"/>
                    <a:pt x="1239" y="276"/>
                    <a:pt x="1232" y="276"/>
                  </a:cubicBezTo>
                  <a:cubicBezTo>
                    <a:pt x="1225" y="276"/>
                    <a:pt x="1220" y="282"/>
                    <a:pt x="1220" y="289"/>
                  </a:cubicBezTo>
                  <a:cubicBezTo>
                    <a:pt x="1220" y="296"/>
                    <a:pt x="1225" y="301"/>
                    <a:pt x="1232" y="301"/>
                  </a:cubicBezTo>
                  <a:close/>
                  <a:moveTo>
                    <a:pt x="1272" y="301"/>
                  </a:moveTo>
                  <a:cubicBezTo>
                    <a:pt x="1279" y="301"/>
                    <a:pt x="1285" y="296"/>
                    <a:pt x="1285" y="289"/>
                  </a:cubicBezTo>
                  <a:cubicBezTo>
                    <a:pt x="1285" y="282"/>
                    <a:pt x="1279" y="276"/>
                    <a:pt x="1272" y="276"/>
                  </a:cubicBezTo>
                  <a:cubicBezTo>
                    <a:pt x="1265" y="276"/>
                    <a:pt x="1259" y="282"/>
                    <a:pt x="1259" y="289"/>
                  </a:cubicBezTo>
                  <a:cubicBezTo>
                    <a:pt x="1259" y="296"/>
                    <a:pt x="1265" y="301"/>
                    <a:pt x="1272" y="301"/>
                  </a:cubicBezTo>
                  <a:close/>
                  <a:moveTo>
                    <a:pt x="1311" y="301"/>
                  </a:moveTo>
                  <a:cubicBezTo>
                    <a:pt x="1318" y="301"/>
                    <a:pt x="1324" y="296"/>
                    <a:pt x="1324" y="289"/>
                  </a:cubicBezTo>
                  <a:cubicBezTo>
                    <a:pt x="1324" y="282"/>
                    <a:pt x="1318" y="276"/>
                    <a:pt x="1311" y="276"/>
                  </a:cubicBezTo>
                  <a:cubicBezTo>
                    <a:pt x="1304" y="276"/>
                    <a:pt x="1298" y="282"/>
                    <a:pt x="1298" y="289"/>
                  </a:cubicBezTo>
                  <a:cubicBezTo>
                    <a:pt x="1298" y="296"/>
                    <a:pt x="1304" y="301"/>
                    <a:pt x="1311" y="301"/>
                  </a:cubicBezTo>
                  <a:close/>
                  <a:moveTo>
                    <a:pt x="1351" y="276"/>
                  </a:moveTo>
                  <a:cubicBezTo>
                    <a:pt x="1344" y="276"/>
                    <a:pt x="1338" y="282"/>
                    <a:pt x="1338" y="289"/>
                  </a:cubicBezTo>
                  <a:cubicBezTo>
                    <a:pt x="1338" y="296"/>
                    <a:pt x="1344" y="301"/>
                    <a:pt x="1351" y="301"/>
                  </a:cubicBezTo>
                  <a:cubicBezTo>
                    <a:pt x="1358" y="301"/>
                    <a:pt x="1363" y="296"/>
                    <a:pt x="1363" y="289"/>
                  </a:cubicBezTo>
                  <a:cubicBezTo>
                    <a:pt x="1363" y="282"/>
                    <a:pt x="1358" y="276"/>
                    <a:pt x="1351" y="276"/>
                  </a:cubicBezTo>
                  <a:close/>
                  <a:moveTo>
                    <a:pt x="1390" y="276"/>
                  </a:moveTo>
                  <a:cubicBezTo>
                    <a:pt x="1383" y="276"/>
                    <a:pt x="1377" y="282"/>
                    <a:pt x="1377" y="289"/>
                  </a:cubicBezTo>
                  <a:cubicBezTo>
                    <a:pt x="1377" y="296"/>
                    <a:pt x="1383" y="301"/>
                    <a:pt x="1390" y="301"/>
                  </a:cubicBezTo>
                  <a:cubicBezTo>
                    <a:pt x="1397" y="301"/>
                    <a:pt x="1403" y="296"/>
                    <a:pt x="1403" y="289"/>
                  </a:cubicBezTo>
                  <a:cubicBezTo>
                    <a:pt x="1403" y="282"/>
                    <a:pt x="1397" y="276"/>
                    <a:pt x="1390" y="276"/>
                  </a:cubicBezTo>
                  <a:close/>
                  <a:moveTo>
                    <a:pt x="1429" y="276"/>
                  </a:moveTo>
                  <a:cubicBezTo>
                    <a:pt x="1422" y="276"/>
                    <a:pt x="1417" y="282"/>
                    <a:pt x="1417" y="289"/>
                  </a:cubicBezTo>
                  <a:cubicBezTo>
                    <a:pt x="1417" y="296"/>
                    <a:pt x="1422" y="301"/>
                    <a:pt x="1429" y="301"/>
                  </a:cubicBezTo>
                  <a:cubicBezTo>
                    <a:pt x="1437" y="301"/>
                    <a:pt x="1442" y="296"/>
                    <a:pt x="1442" y="289"/>
                  </a:cubicBezTo>
                  <a:cubicBezTo>
                    <a:pt x="1442" y="282"/>
                    <a:pt x="1437" y="276"/>
                    <a:pt x="1429" y="276"/>
                  </a:cubicBezTo>
                  <a:close/>
                  <a:moveTo>
                    <a:pt x="1859" y="289"/>
                  </a:moveTo>
                  <a:cubicBezTo>
                    <a:pt x="1859" y="291"/>
                    <a:pt x="1861" y="293"/>
                    <a:pt x="1863" y="293"/>
                  </a:cubicBezTo>
                  <a:cubicBezTo>
                    <a:pt x="1865" y="293"/>
                    <a:pt x="1867" y="291"/>
                    <a:pt x="1867" y="289"/>
                  </a:cubicBezTo>
                  <a:cubicBezTo>
                    <a:pt x="1867" y="286"/>
                    <a:pt x="1865" y="284"/>
                    <a:pt x="1863" y="284"/>
                  </a:cubicBezTo>
                  <a:cubicBezTo>
                    <a:pt x="1861" y="284"/>
                    <a:pt x="1859" y="286"/>
                    <a:pt x="1859" y="289"/>
                  </a:cubicBezTo>
                  <a:close/>
                  <a:moveTo>
                    <a:pt x="1903" y="301"/>
                  </a:moveTo>
                  <a:cubicBezTo>
                    <a:pt x="1910" y="301"/>
                    <a:pt x="1915" y="296"/>
                    <a:pt x="1915" y="289"/>
                  </a:cubicBezTo>
                  <a:cubicBezTo>
                    <a:pt x="1915" y="282"/>
                    <a:pt x="1910" y="276"/>
                    <a:pt x="1903" y="276"/>
                  </a:cubicBezTo>
                  <a:cubicBezTo>
                    <a:pt x="1896" y="276"/>
                    <a:pt x="1890" y="282"/>
                    <a:pt x="1890" y="289"/>
                  </a:cubicBezTo>
                  <a:cubicBezTo>
                    <a:pt x="1890" y="296"/>
                    <a:pt x="1896" y="301"/>
                    <a:pt x="1903" y="301"/>
                  </a:cubicBezTo>
                  <a:close/>
                  <a:moveTo>
                    <a:pt x="1942" y="301"/>
                  </a:moveTo>
                  <a:cubicBezTo>
                    <a:pt x="1949" y="301"/>
                    <a:pt x="1955" y="296"/>
                    <a:pt x="1955" y="289"/>
                  </a:cubicBezTo>
                  <a:cubicBezTo>
                    <a:pt x="1955" y="282"/>
                    <a:pt x="1949" y="276"/>
                    <a:pt x="1942" y="276"/>
                  </a:cubicBezTo>
                  <a:cubicBezTo>
                    <a:pt x="1935" y="276"/>
                    <a:pt x="1929" y="282"/>
                    <a:pt x="1929" y="289"/>
                  </a:cubicBezTo>
                  <a:cubicBezTo>
                    <a:pt x="1929" y="296"/>
                    <a:pt x="1935" y="301"/>
                    <a:pt x="1942" y="301"/>
                  </a:cubicBezTo>
                  <a:close/>
                  <a:moveTo>
                    <a:pt x="1981" y="301"/>
                  </a:moveTo>
                  <a:cubicBezTo>
                    <a:pt x="1988" y="301"/>
                    <a:pt x="1994" y="296"/>
                    <a:pt x="1994" y="289"/>
                  </a:cubicBezTo>
                  <a:cubicBezTo>
                    <a:pt x="1994" y="282"/>
                    <a:pt x="1988" y="276"/>
                    <a:pt x="1981" y="276"/>
                  </a:cubicBezTo>
                  <a:cubicBezTo>
                    <a:pt x="1974" y="276"/>
                    <a:pt x="1969" y="282"/>
                    <a:pt x="1969" y="289"/>
                  </a:cubicBezTo>
                  <a:cubicBezTo>
                    <a:pt x="1969" y="296"/>
                    <a:pt x="1974" y="301"/>
                    <a:pt x="1981" y="301"/>
                  </a:cubicBezTo>
                  <a:close/>
                  <a:moveTo>
                    <a:pt x="2021" y="301"/>
                  </a:moveTo>
                  <a:cubicBezTo>
                    <a:pt x="2028" y="301"/>
                    <a:pt x="2034" y="296"/>
                    <a:pt x="2034" y="289"/>
                  </a:cubicBezTo>
                  <a:cubicBezTo>
                    <a:pt x="2034" y="282"/>
                    <a:pt x="2028" y="276"/>
                    <a:pt x="2021" y="276"/>
                  </a:cubicBezTo>
                  <a:cubicBezTo>
                    <a:pt x="2014" y="276"/>
                    <a:pt x="2008" y="282"/>
                    <a:pt x="2008" y="289"/>
                  </a:cubicBezTo>
                  <a:cubicBezTo>
                    <a:pt x="2008" y="296"/>
                    <a:pt x="2014" y="301"/>
                    <a:pt x="2021" y="301"/>
                  </a:cubicBezTo>
                  <a:close/>
                  <a:moveTo>
                    <a:pt x="2060" y="301"/>
                  </a:moveTo>
                  <a:cubicBezTo>
                    <a:pt x="2067" y="301"/>
                    <a:pt x="2073" y="296"/>
                    <a:pt x="2073" y="289"/>
                  </a:cubicBezTo>
                  <a:cubicBezTo>
                    <a:pt x="2073" y="282"/>
                    <a:pt x="2067" y="276"/>
                    <a:pt x="2060" y="276"/>
                  </a:cubicBezTo>
                  <a:cubicBezTo>
                    <a:pt x="2053" y="276"/>
                    <a:pt x="2048" y="282"/>
                    <a:pt x="2048" y="289"/>
                  </a:cubicBezTo>
                  <a:cubicBezTo>
                    <a:pt x="2048" y="296"/>
                    <a:pt x="2053" y="301"/>
                    <a:pt x="2060" y="301"/>
                  </a:cubicBezTo>
                  <a:close/>
                  <a:moveTo>
                    <a:pt x="2288" y="289"/>
                  </a:moveTo>
                  <a:cubicBezTo>
                    <a:pt x="2288" y="293"/>
                    <a:pt x="2292" y="297"/>
                    <a:pt x="2297" y="297"/>
                  </a:cubicBezTo>
                  <a:cubicBezTo>
                    <a:pt x="2302" y="297"/>
                    <a:pt x="2305" y="293"/>
                    <a:pt x="2305" y="289"/>
                  </a:cubicBezTo>
                  <a:cubicBezTo>
                    <a:pt x="2305" y="284"/>
                    <a:pt x="2302" y="280"/>
                    <a:pt x="2297" y="280"/>
                  </a:cubicBezTo>
                  <a:cubicBezTo>
                    <a:pt x="2292" y="280"/>
                    <a:pt x="2288" y="284"/>
                    <a:pt x="2288" y="289"/>
                  </a:cubicBezTo>
                  <a:close/>
                  <a:moveTo>
                    <a:pt x="2336" y="301"/>
                  </a:moveTo>
                  <a:cubicBezTo>
                    <a:pt x="2343" y="301"/>
                    <a:pt x="2349" y="296"/>
                    <a:pt x="2349" y="289"/>
                  </a:cubicBezTo>
                  <a:cubicBezTo>
                    <a:pt x="2349" y="282"/>
                    <a:pt x="2343" y="276"/>
                    <a:pt x="2336" y="276"/>
                  </a:cubicBezTo>
                  <a:cubicBezTo>
                    <a:pt x="2329" y="276"/>
                    <a:pt x="2323" y="282"/>
                    <a:pt x="2323" y="289"/>
                  </a:cubicBezTo>
                  <a:cubicBezTo>
                    <a:pt x="2323" y="296"/>
                    <a:pt x="2329" y="301"/>
                    <a:pt x="2336" y="301"/>
                  </a:cubicBezTo>
                  <a:close/>
                  <a:moveTo>
                    <a:pt x="2415" y="301"/>
                  </a:moveTo>
                  <a:cubicBezTo>
                    <a:pt x="2422" y="301"/>
                    <a:pt x="2428" y="296"/>
                    <a:pt x="2428" y="289"/>
                  </a:cubicBezTo>
                  <a:cubicBezTo>
                    <a:pt x="2428" y="282"/>
                    <a:pt x="2422" y="276"/>
                    <a:pt x="2415" y="276"/>
                  </a:cubicBezTo>
                  <a:cubicBezTo>
                    <a:pt x="2408" y="276"/>
                    <a:pt x="2402" y="282"/>
                    <a:pt x="2402" y="289"/>
                  </a:cubicBezTo>
                  <a:cubicBezTo>
                    <a:pt x="2402" y="296"/>
                    <a:pt x="2408" y="301"/>
                    <a:pt x="2415" y="301"/>
                  </a:cubicBezTo>
                  <a:close/>
                  <a:moveTo>
                    <a:pt x="2494" y="301"/>
                  </a:moveTo>
                  <a:cubicBezTo>
                    <a:pt x="2501" y="301"/>
                    <a:pt x="2507" y="296"/>
                    <a:pt x="2507" y="289"/>
                  </a:cubicBezTo>
                  <a:cubicBezTo>
                    <a:pt x="2507" y="282"/>
                    <a:pt x="2501" y="276"/>
                    <a:pt x="2494" y="276"/>
                  </a:cubicBezTo>
                  <a:cubicBezTo>
                    <a:pt x="2487" y="276"/>
                    <a:pt x="2481" y="282"/>
                    <a:pt x="2481" y="289"/>
                  </a:cubicBezTo>
                  <a:cubicBezTo>
                    <a:pt x="2481" y="296"/>
                    <a:pt x="2487" y="301"/>
                    <a:pt x="2494" y="301"/>
                  </a:cubicBezTo>
                  <a:close/>
                  <a:moveTo>
                    <a:pt x="2533" y="301"/>
                  </a:moveTo>
                  <a:cubicBezTo>
                    <a:pt x="2540" y="301"/>
                    <a:pt x="2546" y="296"/>
                    <a:pt x="2546" y="289"/>
                  </a:cubicBezTo>
                  <a:cubicBezTo>
                    <a:pt x="2546" y="282"/>
                    <a:pt x="2540" y="276"/>
                    <a:pt x="2533" y="276"/>
                  </a:cubicBezTo>
                  <a:cubicBezTo>
                    <a:pt x="2526" y="276"/>
                    <a:pt x="2521" y="282"/>
                    <a:pt x="2521" y="289"/>
                  </a:cubicBezTo>
                  <a:cubicBezTo>
                    <a:pt x="2521" y="296"/>
                    <a:pt x="2526" y="301"/>
                    <a:pt x="2533" y="301"/>
                  </a:cubicBezTo>
                  <a:close/>
                  <a:moveTo>
                    <a:pt x="2573" y="301"/>
                  </a:moveTo>
                  <a:cubicBezTo>
                    <a:pt x="2580" y="301"/>
                    <a:pt x="2586" y="296"/>
                    <a:pt x="2586" y="289"/>
                  </a:cubicBezTo>
                  <a:cubicBezTo>
                    <a:pt x="2586" y="282"/>
                    <a:pt x="2580" y="276"/>
                    <a:pt x="2573" y="276"/>
                  </a:cubicBezTo>
                  <a:cubicBezTo>
                    <a:pt x="2566" y="276"/>
                    <a:pt x="2560" y="282"/>
                    <a:pt x="2560" y="289"/>
                  </a:cubicBezTo>
                  <a:cubicBezTo>
                    <a:pt x="2560" y="296"/>
                    <a:pt x="2566" y="301"/>
                    <a:pt x="2573" y="301"/>
                  </a:cubicBezTo>
                  <a:close/>
                  <a:moveTo>
                    <a:pt x="2612" y="301"/>
                  </a:moveTo>
                  <a:cubicBezTo>
                    <a:pt x="2619" y="301"/>
                    <a:pt x="2625" y="296"/>
                    <a:pt x="2625" y="289"/>
                  </a:cubicBezTo>
                  <a:cubicBezTo>
                    <a:pt x="2625" y="282"/>
                    <a:pt x="2619" y="276"/>
                    <a:pt x="2612" y="276"/>
                  </a:cubicBezTo>
                  <a:cubicBezTo>
                    <a:pt x="2605" y="276"/>
                    <a:pt x="2599" y="282"/>
                    <a:pt x="2599" y="289"/>
                  </a:cubicBezTo>
                  <a:cubicBezTo>
                    <a:pt x="2599" y="296"/>
                    <a:pt x="2605" y="301"/>
                    <a:pt x="2612" y="301"/>
                  </a:cubicBezTo>
                  <a:close/>
                  <a:moveTo>
                    <a:pt x="2652" y="301"/>
                  </a:moveTo>
                  <a:cubicBezTo>
                    <a:pt x="2659" y="301"/>
                    <a:pt x="2664" y="296"/>
                    <a:pt x="2664" y="289"/>
                  </a:cubicBezTo>
                  <a:cubicBezTo>
                    <a:pt x="2664" y="282"/>
                    <a:pt x="2659" y="276"/>
                    <a:pt x="2652" y="276"/>
                  </a:cubicBezTo>
                  <a:cubicBezTo>
                    <a:pt x="2645" y="276"/>
                    <a:pt x="2639" y="282"/>
                    <a:pt x="2639" y="289"/>
                  </a:cubicBezTo>
                  <a:cubicBezTo>
                    <a:pt x="2639" y="296"/>
                    <a:pt x="2645" y="301"/>
                    <a:pt x="2652" y="301"/>
                  </a:cubicBezTo>
                  <a:close/>
                  <a:moveTo>
                    <a:pt x="2691" y="301"/>
                  </a:moveTo>
                  <a:cubicBezTo>
                    <a:pt x="2698" y="301"/>
                    <a:pt x="2704" y="296"/>
                    <a:pt x="2704" y="289"/>
                  </a:cubicBezTo>
                  <a:cubicBezTo>
                    <a:pt x="2704" y="282"/>
                    <a:pt x="2698" y="276"/>
                    <a:pt x="2691" y="276"/>
                  </a:cubicBezTo>
                  <a:cubicBezTo>
                    <a:pt x="2684" y="276"/>
                    <a:pt x="2678" y="282"/>
                    <a:pt x="2678" y="289"/>
                  </a:cubicBezTo>
                  <a:cubicBezTo>
                    <a:pt x="2678" y="296"/>
                    <a:pt x="2684" y="301"/>
                    <a:pt x="2691" y="301"/>
                  </a:cubicBezTo>
                  <a:close/>
                  <a:moveTo>
                    <a:pt x="2730" y="301"/>
                  </a:moveTo>
                  <a:cubicBezTo>
                    <a:pt x="2738" y="301"/>
                    <a:pt x="2743" y="296"/>
                    <a:pt x="2743" y="289"/>
                  </a:cubicBezTo>
                  <a:cubicBezTo>
                    <a:pt x="2743" y="282"/>
                    <a:pt x="2738" y="276"/>
                    <a:pt x="2730" y="276"/>
                  </a:cubicBezTo>
                  <a:cubicBezTo>
                    <a:pt x="2723" y="276"/>
                    <a:pt x="2718" y="282"/>
                    <a:pt x="2718" y="289"/>
                  </a:cubicBezTo>
                  <a:cubicBezTo>
                    <a:pt x="2718" y="296"/>
                    <a:pt x="2723" y="301"/>
                    <a:pt x="2730" y="301"/>
                  </a:cubicBezTo>
                  <a:close/>
                  <a:moveTo>
                    <a:pt x="2770" y="301"/>
                  </a:moveTo>
                  <a:cubicBezTo>
                    <a:pt x="2777" y="301"/>
                    <a:pt x="2783" y="296"/>
                    <a:pt x="2783" y="289"/>
                  </a:cubicBezTo>
                  <a:cubicBezTo>
                    <a:pt x="2783" y="282"/>
                    <a:pt x="2777" y="276"/>
                    <a:pt x="2770" y="276"/>
                  </a:cubicBezTo>
                  <a:cubicBezTo>
                    <a:pt x="2763" y="276"/>
                    <a:pt x="2757" y="282"/>
                    <a:pt x="2757" y="289"/>
                  </a:cubicBezTo>
                  <a:cubicBezTo>
                    <a:pt x="2757" y="296"/>
                    <a:pt x="2763" y="301"/>
                    <a:pt x="2770" y="301"/>
                  </a:cubicBezTo>
                  <a:close/>
                  <a:moveTo>
                    <a:pt x="2809" y="301"/>
                  </a:moveTo>
                  <a:cubicBezTo>
                    <a:pt x="2816" y="301"/>
                    <a:pt x="2822" y="296"/>
                    <a:pt x="2822" y="289"/>
                  </a:cubicBezTo>
                  <a:cubicBezTo>
                    <a:pt x="2822" y="282"/>
                    <a:pt x="2816" y="276"/>
                    <a:pt x="2809" y="276"/>
                  </a:cubicBezTo>
                  <a:cubicBezTo>
                    <a:pt x="2802" y="276"/>
                    <a:pt x="2797" y="282"/>
                    <a:pt x="2797" y="289"/>
                  </a:cubicBezTo>
                  <a:cubicBezTo>
                    <a:pt x="2797" y="296"/>
                    <a:pt x="2802" y="301"/>
                    <a:pt x="2809" y="301"/>
                  </a:cubicBezTo>
                  <a:close/>
                  <a:moveTo>
                    <a:pt x="2849" y="301"/>
                  </a:moveTo>
                  <a:cubicBezTo>
                    <a:pt x="2856" y="301"/>
                    <a:pt x="2861" y="296"/>
                    <a:pt x="2861" y="289"/>
                  </a:cubicBezTo>
                  <a:cubicBezTo>
                    <a:pt x="2861" y="282"/>
                    <a:pt x="2856" y="276"/>
                    <a:pt x="2849" y="276"/>
                  </a:cubicBezTo>
                  <a:cubicBezTo>
                    <a:pt x="2842" y="276"/>
                    <a:pt x="2836" y="282"/>
                    <a:pt x="2836" y="289"/>
                  </a:cubicBezTo>
                  <a:cubicBezTo>
                    <a:pt x="2836" y="296"/>
                    <a:pt x="2842" y="301"/>
                    <a:pt x="2849" y="301"/>
                  </a:cubicBezTo>
                  <a:close/>
                  <a:moveTo>
                    <a:pt x="2888" y="301"/>
                  </a:moveTo>
                  <a:cubicBezTo>
                    <a:pt x="2895" y="301"/>
                    <a:pt x="2901" y="296"/>
                    <a:pt x="2901" y="289"/>
                  </a:cubicBezTo>
                  <a:cubicBezTo>
                    <a:pt x="2901" y="282"/>
                    <a:pt x="2895" y="276"/>
                    <a:pt x="2888" y="276"/>
                  </a:cubicBezTo>
                  <a:cubicBezTo>
                    <a:pt x="2881" y="276"/>
                    <a:pt x="2875" y="282"/>
                    <a:pt x="2875" y="289"/>
                  </a:cubicBezTo>
                  <a:cubicBezTo>
                    <a:pt x="2875" y="296"/>
                    <a:pt x="2881" y="301"/>
                    <a:pt x="2888" y="301"/>
                  </a:cubicBezTo>
                  <a:close/>
                  <a:moveTo>
                    <a:pt x="2928" y="301"/>
                  </a:moveTo>
                  <a:cubicBezTo>
                    <a:pt x="2935" y="301"/>
                    <a:pt x="2940" y="296"/>
                    <a:pt x="2940" y="289"/>
                  </a:cubicBezTo>
                  <a:cubicBezTo>
                    <a:pt x="2940" y="282"/>
                    <a:pt x="2935" y="276"/>
                    <a:pt x="2928" y="276"/>
                  </a:cubicBezTo>
                  <a:cubicBezTo>
                    <a:pt x="2921" y="276"/>
                    <a:pt x="2915" y="282"/>
                    <a:pt x="2915" y="289"/>
                  </a:cubicBezTo>
                  <a:cubicBezTo>
                    <a:pt x="2915" y="296"/>
                    <a:pt x="2921" y="301"/>
                    <a:pt x="2928" y="301"/>
                  </a:cubicBezTo>
                  <a:close/>
                  <a:moveTo>
                    <a:pt x="2967" y="301"/>
                  </a:moveTo>
                  <a:cubicBezTo>
                    <a:pt x="2974" y="301"/>
                    <a:pt x="2980" y="296"/>
                    <a:pt x="2980" y="289"/>
                  </a:cubicBezTo>
                  <a:cubicBezTo>
                    <a:pt x="2980" y="282"/>
                    <a:pt x="2974" y="276"/>
                    <a:pt x="2967" y="276"/>
                  </a:cubicBezTo>
                  <a:cubicBezTo>
                    <a:pt x="2960" y="276"/>
                    <a:pt x="2954" y="282"/>
                    <a:pt x="2954" y="289"/>
                  </a:cubicBezTo>
                  <a:cubicBezTo>
                    <a:pt x="2954" y="296"/>
                    <a:pt x="2960" y="301"/>
                    <a:pt x="2967" y="301"/>
                  </a:cubicBezTo>
                  <a:close/>
                  <a:moveTo>
                    <a:pt x="3006" y="301"/>
                  </a:moveTo>
                  <a:cubicBezTo>
                    <a:pt x="3013" y="301"/>
                    <a:pt x="3019" y="296"/>
                    <a:pt x="3019" y="289"/>
                  </a:cubicBezTo>
                  <a:cubicBezTo>
                    <a:pt x="3019" y="282"/>
                    <a:pt x="3013" y="276"/>
                    <a:pt x="3006" y="276"/>
                  </a:cubicBezTo>
                  <a:cubicBezTo>
                    <a:pt x="2999" y="276"/>
                    <a:pt x="2994" y="282"/>
                    <a:pt x="2994" y="289"/>
                  </a:cubicBezTo>
                  <a:cubicBezTo>
                    <a:pt x="2994" y="296"/>
                    <a:pt x="2999" y="301"/>
                    <a:pt x="3006" y="301"/>
                  </a:cubicBezTo>
                  <a:close/>
                  <a:moveTo>
                    <a:pt x="3046" y="301"/>
                  </a:moveTo>
                  <a:cubicBezTo>
                    <a:pt x="3053" y="301"/>
                    <a:pt x="3059" y="296"/>
                    <a:pt x="3059" y="289"/>
                  </a:cubicBezTo>
                  <a:cubicBezTo>
                    <a:pt x="3059" y="282"/>
                    <a:pt x="3053" y="276"/>
                    <a:pt x="3046" y="276"/>
                  </a:cubicBezTo>
                  <a:cubicBezTo>
                    <a:pt x="3039" y="276"/>
                    <a:pt x="3033" y="282"/>
                    <a:pt x="3033" y="289"/>
                  </a:cubicBezTo>
                  <a:cubicBezTo>
                    <a:pt x="3033" y="296"/>
                    <a:pt x="3039" y="301"/>
                    <a:pt x="3046" y="301"/>
                  </a:cubicBezTo>
                  <a:close/>
                  <a:moveTo>
                    <a:pt x="3085" y="301"/>
                  </a:moveTo>
                  <a:cubicBezTo>
                    <a:pt x="3092" y="301"/>
                    <a:pt x="3098" y="296"/>
                    <a:pt x="3098" y="289"/>
                  </a:cubicBezTo>
                  <a:cubicBezTo>
                    <a:pt x="3098" y="282"/>
                    <a:pt x="3092" y="276"/>
                    <a:pt x="3085" y="276"/>
                  </a:cubicBezTo>
                  <a:cubicBezTo>
                    <a:pt x="3078" y="276"/>
                    <a:pt x="3073" y="282"/>
                    <a:pt x="3073" y="289"/>
                  </a:cubicBezTo>
                  <a:cubicBezTo>
                    <a:pt x="3073" y="296"/>
                    <a:pt x="3078" y="301"/>
                    <a:pt x="3085" y="301"/>
                  </a:cubicBezTo>
                  <a:close/>
                  <a:moveTo>
                    <a:pt x="3125" y="301"/>
                  </a:moveTo>
                  <a:cubicBezTo>
                    <a:pt x="3132" y="301"/>
                    <a:pt x="3137" y="296"/>
                    <a:pt x="3137" y="289"/>
                  </a:cubicBezTo>
                  <a:cubicBezTo>
                    <a:pt x="3137" y="282"/>
                    <a:pt x="3132" y="276"/>
                    <a:pt x="3125" y="276"/>
                  </a:cubicBezTo>
                  <a:cubicBezTo>
                    <a:pt x="3118" y="276"/>
                    <a:pt x="3112" y="282"/>
                    <a:pt x="3112" y="289"/>
                  </a:cubicBezTo>
                  <a:cubicBezTo>
                    <a:pt x="3112" y="296"/>
                    <a:pt x="3118" y="301"/>
                    <a:pt x="3125" y="301"/>
                  </a:cubicBezTo>
                  <a:close/>
                  <a:moveTo>
                    <a:pt x="3164" y="301"/>
                  </a:moveTo>
                  <a:cubicBezTo>
                    <a:pt x="3171" y="301"/>
                    <a:pt x="3177" y="296"/>
                    <a:pt x="3177" y="289"/>
                  </a:cubicBezTo>
                  <a:cubicBezTo>
                    <a:pt x="3177" y="282"/>
                    <a:pt x="3171" y="276"/>
                    <a:pt x="3164" y="276"/>
                  </a:cubicBezTo>
                  <a:cubicBezTo>
                    <a:pt x="3157" y="276"/>
                    <a:pt x="3151" y="282"/>
                    <a:pt x="3151" y="289"/>
                  </a:cubicBezTo>
                  <a:cubicBezTo>
                    <a:pt x="3151" y="296"/>
                    <a:pt x="3157" y="301"/>
                    <a:pt x="3164" y="301"/>
                  </a:cubicBezTo>
                  <a:close/>
                  <a:moveTo>
                    <a:pt x="3204" y="301"/>
                  </a:moveTo>
                  <a:cubicBezTo>
                    <a:pt x="3211" y="301"/>
                    <a:pt x="3216" y="296"/>
                    <a:pt x="3216" y="289"/>
                  </a:cubicBezTo>
                  <a:cubicBezTo>
                    <a:pt x="3216" y="282"/>
                    <a:pt x="3211" y="276"/>
                    <a:pt x="3204" y="276"/>
                  </a:cubicBezTo>
                  <a:cubicBezTo>
                    <a:pt x="3197" y="276"/>
                    <a:pt x="3191" y="282"/>
                    <a:pt x="3191" y="289"/>
                  </a:cubicBezTo>
                  <a:cubicBezTo>
                    <a:pt x="3191" y="296"/>
                    <a:pt x="3197" y="301"/>
                    <a:pt x="3204" y="301"/>
                  </a:cubicBezTo>
                  <a:close/>
                  <a:moveTo>
                    <a:pt x="3243" y="301"/>
                  </a:moveTo>
                  <a:cubicBezTo>
                    <a:pt x="3250" y="301"/>
                    <a:pt x="3256" y="296"/>
                    <a:pt x="3256" y="289"/>
                  </a:cubicBezTo>
                  <a:cubicBezTo>
                    <a:pt x="3256" y="282"/>
                    <a:pt x="3250" y="276"/>
                    <a:pt x="3243" y="276"/>
                  </a:cubicBezTo>
                  <a:cubicBezTo>
                    <a:pt x="3236" y="276"/>
                    <a:pt x="3230" y="282"/>
                    <a:pt x="3230" y="289"/>
                  </a:cubicBezTo>
                  <a:cubicBezTo>
                    <a:pt x="3230" y="296"/>
                    <a:pt x="3236" y="301"/>
                    <a:pt x="3243" y="301"/>
                  </a:cubicBezTo>
                  <a:close/>
                  <a:moveTo>
                    <a:pt x="3282" y="301"/>
                  </a:moveTo>
                  <a:cubicBezTo>
                    <a:pt x="3289" y="301"/>
                    <a:pt x="3295" y="296"/>
                    <a:pt x="3295" y="289"/>
                  </a:cubicBezTo>
                  <a:cubicBezTo>
                    <a:pt x="3295" y="282"/>
                    <a:pt x="3289" y="276"/>
                    <a:pt x="3282" y="276"/>
                  </a:cubicBezTo>
                  <a:cubicBezTo>
                    <a:pt x="3275" y="276"/>
                    <a:pt x="3270" y="282"/>
                    <a:pt x="3270" y="289"/>
                  </a:cubicBezTo>
                  <a:cubicBezTo>
                    <a:pt x="3270" y="296"/>
                    <a:pt x="3275" y="301"/>
                    <a:pt x="3282" y="301"/>
                  </a:cubicBezTo>
                  <a:close/>
                  <a:moveTo>
                    <a:pt x="3322" y="301"/>
                  </a:moveTo>
                  <a:cubicBezTo>
                    <a:pt x="3329" y="301"/>
                    <a:pt x="3335" y="296"/>
                    <a:pt x="3335" y="289"/>
                  </a:cubicBezTo>
                  <a:cubicBezTo>
                    <a:pt x="3335" y="282"/>
                    <a:pt x="3329" y="276"/>
                    <a:pt x="3322" y="276"/>
                  </a:cubicBezTo>
                  <a:cubicBezTo>
                    <a:pt x="3315" y="276"/>
                    <a:pt x="3309" y="282"/>
                    <a:pt x="3309" y="289"/>
                  </a:cubicBezTo>
                  <a:cubicBezTo>
                    <a:pt x="3309" y="296"/>
                    <a:pt x="3315" y="301"/>
                    <a:pt x="3322" y="301"/>
                  </a:cubicBezTo>
                  <a:close/>
                  <a:moveTo>
                    <a:pt x="3361" y="301"/>
                  </a:moveTo>
                  <a:cubicBezTo>
                    <a:pt x="3368" y="301"/>
                    <a:pt x="3374" y="296"/>
                    <a:pt x="3374" y="289"/>
                  </a:cubicBezTo>
                  <a:cubicBezTo>
                    <a:pt x="3374" y="282"/>
                    <a:pt x="3368" y="276"/>
                    <a:pt x="3361" y="276"/>
                  </a:cubicBezTo>
                  <a:cubicBezTo>
                    <a:pt x="3354" y="276"/>
                    <a:pt x="3348" y="282"/>
                    <a:pt x="3348" y="289"/>
                  </a:cubicBezTo>
                  <a:cubicBezTo>
                    <a:pt x="3348" y="296"/>
                    <a:pt x="3354" y="301"/>
                    <a:pt x="3361" y="301"/>
                  </a:cubicBezTo>
                  <a:close/>
                  <a:moveTo>
                    <a:pt x="3401" y="301"/>
                  </a:moveTo>
                  <a:cubicBezTo>
                    <a:pt x="3408" y="301"/>
                    <a:pt x="3413" y="296"/>
                    <a:pt x="3413" y="289"/>
                  </a:cubicBezTo>
                  <a:cubicBezTo>
                    <a:pt x="3413" y="282"/>
                    <a:pt x="3408" y="276"/>
                    <a:pt x="3401" y="276"/>
                  </a:cubicBezTo>
                  <a:cubicBezTo>
                    <a:pt x="3394" y="276"/>
                    <a:pt x="3388" y="282"/>
                    <a:pt x="3388" y="289"/>
                  </a:cubicBezTo>
                  <a:cubicBezTo>
                    <a:pt x="3388" y="296"/>
                    <a:pt x="3394" y="301"/>
                    <a:pt x="3401" y="301"/>
                  </a:cubicBezTo>
                  <a:close/>
                  <a:moveTo>
                    <a:pt x="3440" y="301"/>
                  </a:moveTo>
                  <a:cubicBezTo>
                    <a:pt x="3447" y="301"/>
                    <a:pt x="3453" y="296"/>
                    <a:pt x="3453" y="289"/>
                  </a:cubicBezTo>
                  <a:cubicBezTo>
                    <a:pt x="3453" y="282"/>
                    <a:pt x="3447" y="276"/>
                    <a:pt x="3440" y="276"/>
                  </a:cubicBezTo>
                  <a:cubicBezTo>
                    <a:pt x="3433" y="276"/>
                    <a:pt x="3427" y="282"/>
                    <a:pt x="3427" y="289"/>
                  </a:cubicBezTo>
                  <a:cubicBezTo>
                    <a:pt x="3427" y="296"/>
                    <a:pt x="3433" y="301"/>
                    <a:pt x="3440" y="301"/>
                  </a:cubicBezTo>
                  <a:close/>
                  <a:moveTo>
                    <a:pt x="3480" y="301"/>
                  </a:moveTo>
                  <a:cubicBezTo>
                    <a:pt x="3487" y="301"/>
                    <a:pt x="3492" y="296"/>
                    <a:pt x="3492" y="289"/>
                  </a:cubicBezTo>
                  <a:cubicBezTo>
                    <a:pt x="3492" y="282"/>
                    <a:pt x="3487" y="276"/>
                    <a:pt x="3480" y="276"/>
                  </a:cubicBezTo>
                  <a:cubicBezTo>
                    <a:pt x="3472" y="276"/>
                    <a:pt x="3467" y="282"/>
                    <a:pt x="3467" y="289"/>
                  </a:cubicBezTo>
                  <a:cubicBezTo>
                    <a:pt x="3467" y="296"/>
                    <a:pt x="3472" y="301"/>
                    <a:pt x="3480" y="301"/>
                  </a:cubicBezTo>
                  <a:close/>
                  <a:moveTo>
                    <a:pt x="3519" y="301"/>
                  </a:moveTo>
                  <a:cubicBezTo>
                    <a:pt x="3526" y="301"/>
                    <a:pt x="3532" y="296"/>
                    <a:pt x="3532" y="289"/>
                  </a:cubicBezTo>
                  <a:cubicBezTo>
                    <a:pt x="3532" y="282"/>
                    <a:pt x="3526" y="276"/>
                    <a:pt x="3519" y="276"/>
                  </a:cubicBezTo>
                  <a:cubicBezTo>
                    <a:pt x="3512" y="276"/>
                    <a:pt x="3506" y="282"/>
                    <a:pt x="3506" y="289"/>
                  </a:cubicBezTo>
                  <a:cubicBezTo>
                    <a:pt x="3506" y="296"/>
                    <a:pt x="3512" y="301"/>
                    <a:pt x="3519" y="301"/>
                  </a:cubicBezTo>
                  <a:close/>
                  <a:moveTo>
                    <a:pt x="89" y="341"/>
                  </a:moveTo>
                  <a:cubicBezTo>
                    <a:pt x="96" y="341"/>
                    <a:pt x="102" y="335"/>
                    <a:pt x="102" y="328"/>
                  </a:cubicBezTo>
                  <a:cubicBezTo>
                    <a:pt x="102" y="321"/>
                    <a:pt x="96" y="315"/>
                    <a:pt x="89" y="315"/>
                  </a:cubicBezTo>
                  <a:cubicBezTo>
                    <a:pt x="82" y="315"/>
                    <a:pt x="76" y="321"/>
                    <a:pt x="76" y="328"/>
                  </a:cubicBezTo>
                  <a:cubicBezTo>
                    <a:pt x="76" y="335"/>
                    <a:pt x="82" y="341"/>
                    <a:pt x="89" y="341"/>
                  </a:cubicBezTo>
                  <a:close/>
                  <a:moveTo>
                    <a:pt x="128" y="341"/>
                  </a:moveTo>
                  <a:cubicBezTo>
                    <a:pt x="136" y="341"/>
                    <a:pt x="141" y="335"/>
                    <a:pt x="141" y="328"/>
                  </a:cubicBezTo>
                  <a:cubicBezTo>
                    <a:pt x="141" y="321"/>
                    <a:pt x="136" y="315"/>
                    <a:pt x="128" y="315"/>
                  </a:cubicBezTo>
                  <a:cubicBezTo>
                    <a:pt x="121" y="315"/>
                    <a:pt x="116" y="321"/>
                    <a:pt x="116" y="328"/>
                  </a:cubicBezTo>
                  <a:cubicBezTo>
                    <a:pt x="116" y="335"/>
                    <a:pt x="121" y="341"/>
                    <a:pt x="128" y="341"/>
                  </a:cubicBezTo>
                  <a:close/>
                  <a:moveTo>
                    <a:pt x="168" y="341"/>
                  </a:moveTo>
                  <a:cubicBezTo>
                    <a:pt x="175" y="341"/>
                    <a:pt x="181" y="335"/>
                    <a:pt x="181" y="328"/>
                  </a:cubicBezTo>
                  <a:cubicBezTo>
                    <a:pt x="181" y="321"/>
                    <a:pt x="175" y="315"/>
                    <a:pt x="168" y="315"/>
                  </a:cubicBezTo>
                  <a:cubicBezTo>
                    <a:pt x="161" y="315"/>
                    <a:pt x="155" y="321"/>
                    <a:pt x="155" y="328"/>
                  </a:cubicBezTo>
                  <a:cubicBezTo>
                    <a:pt x="155" y="335"/>
                    <a:pt x="161" y="341"/>
                    <a:pt x="168" y="341"/>
                  </a:cubicBezTo>
                  <a:close/>
                  <a:moveTo>
                    <a:pt x="207" y="341"/>
                  </a:moveTo>
                  <a:cubicBezTo>
                    <a:pt x="214" y="341"/>
                    <a:pt x="220" y="335"/>
                    <a:pt x="220" y="328"/>
                  </a:cubicBezTo>
                  <a:cubicBezTo>
                    <a:pt x="220" y="321"/>
                    <a:pt x="214" y="315"/>
                    <a:pt x="207" y="315"/>
                  </a:cubicBezTo>
                  <a:cubicBezTo>
                    <a:pt x="200" y="315"/>
                    <a:pt x="195" y="321"/>
                    <a:pt x="195" y="328"/>
                  </a:cubicBezTo>
                  <a:cubicBezTo>
                    <a:pt x="195" y="335"/>
                    <a:pt x="200" y="341"/>
                    <a:pt x="207" y="341"/>
                  </a:cubicBezTo>
                  <a:close/>
                  <a:moveTo>
                    <a:pt x="247" y="341"/>
                  </a:moveTo>
                  <a:cubicBezTo>
                    <a:pt x="254" y="341"/>
                    <a:pt x="259" y="335"/>
                    <a:pt x="259" y="328"/>
                  </a:cubicBezTo>
                  <a:cubicBezTo>
                    <a:pt x="259" y="321"/>
                    <a:pt x="254" y="315"/>
                    <a:pt x="247" y="315"/>
                  </a:cubicBezTo>
                  <a:cubicBezTo>
                    <a:pt x="240" y="315"/>
                    <a:pt x="234" y="321"/>
                    <a:pt x="234" y="328"/>
                  </a:cubicBezTo>
                  <a:cubicBezTo>
                    <a:pt x="234" y="335"/>
                    <a:pt x="240" y="341"/>
                    <a:pt x="247" y="341"/>
                  </a:cubicBezTo>
                  <a:close/>
                  <a:moveTo>
                    <a:pt x="286" y="341"/>
                  </a:moveTo>
                  <a:cubicBezTo>
                    <a:pt x="293" y="341"/>
                    <a:pt x="299" y="335"/>
                    <a:pt x="299" y="328"/>
                  </a:cubicBezTo>
                  <a:cubicBezTo>
                    <a:pt x="299" y="321"/>
                    <a:pt x="293" y="315"/>
                    <a:pt x="286" y="315"/>
                  </a:cubicBezTo>
                  <a:cubicBezTo>
                    <a:pt x="279" y="315"/>
                    <a:pt x="273" y="321"/>
                    <a:pt x="273" y="328"/>
                  </a:cubicBezTo>
                  <a:cubicBezTo>
                    <a:pt x="273" y="335"/>
                    <a:pt x="279" y="341"/>
                    <a:pt x="286" y="341"/>
                  </a:cubicBezTo>
                  <a:close/>
                  <a:moveTo>
                    <a:pt x="326" y="341"/>
                  </a:moveTo>
                  <a:cubicBezTo>
                    <a:pt x="333" y="341"/>
                    <a:pt x="338" y="335"/>
                    <a:pt x="338" y="328"/>
                  </a:cubicBezTo>
                  <a:cubicBezTo>
                    <a:pt x="338" y="321"/>
                    <a:pt x="333" y="315"/>
                    <a:pt x="326" y="315"/>
                  </a:cubicBezTo>
                  <a:cubicBezTo>
                    <a:pt x="319" y="315"/>
                    <a:pt x="313" y="321"/>
                    <a:pt x="313" y="328"/>
                  </a:cubicBezTo>
                  <a:cubicBezTo>
                    <a:pt x="313" y="335"/>
                    <a:pt x="319" y="341"/>
                    <a:pt x="326" y="341"/>
                  </a:cubicBezTo>
                  <a:close/>
                  <a:moveTo>
                    <a:pt x="365" y="341"/>
                  </a:moveTo>
                  <a:cubicBezTo>
                    <a:pt x="372" y="341"/>
                    <a:pt x="378" y="335"/>
                    <a:pt x="378" y="328"/>
                  </a:cubicBezTo>
                  <a:cubicBezTo>
                    <a:pt x="378" y="321"/>
                    <a:pt x="372" y="315"/>
                    <a:pt x="365" y="315"/>
                  </a:cubicBezTo>
                  <a:cubicBezTo>
                    <a:pt x="358" y="315"/>
                    <a:pt x="352" y="321"/>
                    <a:pt x="352" y="328"/>
                  </a:cubicBezTo>
                  <a:cubicBezTo>
                    <a:pt x="352" y="335"/>
                    <a:pt x="358" y="341"/>
                    <a:pt x="365" y="341"/>
                  </a:cubicBezTo>
                  <a:close/>
                  <a:moveTo>
                    <a:pt x="404" y="341"/>
                  </a:moveTo>
                  <a:cubicBezTo>
                    <a:pt x="411" y="341"/>
                    <a:pt x="417" y="335"/>
                    <a:pt x="417" y="328"/>
                  </a:cubicBezTo>
                  <a:cubicBezTo>
                    <a:pt x="417" y="321"/>
                    <a:pt x="411" y="315"/>
                    <a:pt x="404" y="315"/>
                  </a:cubicBezTo>
                  <a:cubicBezTo>
                    <a:pt x="397" y="315"/>
                    <a:pt x="392" y="321"/>
                    <a:pt x="392" y="328"/>
                  </a:cubicBezTo>
                  <a:cubicBezTo>
                    <a:pt x="392" y="335"/>
                    <a:pt x="397" y="341"/>
                    <a:pt x="404" y="341"/>
                  </a:cubicBezTo>
                  <a:close/>
                  <a:moveTo>
                    <a:pt x="444" y="341"/>
                  </a:moveTo>
                  <a:cubicBezTo>
                    <a:pt x="451" y="341"/>
                    <a:pt x="457" y="335"/>
                    <a:pt x="457" y="328"/>
                  </a:cubicBezTo>
                  <a:cubicBezTo>
                    <a:pt x="457" y="321"/>
                    <a:pt x="451" y="315"/>
                    <a:pt x="444" y="315"/>
                  </a:cubicBezTo>
                  <a:cubicBezTo>
                    <a:pt x="437" y="315"/>
                    <a:pt x="431" y="321"/>
                    <a:pt x="431" y="328"/>
                  </a:cubicBezTo>
                  <a:cubicBezTo>
                    <a:pt x="431" y="335"/>
                    <a:pt x="437" y="341"/>
                    <a:pt x="444" y="341"/>
                  </a:cubicBezTo>
                  <a:close/>
                  <a:moveTo>
                    <a:pt x="483" y="341"/>
                  </a:moveTo>
                  <a:cubicBezTo>
                    <a:pt x="490" y="341"/>
                    <a:pt x="496" y="335"/>
                    <a:pt x="496" y="328"/>
                  </a:cubicBezTo>
                  <a:cubicBezTo>
                    <a:pt x="496" y="321"/>
                    <a:pt x="490" y="315"/>
                    <a:pt x="483" y="315"/>
                  </a:cubicBezTo>
                  <a:cubicBezTo>
                    <a:pt x="476" y="315"/>
                    <a:pt x="471" y="321"/>
                    <a:pt x="471" y="328"/>
                  </a:cubicBezTo>
                  <a:cubicBezTo>
                    <a:pt x="471" y="335"/>
                    <a:pt x="476" y="341"/>
                    <a:pt x="483" y="341"/>
                  </a:cubicBezTo>
                  <a:close/>
                  <a:moveTo>
                    <a:pt x="523" y="341"/>
                  </a:moveTo>
                  <a:cubicBezTo>
                    <a:pt x="530" y="341"/>
                    <a:pt x="535" y="335"/>
                    <a:pt x="535" y="328"/>
                  </a:cubicBezTo>
                  <a:cubicBezTo>
                    <a:pt x="535" y="321"/>
                    <a:pt x="530" y="315"/>
                    <a:pt x="523" y="315"/>
                  </a:cubicBezTo>
                  <a:cubicBezTo>
                    <a:pt x="516" y="315"/>
                    <a:pt x="510" y="321"/>
                    <a:pt x="510" y="328"/>
                  </a:cubicBezTo>
                  <a:cubicBezTo>
                    <a:pt x="510" y="335"/>
                    <a:pt x="516" y="341"/>
                    <a:pt x="523" y="341"/>
                  </a:cubicBezTo>
                  <a:close/>
                  <a:moveTo>
                    <a:pt x="562" y="341"/>
                  </a:moveTo>
                  <a:cubicBezTo>
                    <a:pt x="569" y="341"/>
                    <a:pt x="575" y="335"/>
                    <a:pt x="575" y="328"/>
                  </a:cubicBezTo>
                  <a:cubicBezTo>
                    <a:pt x="575" y="321"/>
                    <a:pt x="569" y="315"/>
                    <a:pt x="562" y="315"/>
                  </a:cubicBezTo>
                  <a:cubicBezTo>
                    <a:pt x="555" y="315"/>
                    <a:pt x="549" y="321"/>
                    <a:pt x="549" y="328"/>
                  </a:cubicBezTo>
                  <a:cubicBezTo>
                    <a:pt x="549" y="335"/>
                    <a:pt x="555" y="341"/>
                    <a:pt x="562" y="341"/>
                  </a:cubicBezTo>
                  <a:close/>
                  <a:moveTo>
                    <a:pt x="602" y="316"/>
                  </a:moveTo>
                  <a:cubicBezTo>
                    <a:pt x="595" y="316"/>
                    <a:pt x="589" y="321"/>
                    <a:pt x="589" y="328"/>
                  </a:cubicBezTo>
                  <a:cubicBezTo>
                    <a:pt x="589" y="335"/>
                    <a:pt x="595" y="340"/>
                    <a:pt x="602" y="340"/>
                  </a:cubicBezTo>
                  <a:cubicBezTo>
                    <a:pt x="608" y="340"/>
                    <a:pt x="614" y="335"/>
                    <a:pt x="614" y="328"/>
                  </a:cubicBezTo>
                  <a:cubicBezTo>
                    <a:pt x="614" y="321"/>
                    <a:pt x="608" y="316"/>
                    <a:pt x="602" y="316"/>
                  </a:cubicBezTo>
                  <a:close/>
                  <a:moveTo>
                    <a:pt x="641" y="341"/>
                  </a:moveTo>
                  <a:cubicBezTo>
                    <a:pt x="648" y="341"/>
                    <a:pt x="654" y="335"/>
                    <a:pt x="654" y="328"/>
                  </a:cubicBezTo>
                  <a:cubicBezTo>
                    <a:pt x="654" y="321"/>
                    <a:pt x="648" y="315"/>
                    <a:pt x="641" y="315"/>
                  </a:cubicBezTo>
                  <a:cubicBezTo>
                    <a:pt x="634" y="315"/>
                    <a:pt x="628" y="321"/>
                    <a:pt x="628" y="328"/>
                  </a:cubicBezTo>
                  <a:cubicBezTo>
                    <a:pt x="628" y="335"/>
                    <a:pt x="634" y="341"/>
                    <a:pt x="641" y="341"/>
                  </a:cubicBezTo>
                  <a:close/>
                  <a:moveTo>
                    <a:pt x="680" y="341"/>
                  </a:moveTo>
                  <a:cubicBezTo>
                    <a:pt x="687" y="341"/>
                    <a:pt x="693" y="335"/>
                    <a:pt x="693" y="328"/>
                  </a:cubicBezTo>
                  <a:cubicBezTo>
                    <a:pt x="693" y="321"/>
                    <a:pt x="687" y="315"/>
                    <a:pt x="680" y="315"/>
                  </a:cubicBezTo>
                  <a:cubicBezTo>
                    <a:pt x="673" y="315"/>
                    <a:pt x="668" y="321"/>
                    <a:pt x="668" y="328"/>
                  </a:cubicBezTo>
                  <a:cubicBezTo>
                    <a:pt x="668" y="335"/>
                    <a:pt x="673" y="341"/>
                    <a:pt x="680" y="341"/>
                  </a:cubicBezTo>
                  <a:close/>
                  <a:moveTo>
                    <a:pt x="720" y="341"/>
                  </a:moveTo>
                  <a:cubicBezTo>
                    <a:pt x="727" y="341"/>
                    <a:pt x="733" y="335"/>
                    <a:pt x="733" y="328"/>
                  </a:cubicBezTo>
                  <a:cubicBezTo>
                    <a:pt x="733" y="321"/>
                    <a:pt x="727" y="315"/>
                    <a:pt x="720" y="315"/>
                  </a:cubicBezTo>
                  <a:cubicBezTo>
                    <a:pt x="713" y="315"/>
                    <a:pt x="707" y="321"/>
                    <a:pt x="707" y="328"/>
                  </a:cubicBezTo>
                  <a:cubicBezTo>
                    <a:pt x="707" y="335"/>
                    <a:pt x="713" y="341"/>
                    <a:pt x="720" y="341"/>
                  </a:cubicBezTo>
                  <a:close/>
                  <a:moveTo>
                    <a:pt x="759" y="341"/>
                  </a:moveTo>
                  <a:cubicBezTo>
                    <a:pt x="766" y="341"/>
                    <a:pt x="772" y="335"/>
                    <a:pt x="772" y="328"/>
                  </a:cubicBezTo>
                  <a:cubicBezTo>
                    <a:pt x="772" y="321"/>
                    <a:pt x="766" y="315"/>
                    <a:pt x="759" y="315"/>
                  </a:cubicBezTo>
                  <a:cubicBezTo>
                    <a:pt x="752" y="315"/>
                    <a:pt x="747" y="321"/>
                    <a:pt x="747" y="328"/>
                  </a:cubicBezTo>
                  <a:cubicBezTo>
                    <a:pt x="747" y="335"/>
                    <a:pt x="752" y="341"/>
                    <a:pt x="759" y="341"/>
                  </a:cubicBezTo>
                  <a:close/>
                  <a:moveTo>
                    <a:pt x="799" y="341"/>
                  </a:moveTo>
                  <a:cubicBezTo>
                    <a:pt x="806" y="341"/>
                    <a:pt x="811" y="335"/>
                    <a:pt x="811" y="328"/>
                  </a:cubicBezTo>
                  <a:cubicBezTo>
                    <a:pt x="811" y="321"/>
                    <a:pt x="806" y="315"/>
                    <a:pt x="799" y="315"/>
                  </a:cubicBezTo>
                  <a:cubicBezTo>
                    <a:pt x="792" y="315"/>
                    <a:pt x="786" y="321"/>
                    <a:pt x="786" y="328"/>
                  </a:cubicBezTo>
                  <a:cubicBezTo>
                    <a:pt x="786" y="335"/>
                    <a:pt x="792" y="341"/>
                    <a:pt x="799" y="341"/>
                  </a:cubicBezTo>
                  <a:close/>
                  <a:moveTo>
                    <a:pt x="838" y="341"/>
                  </a:moveTo>
                  <a:cubicBezTo>
                    <a:pt x="845" y="341"/>
                    <a:pt x="851" y="335"/>
                    <a:pt x="851" y="328"/>
                  </a:cubicBezTo>
                  <a:cubicBezTo>
                    <a:pt x="851" y="321"/>
                    <a:pt x="845" y="315"/>
                    <a:pt x="838" y="315"/>
                  </a:cubicBezTo>
                  <a:cubicBezTo>
                    <a:pt x="831" y="315"/>
                    <a:pt x="825" y="321"/>
                    <a:pt x="825" y="328"/>
                  </a:cubicBezTo>
                  <a:cubicBezTo>
                    <a:pt x="825" y="335"/>
                    <a:pt x="831" y="341"/>
                    <a:pt x="838" y="341"/>
                  </a:cubicBezTo>
                  <a:close/>
                  <a:moveTo>
                    <a:pt x="956" y="341"/>
                  </a:moveTo>
                  <a:cubicBezTo>
                    <a:pt x="963" y="341"/>
                    <a:pt x="969" y="335"/>
                    <a:pt x="969" y="328"/>
                  </a:cubicBezTo>
                  <a:cubicBezTo>
                    <a:pt x="969" y="321"/>
                    <a:pt x="963" y="315"/>
                    <a:pt x="956" y="315"/>
                  </a:cubicBezTo>
                  <a:cubicBezTo>
                    <a:pt x="949" y="315"/>
                    <a:pt x="944" y="321"/>
                    <a:pt x="944" y="328"/>
                  </a:cubicBezTo>
                  <a:cubicBezTo>
                    <a:pt x="944" y="335"/>
                    <a:pt x="949" y="341"/>
                    <a:pt x="956" y="341"/>
                  </a:cubicBezTo>
                  <a:close/>
                  <a:moveTo>
                    <a:pt x="996" y="341"/>
                  </a:moveTo>
                  <a:cubicBezTo>
                    <a:pt x="1003" y="341"/>
                    <a:pt x="1009" y="335"/>
                    <a:pt x="1009" y="328"/>
                  </a:cubicBezTo>
                  <a:cubicBezTo>
                    <a:pt x="1009" y="321"/>
                    <a:pt x="1003" y="315"/>
                    <a:pt x="996" y="315"/>
                  </a:cubicBezTo>
                  <a:cubicBezTo>
                    <a:pt x="989" y="315"/>
                    <a:pt x="983" y="321"/>
                    <a:pt x="983" y="328"/>
                  </a:cubicBezTo>
                  <a:cubicBezTo>
                    <a:pt x="983" y="335"/>
                    <a:pt x="989" y="341"/>
                    <a:pt x="996" y="341"/>
                  </a:cubicBezTo>
                  <a:close/>
                  <a:moveTo>
                    <a:pt x="1035" y="341"/>
                  </a:moveTo>
                  <a:cubicBezTo>
                    <a:pt x="1042" y="341"/>
                    <a:pt x="1048" y="335"/>
                    <a:pt x="1048" y="328"/>
                  </a:cubicBezTo>
                  <a:cubicBezTo>
                    <a:pt x="1048" y="321"/>
                    <a:pt x="1042" y="315"/>
                    <a:pt x="1035" y="315"/>
                  </a:cubicBezTo>
                  <a:cubicBezTo>
                    <a:pt x="1028" y="315"/>
                    <a:pt x="1022" y="321"/>
                    <a:pt x="1022" y="328"/>
                  </a:cubicBezTo>
                  <a:cubicBezTo>
                    <a:pt x="1022" y="335"/>
                    <a:pt x="1028" y="341"/>
                    <a:pt x="1035" y="341"/>
                  </a:cubicBezTo>
                  <a:close/>
                  <a:moveTo>
                    <a:pt x="1153" y="319"/>
                  </a:moveTo>
                  <a:cubicBezTo>
                    <a:pt x="1148" y="319"/>
                    <a:pt x="1144" y="323"/>
                    <a:pt x="1144" y="328"/>
                  </a:cubicBezTo>
                  <a:cubicBezTo>
                    <a:pt x="1144" y="333"/>
                    <a:pt x="1148" y="337"/>
                    <a:pt x="1153" y="337"/>
                  </a:cubicBezTo>
                  <a:cubicBezTo>
                    <a:pt x="1159" y="337"/>
                    <a:pt x="1163" y="333"/>
                    <a:pt x="1163" y="328"/>
                  </a:cubicBezTo>
                  <a:cubicBezTo>
                    <a:pt x="1163" y="323"/>
                    <a:pt x="1159" y="319"/>
                    <a:pt x="1153" y="319"/>
                  </a:cubicBezTo>
                  <a:close/>
                  <a:moveTo>
                    <a:pt x="1193" y="341"/>
                  </a:moveTo>
                  <a:cubicBezTo>
                    <a:pt x="1200" y="341"/>
                    <a:pt x="1206" y="335"/>
                    <a:pt x="1206" y="328"/>
                  </a:cubicBezTo>
                  <a:cubicBezTo>
                    <a:pt x="1206" y="321"/>
                    <a:pt x="1200" y="315"/>
                    <a:pt x="1193" y="315"/>
                  </a:cubicBezTo>
                  <a:cubicBezTo>
                    <a:pt x="1186" y="315"/>
                    <a:pt x="1180" y="321"/>
                    <a:pt x="1180" y="328"/>
                  </a:cubicBezTo>
                  <a:cubicBezTo>
                    <a:pt x="1180" y="335"/>
                    <a:pt x="1186" y="341"/>
                    <a:pt x="1193" y="341"/>
                  </a:cubicBezTo>
                  <a:close/>
                  <a:moveTo>
                    <a:pt x="1232" y="341"/>
                  </a:moveTo>
                  <a:cubicBezTo>
                    <a:pt x="1239" y="341"/>
                    <a:pt x="1245" y="335"/>
                    <a:pt x="1245" y="328"/>
                  </a:cubicBezTo>
                  <a:cubicBezTo>
                    <a:pt x="1245" y="321"/>
                    <a:pt x="1239" y="315"/>
                    <a:pt x="1232" y="315"/>
                  </a:cubicBezTo>
                  <a:cubicBezTo>
                    <a:pt x="1225" y="315"/>
                    <a:pt x="1220" y="321"/>
                    <a:pt x="1220" y="328"/>
                  </a:cubicBezTo>
                  <a:cubicBezTo>
                    <a:pt x="1220" y="335"/>
                    <a:pt x="1225" y="341"/>
                    <a:pt x="1232" y="341"/>
                  </a:cubicBezTo>
                  <a:close/>
                  <a:moveTo>
                    <a:pt x="1272" y="341"/>
                  </a:moveTo>
                  <a:cubicBezTo>
                    <a:pt x="1279" y="341"/>
                    <a:pt x="1285" y="335"/>
                    <a:pt x="1285" y="328"/>
                  </a:cubicBezTo>
                  <a:cubicBezTo>
                    <a:pt x="1285" y="321"/>
                    <a:pt x="1279" y="315"/>
                    <a:pt x="1272" y="315"/>
                  </a:cubicBezTo>
                  <a:cubicBezTo>
                    <a:pt x="1265" y="315"/>
                    <a:pt x="1259" y="321"/>
                    <a:pt x="1259" y="328"/>
                  </a:cubicBezTo>
                  <a:cubicBezTo>
                    <a:pt x="1259" y="335"/>
                    <a:pt x="1265" y="341"/>
                    <a:pt x="1272" y="341"/>
                  </a:cubicBezTo>
                  <a:close/>
                  <a:moveTo>
                    <a:pt x="1311" y="341"/>
                  </a:moveTo>
                  <a:cubicBezTo>
                    <a:pt x="1318" y="341"/>
                    <a:pt x="1324" y="335"/>
                    <a:pt x="1324" y="328"/>
                  </a:cubicBezTo>
                  <a:cubicBezTo>
                    <a:pt x="1324" y="321"/>
                    <a:pt x="1318" y="315"/>
                    <a:pt x="1311" y="315"/>
                  </a:cubicBezTo>
                  <a:cubicBezTo>
                    <a:pt x="1304" y="315"/>
                    <a:pt x="1298" y="321"/>
                    <a:pt x="1298" y="328"/>
                  </a:cubicBezTo>
                  <a:cubicBezTo>
                    <a:pt x="1298" y="335"/>
                    <a:pt x="1304" y="341"/>
                    <a:pt x="1311" y="341"/>
                  </a:cubicBezTo>
                  <a:close/>
                  <a:moveTo>
                    <a:pt x="1863" y="341"/>
                  </a:moveTo>
                  <a:cubicBezTo>
                    <a:pt x="1870" y="341"/>
                    <a:pt x="1876" y="335"/>
                    <a:pt x="1876" y="328"/>
                  </a:cubicBezTo>
                  <a:cubicBezTo>
                    <a:pt x="1876" y="321"/>
                    <a:pt x="1870" y="315"/>
                    <a:pt x="1863" y="315"/>
                  </a:cubicBezTo>
                  <a:cubicBezTo>
                    <a:pt x="1856" y="315"/>
                    <a:pt x="1850" y="321"/>
                    <a:pt x="1850" y="328"/>
                  </a:cubicBezTo>
                  <a:cubicBezTo>
                    <a:pt x="1850" y="335"/>
                    <a:pt x="1856" y="341"/>
                    <a:pt x="1863" y="341"/>
                  </a:cubicBezTo>
                  <a:close/>
                  <a:moveTo>
                    <a:pt x="1903" y="341"/>
                  </a:moveTo>
                  <a:cubicBezTo>
                    <a:pt x="1910" y="341"/>
                    <a:pt x="1915" y="335"/>
                    <a:pt x="1915" y="328"/>
                  </a:cubicBezTo>
                  <a:cubicBezTo>
                    <a:pt x="1915" y="321"/>
                    <a:pt x="1910" y="315"/>
                    <a:pt x="1903" y="315"/>
                  </a:cubicBezTo>
                  <a:cubicBezTo>
                    <a:pt x="1896" y="315"/>
                    <a:pt x="1890" y="321"/>
                    <a:pt x="1890" y="328"/>
                  </a:cubicBezTo>
                  <a:cubicBezTo>
                    <a:pt x="1890" y="335"/>
                    <a:pt x="1896" y="341"/>
                    <a:pt x="1903" y="341"/>
                  </a:cubicBezTo>
                  <a:close/>
                  <a:moveTo>
                    <a:pt x="1942" y="341"/>
                  </a:moveTo>
                  <a:cubicBezTo>
                    <a:pt x="1949" y="341"/>
                    <a:pt x="1955" y="335"/>
                    <a:pt x="1955" y="328"/>
                  </a:cubicBezTo>
                  <a:cubicBezTo>
                    <a:pt x="1955" y="321"/>
                    <a:pt x="1949" y="315"/>
                    <a:pt x="1942" y="315"/>
                  </a:cubicBezTo>
                  <a:cubicBezTo>
                    <a:pt x="1935" y="315"/>
                    <a:pt x="1929" y="321"/>
                    <a:pt x="1929" y="328"/>
                  </a:cubicBezTo>
                  <a:cubicBezTo>
                    <a:pt x="1929" y="335"/>
                    <a:pt x="1935" y="341"/>
                    <a:pt x="1942" y="341"/>
                  </a:cubicBezTo>
                  <a:close/>
                  <a:moveTo>
                    <a:pt x="1981" y="341"/>
                  </a:moveTo>
                  <a:cubicBezTo>
                    <a:pt x="1988" y="341"/>
                    <a:pt x="1994" y="335"/>
                    <a:pt x="1994" y="328"/>
                  </a:cubicBezTo>
                  <a:cubicBezTo>
                    <a:pt x="1994" y="321"/>
                    <a:pt x="1988" y="315"/>
                    <a:pt x="1981" y="315"/>
                  </a:cubicBezTo>
                  <a:cubicBezTo>
                    <a:pt x="1974" y="315"/>
                    <a:pt x="1969" y="321"/>
                    <a:pt x="1969" y="328"/>
                  </a:cubicBezTo>
                  <a:cubicBezTo>
                    <a:pt x="1969" y="335"/>
                    <a:pt x="1974" y="341"/>
                    <a:pt x="1981" y="341"/>
                  </a:cubicBezTo>
                  <a:close/>
                  <a:moveTo>
                    <a:pt x="2021" y="315"/>
                  </a:moveTo>
                  <a:cubicBezTo>
                    <a:pt x="2014" y="315"/>
                    <a:pt x="2008" y="321"/>
                    <a:pt x="2008" y="328"/>
                  </a:cubicBezTo>
                  <a:cubicBezTo>
                    <a:pt x="2008" y="335"/>
                    <a:pt x="2014" y="341"/>
                    <a:pt x="2021" y="341"/>
                  </a:cubicBezTo>
                  <a:cubicBezTo>
                    <a:pt x="2028" y="341"/>
                    <a:pt x="2034" y="335"/>
                    <a:pt x="2034" y="328"/>
                  </a:cubicBezTo>
                  <a:cubicBezTo>
                    <a:pt x="2034" y="321"/>
                    <a:pt x="2028" y="315"/>
                    <a:pt x="2021" y="315"/>
                  </a:cubicBezTo>
                  <a:close/>
                  <a:moveTo>
                    <a:pt x="2060" y="315"/>
                  </a:moveTo>
                  <a:cubicBezTo>
                    <a:pt x="2053" y="315"/>
                    <a:pt x="2048" y="321"/>
                    <a:pt x="2048" y="328"/>
                  </a:cubicBezTo>
                  <a:cubicBezTo>
                    <a:pt x="2048" y="335"/>
                    <a:pt x="2053" y="341"/>
                    <a:pt x="2060" y="341"/>
                  </a:cubicBezTo>
                  <a:cubicBezTo>
                    <a:pt x="2067" y="341"/>
                    <a:pt x="2073" y="335"/>
                    <a:pt x="2073" y="328"/>
                  </a:cubicBezTo>
                  <a:cubicBezTo>
                    <a:pt x="2073" y="321"/>
                    <a:pt x="2067" y="315"/>
                    <a:pt x="2060" y="315"/>
                  </a:cubicBezTo>
                  <a:close/>
                  <a:moveTo>
                    <a:pt x="2100" y="341"/>
                  </a:moveTo>
                  <a:cubicBezTo>
                    <a:pt x="2107" y="341"/>
                    <a:pt x="2112" y="335"/>
                    <a:pt x="2112" y="328"/>
                  </a:cubicBezTo>
                  <a:cubicBezTo>
                    <a:pt x="2112" y="321"/>
                    <a:pt x="2107" y="315"/>
                    <a:pt x="2100" y="315"/>
                  </a:cubicBezTo>
                  <a:cubicBezTo>
                    <a:pt x="2093" y="315"/>
                    <a:pt x="2087" y="321"/>
                    <a:pt x="2087" y="328"/>
                  </a:cubicBezTo>
                  <a:cubicBezTo>
                    <a:pt x="2087" y="335"/>
                    <a:pt x="2093" y="341"/>
                    <a:pt x="2100" y="341"/>
                  </a:cubicBezTo>
                  <a:close/>
                  <a:moveTo>
                    <a:pt x="2179" y="341"/>
                  </a:moveTo>
                  <a:cubicBezTo>
                    <a:pt x="2186" y="341"/>
                    <a:pt x="2191" y="335"/>
                    <a:pt x="2191" y="328"/>
                  </a:cubicBezTo>
                  <a:cubicBezTo>
                    <a:pt x="2191" y="321"/>
                    <a:pt x="2186" y="315"/>
                    <a:pt x="2179" y="315"/>
                  </a:cubicBezTo>
                  <a:cubicBezTo>
                    <a:pt x="2171" y="315"/>
                    <a:pt x="2166" y="321"/>
                    <a:pt x="2166" y="328"/>
                  </a:cubicBezTo>
                  <a:cubicBezTo>
                    <a:pt x="2166" y="335"/>
                    <a:pt x="2171" y="341"/>
                    <a:pt x="2179" y="341"/>
                  </a:cubicBezTo>
                  <a:close/>
                  <a:moveTo>
                    <a:pt x="2218" y="341"/>
                  </a:moveTo>
                  <a:cubicBezTo>
                    <a:pt x="2225" y="341"/>
                    <a:pt x="2231" y="335"/>
                    <a:pt x="2231" y="328"/>
                  </a:cubicBezTo>
                  <a:cubicBezTo>
                    <a:pt x="2231" y="321"/>
                    <a:pt x="2225" y="315"/>
                    <a:pt x="2218" y="315"/>
                  </a:cubicBezTo>
                  <a:cubicBezTo>
                    <a:pt x="2211" y="315"/>
                    <a:pt x="2205" y="321"/>
                    <a:pt x="2205" y="328"/>
                  </a:cubicBezTo>
                  <a:cubicBezTo>
                    <a:pt x="2205" y="335"/>
                    <a:pt x="2211" y="341"/>
                    <a:pt x="2218" y="341"/>
                  </a:cubicBezTo>
                  <a:close/>
                  <a:moveTo>
                    <a:pt x="2257" y="341"/>
                  </a:moveTo>
                  <a:cubicBezTo>
                    <a:pt x="2264" y="341"/>
                    <a:pt x="2270" y="335"/>
                    <a:pt x="2270" y="328"/>
                  </a:cubicBezTo>
                  <a:cubicBezTo>
                    <a:pt x="2270" y="321"/>
                    <a:pt x="2264" y="315"/>
                    <a:pt x="2257" y="315"/>
                  </a:cubicBezTo>
                  <a:cubicBezTo>
                    <a:pt x="2250" y="315"/>
                    <a:pt x="2245" y="321"/>
                    <a:pt x="2245" y="328"/>
                  </a:cubicBezTo>
                  <a:cubicBezTo>
                    <a:pt x="2245" y="335"/>
                    <a:pt x="2250" y="341"/>
                    <a:pt x="2257" y="341"/>
                  </a:cubicBezTo>
                  <a:close/>
                  <a:moveTo>
                    <a:pt x="2297" y="341"/>
                  </a:moveTo>
                  <a:cubicBezTo>
                    <a:pt x="2304" y="341"/>
                    <a:pt x="2310" y="335"/>
                    <a:pt x="2310" y="328"/>
                  </a:cubicBezTo>
                  <a:cubicBezTo>
                    <a:pt x="2310" y="321"/>
                    <a:pt x="2304" y="315"/>
                    <a:pt x="2297" y="315"/>
                  </a:cubicBezTo>
                  <a:cubicBezTo>
                    <a:pt x="2290" y="315"/>
                    <a:pt x="2284" y="321"/>
                    <a:pt x="2284" y="328"/>
                  </a:cubicBezTo>
                  <a:cubicBezTo>
                    <a:pt x="2284" y="335"/>
                    <a:pt x="2290" y="341"/>
                    <a:pt x="2297" y="341"/>
                  </a:cubicBezTo>
                  <a:close/>
                  <a:moveTo>
                    <a:pt x="2336" y="341"/>
                  </a:moveTo>
                  <a:cubicBezTo>
                    <a:pt x="2343" y="341"/>
                    <a:pt x="2349" y="335"/>
                    <a:pt x="2349" y="328"/>
                  </a:cubicBezTo>
                  <a:cubicBezTo>
                    <a:pt x="2349" y="321"/>
                    <a:pt x="2343" y="315"/>
                    <a:pt x="2336" y="315"/>
                  </a:cubicBezTo>
                  <a:cubicBezTo>
                    <a:pt x="2329" y="315"/>
                    <a:pt x="2323" y="321"/>
                    <a:pt x="2323" y="328"/>
                  </a:cubicBezTo>
                  <a:cubicBezTo>
                    <a:pt x="2323" y="335"/>
                    <a:pt x="2329" y="341"/>
                    <a:pt x="2336" y="341"/>
                  </a:cubicBezTo>
                  <a:close/>
                  <a:moveTo>
                    <a:pt x="2376" y="341"/>
                  </a:moveTo>
                  <a:cubicBezTo>
                    <a:pt x="2383" y="341"/>
                    <a:pt x="2388" y="335"/>
                    <a:pt x="2388" y="328"/>
                  </a:cubicBezTo>
                  <a:cubicBezTo>
                    <a:pt x="2388" y="321"/>
                    <a:pt x="2383" y="315"/>
                    <a:pt x="2376" y="315"/>
                  </a:cubicBezTo>
                  <a:cubicBezTo>
                    <a:pt x="2369" y="315"/>
                    <a:pt x="2363" y="321"/>
                    <a:pt x="2363" y="328"/>
                  </a:cubicBezTo>
                  <a:cubicBezTo>
                    <a:pt x="2363" y="335"/>
                    <a:pt x="2369" y="341"/>
                    <a:pt x="2376" y="341"/>
                  </a:cubicBezTo>
                  <a:close/>
                  <a:moveTo>
                    <a:pt x="2415" y="316"/>
                  </a:moveTo>
                  <a:cubicBezTo>
                    <a:pt x="2408" y="316"/>
                    <a:pt x="2403" y="321"/>
                    <a:pt x="2403" y="328"/>
                  </a:cubicBezTo>
                  <a:cubicBezTo>
                    <a:pt x="2403" y="335"/>
                    <a:pt x="2408" y="340"/>
                    <a:pt x="2415" y="340"/>
                  </a:cubicBezTo>
                  <a:cubicBezTo>
                    <a:pt x="2422" y="340"/>
                    <a:pt x="2427" y="335"/>
                    <a:pt x="2427" y="328"/>
                  </a:cubicBezTo>
                  <a:cubicBezTo>
                    <a:pt x="2427" y="321"/>
                    <a:pt x="2422" y="316"/>
                    <a:pt x="2415" y="316"/>
                  </a:cubicBezTo>
                  <a:close/>
                  <a:moveTo>
                    <a:pt x="2454" y="341"/>
                  </a:moveTo>
                  <a:cubicBezTo>
                    <a:pt x="2462" y="341"/>
                    <a:pt x="2467" y="335"/>
                    <a:pt x="2467" y="328"/>
                  </a:cubicBezTo>
                  <a:cubicBezTo>
                    <a:pt x="2467" y="321"/>
                    <a:pt x="2462" y="315"/>
                    <a:pt x="2454" y="315"/>
                  </a:cubicBezTo>
                  <a:cubicBezTo>
                    <a:pt x="2447" y="315"/>
                    <a:pt x="2442" y="321"/>
                    <a:pt x="2442" y="328"/>
                  </a:cubicBezTo>
                  <a:cubicBezTo>
                    <a:pt x="2442" y="335"/>
                    <a:pt x="2447" y="341"/>
                    <a:pt x="2454" y="341"/>
                  </a:cubicBezTo>
                  <a:close/>
                  <a:moveTo>
                    <a:pt x="2494" y="341"/>
                  </a:moveTo>
                  <a:cubicBezTo>
                    <a:pt x="2501" y="341"/>
                    <a:pt x="2507" y="335"/>
                    <a:pt x="2507" y="328"/>
                  </a:cubicBezTo>
                  <a:cubicBezTo>
                    <a:pt x="2507" y="321"/>
                    <a:pt x="2501" y="315"/>
                    <a:pt x="2494" y="315"/>
                  </a:cubicBezTo>
                  <a:cubicBezTo>
                    <a:pt x="2487" y="315"/>
                    <a:pt x="2481" y="321"/>
                    <a:pt x="2481" y="328"/>
                  </a:cubicBezTo>
                  <a:cubicBezTo>
                    <a:pt x="2481" y="335"/>
                    <a:pt x="2487" y="341"/>
                    <a:pt x="2494" y="341"/>
                  </a:cubicBezTo>
                  <a:close/>
                  <a:moveTo>
                    <a:pt x="2533" y="341"/>
                  </a:moveTo>
                  <a:cubicBezTo>
                    <a:pt x="2540" y="341"/>
                    <a:pt x="2546" y="335"/>
                    <a:pt x="2546" y="328"/>
                  </a:cubicBezTo>
                  <a:cubicBezTo>
                    <a:pt x="2546" y="321"/>
                    <a:pt x="2540" y="315"/>
                    <a:pt x="2533" y="315"/>
                  </a:cubicBezTo>
                  <a:cubicBezTo>
                    <a:pt x="2526" y="315"/>
                    <a:pt x="2521" y="321"/>
                    <a:pt x="2521" y="328"/>
                  </a:cubicBezTo>
                  <a:cubicBezTo>
                    <a:pt x="2521" y="335"/>
                    <a:pt x="2526" y="341"/>
                    <a:pt x="2533" y="341"/>
                  </a:cubicBezTo>
                  <a:close/>
                  <a:moveTo>
                    <a:pt x="2573" y="341"/>
                  </a:moveTo>
                  <a:cubicBezTo>
                    <a:pt x="2580" y="341"/>
                    <a:pt x="2586" y="335"/>
                    <a:pt x="2586" y="328"/>
                  </a:cubicBezTo>
                  <a:cubicBezTo>
                    <a:pt x="2586" y="321"/>
                    <a:pt x="2580" y="315"/>
                    <a:pt x="2573" y="315"/>
                  </a:cubicBezTo>
                  <a:cubicBezTo>
                    <a:pt x="2566" y="315"/>
                    <a:pt x="2560" y="321"/>
                    <a:pt x="2560" y="328"/>
                  </a:cubicBezTo>
                  <a:cubicBezTo>
                    <a:pt x="2560" y="335"/>
                    <a:pt x="2566" y="341"/>
                    <a:pt x="2573" y="341"/>
                  </a:cubicBezTo>
                  <a:close/>
                  <a:moveTo>
                    <a:pt x="2612" y="341"/>
                  </a:moveTo>
                  <a:cubicBezTo>
                    <a:pt x="2619" y="341"/>
                    <a:pt x="2625" y="335"/>
                    <a:pt x="2625" y="328"/>
                  </a:cubicBezTo>
                  <a:cubicBezTo>
                    <a:pt x="2625" y="321"/>
                    <a:pt x="2619" y="315"/>
                    <a:pt x="2612" y="315"/>
                  </a:cubicBezTo>
                  <a:cubicBezTo>
                    <a:pt x="2605" y="315"/>
                    <a:pt x="2599" y="321"/>
                    <a:pt x="2599" y="328"/>
                  </a:cubicBezTo>
                  <a:cubicBezTo>
                    <a:pt x="2599" y="335"/>
                    <a:pt x="2605" y="341"/>
                    <a:pt x="2612" y="341"/>
                  </a:cubicBezTo>
                  <a:close/>
                  <a:moveTo>
                    <a:pt x="2652" y="341"/>
                  </a:moveTo>
                  <a:cubicBezTo>
                    <a:pt x="2659" y="341"/>
                    <a:pt x="2664" y="335"/>
                    <a:pt x="2664" y="328"/>
                  </a:cubicBezTo>
                  <a:cubicBezTo>
                    <a:pt x="2664" y="321"/>
                    <a:pt x="2659" y="315"/>
                    <a:pt x="2652" y="315"/>
                  </a:cubicBezTo>
                  <a:cubicBezTo>
                    <a:pt x="2645" y="315"/>
                    <a:pt x="2639" y="321"/>
                    <a:pt x="2639" y="328"/>
                  </a:cubicBezTo>
                  <a:cubicBezTo>
                    <a:pt x="2639" y="335"/>
                    <a:pt x="2645" y="341"/>
                    <a:pt x="2652" y="341"/>
                  </a:cubicBezTo>
                  <a:close/>
                  <a:moveTo>
                    <a:pt x="2691" y="341"/>
                  </a:moveTo>
                  <a:cubicBezTo>
                    <a:pt x="2698" y="341"/>
                    <a:pt x="2704" y="335"/>
                    <a:pt x="2704" y="328"/>
                  </a:cubicBezTo>
                  <a:cubicBezTo>
                    <a:pt x="2704" y="321"/>
                    <a:pt x="2698" y="315"/>
                    <a:pt x="2691" y="315"/>
                  </a:cubicBezTo>
                  <a:cubicBezTo>
                    <a:pt x="2684" y="315"/>
                    <a:pt x="2678" y="321"/>
                    <a:pt x="2678" y="328"/>
                  </a:cubicBezTo>
                  <a:cubicBezTo>
                    <a:pt x="2678" y="335"/>
                    <a:pt x="2684" y="341"/>
                    <a:pt x="2691" y="341"/>
                  </a:cubicBezTo>
                  <a:close/>
                  <a:moveTo>
                    <a:pt x="2730" y="341"/>
                  </a:moveTo>
                  <a:cubicBezTo>
                    <a:pt x="2738" y="341"/>
                    <a:pt x="2743" y="335"/>
                    <a:pt x="2743" y="328"/>
                  </a:cubicBezTo>
                  <a:cubicBezTo>
                    <a:pt x="2743" y="321"/>
                    <a:pt x="2738" y="315"/>
                    <a:pt x="2730" y="315"/>
                  </a:cubicBezTo>
                  <a:cubicBezTo>
                    <a:pt x="2723" y="315"/>
                    <a:pt x="2718" y="321"/>
                    <a:pt x="2718" y="328"/>
                  </a:cubicBezTo>
                  <a:cubicBezTo>
                    <a:pt x="2718" y="335"/>
                    <a:pt x="2723" y="341"/>
                    <a:pt x="2730" y="341"/>
                  </a:cubicBezTo>
                  <a:close/>
                  <a:moveTo>
                    <a:pt x="2770" y="341"/>
                  </a:moveTo>
                  <a:cubicBezTo>
                    <a:pt x="2777" y="341"/>
                    <a:pt x="2783" y="335"/>
                    <a:pt x="2783" y="328"/>
                  </a:cubicBezTo>
                  <a:cubicBezTo>
                    <a:pt x="2783" y="321"/>
                    <a:pt x="2777" y="315"/>
                    <a:pt x="2770" y="315"/>
                  </a:cubicBezTo>
                  <a:cubicBezTo>
                    <a:pt x="2763" y="315"/>
                    <a:pt x="2757" y="321"/>
                    <a:pt x="2757" y="328"/>
                  </a:cubicBezTo>
                  <a:cubicBezTo>
                    <a:pt x="2757" y="335"/>
                    <a:pt x="2763" y="341"/>
                    <a:pt x="2770" y="341"/>
                  </a:cubicBezTo>
                  <a:close/>
                  <a:moveTo>
                    <a:pt x="2809" y="341"/>
                  </a:moveTo>
                  <a:cubicBezTo>
                    <a:pt x="2816" y="341"/>
                    <a:pt x="2822" y="335"/>
                    <a:pt x="2822" y="328"/>
                  </a:cubicBezTo>
                  <a:cubicBezTo>
                    <a:pt x="2822" y="321"/>
                    <a:pt x="2816" y="315"/>
                    <a:pt x="2809" y="315"/>
                  </a:cubicBezTo>
                  <a:cubicBezTo>
                    <a:pt x="2802" y="315"/>
                    <a:pt x="2797" y="321"/>
                    <a:pt x="2797" y="328"/>
                  </a:cubicBezTo>
                  <a:cubicBezTo>
                    <a:pt x="2797" y="335"/>
                    <a:pt x="2802" y="341"/>
                    <a:pt x="2809" y="341"/>
                  </a:cubicBezTo>
                  <a:close/>
                  <a:moveTo>
                    <a:pt x="2849" y="341"/>
                  </a:moveTo>
                  <a:cubicBezTo>
                    <a:pt x="2856" y="341"/>
                    <a:pt x="2861" y="335"/>
                    <a:pt x="2861" y="328"/>
                  </a:cubicBezTo>
                  <a:cubicBezTo>
                    <a:pt x="2861" y="321"/>
                    <a:pt x="2856" y="315"/>
                    <a:pt x="2849" y="315"/>
                  </a:cubicBezTo>
                  <a:cubicBezTo>
                    <a:pt x="2842" y="315"/>
                    <a:pt x="2836" y="321"/>
                    <a:pt x="2836" y="328"/>
                  </a:cubicBezTo>
                  <a:cubicBezTo>
                    <a:pt x="2836" y="335"/>
                    <a:pt x="2842" y="341"/>
                    <a:pt x="2849" y="341"/>
                  </a:cubicBezTo>
                  <a:close/>
                  <a:moveTo>
                    <a:pt x="2888" y="341"/>
                  </a:moveTo>
                  <a:cubicBezTo>
                    <a:pt x="2895" y="341"/>
                    <a:pt x="2901" y="335"/>
                    <a:pt x="2901" y="328"/>
                  </a:cubicBezTo>
                  <a:cubicBezTo>
                    <a:pt x="2901" y="321"/>
                    <a:pt x="2895" y="315"/>
                    <a:pt x="2888" y="315"/>
                  </a:cubicBezTo>
                  <a:cubicBezTo>
                    <a:pt x="2881" y="315"/>
                    <a:pt x="2875" y="321"/>
                    <a:pt x="2875" y="328"/>
                  </a:cubicBezTo>
                  <a:cubicBezTo>
                    <a:pt x="2875" y="335"/>
                    <a:pt x="2881" y="341"/>
                    <a:pt x="2888" y="341"/>
                  </a:cubicBezTo>
                  <a:close/>
                  <a:moveTo>
                    <a:pt x="2928" y="341"/>
                  </a:moveTo>
                  <a:cubicBezTo>
                    <a:pt x="2935" y="341"/>
                    <a:pt x="2940" y="335"/>
                    <a:pt x="2940" y="328"/>
                  </a:cubicBezTo>
                  <a:cubicBezTo>
                    <a:pt x="2940" y="321"/>
                    <a:pt x="2935" y="315"/>
                    <a:pt x="2928" y="315"/>
                  </a:cubicBezTo>
                  <a:cubicBezTo>
                    <a:pt x="2921" y="315"/>
                    <a:pt x="2915" y="321"/>
                    <a:pt x="2915" y="328"/>
                  </a:cubicBezTo>
                  <a:cubicBezTo>
                    <a:pt x="2915" y="335"/>
                    <a:pt x="2921" y="341"/>
                    <a:pt x="2928" y="341"/>
                  </a:cubicBezTo>
                  <a:close/>
                  <a:moveTo>
                    <a:pt x="2967" y="341"/>
                  </a:moveTo>
                  <a:cubicBezTo>
                    <a:pt x="2974" y="341"/>
                    <a:pt x="2980" y="335"/>
                    <a:pt x="2980" y="328"/>
                  </a:cubicBezTo>
                  <a:cubicBezTo>
                    <a:pt x="2980" y="321"/>
                    <a:pt x="2974" y="315"/>
                    <a:pt x="2967" y="315"/>
                  </a:cubicBezTo>
                  <a:cubicBezTo>
                    <a:pt x="2960" y="315"/>
                    <a:pt x="2954" y="321"/>
                    <a:pt x="2954" y="328"/>
                  </a:cubicBezTo>
                  <a:cubicBezTo>
                    <a:pt x="2954" y="335"/>
                    <a:pt x="2960" y="341"/>
                    <a:pt x="2967" y="341"/>
                  </a:cubicBezTo>
                  <a:close/>
                  <a:moveTo>
                    <a:pt x="3006" y="341"/>
                  </a:moveTo>
                  <a:cubicBezTo>
                    <a:pt x="3013" y="341"/>
                    <a:pt x="3019" y="335"/>
                    <a:pt x="3019" y="328"/>
                  </a:cubicBezTo>
                  <a:cubicBezTo>
                    <a:pt x="3019" y="321"/>
                    <a:pt x="3013" y="315"/>
                    <a:pt x="3006" y="315"/>
                  </a:cubicBezTo>
                  <a:cubicBezTo>
                    <a:pt x="2999" y="315"/>
                    <a:pt x="2994" y="321"/>
                    <a:pt x="2994" y="328"/>
                  </a:cubicBezTo>
                  <a:cubicBezTo>
                    <a:pt x="2994" y="335"/>
                    <a:pt x="2999" y="341"/>
                    <a:pt x="3006" y="341"/>
                  </a:cubicBezTo>
                  <a:close/>
                  <a:moveTo>
                    <a:pt x="3046" y="341"/>
                  </a:moveTo>
                  <a:cubicBezTo>
                    <a:pt x="3053" y="341"/>
                    <a:pt x="3059" y="335"/>
                    <a:pt x="3059" y="328"/>
                  </a:cubicBezTo>
                  <a:cubicBezTo>
                    <a:pt x="3059" y="321"/>
                    <a:pt x="3053" y="315"/>
                    <a:pt x="3046" y="315"/>
                  </a:cubicBezTo>
                  <a:cubicBezTo>
                    <a:pt x="3039" y="315"/>
                    <a:pt x="3033" y="321"/>
                    <a:pt x="3033" y="328"/>
                  </a:cubicBezTo>
                  <a:cubicBezTo>
                    <a:pt x="3033" y="335"/>
                    <a:pt x="3039" y="341"/>
                    <a:pt x="3046" y="341"/>
                  </a:cubicBezTo>
                  <a:close/>
                  <a:moveTo>
                    <a:pt x="3085" y="341"/>
                  </a:moveTo>
                  <a:cubicBezTo>
                    <a:pt x="3092" y="341"/>
                    <a:pt x="3098" y="335"/>
                    <a:pt x="3098" y="328"/>
                  </a:cubicBezTo>
                  <a:cubicBezTo>
                    <a:pt x="3098" y="321"/>
                    <a:pt x="3092" y="315"/>
                    <a:pt x="3085" y="315"/>
                  </a:cubicBezTo>
                  <a:cubicBezTo>
                    <a:pt x="3078" y="315"/>
                    <a:pt x="3073" y="321"/>
                    <a:pt x="3073" y="328"/>
                  </a:cubicBezTo>
                  <a:cubicBezTo>
                    <a:pt x="3073" y="335"/>
                    <a:pt x="3078" y="341"/>
                    <a:pt x="3085" y="341"/>
                  </a:cubicBezTo>
                  <a:close/>
                  <a:moveTo>
                    <a:pt x="3125" y="341"/>
                  </a:moveTo>
                  <a:cubicBezTo>
                    <a:pt x="3132" y="341"/>
                    <a:pt x="3137" y="335"/>
                    <a:pt x="3137" y="328"/>
                  </a:cubicBezTo>
                  <a:cubicBezTo>
                    <a:pt x="3137" y="321"/>
                    <a:pt x="3132" y="315"/>
                    <a:pt x="3125" y="315"/>
                  </a:cubicBezTo>
                  <a:cubicBezTo>
                    <a:pt x="3118" y="315"/>
                    <a:pt x="3112" y="321"/>
                    <a:pt x="3112" y="328"/>
                  </a:cubicBezTo>
                  <a:cubicBezTo>
                    <a:pt x="3112" y="335"/>
                    <a:pt x="3118" y="341"/>
                    <a:pt x="3125" y="341"/>
                  </a:cubicBezTo>
                  <a:close/>
                  <a:moveTo>
                    <a:pt x="3164" y="341"/>
                  </a:moveTo>
                  <a:cubicBezTo>
                    <a:pt x="3171" y="341"/>
                    <a:pt x="3177" y="335"/>
                    <a:pt x="3177" y="328"/>
                  </a:cubicBezTo>
                  <a:cubicBezTo>
                    <a:pt x="3177" y="321"/>
                    <a:pt x="3171" y="315"/>
                    <a:pt x="3164" y="315"/>
                  </a:cubicBezTo>
                  <a:cubicBezTo>
                    <a:pt x="3157" y="315"/>
                    <a:pt x="3151" y="321"/>
                    <a:pt x="3151" y="328"/>
                  </a:cubicBezTo>
                  <a:cubicBezTo>
                    <a:pt x="3151" y="335"/>
                    <a:pt x="3157" y="341"/>
                    <a:pt x="3164" y="341"/>
                  </a:cubicBezTo>
                  <a:close/>
                  <a:moveTo>
                    <a:pt x="3204" y="341"/>
                  </a:moveTo>
                  <a:cubicBezTo>
                    <a:pt x="3211" y="341"/>
                    <a:pt x="3216" y="335"/>
                    <a:pt x="3216" y="328"/>
                  </a:cubicBezTo>
                  <a:cubicBezTo>
                    <a:pt x="3216" y="321"/>
                    <a:pt x="3211" y="315"/>
                    <a:pt x="3204" y="315"/>
                  </a:cubicBezTo>
                  <a:cubicBezTo>
                    <a:pt x="3197" y="315"/>
                    <a:pt x="3191" y="321"/>
                    <a:pt x="3191" y="328"/>
                  </a:cubicBezTo>
                  <a:cubicBezTo>
                    <a:pt x="3191" y="335"/>
                    <a:pt x="3197" y="341"/>
                    <a:pt x="3204" y="341"/>
                  </a:cubicBezTo>
                  <a:close/>
                  <a:moveTo>
                    <a:pt x="3243" y="341"/>
                  </a:moveTo>
                  <a:cubicBezTo>
                    <a:pt x="3250" y="341"/>
                    <a:pt x="3256" y="335"/>
                    <a:pt x="3256" y="328"/>
                  </a:cubicBezTo>
                  <a:cubicBezTo>
                    <a:pt x="3256" y="321"/>
                    <a:pt x="3250" y="315"/>
                    <a:pt x="3243" y="315"/>
                  </a:cubicBezTo>
                  <a:cubicBezTo>
                    <a:pt x="3236" y="315"/>
                    <a:pt x="3230" y="321"/>
                    <a:pt x="3230" y="328"/>
                  </a:cubicBezTo>
                  <a:cubicBezTo>
                    <a:pt x="3230" y="335"/>
                    <a:pt x="3236" y="341"/>
                    <a:pt x="3243" y="341"/>
                  </a:cubicBezTo>
                  <a:close/>
                  <a:moveTo>
                    <a:pt x="3282" y="341"/>
                  </a:moveTo>
                  <a:cubicBezTo>
                    <a:pt x="3289" y="341"/>
                    <a:pt x="3295" y="335"/>
                    <a:pt x="3295" y="328"/>
                  </a:cubicBezTo>
                  <a:cubicBezTo>
                    <a:pt x="3295" y="321"/>
                    <a:pt x="3289" y="315"/>
                    <a:pt x="3282" y="315"/>
                  </a:cubicBezTo>
                  <a:cubicBezTo>
                    <a:pt x="3275" y="315"/>
                    <a:pt x="3270" y="321"/>
                    <a:pt x="3270" y="328"/>
                  </a:cubicBezTo>
                  <a:cubicBezTo>
                    <a:pt x="3270" y="335"/>
                    <a:pt x="3275" y="341"/>
                    <a:pt x="3282" y="341"/>
                  </a:cubicBezTo>
                  <a:close/>
                  <a:moveTo>
                    <a:pt x="3322" y="341"/>
                  </a:moveTo>
                  <a:cubicBezTo>
                    <a:pt x="3329" y="341"/>
                    <a:pt x="3335" y="335"/>
                    <a:pt x="3335" y="328"/>
                  </a:cubicBezTo>
                  <a:cubicBezTo>
                    <a:pt x="3335" y="321"/>
                    <a:pt x="3329" y="315"/>
                    <a:pt x="3322" y="315"/>
                  </a:cubicBezTo>
                  <a:cubicBezTo>
                    <a:pt x="3315" y="315"/>
                    <a:pt x="3309" y="321"/>
                    <a:pt x="3309" y="328"/>
                  </a:cubicBezTo>
                  <a:cubicBezTo>
                    <a:pt x="3309" y="335"/>
                    <a:pt x="3315" y="341"/>
                    <a:pt x="3322" y="341"/>
                  </a:cubicBezTo>
                  <a:close/>
                  <a:moveTo>
                    <a:pt x="3361" y="341"/>
                  </a:moveTo>
                  <a:cubicBezTo>
                    <a:pt x="3368" y="341"/>
                    <a:pt x="3374" y="335"/>
                    <a:pt x="3374" y="328"/>
                  </a:cubicBezTo>
                  <a:cubicBezTo>
                    <a:pt x="3374" y="321"/>
                    <a:pt x="3368" y="315"/>
                    <a:pt x="3361" y="315"/>
                  </a:cubicBezTo>
                  <a:cubicBezTo>
                    <a:pt x="3354" y="315"/>
                    <a:pt x="3348" y="321"/>
                    <a:pt x="3348" y="328"/>
                  </a:cubicBezTo>
                  <a:cubicBezTo>
                    <a:pt x="3348" y="335"/>
                    <a:pt x="3354" y="341"/>
                    <a:pt x="3361" y="341"/>
                  </a:cubicBezTo>
                  <a:close/>
                  <a:moveTo>
                    <a:pt x="3401" y="341"/>
                  </a:moveTo>
                  <a:cubicBezTo>
                    <a:pt x="3408" y="341"/>
                    <a:pt x="3413" y="335"/>
                    <a:pt x="3413" y="328"/>
                  </a:cubicBezTo>
                  <a:cubicBezTo>
                    <a:pt x="3413" y="321"/>
                    <a:pt x="3408" y="315"/>
                    <a:pt x="3401" y="315"/>
                  </a:cubicBezTo>
                  <a:cubicBezTo>
                    <a:pt x="3394" y="315"/>
                    <a:pt x="3388" y="321"/>
                    <a:pt x="3388" y="328"/>
                  </a:cubicBezTo>
                  <a:cubicBezTo>
                    <a:pt x="3388" y="335"/>
                    <a:pt x="3394" y="341"/>
                    <a:pt x="3401" y="341"/>
                  </a:cubicBezTo>
                  <a:close/>
                  <a:moveTo>
                    <a:pt x="3440" y="341"/>
                  </a:moveTo>
                  <a:cubicBezTo>
                    <a:pt x="3447" y="341"/>
                    <a:pt x="3453" y="335"/>
                    <a:pt x="3453" y="328"/>
                  </a:cubicBezTo>
                  <a:cubicBezTo>
                    <a:pt x="3453" y="321"/>
                    <a:pt x="3447" y="315"/>
                    <a:pt x="3440" y="315"/>
                  </a:cubicBezTo>
                  <a:cubicBezTo>
                    <a:pt x="3433" y="315"/>
                    <a:pt x="3427" y="321"/>
                    <a:pt x="3427" y="328"/>
                  </a:cubicBezTo>
                  <a:cubicBezTo>
                    <a:pt x="3427" y="335"/>
                    <a:pt x="3433" y="341"/>
                    <a:pt x="3440" y="341"/>
                  </a:cubicBezTo>
                  <a:close/>
                  <a:moveTo>
                    <a:pt x="3480" y="341"/>
                  </a:moveTo>
                  <a:cubicBezTo>
                    <a:pt x="3487" y="341"/>
                    <a:pt x="3492" y="335"/>
                    <a:pt x="3492" y="328"/>
                  </a:cubicBezTo>
                  <a:cubicBezTo>
                    <a:pt x="3492" y="321"/>
                    <a:pt x="3487" y="315"/>
                    <a:pt x="3480" y="315"/>
                  </a:cubicBezTo>
                  <a:cubicBezTo>
                    <a:pt x="3472" y="315"/>
                    <a:pt x="3467" y="321"/>
                    <a:pt x="3467" y="328"/>
                  </a:cubicBezTo>
                  <a:cubicBezTo>
                    <a:pt x="3467" y="335"/>
                    <a:pt x="3472" y="341"/>
                    <a:pt x="3480" y="341"/>
                  </a:cubicBezTo>
                  <a:close/>
                  <a:moveTo>
                    <a:pt x="3519" y="315"/>
                  </a:moveTo>
                  <a:cubicBezTo>
                    <a:pt x="3512" y="315"/>
                    <a:pt x="3506" y="321"/>
                    <a:pt x="3506" y="328"/>
                  </a:cubicBezTo>
                  <a:cubicBezTo>
                    <a:pt x="3506" y="335"/>
                    <a:pt x="3512" y="341"/>
                    <a:pt x="3519" y="341"/>
                  </a:cubicBezTo>
                  <a:cubicBezTo>
                    <a:pt x="3526" y="341"/>
                    <a:pt x="3532" y="335"/>
                    <a:pt x="3532" y="328"/>
                  </a:cubicBezTo>
                  <a:cubicBezTo>
                    <a:pt x="3532" y="321"/>
                    <a:pt x="3526" y="315"/>
                    <a:pt x="3519" y="315"/>
                  </a:cubicBezTo>
                  <a:close/>
                  <a:moveTo>
                    <a:pt x="3558" y="315"/>
                  </a:moveTo>
                  <a:cubicBezTo>
                    <a:pt x="3551" y="315"/>
                    <a:pt x="3546" y="321"/>
                    <a:pt x="3546" y="328"/>
                  </a:cubicBezTo>
                  <a:cubicBezTo>
                    <a:pt x="3546" y="335"/>
                    <a:pt x="3551" y="341"/>
                    <a:pt x="3558" y="341"/>
                  </a:cubicBezTo>
                  <a:cubicBezTo>
                    <a:pt x="3565" y="341"/>
                    <a:pt x="3571" y="335"/>
                    <a:pt x="3571" y="328"/>
                  </a:cubicBezTo>
                  <a:cubicBezTo>
                    <a:pt x="3571" y="321"/>
                    <a:pt x="3565" y="315"/>
                    <a:pt x="3558" y="315"/>
                  </a:cubicBezTo>
                  <a:close/>
                  <a:moveTo>
                    <a:pt x="3598" y="315"/>
                  </a:moveTo>
                  <a:cubicBezTo>
                    <a:pt x="3591" y="315"/>
                    <a:pt x="3585" y="321"/>
                    <a:pt x="3585" y="328"/>
                  </a:cubicBezTo>
                  <a:cubicBezTo>
                    <a:pt x="3585" y="335"/>
                    <a:pt x="3591" y="341"/>
                    <a:pt x="3598" y="341"/>
                  </a:cubicBezTo>
                  <a:cubicBezTo>
                    <a:pt x="3605" y="341"/>
                    <a:pt x="3611" y="335"/>
                    <a:pt x="3611" y="328"/>
                  </a:cubicBezTo>
                  <a:cubicBezTo>
                    <a:pt x="3611" y="321"/>
                    <a:pt x="3605" y="315"/>
                    <a:pt x="3598" y="315"/>
                  </a:cubicBezTo>
                  <a:close/>
                  <a:moveTo>
                    <a:pt x="89" y="380"/>
                  </a:moveTo>
                  <a:cubicBezTo>
                    <a:pt x="96" y="380"/>
                    <a:pt x="102" y="375"/>
                    <a:pt x="102" y="367"/>
                  </a:cubicBezTo>
                  <a:cubicBezTo>
                    <a:pt x="102" y="360"/>
                    <a:pt x="96" y="355"/>
                    <a:pt x="89" y="355"/>
                  </a:cubicBezTo>
                  <a:cubicBezTo>
                    <a:pt x="82" y="355"/>
                    <a:pt x="76" y="360"/>
                    <a:pt x="76" y="367"/>
                  </a:cubicBezTo>
                  <a:cubicBezTo>
                    <a:pt x="76" y="375"/>
                    <a:pt x="82" y="380"/>
                    <a:pt x="89" y="380"/>
                  </a:cubicBezTo>
                  <a:close/>
                  <a:moveTo>
                    <a:pt x="128" y="380"/>
                  </a:moveTo>
                  <a:cubicBezTo>
                    <a:pt x="136" y="380"/>
                    <a:pt x="141" y="375"/>
                    <a:pt x="141" y="367"/>
                  </a:cubicBezTo>
                  <a:cubicBezTo>
                    <a:pt x="141" y="360"/>
                    <a:pt x="136" y="355"/>
                    <a:pt x="128" y="355"/>
                  </a:cubicBezTo>
                  <a:cubicBezTo>
                    <a:pt x="121" y="355"/>
                    <a:pt x="116" y="360"/>
                    <a:pt x="116" y="367"/>
                  </a:cubicBezTo>
                  <a:cubicBezTo>
                    <a:pt x="116" y="375"/>
                    <a:pt x="121" y="380"/>
                    <a:pt x="128" y="380"/>
                  </a:cubicBezTo>
                  <a:close/>
                  <a:moveTo>
                    <a:pt x="168" y="380"/>
                  </a:moveTo>
                  <a:cubicBezTo>
                    <a:pt x="175" y="380"/>
                    <a:pt x="181" y="375"/>
                    <a:pt x="181" y="367"/>
                  </a:cubicBezTo>
                  <a:cubicBezTo>
                    <a:pt x="181" y="360"/>
                    <a:pt x="175" y="355"/>
                    <a:pt x="168" y="355"/>
                  </a:cubicBezTo>
                  <a:cubicBezTo>
                    <a:pt x="161" y="355"/>
                    <a:pt x="155" y="360"/>
                    <a:pt x="155" y="367"/>
                  </a:cubicBezTo>
                  <a:cubicBezTo>
                    <a:pt x="155" y="375"/>
                    <a:pt x="161" y="380"/>
                    <a:pt x="168" y="380"/>
                  </a:cubicBezTo>
                  <a:close/>
                  <a:moveTo>
                    <a:pt x="207" y="380"/>
                  </a:moveTo>
                  <a:cubicBezTo>
                    <a:pt x="214" y="380"/>
                    <a:pt x="220" y="375"/>
                    <a:pt x="220" y="367"/>
                  </a:cubicBezTo>
                  <a:cubicBezTo>
                    <a:pt x="220" y="360"/>
                    <a:pt x="214" y="355"/>
                    <a:pt x="207" y="355"/>
                  </a:cubicBezTo>
                  <a:cubicBezTo>
                    <a:pt x="200" y="355"/>
                    <a:pt x="195" y="360"/>
                    <a:pt x="195" y="367"/>
                  </a:cubicBezTo>
                  <a:cubicBezTo>
                    <a:pt x="195" y="375"/>
                    <a:pt x="200" y="380"/>
                    <a:pt x="207" y="380"/>
                  </a:cubicBezTo>
                  <a:close/>
                  <a:moveTo>
                    <a:pt x="247" y="380"/>
                  </a:moveTo>
                  <a:cubicBezTo>
                    <a:pt x="254" y="380"/>
                    <a:pt x="259" y="375"/>
                    <a:pt x="259" y="367"/>
                  </a:cubicBezTo>
                  <a:cubicBezTo>
                    <a:pt x="259" y="360"/>
                    <a:pt x="254" y="355"/>
                    <a:pt x="247" y="355"/>
                  </a:cubicBezTo>
                  <a:cubicBezTo>
                    <a:pt x="240" y="355"/>
                    <a:pt x="234" y="360"/>
                    <a:pt x="234" y="367"/>
                  </a:cubicBezTo>
                  <a:cubicBezTo>
                    <a:pt x="234" y="375"/>
                    <a:pt x="240" y="380"/>
                    <a:pt x="247" y="380"/>
                  </a:cubicBezTo>
                  <a:close/>
                  <a:moveTo>
                    <a:pt x="286" y="380"/>
                  </a:moveTo>
                  <a:cubicBezTo>
                    <a:pt x="293" y="380"/>
                    <a:pt x="299" y="375"/>
                    <a:pt x="299" y="367"/>
                  </a:cubicBezTo>
                  <a:cubicBezTo>
                    <a:pt x="299" y="360"/>
                    <a:pt x="293" y="355"/>
                    <a:pt x="286" y="355"/>
                  </a:cubicBezTo>
                  <a:cubicBezTo>
                    <a:pt x="279" y="355"/>
                    <a:pt x="273" y="360"/>
                    <a:pt x="273" y="367"/>
                  </a:cubicBezTo>
                  <a:cubicBezTo>
                    <a:pt x="273" y="375"/>
                    <a:pt x="279" y="380"/>
                    <a:pt x="286" y="380"/>
                  </a:cubicBezTo>
                  <a:close/>
                  <a:moveTo>
                    <a:pt x="326" y="380"/>
                  </a:moveTo>
                  <a:cubicBezTo>
                    <a:pt x="333" y="380"/>
                    <a:pt x="338" y="375"/>
                    <a:pt x="338" y="367"/>
                  </a:cubicBezTo>
                  <a:cubicBezTo>
                    <a:pt x="338" y="360"/>
                    <a:pt x="333" y="355"/>
                    <a:pt x="326" y="355"/>
                  </a:cubicBezTo>
                  <a:cubicBezTo>
                    <a:pt x="319" y="355"/>
                    <a:pt x="313" y="360"/>
                    <a:pt x="313" y="367"/>
                  </a:cubicBezTo>
                  <a:cubicBezTo>
                    <a:pt x="313" y="375"/>
                    <a:pt x="319" y="380"/>
                    <a:pt x="326" y="380"/>
                  </a:cubicBezTo>
                  <a:close/>
                  <a:moveTo>
                    <a:pt x="365" y="380"/>
                  </a:moveTo>
                  <a:cubicBezTo>
                    <a:pt x="372" y="380"/>
                    <a:pt x="378" y="375"/>
                    <a:pt x="378" y="367"/>
                  </a:cubicBezTo>
                  <a:cubicBezTo>
                    <a:pt x="378" y="360"/>
                    <a:pt x="372" y="355"/>
                    <a:pt x="365" y="355"/>
                  </a:cubicBezTo>
                  <a:cubicBezTo>
                    <a:pt x="358" y="355"/>
                    <a:pt x="352" y="360"/>
                    <a:pt x="352" y="367"/>
                  </a:cubicBezTo>
                  <a:cubicBezTo>
                    <a:pt x="352" y="375"/>
                    <a:pt x="358" y="380"/>
                    <a:pt x="365" y="380"/>
                  </a:cubicBezTo>
                  <a:close/>
                  <a:moveTo>
                    <a:pt x="404" y="380"/>
                  </a:moveTo>
                  <a:cubicBezTo>
                    <a:pt x="411" y="380"/>
                    <a:pt x="417" y="375"/>
                    <a:pt x="417" y="367"/>
                  </a:cubicBezTo>
                  <a:cubicBezTo>
                    <a:pt x="417" y="360"/>
                    <a:pt x="411" y="355"/>
                    <a:pt x="404" y="355"/>
                  </a:cubicBezTo>
                  <a:cubicBezTo>
                    <a:pt x="397" y="355"/>
                    <a:pt x="392" y="360"/>
                    <a:pt x="392" y="367"/>
                  </a:cubicBezTo>
                  <a:cubicBezTo>
                    <a:pt x="392" y="375"/>
                    <a:pt x="397" y="380"/>
                    <a:pt x="404" y="380"/>
                  </a:cubicBezTo>
                  <a:close/>
                  <a:moveTo>
                    <a:pt x="444" y="380"/>
                  </a:moveTo>
                  <a:cubicBezTo>
                    <a:pt x="451" y="380"/>
                    <a:pt x="457" y="375"/>
                    <a:pt x="457" y="367"/>
                  </a:cubicBezTo>
                  <a:cubicBezTo>
                    <a:pt x="457" y="360"/>
                    <a:pt x="451" y="355"/>
                    <a:pt x="444" y="355"/>
                  </a:cubicBezTo>
                  <a:cubicBezTo>
                    <a:pt x="437" y="355"/>
                    <a:pt x="431" y="360"/>
                    <a:pt x="431" y="367"/>
                  </a:cubicBezTo>
                  <a:cubicBezTo>
                    <a:pt x="431" y="375"/>
                    <a:pt x="437" y="380"/>
                    <a:pt x="444" y="380"/>
                  </a:cubicBezTo>
                  <a:close/>
                  <a:moveTo>
                    <a:pt x="483" y="380"/>
                  </a:moveTo>
                  <a:cubicBezTo>
                    <a:pt x="490" y="380"/>
                    <a:pt x="496" y="375"/>
                    <a:pt x="496" y="367"/>
                  </a:cubicBezTo>
                  <a:cubicBezTo>
                    <a:pt x="496" y="360"/>
                    <a:pt x="490" y="355"/>
                    <a:pt x="483" y="355"/>
                  </a:cubicBezTo>
                  <a:cubicBezTo>
                    <a:pt x="476" y="355"/>
                    <a:pt x="471" y="360"/>
                    <a:pt x="471" y="367"/>
                  </a:cubicBezTo>
                  <a:cubicBezTo>
                    <a:pt x="471" y="375"/>
                    <a:pt x="476" y="380"/>
                    <a:pt x="483" y="380"/>
                  </a:cubicBezTo>
                  <a:close/>
                  <a:moveTo>
                    <a:pt x="523" y="380"/>
                  </a:moveTo>
                  <a:cubicBezTo>
                    <a:pt x="530" y="380"/>
                    <a:pt x="535" y="375"/>
                    <a:pt x="535" y="367"/>
                  </a:cubicBezTo>
                  <a:cubicBezTo>
                    <a:pt x="535" y="360"/>
                    <a:pt x="530" y="355"/>
                    <a:pt x="523" y="355"/>
                  </a:cubicBezTo>
                  <a:cubicBezTo>
                    <a:pt x="516" y="355"/>
                    <a:pt x="510" y="360"/>
                    <a:pt x="510" y="367"/>
                  </a:cubicBezTo>
                  <a:cubicBezTo>
                    <a:pt x="510" y="375"/>
                    <a:pt x="516" y="380"/>
                    <a:pt x="523" y="380"/>
                  </a:cubicBezTo>
                  <a:close/>
                  <a:moveTo>
                    <a:pt x="562" y="380"/>
                  </a:moveTo>
                  <a:cubicBezTo>
                    <a:pt x="569" y="380"/>
                    <a:pt x="575" y="375"/>
                    <a:pt x="575" y="367"/>
                  </a:cubicBezTo>
                  <a:cubicBezTo>
                    <a:pt x="575" y="360"/>
                    <a:pt x="569" y="355"/>
                    <a:pt x="562" y="355"/>
                  </a:cubicBezTo>
                  <a:cubicBezTo>
                    <a:pt x="555" y="355"/>
                    <a:pt x="549" y="360"/>
                    <a:pt x="549" y="367"/>
                  </a:cubicBezTo>
                  <a:cubicBezTo>
                    <a:pt x="549" y="375"/>
                    <a:pt x="555" y="380"/>
                    <a:pt x="562" y="380"/>
                  </a:cubicBezTo>
                  <a:close/>
                  <a:moveTo>
                    <a:pt x="602" y="380"/>
                  </a:moveTo>
                  <a:cubicBezTo>
                    <a:pt x="609" y="380"/>
                    <a:pt x="614" y="375"/>
                    <a:pt x="614" y="367"/>
                  </a:cubicBezTo>
                  <a:cubicBezTo>
                    <a:pt x="614" y="360"/>
                    <a:pt x="609" y="355"/>
                    <a:pt x="602" y="355"/>
                  </a:cubicBezTo>
                  <a:cubicBezTo>
                    <a:pt x="595" y="355"/>
                    <a:pt x="589" y="360"/>
                    <a:pt x="589" y="367"/>
                  </a:cubicBezTo>
                  <a:cubicBezTo>
                    <a:pt x="589" y="375"/>
                    <a:pt x="595" y="380"/>
                    <a:pt x="602" y="380"/>
                  </a:cubicBezTo>
                  <a:close/>
                  <a:moveTo>
                    <a:pt x="641" y="380"/>
                  </a:moveTo>
                  <a:cubicBezTo>
                    <a:pt x="648" y="380"/>
                    <a:pt x="654" y="375"/>
                    <a:pt x="654" y="367"/>
                  </a:cubicBezTo>
                  <a:cubicBezTo>
                    <a:pt x="654" y="360"/>
                    <a:pt x="648" y="355"/>
                    <a:pt x="641" y="355"/>
                  </a:cubicBezTo>
                  <a:cubicBezTo>
                    <a:pt x="634" y="355"/>
                    <a:pt x="628" y="360"/>
                    <a:pt x="628" y="367"/>
                  </a:cubicBezTo>
                  <a:cubicBezTo>
                    <a:pt x="628" y="375"/>
                    <a:pt x="634" y="380"/>
                    <a:pt x="641" y="380"/>
                  </a:cubicBezTo>
                  <a:close/>
                  <a:moveTo>
                    <a:pt x="680" y="380"/>
                  </a:moveTo>
                  <a:cubicBezTo>
                    <a:pt x="687" y="380"/>
                    <a:pt x="693" y="375"/>
                    <a:pt x="693" y="367"/>
                  </a:cubicBezTo>
                  <a:cubicBezTo>
                    <a:pt x="693" y="360"/>
                    <a:pt x="687" y="355"/>
                    <a:pt x="680" y="355"/>
                  </a:cubicBezTo>
                  <a:cubicBezTo>
                    <a:pt x="673" y="355"/>
                    <a:pt x="668" y="360"/>
                    <a:pt x="668" y="367"/>
                  </a:cubicBezTo>
                  <a:cubicBezTo>
                    <a:pt x="668" y="375"/>
                    <a:pt x="673" y="380"/>
                    <a:pt x="680" y="380"/>
                  </a:cubicBezTo>
                  <a:close/>
                  <a:moveTo>
                    <a:pt x="720" y="380"/>
                  </a:moveTo>
                  <a:cubicBezTo>
                    <a:pt x="727" y="380"/>
                    <a:pt x="733" y="375"/>
                    <a:pt x="733" y="367"/>
                  </a:cubicBezTo>
                  <a:cubicBezTo>
                    <a:pt x="733" y="360"/>
                    <a:pt x="727" y="355"/>
                    <a:pt x="720" y="355"/>
                  </a:cubicBezTo>
                  <a:cubicBezTo>
                    <a:pt x="713" y="355"/>
                    <a:pt x="707" y="360"/>
                    <a:pt x="707" y="367"/>
                  </a:cubicBezTo>
                  <a:cubicBezTo>
                    <a:pt x="707" y="375"/>
                    <a:pt x="713" y="380"/>
                    <a:pt x="720" y="380"/>
                  </a:cubicBezTo>
                  <a:close/>
                  <a:moveTo>
                    <a:pt x="759" y="380"/>
                  </a:moveTo>
                  <a:cubicBezTo>
                    <a:pt x="766" y="380"/>
                    <a:pt x="772" y="375"/>
                    <a:pt x="772" y="367"/>
                  </a:cubicBezTo>
                  <a:cubicBezTo>
                    <a:pt x="772" y="360"/>
                    <a:pt x="766" y="355"/>
                    <a:pt x="759" y="355"/>
                  </a:cubicBezTo>
                  <a:cubicBezTo>
                    <a:pt x="752" y="355"/>
                    <a:pt x="747" y="360"/>
                    <a:pt x="747" y="367"/>
                  </a:cubicBezTo>
                  <a:cubicBezTo>
                    <a:pt x="747" y="375"/>
                    <a:pt x="752" y="380"/>
                    <a:pt x="759" y="380"/>
                  </a:cubicBezTo>
                  <a:close/>
                  <a:moveTo>
                    <a:pt x="799" y="380"/>
                  </a:moveTo>
                  <a:cubicBezTo>
                    <a:pt x="806" y="380"/>
                    <a:pt x="811" y="375"/>
                    <a:pt x="811" y="367"/>
                  </a:cubicBezTo>
                  <a:cubicBezTo>
                    <a:pt x="811" y="360"/>
                    <a:pt x="806" y="355"/>
                    <a:pt x="799" y="355"/>
                  </a:cubicBezTo>
                  <a:cubicBezTo>
                    <a:pt x="792" y="355"/>
                    <a:pt x="786" y="360"/>
                    <a:pt x="786" y="367"/>
                  </a:cubicBezTo>
                  <a:cubicBezTo>
                    <a:pt x="786" y="375"/>
                    <a:pt x="792" y="380"/>
                    <a:pt x="799" y="380"/>
                  </a:cubicBezTo>
                  <a:close/>
                  <a:moveTo>
                    <a:pt x="838" y="380"/>
                  </a:moveTo>
                  <a:cubicBezTo>
                    <a:pt x="845" y="380"/>
                    <a:pt x="851" y="375"/>
                    <a:pt x="851" y="367"/>
                  </a:cubicBezTo>
                  <a:cubicBezTo>
                    <a:pt x="851" y="360"/>
                    <a:pt x="845" y="355"/>
                    <a:pt x="838" y="355"/>
                  </a:cubicBezTo>
                  <a:cubicBezTo>
                    <a:pt x="831" y="355"/>
                    <a:pt x="825" y="360"/>
                    <a:pt x="825" y="367"/>
                  </a:cubicBezTo>
                  <a:cubicBezTo>
                    <a:pt x="825" y="375"/>
                    <a:pt x="831" y="380"/>
                    <a:pt x="838" y="380"/>
                  </a:cubicBezTo>
                  <a:close/>
                  <a:moveTo>
                    <a:pt x="956" y="380"/>
                  </a:moveTo>
                  <a:cubicBezTo>
                    <a:pt x="963" y="380"/>
                    <a:pt x="969" y="375"/>
                    <a:pt x="969" y="367"/>
                  </a:cubicBezTo>
                  <a:cubicBezTo>
                    <a:pt x="969" y="360"/>
                    <a:pt x="963" y="355"/>
                    <a:pt x="956" y="355"/>
                  </a:cubicBezTo>
                  <a:cubicBezTo>
                    <a:pt x="949" y="355"/>
                    <a:pt x="944" y="360"/>
                    <a:pt x="944" y="367"/>
                  </a:cubicBezTo>
                  <a:cubicBezTo>
                    <a:pt x="944" y="375"/>
                    <a:pt x="949" y="380"/>
                    <a:pt x="956" y="380"/>
                  </a:cubicBezTo>
                  <a:close/>
                  <a:moveTo>
                    <a:pt x="996" y="380"/>
                  </a:moveTo>
                  <a:cubicBezTo>
                    <a:pt x="1003" y="380"/>
                    <a:pt x="1009" y="375"/>
                    <a:pt x="1009" y="367"/>
                  </a:cubicBezTo>
                  <a:cubicBezTo>
                    <a:pt x="1009" y="360"/>
                    <a:pt x="1003" y="355"/>
                    <a:pt x="996" y="355"/>
                  </a:cubicBezTo>
                  <a:cubicBezTo>
                    <a:pt x="989" y="355"/>
                    <a:pt x="983" y="360"/>
                    <a:pt x="983" y="367"/>
                  </a:cubicBezTo>
                  <a:cubicBezTo>
                    <a:pt x="983" y="375"/>
                    <a:pt x="989" y="380"/>
                    <a:pt x="996" y="380"/>
                  </a:cubicBezTo>
                  <a:close/>
                  <a:moveTo>
                    <a:pt x="1193" y="380"/>
                  </a:moveTo>
                  <a:cubicBezTo>
                    <a:pt x="1200" y="380"/>
                    <a:pt x="1206" y="375"/>
                    <a:pt x="1206" y="367"/>
                  </a:cubicBezTo>
                  <a:cubicBezTo>
                    <a:pt x="1206" y="360"/>
                    <a:pt x="1200" y="355"/>
                    <a:pt x="1193" y="355"/>
                  </a:cubicBezTo>
                  <a:cubicBezTo>
                    <a:pt x="1186" y="355"/>
                    <a:pt x="1180" y="360"/>
                    <a:pt x="1180" y="367"/>
                  </a:cubicBezTo>
                  <a:cubicBezTo>
                    <a:pt x="1180" y="375"/>
                    <a:pt x="1186" y="380"/>
                    <a:pt x="1193" y="380"/>
                  </a:cubicBezTo>
                  <a:close/>
                  <a:moveTo>
                    <a:pt x="1232" y="380"/>
                  </a:moveTo>
                  <a:cubicBezTo>
                    <a:pt x="1239" y="380"/>
                    <a:pt x="1245" y="375"/>
                    <a:pt x="1245" y="367"/>
                  </a:cubicBezTo>
                  <a:cubicBezTo>
                    <a:pt x="1245" y="360"/>
                    <a:pt x="1239" y="355"/>
                    <a:pt x="1232" y="355"/>
                  </a:cubicBezTo>
                  <a:cubicBezTo>
                    <a:pt x="1225" y="355"/>
                    <a:pt x="1220" y="360"/>
                    <a:pt x="1220" y="367"/>
                  </a:cubicBezTo>
                  <a:cubicBezTo>
                    <a:pt x="1220" y="375"/>
                    <a:pt x="1225" y="380"/>
                    <a:pt x="1232" y="380"/>
                  </a:cubicBezTo>
                  <a:close/>
                  <a:moveTo>
                    <a:pt x="1272" y="380"/>
                  </a:moveTo>
                  <a:cubicBezTo>
                    <a:pt x="1279" y="380"/>
                    <a:pt x="1285" y="375"/>
                    <a:pt x="1285" y="367"/>
                  </a:cubicBezTo>
                  <a:cubicBezTo>
                    <a:pt x="1285" y="360"/>
                    <a:pt x="1279" y="355"/>
                    <a:pt x="1272" y="355"/>
                  </a:cubicBezTo>
                  <a:cubicBezTo>
                    <a:pt x="1265" y="355"/>
                    <a:pt x="1259" y="360"/>
                    <a:pt x="1259" y="367"/>
                  </a:cubicBezTo>
                  <a:cubicBezTo>
                    <a:pt x="1259" y="375"/>
                    <a:pt x="1265" y="380"/>
                    <a:pt x="1272" y="380"/>
                  </a:cubicBezTo>
                  <a:close/>
                  <a:moveTo>
                    <a:pt x="1508" y="355"/>
                  </a:moveTo>
                  <a:cubicBezTo>
                    <a:pt x="1501" y="355"/>
                    <a:pt x="1496" y="360"/>
                    <a:pt x="1496" y="367"/>
                  </a:cubicBezTo>
                  <a:cubicBezTo>
                    <a:pt x="1496" y="375"/>
                    <a:pt x="1501" y="380"/>
                    <a:pt x="1508" y="380"/>
                  </a:cubicBezTo>
                  <a:cubicBezTo>
                    <a:pt x="1515" y="380"/>
                    <a:pt x="1521" y="375"/>
                    <a:pt x="1521" y="367"/>
                  </a:cubicBezTo>
                  <a:cubicBezTo>
                    <a:pt x="1521" y="360"/>
                    <a:pt x="1515" y="355"/>
                    <a:pt x="1508" y="355"/>
                  </a:cubicBezTo>
                  <a:close/>
                  <a:moveTo>
                    <a:pt x="1824" y="380"/>
                  </a:moveTo>
                  <a:cubicBezTo>
                    <a:pt x="1831" y="380"/>
                    <a:pt x="1836" y="375"/>
                    <a:pt x="1836" y="367"/>
                  </a:cubicBezTo>
                  <a:cubicBezTo>
                    <a:pt x="1836" y="360"/>
                    <a:pt x="1831" y="355"/>
                    <a:pt x="1824" y="355"/>
                  </a:cubicBezTo>
                  <a:cubicBezTo>
                    <a:pt x="1817" y="355"/>
                    <a:pt x="1811" y="360"/>
                    <a:pt x="1811" y="367"/>
                  </a:cubicBezTo>
                  <a:cubicBezTo>
                    <a:pt x="1811" y="375"/>
                    <a:pt x="1817" y="380"/>
                    <a:pt x="1824" y="380"/>
                  </a:cubicBezTo>
                  <a:close/>
                  <a:moveTo>
                    <a:pt x="1863" y="380"/>
                  </a:moveTo>
                  <a:cubicBezTo>
                    <a:pt x="1870" y="380"/>
                    <a:pt x="1876" y="375"/>
                    <a:pt x="1876" y="367"/>
                  </a:cubicBezTo>
                  <a:cubicBezTo>
                    <a:pt x="1876" y="360"/>
                    <a:pt x="1870" y="355"/>
                    <a:pt x="1863" y="355"/>
                  </a:cubicBezTo>
                  <a:cubicBezTo>
                    <a:pt x="1856" y="355"/>
                    <a:pt x="1850" y="360"/>
                    <a:pt x="1850" y="367"/>
                  </a:cubicBezTo>
                  <a:cubicBezTo>
                    <a:pt x="1850" y="375"/>
                    <a:pt x="1856" y="380"/>
                    <a:pt x="1863" y="380"/>
                  </a:cubicBezTo>
                  <a:close/>
                  <a:moveTo>
                    <a:pt x="1903" y="380"/>
                  </a:moveTo>
                  <a:cubicBezTo>
                    <a:pt x="1910" y="380"/>
                    <a:pt x="1915" y="375"/>
                    <a:pt x="1915" y="367"/>
                  </a:cubicBezTo>
                  <a:cubicBezTo>
                    <a:pt x="1915" y="360"/>
                    <a:pt x="1910" y="355"/>
                    <a:pt x="1903" y="355"/>
                  </a:cubicBezTo>
                  <a:cubicBezTo>
                    <a:pt x="1896" y="355"/>
                    <a:pt x="1890" y="360"/>
                    <a:pt x="1890" y="367"/>
                  </a:cubicBezTo>
                  <a:cubicBezTo>
                    <a:pt x="1890" y="375"/>
                    <a:pt x="1896" y="380"/>
                    <a:pt x="1903" y="380"/>
                  </a:cubicBezTo>
                  <a:close/>
                  <a:moveTo>
                    <a:pt x="1942" y="380"/>
                  </a:moveTo>
                  <a:cubicBezTo>
                    <a:pt x="1949" y="380"/>
                    <a:pt x="1955" y="375"/>
                    <a:pt x="1955" y="367"/>
                  </a:cubicBezTo>
                  <a:cubicBezTo>
                    <a:pt x="1955" y="360"/>
                    <a:pt x="1949" y="355"/>
                    <a:pt x="1942" y="355"/>
                  </a:cubicBezTo>
                  <a:cubicBezTo>
                    <a:pt x="1935" y="355"/>
                    <a:pt x="1929" y="360"/>
                    <a:pt x="1929" y="367"/>
                  </a:cubicBezTo>
                  <a:cubicBezTo>
                    <a:pt x="1929" y="375"/>
                    <a:pt x="1935" y="380"/>
                    <a:pt x="1942" y="380"/>
                  </a:cubicBezTo>
                  <a:close/>
                  <a:moveTo>
                    <a:pt x="1981" y="380"/>
                  </a:moveTo>
                  <a:cubicBezTo>
                    <a:pt x="1988" y="380"/>
                    <a:pt x="1994" y="375"/>
                    <a:pt x="1994" y="367"/>
                  </a:cubicBezTo>
                  <a:cubicBezTo>
                    <a:pt x="1994" y="360"/>
                    <a:pt x="1988" y="355"/>
                    <a:pt x="1981" y="355"/>
                  </a:cubicBezTo>
                  <a:cubicBezTo>
                    <a:pt x="1974" y="355"/>
                    <a:pt x="1969" y="360"/>
                    <a:pt x="1969" y="367"/>
                  </a:cubicBezTo>
                  <a:cubicBezTo>
                    <a:pt x="1969" y="375"/>
                    <a:pt x="1974" y="380"/>
                    <a:pt x="1981" y="380"/>
                  </a:cubicBezTo>
                  <a:close/>
                  <a:moveTo>
                    <a:pt x="2021" y="380"/>
                  </a:moveTo>
                  <a:cubicBezTo>
                    <a:pt x="2028" y="380"/>
                    <a:pt x="2034" y="375"/>
                    <a:pt x="2034" y="367"/>
                  </a:cubicBezTo>
                  <a:cubicBezTo>
                    <a:pt x="2034" y="360"/>
                    <a:pt x="2028" y="355"/>
                    <a:pt x="2021" y="355"/>
                  </a:cubicBezTo>
                  <a:cubicBezTo>
                    <a:pt x="2014" y="355"/>
                    <a:pt x="2008" y="360"/>
                    <a:pt x="2008" y="367"/>
                  </a:cubicBezTo>
                  <a:cubicBezTo>
                    <a:pt x="2008" y="375"/>
                    <a:pt x="2014" y="380"/>
                    <a:pt x="2021" y="380"/>
                  </a:cubicBezTo>
                  <a:close/>
                  <a:moveTo>
                    <a:pt x="2060" y="380"/>
                  </a:moveTo>
                  <a:cubicBezTo>
                    <a:pt x="2067" y="380"/>
                    <a:pt x="2073" y="375"/>
                    <a:pt x="2073" y="367"/>
                  </a:cubicBezTo>
                  <a:cubicBezTo>
                    <a:pt x="2073" y="360"/>
                    <a:pt x="2067" y="355"/>
                    <a:pt x="2060" y="355"/>
                  </a:cubicBezTo>
                  <a:cubicBezTo>
                    <a:pt x="2053" y="355"/>
                    <a:pt x="2048" y="360"/>
                    <a:pt x="2048" y="367"/>
                  </a:cubicBezTo>
                  <a:cubicBezTo>
                    <a:pt x="2048" y="375"/>
                    <a:pt x="2053" y="380"/>
                    <a:pt x="2060" y="380"/>
                  </a:cubicBezTo>
                  <a:close/>
                  <a:moveTo>
                    <a:pt x="2100" y="380"/>
                  </a:moveTo>
                  <a:cubicBezTo>
                    <a:pt x="2107" y="380"/>
                    <a:pt x="2112" y="375"/>
                    <a:pt x="2112" y="367"/>
                  </a:cubicBezTo>
                  <a:cubicBezTo>
                    <a:pt x="2112" y="360"/>
                    <a:pt x="2107" y="355"/>
                    <a:pt x="2100" y="355"/>
                  </a:cubicBezTo>
                  <a:cubicBezTo>
                    <a:pt x="2093" y="355"/>
                    <a:pt x="2087" y="360"/>
                    <a:pt x="2087" y="367"/>
                  </a:cubicBezTo>
                  <a:cubicBezTo>
                    <a:pt x="2087" y="375"/>
                    <a:pt x="2093" y="380"/>
                    <a:pt x="2100" y="380"/>
                  </a:cubicBezTo>
                  <a:close/>
                  <a:moveTo>
                    <a:pt x="2139" y="380"/>
                  </a:moveTo>
                  <a:cubicBezTo>
                    <a:pt x="2146" y="380"/>
                    <a:pt x="2152" y="375"/>
                    <a:pt x="2152" y="367"/>
                  </a:cubicBezTo>
                  <a:cubicBezTo>
                    <a:pt x="2152" y="360"/>
                    <a:pt x="2146" y="355"/>
                    <a:pt x="2139" y="355"/>
                  </a:cubicBezTo>
                  <a:cubicBezTo>
                    <a:pt x="2132" y="355"/>
                    <a:pt x="2126" y="360"/>
                    <a:pt x="2126" y="367"/>
                  </a:cubicBezTo>
                  <a:cubicBezTo>
                    <a:pt x="2126" y="375"/>
                    <a:pt x="2132" y="380"/>
                    <a:pt x="2139" y="380"/>
                  </a:cubicBezTo>
                  <a:close/>
                  <a:moveTo>
                    <a:pt x="2179" y="380"/>
                  </a:moveTo>
                  <a:cubicBezTo>
                    <a:pt x="2186" y="380"/>
                    <a:pt x="2191" y="375"/>
                    <a:pt x="2191" y="367"/>
                  </a:cubicBezTo>
                  <a:cubicBezTo>
                    <a:pt x="2191" y="360"/>
                    <a:pt x="2186" y="355"/>
                    <a:pt x="2179" y="355"/>
                  </a:cubicBezTo>
                  <a:cubicBezTo>
                    <a:pt x="2171" y="355"/>
                    <a:pt x="2166" y="360"/>
                    <a:pt x="2166" y="367"/>
                  </a:cubicBezTo>
                  <a:cubicBezTo>
                    <a:pt x="2166" y="375"/>
                    <a:pt x="2171" y="380"/>
                    <a:pt x="2179" y="380"/>
                  </a:cubicBezTo>
                  <a:close/>
                  <a:moveTo>
                    <a:pt x="2218" y="380"/>
                  </a:moveTo>
                  <a:cubicBezTo>
                    <a:pt x="2225" y="380"/>
                    <a:pt x="2231" y="375"/>
                    <a:pt x="2231" y="367"/>
                  </a:cubicBezTo>
                  <a:cubicBezTo>
                    <a:pt x="2231" y="360"/>
                    <a:pt x="2225" y="355"/>
                    <a:pt x="2218" y="355"/>
                  </a:cubicBezTo>
                  <a:cubicBezTo>
                    <a:pt x="2211" y="355"/>
                    <a:pt x="2205" y="360"/>
                    <a:pt x="2205" y="367"/>
                  </a:cubicBezTo>
                  <a:cubicBezTo>
                    <a:pt x="2205" y="375"/>
                    <a:pt x="2211" y="380"/>
                    <a:pt x="2218" y="380"/>
                  </a:cubicBezTo>
                  <a:close/>
                  <a:moveTo>
                    <a:pt x="2257" y="380"/>
                  </a:moveTo>
                  <a:cubicBezTo>
                    <a:pt x="2264" y="380"/>
                    <a:pt x="2270" y="375"/>
                    <a:pt x="2270" y="367"/>
                  </a:cubicBezTo>
                  <a:cubicBezTo>
                    <a:pt x="2270" y="360"/>
                    <a:pt x="2264" y="355"/>
                    <a:pt x="2257" y="355"/>
                  </a:cubicBezTo>
                  <a:cubicBezTo>
                    <a:pt x="2250" y="355"/>
                    <a:pt x="2245" y="360"/>
                    <a:pt x="2245" y="367"/>
                  </a:cubicBezTo>
                  <a:cubicBezTo>
                    <a:pt x="2245" y="375"/>
                    <a:pt x="2250" y="380"/>
                    <a:pt x="2257" y="380"/>
                  </a:cubicBezTo>
                  <a:close/>
                  <a:moveTo>
                    <a:pt x="2297" y="380"/>
                  </a:moveTo>
                  <a:cubicBezTo>
                    <a:pt x="2304" y="380"/>
                    <a:pt x="2310" y="375"/>
                    <a:pt x="2310" y="367"/>
                  </a:cubicBezTo>
                  <a:cubicBezTo>
                    <a:pt x="2310" y="360"/>
                    <a:pt x="2304" y="355"/>
                    <a:pt x="2297" y="355"/>
                  </a:cubicBezTo>
                  <a:cubicBezTo>
                    <a:pt x="2290" y="355"/>
                    <a:pt x="2284" y="360"/>
                    <a:pt x="2284" y="367"/>
                  </a:cubicBezTo>
                  <a:cubicBezTo>
                    <a:pt x="2284" y="375"/>
                    <a:pt x="2290" y="380"/>
                    <a:pt x="2297" y="380"/>
                  </a:cubicBezTo>
                  <a:close/>
                  <a:moveTo>
                    <a:pt x="2336" y="380"/>
                  </a:moveTo>
                  <a:cubicBezTo>
                    <a:pt x="2343" y="380"/>
                    <a:pt x="2349" y="375"/>
                    <a:pt x="2349" y="367"/>
                  </a:cubicBezTo>
                  <a:cubicBezTo>
                    <a:pt x="2349" y="360"/>
                    <a:pt x="2343" y="355"/>
                    <a:pt x="2336" y="355"/>
                  </a:cubicBezTo>
                  <a:cubicBezTo>
                    <a:pt x="2329" y="355"/>
                    <a:pt x="2323" y="360"/>
                    <a:pt x="2323" y="367"/>
                  </a:cubicBezTo>
                  <a:cubicBezTo>
                    <a:pt x="2323" y="375"/>
                    <a:pt x="2329" y="380"/>
                    <a:pt x="2336" y="380"/>
                  </a:cubicBezTo>
                  <a:close/>
                  <a:moveTo>
                    <a:pt x="2376" y="380"/>
                  </a:moveTo>
                  <a:cubicBezTo>
                    <a:pt x="2383" y="380"/>
                    <a:pt x="2388" y="375"/>
                    <a:pt x="2388" y="367"/>
                  </a:cubicBezTo>
                  <a:cubicBezTo>
                    <a:pt x="2388" y="360"/>
                    <a:pt x="2383" y="355"/>
                    <a:pt x="2376" y="355"/>
                  </a:cubicBezTo>
                  <a:cubicBezTo>
                    <a:pt x="2369" y="355"/>
                    <a:pt x="2363" y="360"/>
                    <a:pt x="2363" y="367"/>
                  </a:cubicBezTo>
                  <a:cubicBezTo>
                    <a:pt x="2363" y="375"/>
                    <a:pt x="2369" y="380"/>
                    <a:pt x="2376" y="380"/>
                  </a:cubicBezTo>
                  <a:close/>
                  <a:moveTo>
                    <a:pt x="2415" y="380"/>
                  </a:moveTo>
                  <a:cubicBezTo>
                    <a:pt x="2422" y="380"/>
                    <a:pt x="2428" y="375"/>
                    <a:pt x="2428" y="367"/>
                  </a:cubicBezTo>
                  <a:cubicBezTo>
                    <a:pt x="2428" y="360"/>
                    <a:pt x="2422" y="355"/>
                    <a:pt x="2415" y="355"/>
                  </a:cubicBezTo>
                  <a:cubicBezTo>
                    <a:pt x="2408" y="355"/>
                    <a:pt x="2402" y="360"/>
                    <a:pt x="2402" y="367"/>
                  </a:cubicBezTo>
                  <a:cubicBezTo>
                    <a:pt x="2402" y="375"/>
                    <a:pt x="2408" y="380"/>
                    <a:pt x="2415" y="380"/>
                  </a:cubicBezTo>
                  <a:close/>
                  <a:moveTo>
                    <a:pt x="2454" y="380"/>
                  </a:moveTo>
                  <a:cubicBezTo>
                    <a:pt x="2462" y="380"/>
                    <a:pt x="2467" y="375"/>
                    <a:pt x="2467" y="367"/>
                  </a:cubicBezTo>
                  <a:cubicBezTo>
                    <a:pt x="2467" y="360"/>
                    <a:pt x="2462" y="355"/>
                    <a:pt x="2454" y="355"/>
                  </a:cubicBezTo>
                  <a:cubicBezTo>
                    <a:pt x="2447" y="355"/>
                    <a:pt x="2442" y="360"/>
                    <a:pt x="2442" y="367"/>
                  </a:cubicBezTo>
                  <a:cubicBezTo>
                    <a:pt x="2442" y="375"/>
                    <a:pt x="2447" y="380"/>
                    <a:pt x="2454" y="380"/>
                  </a:cubicBezTo>
                  <a:close/>
                  <a:moveTo>
                    <a:pt x="2494" y="380"/>
                  </a:moveTo>
                  <a:cubicBezTo>
                    <a:pt x="2501" y="380"/>
                    <a:pt x="2507" y="375"/>
                    <a:pt x="2507" y="367"/>
                  </a:cubicBezTo>
                  <a:cubicBezTo>
                    <a:pt x="2507" y="360"/>
                    <a:pt x="2501" y="355"/>
                    <a:pt x="2494" y="355"/>
                  </a:cubicBezTo>
                  <a:cubicBezTo>
                    <a:pt x="2487" y="355"/>
                    <a:pt x="2481" y="360"/>
                    <a:pt x="2481" y="367"/>
                  </a:cubicBezTo>
                  <a:cubicBezTo>
                    <a:pt x="2481" y="375"/>
                    <a:pt x="2487" y="380"/>
                    <a:pt x="2494" y="380"/>
                  </a:cubicBezTo>
                  <a:close/>
                  <a:moveTo>
                    <a:pt x="2533" y="380"/>
                  </a:moveTo>
                  <a:cubicBezTo>
                    <a:pt x="2540" y="380"/>
                    <a:pt x="2546" y="375"/>
                    <a:pt x="2546" y="367"/>
                  </a:cubicBezTo>
                  <a:cubicBezTo>
                    <a:pt x="2546" y="360"/>
                    <a:pt x="2540" y="355"/>
                    <a:pt x="2533" y="355"/>
                  </a:cubicBezTo>
                  <a:cubicBezTo>
                    <a:pt x="2526" y="355"/>
                    <a:pt x="2521" y="360"/>
                    <a:pt x="2521" y="367"/>
                  </a:cubicBezTo>
                  <a:cubicBezTo>
                    <a:pt x="2521" y="375"/>
                    <a:pt x="2526" y="380"/>
                    <a:pt x="2533" y="380"/>
                  </a:cubicBezTo>
                  <a:close/>
                  <a:moveTo>
                    <a:pt x="2573" y="380"/>
                  </a:moveTo>
                  <a:cubicBezTo>
                    <a:pt x="2580" y="380"/>
                    <a:pt x="2586" y="375"/>
                    <a:pt x="2586" y="367"/>
                  </a:cubicBezTo>
                  <a:cubicBezTo>
                    <a:pt x="2586" y="360"/>
                    <a:pt x="2580" y="355"/>
                    <a:pt x="2573" y="355"/>
                  </a:cubicBezTo>
                  <a:cubicBezTo>
                    <a:pt x="2566" y="355"/>
                    <a:pt x="2560" y="360"/>
                    <a:pt x="2560" y="367"/>
                  </a:cubicBezTo>
                  <a:cubicBezTo>
                    <a:pt x="2560" y="375"/>
                    <a:pt x="2566" y="380"/>
                    <a:pt x="2573" y="380"/>
                  </a:cubicBezTo>
                  <a:close/>
                  <a:moveTo>
                    <a:pt x="2612" y="380"/>
                  </a:moveTo>
                  <a:cubicBezTo>
                    <a:pt x="2619" y="380"/>
                    <a:pt x="2625" y="375"/>
                    <a:pt x="2625" y="367"/>
                  </a:cubicBezTo>
                  <a:cubicBezTo>
                    <a:pt x="2625" y="360"/>
                    <a:pt x="2619" y="355"/>
                    <a:pt x="2612" y="355"/>
                  </a:cubicBezTo>
                  <a:cubicBezTo>
                    <a:pt x="2605" y="355"/>
                    <a:pt x="2599" y="360"/>
                    <a:pt x="2599" y="367"/>
                  </a:cubicBezTo>
                  <a:cubicBezTo>
                    <a:pt x="2599" y="375"/>
                    <a:pt x="2605" y="380"/>
                    <a:pt x="2612" y="380"/>
                  </a:cubicBezTo>
                  <a:close/>
                  <a:moveTo>
                    <a:pt x="2652" y="380"/>
                  </a:moveTo>
                  <a:cubicBezTo>
                    <a:pt x="2659" y="380"/>
                    <a:pt x="2664" y="375"/>
                    <a:pt x="2664" y="367"/>
                  </a:cubicBezTo>
                  <a:cubicBezTo>
                    <a:pt x="2664" y="360"/>
                    <a:pt x="2659" y="355"/>
                    <a:pt x="2652" y="355"/>
                  </a:cubicBezTo>
                  <a:cubicBezTo>
                    <a:pt x="2645" y="355"/>
                    <a:pt x="2639" y="360"/>
                    <a:pt x="2639" y="367"/>
                  </a:cubicBezTo>
                  <a:cubicBezTo>
                    <a:pt x="2639" y="375"/>
                    <a:pt x="2645" y="380"/>
                    <a:pt x="2652" y="380"/>
                  </a:cubicBezTo>
                  <a:close/>
                  <a:moveTo>
                    <a:pt x="2691" y="380"/>
                  </a:moveTo>
                  <a:cubicBezTo>
                    <a:pt x="2698" y="380"/>
                    <a:pt x="2704" y="375"/>
                    <a:pt x="2704" y="367"/>
                  </a:cubicBezTo>
                  <a:cubicBezTo>
                    <a:pt x="2704" y="360"/>
                    <a:pt x="2698" y="355"/>
                    <a:pt x="2691" y="355"/>
                  </a:cubicBezTo>
                  <a:cubicBezTo>
                    <a:pt x="2684" y="355"/>
                    <a:pt x="2678" y="360"/>
                    <a:pt x="2678" y="367"/>
                  </a:cubicBezTo>
                  <a:cubicBezTo>
                    <a:pt x="2678" y="375"/>
                    <a:pt x="2684" y="380"/>
                    <a:pt x="2691" y="380"/>
                  </a:cubicBezTo>
                  <a:close/>
                  <a:moveTo>
                    <a:pt x="2730" y="380"/>
                  </a:moveTo>
                  <a:cubicBezTo>
                    <a:pt x="2738" y="380"/>
                    <a:pt x="2743" y="375"/>
                    <a:pt x="2743" y="367"/>
                  </a:cubicBezTo>
                  <a:cubicBezTo>
                    <a:pt x="2743" y="360"/>
                    <a:pt x="2738" y="355"/>
                    <a:pt x="2730" y="355"/>
                  </a:cubicBezTo>
                  <a:cubicBezTo>
                    <a:pt x="2723" y="355"/>
                    <a:pt x="2718" y="360"/>
                    <a:pt x="2718" y="367"/>
                  </a:cubicBezTo>
                  <a:cubicBezTo>
                    <a:pt x="2718" y="375"/>
                    <a:pt x="2723" y="380"/>
                    <a:pt x="2730" y="380"/>
                  </a:cubicBezTo>
                  <a:close/>
                  <a:moveTo>
                    <a:pt x="2770" y="380"/>
                  </a:moveTo>
                  <a:cubicBezTo>
                    <a:pt x="2777" y="380"/>
                    <a:pt x="2783" y="375"/>
                    <a:pt x="2783" y="367"/>
                  </a:cubicBezTo>
                  <a:cubicBezTo>
                    <a:pt x="2783" y="360"/>
                    <a:pt x="2777" y="355"/>
                    <a:pt x="2770" y="355"/>
                  </a:cubicBezTo>
                  <a:cubicBezTo>
                    <a:pt x="2763" y="355"/>
                    <a:pt x="2757" y="360"/>
                    <a:pt x="2757" y="367"/>
                  </a:cubicBezTo>
                  <a:cubicBezTo>
                    <a:pt x="2757" y="375"/>
                    <a:pt x="2763" y="380"/>
                    <a:pt x="2770" y="380"/>
                  </a:cubicBezTo>
                  <a:close/>
                  <a:moveTo>
                    <a:pt x="2809" y="380"/>
                  </a:moveTo>
                  <a:cubicBezTo>
                    <a:pt x="2816" y="380"/>
                    <a:pt x="2822" y="375"/>
                    <a:pt x="2822" y="367"/>
                  </a:cubicBezTo>
                  <a:cubicBezTo>
                    <a:pt x="2822" y="360"/>
                    <a:pt x="2816" y="355"/>
                    <a:pt x="2809" y="355"/>
                  </a:cubicBezTo>
                  <a:cubicBezTo>
                    <a:pt x="2802" y="355"/>
                    <a:pt x="2797" y="360"/>
                    <a:pt x="2797" y="367"/>
                  </a:cubicBezTo>
                  <a:cubicBezTo>
                    <a:pt x="2797" y="375"/>
                    <a:pt x="2802" y="380"/>
                    <a:pt x="2809" y="380"/>
                  </a:cubicBezTo>
                  <a:close/>
                  <a:moveTo>
                    <a:pt x="2849" y="380"/>
                  </a:moveTo>
                  <a:cubicBezTo>
                    <a:pt x="2856" y="380"/>
                    <a:pt x="2861" y="375"/>
                    <a:pt x="2861" y="367"/>
                  </a:cubicBezTo>
                  <a:cubicBezTo>
                    <a:pt x="2861" y="360"/>
                    <a:pt x="2856" y="355"/>
                    <a:pt x="2849" y="355"/>
                  </a:cubicBezTo>
                  <a:cubicBezTo>
                    <a:pt x="2842" y="355"/>
                    <a:pt x="2836" y="360"/>
                    <a:pt x="2836" y="367"/>
                  </a:cubicBezTo>
                  <a:cubicBezTo>
                    <a:pt x="2836" y="375"/>
                    <a:pt x="2842" y="380"/>
                    <a:pt x="2849" y="380"/>
                  </a:cubicBezTo>
                  <a:close/>
                  <a:moveTo>
                    <a:pt x="2888" y="380"/>
                  </a:moveTo>
                  <a:cubicBezTo>
                    <a:pt x="2895" y="380"/>
                    <a:pt x="2901" y="375"/>
                    <a:pt x="2901" y="367"/>
                  </a:cubicBezTo>
                  <a:cubicBezTo>
                    <a:pt x="2901" y="360"/>
                    <a:pt x="2895" y="355"/>
                    <a:pt x="2888" y="355"/>
                  </a:cubicBezTo>
                  <a:cubicBezTo>
                    <a:pt x="2881" y="355"/>
                    <a:pt x="2875" y="360"/>
                    <a:pt x="2875" y="367"/>
                  </a:cubicBezTo>
                  <a:cubicBezTo>
                    <a:pt x="2875" y="375"/>
                    <a:pt x="2881" y="380"/>
                    <a:pt x="2888" y="380"/>
                  </a:cubicBezTo>
                  <a:close/>
                  <a:moveTo>
                    <a:pt x="2928" y="380"/>
                  </a:moveTo>
                  <a:cubicBezTo>
                    <a:pt x="2935" y="380"/>
                    <a:pt x="2940" y="375"/>
                    <a:pt x="2940" y="367"/>
                  </a:cubicBezTo>
                  <a:cubicBezTo>
                    <a:pt x="2940" y="360"/>
                    <a:pt x="2935" y="355"/>
                    <a:pt x="2928" y="355"/>
                  </a:cubicBezTo>
                  <a:cubicBezTo>
                    <a:pt x="2921" y="355"/>
                    <a:pt x="2915" y="360"/>
                    <a:pt x="2915" y="367"/>
                  </a:cubicBezTo>
                  <a:cubicBezTo>
                    <a:pt x="2915" y="375"/>
                    <a:pt x="2921" y="380"/>
                    <a:pt x="2928" y="380"/>
                  </a:cubicBezTo>
                  <a:close/>
                  <a:moveTo>
                    <a:pt x="2967" y="380"/>
                  </a:moveTo>
                  <a:cubicBezTo>
                    <a:pt x="2974" y="380"/>
                    <a:pt x="2980" y="375"/>
                    <a:pt x="2980" y="367"/>
                  </a:cubicBezTo>
                  <a:cubicBezTo>
                    <a:pt x="2980" y="360"/>
                    <a:pt x="2974" y="355"/>
                    <a:pt x="2967" y="355"/>
                  </a:cubicBezTo>
                  <a:cubicBezTo>
                    <a:pt x="2960" y="355"/>
                    <a:pt x="2954" y="360"/>
                    <a:pt x="2954" y="367"/>
                  </a:cubicBezTo>
                  <a:cubicBezTo>
                    <a:pt x="2954" y="375"/>
                    <a:pt x="2960" y="380"/>
                    <a:pt x="2967" y="380"/>
                  </a:cubicBezTo>
                  <a:close/>
                  <a:moveTo>
                    <a:pt x="3006" y="380"/>
                  </a:moveTo>
                  <a:cubicBezTo>
                    <a:pt x="3013" y="380"/>
                    <a:pt x="3019" y="375"/>
                    <a:pt x="3019" y="367"/>
                  </a:cubicBezTo>
                  <a:cubicBezTo>
                    <a:pt x="3019" y="360"/>
                    <a:pt x="3013" y="355"/>
                    <a:pt x="3006" y="355"/>
                  </a:cubicBezTo>
                  <a:cubicBezTo>
                    <a:pt x="2999" y="355"/>
                    <a:pt x="2994" y="360"/>
                    <a:pt x="2994" y="367"/>
                  </a:cubicBezTo>
                  <a:cubicBezTo>
                    <a:pt x="2994" y="375"/>
                    <a:pt x="2999" y="380"/>
                    <a:pt x="3006" y="380"/>
                  </a:cubicBezTo>
                  <a:close/>
                  <a:moveTo>
                    <a:pt x="3046" y="380"/>
                  </a:moveTo>
                  <a:cubicBezTo>
                    <a:pt x="3053" y="380"/>
                    <a:pt x="3059" y="375"/>
                    <a:pt x="3059" y="367"/>
                  </a:cubicBezTo>
                  <a:cubicBezTo>
                    <a:pt x="3059" y="360"/>
                    <a:pt x="3053" y="355"/>
                    <a:pt x="3046" y="355"/>
                  </a:cubicBezTo>
                  <a:cubicBezTo>
                    <a:pt x="3039" y="355"/>
                    <a:pt x="3033" y="360"/>
                    <a:pt x="3033" y="367"/>
                  </a:cubicBezTo>
                  <a:cubicBezTo>
                    <a:pt x="3033" y="375"/>
                    <a:pt x="3039" y="380"/>
                    <a:pt x="3046" y="380"/>
                  </a:cubicBezTo>
                  <a:close/>
                  <a:moveTo>
                    <a:pt x="3085" y="380"/>
                  </a:moveTo>
                  <a:cubicBezTo>
                    <a:pt x="3092" y="380"/>
                    <a:pt x="3098" y="375"/>
                    <a:pt x="3098" y="367"/>
                  </a:cubicBezTo>
                  <a:cubicBezTo>
                    <a:pt x="3098" y="360"/>
                    <a:pt x="3092" y="355"/>
                    <a:pt x="3085" y="355"/>
                  </a:cubicBezTo>
                  <a:cubicBezTo>
                    <a:pt x="3078" y="355"/>
                    <a:pt x="3073" y="360"/>
                    <a:pt x="3073" y="367"/>
                  </a:cubicBezTo>
                  <a:cubicBezTo>
                    <a:pt x="3073" y="375"/>
                    <a:pt x="3078" y="380"/>
                    <a:pt x="3085" y="380"/>
                  </a:cubicBezTo>
                  <a:close/>
                  <a:moveTo>
                    <a:pt x="3125" y="380"/>
                  </a:moveTo>
                  <a:cubicBezTo>
                    <a:pt x="3132" y="380"/>
                    <a:pt x="3137" y="375"/>
                    <a:pt x="3137" y="367"/>
                  </a:cubicBezTo>
                  <a:cubicBezTo>
                    <a:pt x="3137" y="360"/>
                    <a:pt x="3132" y="355"/>
                    <a:pt x="3125" y="355"/>
                  </a:cubicBezTo>
                  <a:cubicBezTo>
                    <a:pt x="3118" y="355"/>
                    <a:pt x="3112" y="360"/>
                    <a:pt x="3112" y="367"/>
                  </a:cubicBezTo>
                  <a:cubicBezTo>
                    <a:pt x="3112" y="375"/>
                    <a:pt x="3118" y="380"/>
                    <a:pt x="3125" y="380"/>
                  </a:cubicBezTo>
                  <a:close/>
                  <a:moveTo>
                    <a:pt x="3164" y="380"/>
                  </a:moveTo>
                  <a:cubicBezTo>
                    <a:pt x="3171" y="380"/>
                    <a:pt x="3177" y="375"/>
                    <a:pt x="3177" y="367"/>
                  </a:cubicBezTo>
                  <a:cubicBezTo>
                    <a:pt x="3177" y="360"/>
                    <a:pt x="3171" y="355"/>
                    <a:pt x="3164" y="355"/>
                  </a:cubicBezTo>
                  <a:cubicBezTo>
                    <a:pt x="3157" y="355"/>
                    <a:pt x="3151" y="360"/>
                    <a:pt x="3151" y="367"/>
                  </a:cubicBezTo>
                  <a:cubicBezTo>
                    <a:pt x="3151" y="375"/>
                    <a:pt x="3157" y="380"/>
                    <a:pt x="3164" y="380"/>
                  </a:cubicBezTo>
                  <a:close/>
                  <a:moveTo>
                    <a:pt x="3204" y="380"/>
                  </a:moveTo>
                  <a:cubicBezTo>
                    <a:pt x="3211" y="380"/>
                    <a:pt x="3216" y="375"/>
                    <a:pt x="3216" y="367"/>
                  </a:cubicBezTo>
                  <a:cubicBezTo>
                    <a:pt x="3216" y="360"/>
                    <a:pt x="3211" y="355"/>
                    <a:pt x="3204" y="355"/>
                  </a:cubicBezTo>
                  <a:cubicBezTo>
                    <a:pt x="3197" y="355"/>
                    <a:pt x="3191" y="360"/>
                    <a:pt x="3191" y="367"/>
                  </a:cubicBezTo>
                  <a:cubicBezTo>
                    <a:pt x="3191" y="375"/>
                    <a:pt x="3197" y="380"/>
                    <a:pt x="3204" y="380"/>
                  </a:cubicBezTo>
                  <a:close/>
                  <a:moveTo>
                    <a:pt x="3243" y="380"/>
                  </a:moveTo>
                  <a:cubicBezTo>
                    <a:pt x="3250" y="380"/>
                    <a:pt x="3256" y="375"/>
                    <a:pt x="3256" y="367"/>
                  </a:cubicBezTo>
                  <a:cubicBezTo>
                    <a:pt x="3256" y="360"/>
                    <a:pt x="3250" y="355"/>
                    <a:pt x="3243" y="355"/>
                  </a:cubicBezTo>
                  <a:cubicBezTo>
                    <a:pt x="3236" y="355"/>
                    <a:pt x="3230" y="360"/>
                    <a:pt x="3230" y="367"/>
                  </a:cubicBezTo>
                  <a:cubicBezTo>
                    <a:pt x="3230" y="375"/>
                    <a:pt x="3236" y="380"/>
                    <a:pt x="3243" y="380"/>
                  </a:cubicBezTo>
                  <a:close/>
                  <a:moveTo>
                    <a:pt x="3282" y="380"/>
                  </a:moveTo>
                  <a:cubicBezTo>
                    <a:pt x="3289" y="380"/>
                    <a:pt x="3295" y="375"/>
                    <a:pt x="3295" y="367"/>
                  </a:cubicBezTo>
                  <a:cubicBezTo>
                    <a:pt x="3295" y="360"/>
                    <a:pt x="3289" y="355"/>
                    <a:pt x="3282" y="355"/>
                  </a:cubicBezTo>
                  <a:cubicBezTo>
                    <a:pt x="3275" y="355"/>
                    <a:pt x="3270" y="360"/>
                    <a:pt x="3270" y="367"/>
                  </a:cubicBezTo>
                  <a:cubicBezTo>
                    <a:pt x="3270" y="375"/>
                    <a:pt x="3275" y="380"/>
                    <a:pt x="3282" y="380"/>
                  </a:cubicBezTo>
                  <a:close/>
                  <a:moveTo>
                    <a:pt x="3322" y="380"/>
                  </a:moveTo>
                  <a:cubicBezTo>
                    <a:pt x="3329" y="380"/>
                    <a:pt x="3335" y="375"/>
                    <a:pt x="3335" y="367"/>
                  </a:cubicBezTo>
                  <a:cubicBezTo>
                    <a:pt x="3335" y="360"/>
                    <a:pt x="3329" y="355"/>
                    <a:pt x="3322" y="355"/>
                  </a:cubicBezTo>
                  <a:cubicBezTo>
                    <a:pt x="3315" y="355"/>
                    <a:pt x="3309" y="360"/>
                    <a:pt x="3309" y="367"/>
                  </a:cubicBezTo>
                  <a:cubicBezTo>
                    <a:pt x="3309" y="375"/>
                    <a:pt x="3315" y="380"/>
                    <a:pt x="3322" y="380"/>
                  </a:cubicBezTo>
                  <a:close/>
                  <a:moveTo>
                    <a:pt x="3361" y="380"/>
                  </a:moveTo>
                  <a:cubicBezTo>
                    <a:pt x="3368" y="380"/>
                    <a:pt x="3374" y="375"/>
                    <a:pt x="3374" y="367"/>
                  </a:cubicBezTo>
                  <a:cubicBezTo>
                    <a:pt x="3374" y="360"/>
                    <a:pt x="3368" y="355"/>
                    <a:pt x="3361" y="355"/>
                  </a:cubicBezTo>
                  <a:cubicBezTo>
                    <a:pt x="3354" y="355"/>
                    <a:pt x="3348" y="360"/>
                    <a:pt x="3348" y="367"/>
                  </a:cubicBezTo>
                  <a:cubicBezTo>
                    <a:pt x="3348" y="375"/>
                    <a:pt x="3354" y="380"/>
                    <a:pt x="3361" y="380"/>
                  </a:cubicBezTo>
                  <a:close/>
                  <a:moveTo>
                    <a:pt x="3401" y="380"/>
                  </a:moveTo>
                  <a:cubicBezTo>
                    <a:pt x="3408" y="380"/>
                    <a:pt x="3413" y="375"/>
                    <a:pt x="3413" y="367"/>
                  </a:cubicBezTo>
                  <a:cubicBezTo>
                    <a:pt x="3413" y="360"/>
                    <a:pt x="3408" y="355"/>
                    <a:pt x="3401" y="355"/>
                  </a:cubicBezTo>
                  <a:cubicBezTo>
                    <a:pt x="3394" y="355"/>
                    <a:pt x="3388" y="360"/>
                    <a:pt x="3388" y="367"/>
                  </a:cubicBezTo>
                  <a:cubicBezTo>
                    <a:pt x="3388" y="375"/>
                    <a:pt x="3394" y="380"/>
                    <a:pt x="3401" y="380"/>
                  </a:cubicBezTo>
                  <a:close/>
                  <a:moveTo>
                    <a:pt x="3440" y="380"/>
                  </a:moveTo>
                  <a:cubicBezTo>
                    <a:pt x="3447" y="380"/>
                    <a:pt x="3453" y="375"/>
                    <a:pt x="3453" y="367"/>
                  </a:cubicBezTo>
                  <a:cubicBezTo>
                    <a:pt x="3453" y="360"/>
                    <a:pt x="3447" y="355"/>
                    <a:pt x="3440" y="355"/>
                  </a:cubicBezTo>
                  <a:cubicBezTo>
                    <a:pt x="3433" y="355"/>
                    <a:pt x="3427" y="360"/>
                    <a:pt x="3427" y="367"/>
                  </a:cubicBezTo>
                  <a:cubicBezTo>
                    <a:pt x="3427" y="375"/>
                    <a:pt x="3433" y="380"/>
                    <a:pt x="3440" y="380"/>
                  </a:cubicBezTo>
                  <a:close/>
                  <a:moveTo>
                    <a:pt x="3480" y="380"/>
                  </a:moveTo>
                  <a:cubicBezTo>
                    <a:pt x="3487" y="380"/>
                    <a:pt x="3492" y="375"/>
                    <a:pt x="3492" y="367"/>
                  </a:cubicBezTo>
                  <a:cubicBezTo>
                    <a:pt x="3492" y="360"/>
                    <a:pt x="3487" y="355"/>
                    <a:pt x="3480" y="355"/>
                  </a:cubicBezTo>
                  <a:cubicBezTo>
                    <a:pt x="3472" y="355"/>
                    <a:pt x="3467" y="360"/>
                    <a:pt x="3467" y="367"/>
                  </a:cubicBezTo>
                  <a:cubicBezTo>
                    <a:pt x="3467" y="375"/>
                    <a:pt x="3472" y="380"/>
                    <a:pt x="3480" y="380"/>
                  </a:cubicBezTo>
                  <a:close/>
                  <a:moveTo>
                    <a:pt x="50" y="394"/>
                  </a:moveTo>
                  <a:cubicBezTo>
                    <a:pt x="43" y="394"/>
                    <a:pt x="37" y="400"/>
                    <a:pt x="37" y="407"/>
                  </a:cubicBezTo>
                  <a:cubicBezTo>
                    <a:pt x="37" y="414"/>
                    <a:pt x="43" y="420"/>
                    <a:pt x="50" y="420"/>
                  </a:cubicBezTo>
                  <a:cubicBezTo>
                    <a:pt x="57" y="420"/>
                    <a:pt x="62" y="414"/>
                    <a:pt x="62" y="407"/>
                  </a:cubicBezTo>
                  <a:cubicBezTo>
                    <a:pt x="62" y="400"/>
                    <a:pt x="57" y="394"/>
                    <a:pt x="50" y="394"/>
                  </a:cubicBezTo>
                  <a:close/>
                  <a:moveTo>
                    <a:pt x="89" y="420"/>
                  </a:moveTo>
                  <a:cubicBezTo>
                    <a:pt x="96" y="420"/>
                    <a:pt x="102" y="414"/>
                    <a:pt x="102" y="407"/>
                  </a:cubicBezTo>
                  <a:cubicBezTo>
                    <a:pt x="102" y="400"/>
                    <a:pt x="96" y="394"/>
                    <a:pt x="89" y="394"/>
                  </a:cubicBezTo>
                  <a:cubicBezTo>
                    <a:pt x="82" y="394"/>
                    <a:pt x="76" y="400"/>
                    <a:pt x="76" y="407"/>
                  </a:cubicBezTo>
                  <a:cubicBezTo>
                    <a:pt x="76" y="414"/>
                    <a:pt x="82" y="420"/>
                    <a:pt x="89" y="420"/>
                  </a:cubicBezTo>
                  <a:close/>
                  <a:moveTo>
                    <a:pt x="128" y="420"/>
                  </a:moveTo>
                  <a:cubicBezTo>
                    <a:pt x="136" y="420"/>
                    <a:pt x="141" y="414"/>
                    <a:pt x="141" y="407"/>
                  </a:cubicBezTo>
                  <a:cubicBezTo>
                    <a:pt x="141" y="400"/>
                    <a:pt x="136" y="394"/>
                    <a:pt x="128" y="394"/>
                  </a:cubicBezTo>
                  <a:cubicBezTo>
                    <a:pt x="121" y="394"/>
                    <a:pt x="116" y="400"/>
                    <a:pt x="116" y="407"/>
                  </a:cubicBezTo>
                  <a:cubicBezTo>
                    <a:pt x="116" y="414"/>
                    <a:pt x="121" y="420"/>
                    <a:pt x="128" y="420"/>
                  </a:cubicBezTo>
                  <a:close/>
                  <a:moveTo>
                    <a:pt x="168" y="394"/>
                  </a:moveTo>
                  <a:cubicBezTo>
                    <a:pt x="161" y="394"/>
                    <a:pt x="155" y="400"/>
                    <a:pt x="155" y="407"/>
                  </a:cubicBezTo>
                  <a:cubicBezTo>
                    <a:pt x="155" y="414"/>
                    <a:pt x="161" y="420"/>
                    <a:pt x="168" y="420"/>
                  </a:cubicBezTo>
                  <a:cubicBezTo>
                    <a:pt x="175" y="420"/>
                    <a:pt x="181" y="414"/>
                    <a:pt x="181" y="407"/>
                  </a:cubicBezTo>
                  <a:cubicBezTo>
                    <a:pt x="181" y="400"/>
                    <a:pt x="175" y="394"/>
                    <a:pt x="168" y="394"/>
                  </a:cubicBezTo>
                  <a:close/>
                  <a:moveTo>
                    <a:pt x="207" y="394"/>
                  </a:moveTo>
                  <a:cubicBezTo>
                    <a:pt x="200" y="394"/>
                    <a:pt x="195" y="400"/>
                    <a:pt x="195" y="407"/>
                  </a:cubicBezTo>
                  <a:cubicBezTo>
                    <a:pt x="195" y="414"/>
                    <a:pt x="200" y="420"/>
                    <a:pt x="207" y="420"/>
                  </a:cubicBezTo>
                  <a:cubicBezTo>
                    <a:pt x="214" y="420"/>
                    <a:pt x="220" y="414"/>
                    <a:pt x="220" y="407"/>
                  </a:cubicBezTo>
                  <a:cubicBezTo>
                    <a:pt x="220" y="400"/>
                    <a:pt x="214" y="394"/>
                    <a:pt x="207" y="394"/>
                  </a:cubicBezTo>
                  <a:close/>
                  <a:moveTo>
                    <a:pt x="247" y="394"/>
                  </a:moveTo>
                  <a:cubicBezTo>
                    <a:pt x="240" y="394"/>
                    <a:pt x="234" y="400"/>
                    <a:pt x="234" y="407"/>
                  </a:cubicBezTo>
                  <a:cubicBezTo>
                    <a:pt x="234" y="414"/>
                    <a:pt x="240" y="420"/>
                    <a:pt x="247" y="420"/>
                  </a:cubicBezTo>
                  <a:cubicBezTo>
                    <a:pt x="254" y="420"/>
                    <a:pt x="260" y="414"/>
                    <a:pt x="260" y="407"/>
                  </a:cubicBezTo>
                  <a:cubicBezTo>
                    <a:pt x="260" y="400"/>
                    <a:pt x="254" y="394"/>
                    <a:pt x="247" y="394"/>
                  </a:cubicBezTo>
                  <a:close/>
                  <a:moveTo>
                    <a:pt x="286" y="394"/>
                  </a:moveTo>
                  <a:cubicBezTo>
                    <a:pt x="279" y="394"/>
                    <a:pt x="273" y="400"/>
                    <a:pt x="273" y="407"/>
                  </a:cubicBezTo>
                  <a:cubicBezTo>
                    <a:pt x="273" y="414"/>
                    <a:pt x="279" y="420"/>
                    <a:pt x="286" y="420"/>
                  </a:cubicBezTo>
                  <a:cubicBezTo>
                    <a:pt x="293" y="420"/>
                    <a:pt x="299" y="414"/>
                    <a:pt x="299" y="407"/>
                  </a:cubicBezTo>
                  <a:cubicBezTo>
                    <a:pt x="299" y="400"/>
                    <a:pt x="293" y="394"/>
                    <a:pt x="286" y="394"/>
                  </a:cubicBezTo>
                  <a:close/>
                  <a:moveTo>
                    <a:pt x="326" y="420"/>
                  </a:moveTo>
                  <a:cubicBezTo>
                    <a:pt x="333" y="420"/>
                    <a:pt x="338" y="414"/>
                    <a:pt x="338" y="407"/>
                  </a:cubicBezTo>
                  <a:cubicBezTo>
                    <a:pt x="338" y="400"/>
                    <a:pt x="333" y="394"/>
                    <a:pt x="326" y="394"/>
                  </a:cubicBezTo>
                  <a:cubicBezTo>
                    <a:pt x="319" y="394"/>
                    <a:pt x="313" y="400"/>
                    <a:pt x="313" y="407"/>
                  </a:cubicBezTo>
                  <a:cubicBezTo>
                    <a:pt x="313" y="414"/>
                    <a:pt x="319" y="420"/>
                    <a:pt x="326" y="420"/>
                  </a:cubicBezTo>
                  <a:close/>
                  <a:moveTo>
                    <a:pt x="365" y="420"/>
                  </a:moveTo>
                  <a:cubicBezTo>
                    <a:pt x="372" y="420"/>
                    <a:pt x="378" y="414"/>
                    <a:pt x="378" y="407"/>
                  </a:cubicBezTo>
                  <a:cubicBezTo>
                    <a:pt x="378" y="400"/>
                    <a:pt x="372" y="394"/>
                    <a:pt x="365" y="394"/>
                  </a:cubicBezTo>
                  <a:cubicBezTo>
                    <a:pt x="358" y="394"/>
                    <a:pt x="352" y="400"/>
                    <a:pt x="352" y="407"/>
                  </a:cubicBezTo>
                  <a:cubicBezTo>
                    <a:pt x="352" y="414"/>
                    <a:pt x="358" y="420"/>
                    <a:pt x="365" y="420"/>
                  </a:cubicBezTo>
                  <a:close/>
                  <a:moveTo>
                    <a:pt x="404" y="420"/>
                  </a:moveTo>
                  <a:cubicBezTo>
                    <a:pt x="411" y="420"/>
                    <a:pt x="417" y="414"/>
                    <a:pt x="417" y="407"/>
                  </a:cubicBezTo>
                  <a:cubicBezTo>
                    <a:pt x="417" y="400"/>
                    <a:pt x="411" y="394"/>
                    <a:pt x="404" y="394"/>
                  </a:cubicBezTo>
                  <a:cubicBezTo>
                    <a:pt x="397" y="394"/>
                    <a:pt x="392" y="400"/>
                    <a:pt x="392" y="407"/>
                  </a:cubicBezTo>
                  <a:cubicBezTo>
                    <a:pt x="392" y="414"/>
                    <a:pt x="397" y="420"/>
                    <a:pt x="404" y="420"/>
                  </a:cubicBezTo>
                  <a:close/>
                  <a:moveTo>
                    <a:pt x="444" y="420"/>
                  </a:moveTo>
                  <a:cubicBezTo>
                    <a:pt x="451" y="420"/>
                    <a:pt x="457" y="414"/>
                    <a:pt x="457" y="407"/>
                  </a:cubicBezTo>
                  <a:cubicBezTo>
                    <a:pt x="457" y="400"/>
                    <a:pt x="451" y="394"/>
                    <a:pt x="444" y="394"/>
                  </a:cubicBezTo>
                  <a:cubicBezTo>
                    <a:pt x="437" y="394"/>
                    <a:pt x="431" y="400"/>
                    <a:pt x="431" y="407"/>
                  </a:cubicBezTo>
                  <a:cubicBezTo>
                    <a:pt x="431" y="414"/>
                    <a:pt x="437" y="420"/>
                    <a:pt x="444" y="420"/>
                  </a:cubicBezTo>
                  <a:close/>
                  <a:moveTo>
                    <a:pt x="483" y="420"/>
                  </a:moveTo>
                  <a:cubicBezTo>
                    <a:pt x="490" y="420"/>
                    <a:pt x="496" y="414"/>
                    <a:pt x="496" y="407"/>
                  </a:cubicBezTo>
                  <a:cubicBezTo>
                    <a:pt x="496" y="400"/>
                    <a:pt x="490" y="394"/>
                    <a:pt x="483" y="394"/>
                  </a:cubicBezTo>
                  <a:cubicBezTo>
                    <a:pt x="476" y="394"/>
                    <a:pt x="471" y="400"/>
                    <a:pt x="471" y="407"/>
                  </a:cubicBezTo>
                  <a:cubicBezTo>
                    <a:pt x="471" y="414"/>
                    <a:pt x="476" y="420"/>
                    <a:pt x="483" y="420"/>
                  </a:cubicBezTo>
                  <a:close/>
                  <a:moveTo>
                    <a:pt x="523" y="396"/>
                  </a:moveTo>
                  <a:cubicBezTo>
                    <a:pt x="517" y="396"/>
                    <a:pt x="512" y="401"/>
                    <a:pt x="512" y="407"/>
                  </a:cubicBezTo>
                  <a:cubicBezTo>
                    <a:pt x="512" y="413"/>
                    <a:pt x="517" y="418"/>
                    <a:pt x="523" y="418"/>
                  </a:cubicBezTo>
                  <a:cubicBezTo>
                    <a:pt x="529" y="418"/>
                    <a:pt x="533" y="413"/>
                    <a:pt x="533" y="407"/>
                  </a:cubicBezTo>
                  <a:cubicBezTo>
                    <a:pt x="533" y="401"/>
                    <a:pt x="529" y="396"/>
                    <a:pt x="523" y="396"/>
                  </a:cubicBezTo>
                  <a:close/>
                  <a:moveTo>
                    <a:pt x="562" y="394"/>
                  </a:moveTo>
                  <a:cubicBezTo>
                    <a:pt x="555" y="394"/>
                    <a:pt x="549" y="400"/>
                    <a:pt x="549" y="407"/>
                  </a:cubicBezTo>
                  <a:cubicBezTo>
                    <a:pt x="549" y="414"/>
                    <a:pt x="555" y="420"/>
                    <a:pt x="562" y="420"/>
                  </a:cubicBezTo>
                  <a:cubicBezTo>
                    <a:pt x="569" y="420"/>
                    <a:pt x="575" y="414"/>
                    <a:pt x="575" y="407"/>
                  </a:cubicBezTo>
                  <a:cubicBezTo>
                    <a:pt x="575" y="400"/>
                    <a:pt x="569" y="394"/>
                    <a:pt x="562" y="394"/>
                  </a:cubicBezTo>
                  <a:close/>
                  <a:moveTo>
                    <a:pt x="602" y="420"/>
                  </a:moveTo>
                  <a:cubicBezTo>
                    <a:pt x="609" y="420"/>
                    <a:pt x="614" y="414"/>
                    <a:pt x="614" y="407"/>
                  </a:cubicBezTo>
                  <a:cubicBezTo>
                    <a:pt x="614" y="400"/>
                    <a:pt x="609" y="394"/>
                    <a:pt x="602" y="394"/>
                  </a:cubicBezTo>
                  <a:cubicBezTo>
                    <a:pt x="595" y="394"/>
                    <a:pt x="589" y="400"/>
                    <a:pt x="589" y="407"/>
                  </a:cubicBezTo>
                  <a:cubicBezTo>
                    <a:pt x="589" y="414"/>
                    <a:pt x="595" y="420"/>
                    <a:pt x="602" y="420"/>
                  </a:cubicBezTo>
                  <a:close/>
                  <a:moveTo>
                    <a:pt x="641" y="420"/>
                  </a:moveTo>
                  <a:cubicBezTo>
                    <a:pt x="648" y="420"/>
                    <a:pt x="654" y="414"/>
                    <a:pt x="654" y="407"/>
                  </a:cubicBezTo>
                  <a:cubicBezTo>
                    <a:pt x="654" y="400"/>
                    <a:pt x="648" y="394"/>
                    <a:pt x="641" y="394"/>
                  </a:cubicBezTo>
                  <a:cubicBezTo>
                    <a:pt x="634" y="394"/>
                    <a:pt x="628" y="400"/>
                    <a:pt x="628" y="407"/>
                  </a:cubicBezTo>
                  <a:cubicBezTo>
                    <a:pt x="628" y="414"/>
                    <a:pt x="634" y="420"/>
                    <a:pt x="641" y="420"/>
                  </a:cubicBezTo>
                  <a:close/>
                  <a:moveTo>
                    <a:pt x="680" y="420"/>
                  </a:moveTo>
                  <a:cubicBezTo>
                    <a:pt x="687" y="420"/>
                    <a:pt x="693" y="414"/>
                    <a:pt x="693" y="407"/>
                  </a:cubicBezTo>
                  <a:cubicBezTo>
                    <a:pt x="693" y="400"/>
                    <a:pt x="687" y="394"/>
                    <a:pt x="680" y="394"/>
                  </a:cubicBezTo>
                  <a:cubicBezTo>
                    <a:pt x="673" y="394"/>
                    <a:pt x="668" y="400"/>
                    <a:pt x="668" y="407"/>
                  </a:cubicBezTo>
                  <a:cubicBezTo>
                    <a:pt x="668" y="414"/>
                    <a:pt x="673" y="420"/>
                    <a:pt x="680" y="420"/>
                  </a:cubicBezTo>
                  <a:close/>
                  <a:moveTo>
                    <a:pt x="720" y="420"/>
                  </a:moveTo>
                  <a:cubicBezTo>
                    <a:pt x="727" y="420"/>
                    <a:pt x="733" y="414"/>
                    <a:pt x="733" y="407"/>
                  </a:cubicBezTo>
                  <a:cubicBezTo>
                    <a:pt x="733" y="400"/>
                    <a:pt x="727" y="394"/>
                    <a:pt x="720" y="394"/>
                  </a:cubicBezTo>
                  <a:cubicBezTo>
                    <a:pt x="713" y="394"/>
                    <a:pt x="707" y="400"/>
                    <a:pt x="707" y="407"/>
                  </a:cubicBezTo>
                  <a:cubicBezTo>
                    <a:pt x="707" y="414"/>
                    <a:pt x="713" y="420"/>
                    <a:pt x="720" y="420"/>
                  </a:cubicBezTo>
                  <a:close/>
                  <a:moveTo>
                    <a:pt x="917" y="420"/>
                  </a:moveTo>
                  <a:cubicBezTo>
                    <a:pt x="924" y="420"/>
                    <a:pt x="930" y="414"/>
                    <a:pt x="930" y="407"/>
                  </a:cubicBezTo>
                  <a:cubicBezTo>
                    <a:pt x="930" y="400"/>
                    <a:pt x="924" y="394"/>
                    <a:pt x="917" y="394"/>
                  </a:cubicBezTo>
                  <a:cubicBezTo>
                    <a:pt x="910" y="394"/>
                    <a:pt x="904" y="400"/>
                    <a:pt x="904" y="407"/>
                  </a:cubicBezTo>
                  <a:cubicBezTo>
                    <a:pt x="904" y="414"/>
                    <a:pt x="910" y="420"/>
                    <a:pt x="917" y="420"/>
                  </a:cubicBezTo>
                  <a:close/>
                  <a:moveTo>
                    <a:pt x="956" y="394"/>
                  </a:moveTo>
                  <a:cubicBezTo>
                    <a:pt x="949" y="394"/>
                    <a:pt x="944" y="400"/>
                    <a:pt x="944" y="407"/>
                  </a:cubicBezTo>
                  <a:cubicBezTo>
                    <a:pt x="944" y="414"/>
                    <a:pt x="949" y="420"/>
                    <a:pt x="956" y="420"/>
                  </a:cubicBezTo>
                  <a:cubicBezTo>
                    <a:pt x="963" y="420"/>
                    <a:pt x="969" y="414"/>
                    <a:pt x="969" y="407"/>
                  </a:cubicBezTo>
                  <a:cubicBezTo>
                    <a:pt x="969" y="400"/>
                    <a:pt x="963" y="394"/>
                    <a:pt x="956" y="394"/>
                  </a:cubicBezTo>
                  <a:close/>
                  <a:moveTo>
                    <a:pt x="1232" y="420"/>
                  </a:moveTo>
                  <a:cubicBezTo>
                    <a:pt x="1239" y="420"/>
                    <a:pt x="1245" y="414"/>
                    <a:pt x="1245" y="407"/>
                  </a:cubicBezTo>
                  <a:cubicBezTo>
                    <a:pt x="1245" y="400"/>
                    <a:pt x="1239" y="394"/>
                    <a:pt x="1232" y="394"/>
                  </a:cubicBezTo>
                  <a:cubicBezTo>
                    <a:pt x="1225" y="394"/>
                    <a:pt x="1220" y="400"/>
                    <a:pt x="1220" y="407"/>
                  </a:cubicBezTo>
                  <a:cubicBezTo>
                    <a:pt x="1220" y="414"/>
                    <a:pt x="1225" y="420"/>
                    <a:pt x="1232" y="420"/>
                  </a:cubicBezTo>
                  <a:close/>
                  <a:moveTo>
                    <a:pt x="1784" y="420"/>
                  </a:moveTo>
                  <a:cubicBezTo>
                    <a:pt x="1791" y="420"/>
                    <a:pt x="1797" y="414"/>
                    <a:pt x="1797" y="407"/>
                  </a:cubicBezTo>
                  <a:cubicBezTo>
                    <a:pt x="1797" y="400"/>
                    <a:pt x="1791" y="394"/>
                    <a:pt x="1784" y="394"/>
                  </a:cubicBezTo>
                  <a:cubicBezTo>
                    <a:pt x="1777" y="394"/>
                    <a:pt x="1772" y="400"/>
                    <a:pt x="1772" y="407"/>
                  </a:cubicBezTo>
                  <a:cubicBezTo>
                    <a:pt x="1772" y="414"/>
                    <a:pt x="1777" y="420"/>
                    <a:pt x="1784" y="420"/>
                  </a:cubicBezTo>
                  <a:close/>
                  <a:moveTo>
                    <a:pt x="1824" y="420"/>
                  </a:moveTo>
                  <a:cubicBezTo>
                    <a:pt x="1831" y="420"/>
                    <a:pt x="1836" y="414"/>
                    <a:pt x="1836" y="407"/>
                  </a:cubicBezTo>
                  <a:cubicBezTo>
                    <a:pt x="1836" y="400"/>
                    <a:pt x="1831" y="394"/>
                    <a:pt x="1824" y="394"/>
                  </a:cubicBezTo>
                  <a:cubicBezTo>
                    <a:pt x="1817" y="394"/>
                    <a:pt x="1811" y="400"/>
                    <a:pt x="1811" y="407"/>
                  </a:cubicBezTo>
                  <a:cubicBezTo>
                    <a:pt x="1811" y="414"/>
                    <a:pt x="1817" y="420"/>
                    <a:pt x="1824" y="420"/>
                  </a:cubicBezTo>
                  <a:close/>
                  <a:moveTo>
                    <a:pt x="1863" y="420"/>
                  </a:moveTo>
                  <a:cubicBezTo>
                    <a:pt x="1870" y="420"/>
                    <a:pt x="1876" y="414"/>
                    <a:pt x="1876" y="407"/>
                  </a:cubicBezTo>
                  <a:cubicBezTo>
                    <a:pt x="1876" y="400"/>
                    <a:pt x="1870" y="394"/>
                    <a:pt x="1863" y="394"/>
                  </a:cubicBezTo>
                  <a:cubicBezTo>
                    <a:pt x="1856" y="394"/>
                    <a:pt x="1850" y="400"/>
                    <a:pt x="1850" y="407"/>
                  </a:cubicBezTo>
                  <a:cubicBezTo>
                    <a:pt x="1850" y="414"/>
                    <a:pt x="1856" y="420"/>
                    <a:pt x="1863" y="420"/>
                  </a:cubicBezTo>
                  <a:close/>
                  <a:moveTo>
                    <a:pt x="1942" y="420"/>
                  </a:moveTo>
                  <a:cubicBezTo>
                    <a:pt x="1949" y="420"/>
                    <a:pt x="1955" y="414"/>
                    <a:pt x="1955" y="407"/>
                  </a:cubicBezTo>
                  <a:cubicBezTo>
                    <a:pt x="1955" y="400"/>
                    <a:pt x="1949" y="394"/>
                    <a:pt x="1942" y="394"/>
                  </a:cubicBezTo>
                  <a:cubicBezTo>
                    <a:pt x="1935" y="394"/>
                    <a:pt x="1929" y="400"/>
                    <a:pt x="1929" y="407"/>
                  </a:cubicBezTo>
                  <a:cubicBezTo>
                    <a:pt x="1929" y="414"/>
                    <a:pt x="1935" y="420"/>
                    <a:pt x="1942" y="420"/>
                  </a:cubicBezTo>
                  <a:close/>
                  <a:moveTo>
                    <a:pt x="1981" y="420"/>
                  </a:moveTo>
                  <a:cubicBezTo>
                    <a:pt x="1988" y="420"/>
                    <a:pt x="1994" y="414"/>
                    <a:pt x="1994" y="407"/>
                  </a:cubicBezTo>
                  <a:cubicBezTo>
                    <a:pt x="1994" y="400"/>
                    <a:pt x="1988" y="394"/>
                    <a:pt x="1981" y="394"/>
                  </a:cubicBezTo>
                  <a:cubicBezTo>
                    <a:pt x="1974" y="394"/>
                    <a:pt x="1969" y="400"/>
                    <a:pt x="1969" y="407"/>
                  </a:cubicBezTo>
                  <a:cubicBezTo>
                    <a:pt x="1969" y="414"/>
                    <a:pt x="1974" y="420"/>
                    <a:pt x="1981" y="420"/>
                  </a:cubicBezTo>
                  <a:close/>
                  <a:moveTo>
                    <a:pt x="2021" y="420"/>
                  </a:moveTo>
                  <a:cubicBezTo>
                    <a:pt x="2028" y="420"/>
                    <a:pt x="2034" y="414"/>
                    <a:pt x="2034" y="407"/>
                  </a:cubicBezTo>
                  <a:cubicBezTo>
                    <a:pt x="2034" y="400"/>
                    <a:pt x="2028" y="394"/>
                    <a:pt x="2021" y="394"/>
                  </a:cubicBezTo>
                  <a:cubicBezTo>
                    <a:pt x="2014" y="394"/>
                    <a:pt x="2008" y="400"/>
                    <a:pt x="2008" y="407"/>
                  </a:cubicBezTo>
                  <a:cubicBezTo>
                    <a:pt x="2008" y="414"/>
                    <a:pt x="2014" y="420"/>
                    <a:pt x="2021" y="420"/>
                  </a:cubicBezTo>
                  <a:close/>
                  <a:moveTo>
                    <a:pt x="2060" y="420"/>
                  </a:moveTo>
                  <a:cubicBezTo>
                    <a:pt x="2067" y="420"/>
                    <a:pt x="2073" y="414"/>
                    <a:pt x="2073" y="407"/>
                  </a:cubicBezTo>
                  <a:cubicBezTo>
                    <a:pt x="2073" y="400"/>
                    <a:pt x="2067" y="394"/>
                    <a:pt x="2060" y="394"/>
                  </a:cubicBezTo>
                  <a:cubicBezTo>
                    <a:pt x="2053" y="394"/>
                    <a:pt x="2048" y="400"/>
                    <a:pt x="2048" y="407"/>
                  </a:cubicBezTo>
                  <a:cubicBezTo>
                    <a:pt x="2048" y="414"/>
                    <a:pt x="2053" y="420"/>
                    <a:pt x="2060" y="420"/>
                  </a:cubicBezTo>
                  <a:close/>
                  <a:moveTo>
                    <a:pt x="2100" y="420"/>
                  </a:moveTo>
                  <a:cubicBezTo>
                    <a:pt x="2107" y="420"/>
                    <a:pt x="2112" y="414"/>
                    <a:pt x="2112" y="407"/>
                  </a:cubicBezTo>
                  <a:cubicBezTo>
                    <a:pt x="2112" y="400"/>
                    <a:pt x="2107" y="394"/>
                    <a:pt x="2100" y="394"/>
                  </a:cubicBezTo>
                  <a:cubicBezTo>
                    <a:pt x="2093" y="394"/>
                    <a:pt x="2087" y="400"/>
                    <a:pt x="2087" y="407"/>
                  </a:cubicBezTo>
                  <a:cubicBezTo>
                    <a:pt x="2087" y="414"/>
                    <a:pt x="2093" y="420"/>
                    <a:pt x="2100" y="420"/>
                  </a:cubicBezTo>
                  <a:close/>
                  <a:moveTo>
                    <a:pt x="2139" y="420"/>
                  </a:moveTo>
                  <a:cubicBezTo>
                    <a:pt x="2146" y="420"/>
                    <a:pt x="2152" y="414"/>
                    <a:pt x="2152" y="407"/>
                  </a:cubicBezTo>
                  <a:cubicBezTo>
                    <a:pt x="2152" y="400"/>
                    <a:pt x="2146" y="394"/>
                    <a:pt x="2139" y="394"/>
                  </a:cubicBezTo>
                  <a:cubicBezTo>
                    <a:pt x="2132" y="394"/>
                    <a:pt x="2126" y="400"/>
                    <a:pt x="2126" y="407"/>
                  </a:cubicBezTo>
                  <a:cubicBezTo>
                    <a:pt x="2126" y="414"/>
                    <a:pt x="2132" y="420"/>
                    <a:pt x="2139" y="420"/>
                  </a:cubicBezTo>
                  <a:close/>
                  <a:moveTo>
                    <a:pt x="2179" y="420"/>
                  </a:moveTo>
                  <a:cubicBezTo>
                    <a:pt x="2186" y="420"/>
                    <a:pt x="2191" y="414"/>
                    <a:pt x="2191" y="407"/>
                  </a:cubicBezTo>
                  <a:cubicBezTo>
                    <a:pt x="2191" y="400"/>
                    <a:pt x="2186" y="394"/>
                    <a:pt x="2179" y="394"/>
                  </a:cubicBezTo>
                  <a:cubicBezTo>
                    <a:pt x="2171" y="394"/>
                    <a:pt x="2166" y="400"/>
                    <a:pt x="2166" y="407"/>
                  </a:cubicBezTo>
                  <a:cubicBezTo>
                    <a:pt x="2166" y="414"/>
                    <a:pt x="2171" y="420"/>
                    <a:pt x="2179" y="420"/>
                  </a:cubicBezTo>
                  <a:close/>
                  <a:moveTo>
                    <a:pt x="2218" y="420"/>
                  </a:moveTo>
                  <a:cubicBezTo>
                    <a:pt x="2225" y="420"/>
                    <a:pt x="2231" y="414"/>
                    <a:pt x="2231" y="407"/>
                  </a:cubicBezTo>
                  <a:cubicBezTo>
                    <a:pt x="2231" y="400"/>
                    <a:pt x="2225" y="394"/>
                    <a:pt x="2218" y="394"/>
                  </a:cubicBezTo>
                  <a:cubicBezTo>
                    <a:pt x="2211" y="394"/>
                    <a:pt x="2205" y="400"/>
                    <a:pt x="2205" y="407"/>
                  </a:cubicBezTo>
                  <a:cubicBezTo>
                    <a:pt x="2205" y="414"/>
                    <a:pt x="2211" y="420"/>
                    <a:pt x="2218" y="420"/>
                  </a:cubicBezTo>
                  <a:close/>
                  <a:moveTo>
                    <a:pt x="2257" y="420"/>
                  </a:moveTo>
                  <a:cubicBezTo>
                    <a:pt x="2264" y="420"/>
                    <a:pt x="2270" y="414"/>
                    <a:pt x="2270" y="407"/>
                  </a:cubicBezTo>
                  <a:cubicBezTo>
                    <a:pt x="2270" y="400"/>
                    <a:pt x="2264" y="394"/>
                    <a:pt x="2257" y="394"/>
                  </a:cubicBezTo>
                  <a:cubicBezTo>
                    <a:pt x="2250" y="394"/>
                    <a:pt x="2245" y="400"/>
                    <a:pt x="2245" y="407"/>
                  </a:cubicBezTo>
                  <a:cubicBezTo>
                    <a:pt x="2245" y="414"/>
                    <a:pt x="2250" y="420"/>
                    <a:pt x="2257" y="420"/>
                  </a:cubicBezTo>
                  <a:close/>
                  <a:moveTo>
                    <a:pt x="2297" y="420"/>
                  </a:moveTo>
                  <a:cubicBezTo>
                    <a:pt x="2304" y="420"/>
                    <a:pt x="2310" y="414"/>
                    <a:pt x="2310" y="407"/>
                  </a:cubicBezTo>
                  <a:cubicBezTo>
                    <a:pt x="2310" y="400"/>
                    <a:pt x="2304" y="394"/>
                    <a:pt x="2297" y="394"/>
                  </a:cubicBezTo>
                  <a:cubicBezTo>
                    <a:pt x="2290" y="394"/>
                    <a:pt x="2284" y="400"/>
                    <a:pt x="2284" y="407"/>
                  </a:cubicBezTo>
                  <a:cubicBezTo>
                    <a:pt x="2284" y="414"/>
                    <a:pt x="2290" y="420"/>
                    <a:pt x="2297" y="420"/>
                  </a:cubicBezTo>
                  <a:close/>
                  <a:moveTo>
                    <a:pt x="2336" y="420"/>
                  </a:moveTo>
                  <a:cubicBezTo>
                    <a:pt x="2343" y="420"/>
                    <a:pt x="2349" y="414"/>
                    <a:pt x="2349" y="407"/>
                  </a:cubicBezTo>
                  <a:cubicBezTo>
                    <a:pt x="2349" y="400"/>
                    <a:pt x="2343" y="394"/>
                    <a:pt x="2336" y="394"/>
                  </a:cubicBezTo>
                  <a:cubicBezTo>
                    <a:pt x="2329" y="394"/>
                    <a:pt x="2323" y="400"/>
                    <a:pt x="2323" y="407"/>
                  </a:cubicBezTo>
                  <a:cubicBezTo>
                    <a:pt x="2323" y="414"/>
                    <a:pt x="2329" y="420"/>
                    <a:pt x="2336" y="420"/>
                  </a:cubicBezTo>
                  <a:close/>
                  <a:moveTo>
                    <a:pt x="2376" y="420"/>
                  </a:moveTo>
                  <a:cubicBezTo>
                    <a:pt x="2383" y="420"/>
                    <a:pt x="2388" y="414"/>
                    <a:pt x="2388" y="407"/>
                  </a:cubicBezTo>
                  <a:cubicBezTo>
                    <a:pt x="2388" y="400"/>
                    <a:pt x="2383" y="394"/>
                    <a:pt x="2376" y="394"/>
                  </a:cubicBezTo>
                  <a:cubicBezTo>
                    <a:pt x="2369" y="394"/>
                    <a:pt x="2363" y="400"/>
                    <a:pt x="2363" y="407"/>
                  </a:cubicBezTo>
                  <a:cubicBezTo>
                    <a:pt x="2363" y="414"/>
                    <a:pt x="2369" y="420"/>
                    <a:pt x="2376" y="420"/>
                  </a:cubicBezTo>
                  <a:close/>
                  <a:moveTo>
                    <a:pt x="2415" y="420"/>
                  </a:moveTo>
                  <a:cubicBezTo>
                    <a:pt x="2422" y="420"/>
                    <a:pt x="2428" y="414"/>
                    <a:pt x="2428" y="407"/>
                  </a:cubicBezTo>
                  <a:cubicBezTo>
                    <a:pt x="2428" y="400"/>
                    <a:pt x="2422" y="394"/>
                    <a:pt x="2415" y="394"/>
                  </a:cubicBezTo>
                  <a:cubicBezTo>
                    <a:pt x="2408" y="394"/>
                    <a:pt x="2402" y="400"/>
                    <a:pt x="2402" y="407"/>
                  </a:cubicBezTo>
                  <a:cubicBezTo>
                    <a:pt x="2402" y="414"/>
                    <a:pt x="2408" y="420"/>
                    <a:pt x="2415" y="420"/>
                  </a:cubicBezTo>
                  <a:close/>
                  <a:moveTo>
                    <a:pt x="2454" y="420"/>
                  </a:moveTo>
                  <a:cubicBezTo>
                    <a:pt x="2462" y="420"/>
                    <a:pt x="2467" y="414"/>
                    <a:pt x="2467" y="407"/>
                  </a:cubicBezTo>
                  <a:cubicBezTo>
                    <a:pt x="2467" y="400"/>
                    <a:pt x="2462" y="394"/>
                    <a:pt x="2454" y="394"/>
                  </a:cubicBezTo>
                  <a:cubicBezTo>
                    <a:pt x="2447" y="394"/>
                    <a:pt x="2442" y="400"/>
                    <a:pt x="2442" y="407"/>
                  </a:cubicBezTo>
                  <a:cubicBezTo>
                    <a:pt x="2442" y="414"/>
                    <a:pt x="2447" y="420"/>
                    <a:pt x="2454" y="420"/>
                  </a:cubicBezTo>
                  <a:close/>
                  <a:moveTo>
                    <a:pt x="2494" y="420"/>
                  </a:moveTo>
                  <a:cubicBezTo>
                    <a:pt x="2501" y="420"/>
                    <a:pt x="2507" y="414"/>
                    <a:pt x="2507" y="407"/>
                  </a:cubicBezTo>
                  <a:cubicBezTo>
                    <a:pt x="2507" y="400"/>
                    <a:pt x="2501" y="394"/>
                    <a:pt x="2494" y="394"/>
                  </a:cubicBezTo>
                  <a:cubicBezTo>
                    <a:pt x="2487" y="394"/>
                    <a:pt x="2481" y="400"/>
                    <a:pt x="2481" y="407"/>
                  </a:cubicBezTo>
                  <a:cubicBezTo>
                    <a:pt x="2481" y="414"/>
                    <a:pt x="2487" y="420"/>
                    <a:pt x="2494" y="420"/>
                  </a:cubicBezTo>
                  <a:close/>
                  <a:moveTo>
                    <a:pt x="2533" y="420"/>
                  </a:moveTo>
                  <a:cubicBezTo>
                    <a:pt x="2540" y="420"/>
                    <a:pt x="2546" y="414"/>
                    <a:pt x="2546" y="407"/>
                  </a:cubicBezTo>
                  <a:cubicBezTo>
                    <a:pt x="2546" y="400"/>
                    <a:pt x="2540" y="394"/>
                    <a:pt x="2533" y="394"/>
                  </a:cubicBezTo>
                  <a:cubicBezTo>
                    <a:pt x="2526" y="394"/>
                    <a:pt x="2521" y="400"/>
                    <a:pt x="2521" y="407"/>
                  </a:cubicBezTo>
                  <a:cubicBezTo>
                    <a:pt x="2521" y="414"/>
                    <a:pt x="2526" y="420"/>
                    <a:pt x="2533" y="420"/>
                  </a:cubicBezTo>
                  <a:close/>
                  <a:moveTo>
                    <a:pt x="2573" y="420"/>
                  </a:moveTo>
                  <a:cubicBezTo>
                    <a:pt x="2580" y="420"/>
                    <a:pt x="2586" y="414"/>
                    <a:pt x="2586" y="407"/>
                  </a:cubicBezTo>
                  <a:cubicBezTo>
                    <a:pt x="2586" y="400"/>
                    <a:pt x="2580" y="394"/>
                    <a:pt x="2573" y="394"/>
                  </a:cubicBezTo>
                  <a:cubicBezTo>
                    <a:pt x="2566" y="394"/>
                    <a:pt x="2560" y="400"/>
                    <a:pt x="2560" y="407"/>
                  </a:cubicBezTo>
                  <a:cubicBezTo>
                    <a:pt x="2560" y="414"/>
                    <a:pt x="2566" y="420"/>
                    <a:pt x="2573" y="420"/>
                  </a:cubicBezTo>
                  <a:close/>
                  <a:moveTo>
                    <a:pt x="2612" y="420"/>
                  </a:moveTo>
                  <a:cubicBezTo>
                    <a:pt x="2619" y="420"/>
                    <a:pt x="2625" y="414"/>
                    <a:pt x="2625" y="407"/>
                  </a:cubicBezTo>
                  <a:cubicBezTo>
                    <a:pt x="2625" y="400"/>
                    <a:pt x="2619" y="394"/>
                    <a:pt x="2612" y="394"/>
                  </a:cubicBezTo>
                  <a:cubicBezTo>
                    <a:pt x="2605" y="394"/>
                    <a:pt x="2599" y="400"/>
                    <a:pt x="2599" y="407"/>
                  </a:cubicBezTo>
                  <a:cubicBezTo>
                    <a:pt x="2599" y="414"/>
                    <a:pt x="2605" y="420"/>
                    <a:pt x="2612" y="420"/>
                  </a:cubicBezTo>
                  <a:close/>
                  <a:moveTo>
                    <a:pt x="2652" y="420"/>
                  </a:moveTo>
                  <a:cubicBezTo>
                    <a:pt x="2659" y="420"/>
                    <a:pt x="2664" y="414"/>
                    <a:pt x="2664" y="407"/>
                  </a:cubicBezTo>
                  <a:cubicBezTo>
                    <a:pt x="2664" y="400"/>
                    <a:pt x="2659" y="394"/>
                    <a:pt x="2652" y="394"/>
                  </a:cubicBezTo>
                  <a:cubicBezTo>
                    <a:pt x="2645" y="394"/>
                    <a:pt x="2639" y="400"/>
                    <a:pt x="2639" y="407"/>
                  </a:cubicBezTo>
                  <a:cubicBezTo>
                    <a:pt x="2639" y="414"/>
                    <a:pt x="2645" y="420"/>
                    <a:pt x="2652" y="420"/>
                  </a:cubicBezTo>
                  <a:close/>
                  <a:moveTo>
                    <a:pt x="2691" y="420"/>
                  </a:moveTo>
                  <a:cubicBezTo>
                    <a:pt x="2698" y="420"/>
                    <a:pt x="2704" y="414"/>
                    <a:pt x="2704" y="407"/>
                  </a:cubicBezTo>
                  <a:cubicBezTo>
                    <a:pt x="2704" y="400"/>
                    <a:pt x="2698" y="394"/>
                    <a:pt x="2691" y="394"/>
                  </a:cubicBezTo>
                  <a:cubicBezTo>
                    <a:pt x="2684" y="394"/>
                    <a:pt x="2678" y="400"/>
                    <a:pt x="2678" y="407"/>
                  </a:cubicBezTo>
                  <a:cubicBezTo>
                    <a:pt x="2678" y="414"/>
                    <a:pt x="2684" y="420"/>
                    <a:pt x="2691" y="420"/>
                  </a:cubicBezTo>
                  <a:close/>
                  <a:moveTo>
                    <a:pt x="2730" y="420"/>
                  </a:moveTo>
                  <a:cubicBezTo>
                    <a:pt x="2738" y="420"/>
                    <a:pt x="2743" y="414"/>
                    <a:pt x="2743" y="407"/>
                  </a:cubicBezTo>
                  <a:cubicBezTo>
                    <a:pt x="2743" y="400"/>
                    <a:pt x="2738" y="394"/>
                    <a:pt x="2730" y="394"/>
                  </a:cubicBezTo>
                  <a:cubicBezTo>
                    <a:pt x="2723" y="394"/>
                    <a:pt x="2718" y="400"/>
                    <a:pt x="2718" y="407"/>
                  </a:cubicBezTo>
                  <a:cubicBezTo>
                    <a:pt x="2718" y="414"/>
                    <a:pt x="2723" y="420"/>
                    <a:pt x="2730" y="420"/>
                  </a:cubicBezTo>
                  <a:close/>
                  <a:moveTo>
                    <a:pt x="2770" y="420"/>
                  </a:moveTo>
                  <a:cubicBezTo>
                    <a:pt x="2777" y="420"/>
                    <a:pt x="2783" y="414"/>
                    <a:pt x="2783" y="407"/>
                  </a:cubicBezTo>
                  <a:cubicBezTo>
                    <a:pt x="2783" y="400"/>
                    <a:pt x="2777" y="394"/>
                    <a:pt x="2770" y="394"/>
                  </a:cubicBezTo>
                  <a:cubicBezTo>
                    <a:pt x="2763" y="394"/>
                    <a:pt x="2757" y="400"/>
                    <a:pt x="2757" y="407"/>
                  </a:cubicBezTo>
                  <a:cubicBezTo>
                    <a:pt x="2757" y="414"/>
                    <a:pt x="2763" y="420"/>
                    <a:pt x="2770" y="420"/>
                  </a:cubicBezTo>
                  <a:close/>
                  <a:moveTo>
                    <a:pt x="2809" y="420"/>
                  </a:moveTo>
                  <a:cubicBezTo>
                    <a:pt x="2816" y="420"/>
                    <a:pt x="2822" y="414"/>
                    <a:pt x="2822" y="407"/>
                  </a:cubicBezTo>
                  <a:cubicBezTo>
                    <a:pt x="2822" y="400"/>
                    <a:pt x="2816" y="394"/>
                    <a:pt x="2809" y="394"/>
                  </a:cubicBezTo>
                  <a:cubicBezTo>
                    <a:pt x="2802" y="394"/>
                    <a:pt x="2797" y="400"/>
                    <a:pt x="2797" y="407"/>
                  </a:cubicBezTo>
                  <a:cubicBezTo>
                    <a:pt x="2797" y="414"/>
                    <a:pt x="2802" y="420"/>
                    <a:pt x="2809" y="420"/>
                  </a:cubicBezTo>
                  <a:close/>
                  <a:moveTo>
                    <a:pt x="2849" y="420"/>
                  </a:moveTo>
                  <a:cubicBezTo>
                    <a:pt x="2856" y="420"/>
                    <a:pt x="2861" y="414"/>
                    <a:pt x="2861" y="407"/>
                  </a:cubicBezTo>
                  <a:cubicBezTo>
                    <a:pt x="2861" y="400"/>
                    <a:pt x="2856" y="394"/>
                    <a:pt x="2849" y="394"/>
                  </a:cubicBezTo>
                  <a:cubicBezTo>
                    <a:pt x="2842" y="394"/>
                    <a:pt x="2836" y="400"/>
                    <a:pt x="2836" y="407"/>
                  </a:cubicBezTo>
                  <a:cubicBezTo>
                    <a:pt x="2836" y="414"/>
                    <a:pt x="2842" y="420"/>
                    <a:pt x="2849" y="420"/>
                  </a:cubicBezTo>
                  <a:close/>
                  <a:moveTo>
                    <a:pt x="2888" y="420"/>
                  </a:moveTo>
                  <a:cubicBezTo>
                    <a:pt x="2895" y="420"/>
                    <a:pt x="2901" y="414"/>
                    <a:pt x="2901" y="407"/>
                  </a:cubicBezTo>
                  <a:cubicBezTo>
                    <a:pt x="2901" y="400"/>
                    <a:pt x="2895" y="394"/>
                    <a:pt x="2888" y="394"/>
                  </a:cubicBezTo>
                  <a:cubicBezTo>
                    <a:pt x="2881" y="394"/>
                    <a:pt x="2875" y="400"/>
                    <a:pt x="2875" y="407"/>
                  </a:cubicBezTo>
                  <a:cubicBezTo>
                    <a:pt x="2875" y="414"/>
                    <a:pt x="2881" y="420"/>
                    <a:pt x="2888" y="420"/>
                  </a:cubicBezTo>
                  <a:close/>
                  <a:moveTo>
                    <a:pt x="2928" y="420"/>
                  </a:moveTo>
                  <a:cubicBezTo>
                    <a:pt x="2935" y="420"/>
                    <a:pt x="2940" y="414"/>
                    <a:pt x="2940" y="407"/>
                  </a:cubicBezTo>
                  <a:cubicBezTo>
                    <a:pt x="2940" y="400"/>
                    <a:pt x="2935" y="394"/>
                    <a:pt x="2928" y="394"/>
                  </a:cubicBezTo>
                  <a:cubicBezTo>
                    <a:pt x="2921" y="394"/>
                    <a:pt x="2915" y="400"/>
                    <a:pt x="2915" y="407"/>
                  </a:cubicBezTo>
                  <a:cubicBezTo>
                    <a:pt x="2915" y="414"/>
                    <a:pt x="2921" y="420"/>
                    <a:pt x="2928" y="420"/>
                  </a:cubicBezTo>
                  <a:close/>
                  <a:moveTo>
                    <a:pt x="2967" y="420"/>
                  </a:moveTo>
                  <a:cubicBezTo>
                    <a:pt x="2974" y="420"/>
                    <a:pt x="2980" y="414"/>
                    <a:pt x="2980" y="407"/>
                  </a:cubicBezTo>
                  <a:cubicBezTo>
                    <a:pt x="2980" y="400"/>
                    <a:pt x="2974" y="394"/>
                    <a:pt x="2967" y="394"/>
                  </a:cubicBezTo>
                  <a:cubicBezTo>
                    <a:pt x="2960" y="394"/>
                    <a:pt x="2954" y="400"/>
                    <a:pt x="2954" y="407"/>
                  </a:cubicBezTo>
                  <a:cubicBezTo>
                    <a:pt x="2954" y="414"/>
                    <a:pt x="2960" y="420"/>
                    <a:pt x="2967" y="420"/>
                  </a:cubicBezTo>
                  <a:close/>
                  <a:moveTo>
                    <a:pt x="3006" y="420"/>
                  </a:moveTo>
                  <a:cubicBezTo>
                    <a:pt x="3013" y="420"/>
                    <a:pt x="3019" y="414"/>
                    <a:pt x="3019" y="407"/>
                  </a:cubicBezTo>
                  <a:cubicBezTo>
                    <a:pt x="3019" y="400"/>
                    <a:pt x="3013" y="394"/>
                    <a:pt x="3006" y="394"/>
                  </a:cubicBezTo>
                  <a:cubicBezTo>
                    <a:pt x="2999" y="394"/>
                    <a:pt x="2994" y="400"/>
                    <a:pt x="2994" y="407"/>
                  </a:cubicBezTo>
                  <a:cubicBezTo>
                    <a:pt x="2994" y="414"/>
                    <a:pt x="2999" y="420"/>
                    <a:pt x="3006" y="420"/>
                  </a:cubicBezTo>
                  <a:close/>
                  <a:moveTo>
                    <a:pt x="3046" y="420"/>
                  </a:moveTo>
                  <a:cubicBezTo>
                    <a:pt x="3053" y="420"/>
                    <a:pt x="3059" y="414"/>
                    <a:pt x="3059" y="407"/>
                  </a:cubicBezTo>
                  <a:cubicBezTo>
                    <a:pt x="3059" y="400"/>
                    <a:pt x="3053" y="394"/>
                    <a:pt x="3046" y="394"/>
                  </a:cubicBezTo>
                  <a:cubicBezTo>
                    <a:pt x="3039" y="394"/>
                    <a:pt x="3033" y="400"/>
                    <a:pt x="3033" y="407"/>
                  </a:cubicBezTo>
                  <a:cubicBezTo>
                    <a:pt x="3033" y="414"/>
                    <a:pt x="3039" y="420"/>
                    <a:pt x="3046" y="420"/>
                  </a:cubicBezTo>
                  <a:close/>
                  <a:moveTo>
                    <a:pt x="3085" y="420"/>
                  </a:moveTo>
                  <a:cubicBezTo>
                    <a:pt x="3092" y="420"/>
                    <a:pt x="3098" y="414"/>
                    <a:pt x="3098" y="407"/>
                  </a:cubicBezTo>
                  <a:cubicBezTo>
                    <a:pt x="3098" y="400"/>
                    <a:pt x="3092" y="394"/>
                    <a:pt x="3085" y="394"/>
                  </a:cubicBezTo>
                  <a:cubicBezTo>
                    <a:pt x="3078" y="394"/>
                    <a:pt x="3073" y="400"/>
                    <a:pt x="3073" y="407"/>
                  </a:cubicBezTo>
                  <a:cubicBezTo>
                    <a:pt x="3073" y="414"/>
                    <a:pt x="3078" y="420"/>
                    <a:pt x="3085" y="420"/>
                  </a:cubicBezTo>
                  <a:close/>
                  <a:moveTo>
                    <a:pt x="3125" y="420"/>
                  </a:moveTo>
                  <a:cubicBezTo>
                    <a:pt x="3132" y="420"/>
                    <a:pt x="3137" y="414"/>
                    <a:pt x="3137" y="407"/>
                  </a:cubicBezTo>
                  <a:cubicBezTo>
                    <a:pt x="3137" y="400"/>
                    <a:pt x="3132" y="394"/>
                    <a:pt x="3125" y="394"/>
                  </a:cubicBezTo>
                  <a:cubicBezTo>
                    <a:pt x="3118" y="394"/>
                    <a:pt x="3112" y="400"/>
                    <a:pt x="3112" y="407"/>
                  </a:cubicBezTo>
                  <a:cubicBezTo>
                    <a:pt x="3112" y="414"/>
                    <a:pt x="3118" y="420"/>
                    <a:pt x="3125" y="420"/>
                  </a:cubicBezTo>
                  <a:close/>
                  <a:moveTo>
                    <a:pt x="3164" y="420"/>
                  </a:moveTo>
                  <a:cubicBezTo>
                    <a:pt x="3171" y="420"/>
                    <a:pt x="3177" y="414"/>
                    <a:pt x="3177" y="407"/>
                  </a:cubicBezTo>
                  <a:cubicBezTo>
                    <a:pt x="3177" y="400"/>
                    <a:pt x="3171" y="394"/>
                    <a:pt x="3164" y="394"/>
                  </a:cubicBezTo>
                  <a:cubicBezTo>
                    <a:pt x="3157" y="394"/>
                    <a:pt x="3151" y="400"/>
                    <a:pt x="3151" y="407"/>
                  </a:cubicBezTo>
                  <a:cubicBezTo>
                    <a:pt x="3151" y="414"/>
                    <a:pt x="3157" y="420"/>
                    <a:pt x="3164" y="420"/>
                  </a:cubicBezTo>
                  <a:close/>
                  <a:moveTo>
                    <a:pt x="3204" y="420"/>
                  </a:moveTo>
                  <a:cubicBezTo>
                    <a:pt x="3211" y="420"/>
                    <a:pt x="3216" y="414"/>
                    <a:pt x="3216" y="407"/>
                  </a:cubicBezTo>
                  <a:cubicBezTo>
                    <a:pt x="3216" y="400"/>
                    <a:pt x="3211" y="394"/>
                    <a:pt x="3204" y="394"/>
                  </a:cubicBezTo>
                  <a:cubicBezTo>
                    <a:pt x="3197" y="394"/>
                    <a:pt x="3191" y="400"/>
                    <a:pt x="3191" y="407"/>
                  </a:cubicBezTo>
                  <a:cubicBezTo>
                    <a:pt x="3191" y="414"/>
                    <a:pt x="3197" y="420"/>
                    <a:pt x="3204" y="420"/>
                  </a:cubicBezTo>
                  <a:close/>
                  <a:moveTo>
                    <a:pt x="3243" y="420"/>
                  </a:moveTo>
                  <a:cubicBezTo>
                    <a:pt x="3250" y="420"/>
                    <a:pt x="3256" y="414"/>
                    <a:pt x="3256" y="407"/>
                  </a:cubicBezTo>
                  <a:cubicBezTo>
                    <a:pt x="3256" y="400"/>
                    <a:pt x="3250" y="394"/>
                    <a:pt x="3243" y="394"/>
                  </a:cubicBezTo>
                  <a:cubicBezTo>
                    <a:pt x="3236" y="394"/>
                    <a:pt x="3230" y="400"/>
                    <a:pt x="3230" y="407"/>
                  </a:cubicBezTo>
                  <a:cubicBezTo>
                    <a:pt x="3230" y="414"/>
                    <a:pt x="3236" y="420"/>
                    <a:pt x="3243" y="420"/>
                  </a:cubicBezTo>
                  <a:close/>
                  <a:moveTo>
                    <a:pt x="3282" y="420"/>
                  </a:moveTo>
                  <a:cubicBezTo>
                    <a:pt x="3289" y="420"/>
                    <a:pt x="3295" y="414"/>
                    <a:pt x="3295" y="407"/>
                  </a:cubicBezTo>
                  <a:cubicBezTo>
                    <a:pt x="3295" y="400"/>
                    <a:pt x="3289" y="394"/>
                    <a:pt x="3282" y="394"/>
                  </a:cubicBezTo>
                  <a:cubicBezTo>
                    <a:pt x="3275" y="394"/>
                    <a:pt x="3270" y="400"/>
                    <a:pt x="3270" y="407"/>
                  </a:cubicBezTo>
                  <a:cubicBezTo>
                    <a:pt x="3270" y="414"/>
                    <a:pt x="3275" y="420"/>
                    <a:pt x="3282" y="420"/>
                  </a:cubicBezTo>
                  <a:close/>
                  <a:moveTo>
                    <a:pt x="3361" y="394"/>
                  </a:moveTo>
                  <a:cubicBezTo>
                    <a:pt x="3354" y="394"/>
                    <a:pt x="3349" y="400"/>
                    <a:pt x="3349" y="407"/>
                  </a:cubicBezTo>
                  <a:cubicBezTo>
                    <a:pt x="3349" y="414"/>
                    <a:pt x="3354" y="420"/>
                    <a:pt x="3361" y="420"/>
                  </a:cubicBezTo>
                  <a:cubicBezTo>
                    <a:pt x="3368" y="420"/>
                    <a:pt x="3374" y="414"/>
                    <a:pt x="3374" y="407"/>
                  </a:cubicBezTo>
                  <a:cubicBezTo>
                    <a:pt x="3374" y="400"/>
                    <a:pt x="3368" y="394"/>
                    <a:pt x="3361" y="394"/>
                  </a:cubicBezTo>
                  <a:close/>
                  <a:moveTo>
                    <a:pt x="3401" y="420"/>
                  </a:moveTo>
                  <a:cubicBezTo>
                    <a:pt x="3408" y="420"/>
                    <a:pt x="3413" y="414"/>
                    <a:pt x="3413" y="407"/>
                  </a:cubicBezTo>
                  <a:cubicBezTo>
                    <a:pt x="3413" y="400"/>
                    <a:pt x="3408" y="394"/>
                    <a:pt x="3401" y="394"/>
                  </a:cubicBezTo>
                  <a:cubicBezTo>
                    <a:pt x="3394" y="394"/>
                    <a:pt x="3388" y="400"/>
                    <a:pt x="3388" y="407"/>
                  </a:cubicBezTo>
                  <a:cubicBezTo>
                    <a:pt x="3388" y="414"/>
                    <a:pt x="3394" y="420"/>
                    <a:pt x="3401" y="420"/>
                  </a:cubicBezTo>
                  <a:close/>
                  <a:moveTo>
                    <a:pt x="3440" y="420"/>
                  </a:moveTo>
                  <a:cubicBezTo>
                    <a:pt x="3447" y="420"/>
                    <a:pt x="3453" y="414"/>
                    <a:pt x="3453" y="407"/>
                  </a:cubicBezTo>
                  <a:cubicBezTo>
                    <a:pt x="3453" y="400"/>
                    <a:pt x="3447" y="394"/>
                    <a:pt x="3440" y="394"/>
                  </a:cubicBezTo>
                  <a:cubicBezTo>
                    <a:pt x="3433" y="394"/>
                    <a:pt x="3427" y="400"/>
                    <a:pt x="3427" y="407"/>
                  </a:cubicBezTo>
                  <a:cubicBezTo>
                    <a:pt x="3427" y="414"/>
                    <a:pt x="3433" y="420"/>
                    <a:pt x="3440" y="420"/>
                  </a:cubicBezTo>
                  <a:close/>
                  <a:moveTo>
                    <a:pt x="89" y="434"/>
                  </a:moveTo>
                  <a:cubicBezTo>
                    <a:pt x="82" y="434"/>
                    <a:pt x="76" y="439"/>
                    <a:pt x="76" y="446"/>
                  </a:cubicBezTo>
                  <a:cubicBezTo>
                    <a:pt x="76" y="453"/>
                    <a:pt x="82" y="459"/>
                    <a:pt x="89" y="459"/>
                  </a:cubicBezTo>
                  <a:cubicBezTo>
                    <a:pt x="96" y="459"/>
                    <a:pt x="102" y="453"/>
                    <a:pt x="102" y="446"/>
                  </a:cubicBezTo>
                  <a:cubicBezTo>
                    <a:pt x="102" y="439"/>
                    <a:pt x="96" y="434"/>
                    <a:pt x="89" y="434"/>
                  </a:cubicBezTo>
                  <a:close/>
                  <a:moveTo>
                    <a:pt x="128" y="434"/>
                  </a:moveTo>
                  <a:cubicBezTo>
                    <a:pt x="121" y="434"/>
                    <a:pt x="116" y="439"/>
                    <a:pt x="116" y="446"/>
                  </a:cubicBezTo>
                  <a:cubicBezTo>
                    <a:pt x="116" y="453"/>
                    <a:pt x="121" y="459"/>
                    <a:pt x="128" y="459"/>
                  </a:cubicBezTo>
                  <a:cubicBezTo>
                    <a:pt x="136" y="459"/>
                    <a:pt x="141" y="453"/>
                    <a:pt x="141" y="446"/>
                  </a:cubicBezTo>
                  <a:cubicBezTo>
                    <a:pt x="141" y="439"/>
                    <a:pt x="136" y="434"/>
                    <a:pt x="128" y="434"/>
                  </a:cubicBezTo>
                  <a:close/>
                  <a:moveTo>
                    <a:pt x="326" y="434"/>
                  </a:moveTo>
                  <a:cubicBezTo>
                    <a:pt x="319" y="434"/>
                    <a:pt x="313" y="439"/>
                    <a:pt x="313" y="446"/>
                  </a:cubicBezTo>
                  <a:cubicBezTo>
                    <a:pt x="313" y="453"/>
                    <a:pt x="319" y="459"/>
                    <a:pt x="326" y="459"/>
                  </a:cubicBezTo>
                  <a:cubicBezTo>
                    <a:pt x="333" y="459"/>
                    <a:pt x="338" y="453"/>
                    <a:pt x="338" y="446"/>
                  </a:cubicBezTo>
                  <a:cubicBezTo>
                    <a:pt x="338" y="439"/>
                    <a:pt x="333" y="434"/>
                    <a:pt x="326" y="434"/>
                  </a:cubicBezTo>
                  <a:close/>
                  <a:moveTo>
                    <a:pt x="365" y="459"/>
                  </a:moveTo>
                  <a:cubicBezTo>
                    <a:pt x="372" y="459"/>
                    <a:pt x="378" y="453"/>
                    <a:pt x="378" y="446"/>
                  </a:cubicBezTo>
                  <a:cubicBezTo>
                    <a:pt x="378" y="439"/>
                    <a:pt x="372" y="434"/>
                    <a:pt x="365" y="434"/>
                  </a:cubicBezTo>
                  <a:cubicBezTo>
                    <a:pt x="358" y="434"/>
                    <a:pt x="352" y="439"/>
                    <a:pt x="352" y="446"/>
                  </a:cubicBezTo>
                  <a:cubicBezTo>
                    <a:pt x="352" y="453"/>
                    <a:pt x="358" y="459"/>
                    <a:pt x="365" y="459"/>
                  </a:cubicBezTo>
                  <a:close/>
                  <a:moveTo>
                    <a:pt x="404" y="459"/>
                  </a:moveTo>
                  <a:cubicBezTo>
                    <a:pt x="411" y="459"/>
                    <a:pt x="417" y="453"/>
                    <a:pt x="417" y="446"/>
                  </a:cubicBezTo>
                  <a:cubicBezTo>
                    <a:pt x="417" y="439"/>
                    <a:pt x="411" y="434"/>
                    <a:pt x="404" y="434"/>
                  </a:cubicBezTo>
                  <a:cubicBezTo>
                    <a:pt x="397" y="434"/>
                    <a:pt x="392" y="439"/>
                    <a:pt x="392" y="446"/>
                  </a:cubicBezTo>
                  <a:cubicBezTo>
                    <a:pt x="392" y="453"/>
                    <a:pt x="397" y="459"/>
                    <a:pt x="404" y="459"/>
                  </a:cubicBezTo>
                  <a:close/>
                  <a:moveTo>
                    <a:pt x="444" y="459"/>
                  </a:moveTo>
                  <a:cubicBezTo>
                    <a:pt x="451" y="459"/>
                    <a:pt x="457" y="453"/>
                    <a:pt x="457" y="446"/>
                  </a:cubicBezTo>
                  <a:cubicBezTo>
                    <a:pt x="457" y="439"/>
                    <a:pt x="451" y="434"/>
                    <a:pt x="444" y="434"/>
                  </a:cubicBezTo>
                  <a:cubicBezTo>
                    <a:pt x="437" y="434"/>
                    <a:pt x="431" y="439"/>
                    <a:pt x="431" y="446"/>
                  </a:cubicBezTo>
                  <a:cubicBezTo>
                    <a:pt x="431" y="453"/>
                    <a:pt x="437" y="459"/>
                    <a:pt x="444" y="459"/>
                  </a:cubicBezTo>
                  <a:close/>
                  <a:moveTo>
                    <a:pt x="483" y="459"/>
                  </a:moveTo>
                  <a:cubicBezTo>
                    <a:pt x="490" y="459"/>
                    <a:pt x="496" y="453"/>
                    <a:pt x="496" y="446"/>
                  </a:cubicBezTo>
                  <a:cubicBezTo>
                    <a:pt x="496" y="439"/>
                    <a:pt x="490" y="434"/>
                    <a:pt x="483" y="434"/>
                  </a:cubicBezTo>
                  <a:cubicBezTo>
                    <a:pt x="476" y="434"/>
                    <a:pt x="471" y="439"/>
                    <a:pt x="471" y="446"/>
                  </a:cubicBezTo>
                  <a:cubicBezTo>
                    <a:pt x="471" y="453"/>
                    <a:pt x="476" y="459"/>
                    <a:pt x="483" y="459"/>
                  </a:cubicBezTo>
                  <a:close/>
                  <a:moveTo>
                    <a:pt x="523" y="459"/>
                  </a:moveTo>
                  <a:cubicBezTo>
                    <a:pt x="530" y="459"/>
                    <a:pt x="535" y="453"/>
                    <a:pt x="535" y="446"/>
                  </a:cubicBezTo>
                  <a:cubicBezTo>
                    <a:pt x="535" y="439"/>
                    <a:pt x="530" y="434"/>
                    <a:pt x="523" y="434"/>
                  </a:cubicBezTo>
                  <a:cubicBezTo>
                    <a:pt x="516" y="434"/>
                    <a:pt x="510" y="439"/>
                    <a:pt x="510" y="446"/>
                  </a:cubicBezTo>
                  <a:cubicBezTo>
                    <a:pt x="510" y="453"/>
                    <a:pt x="516" y="459"/>
                    <a:pt x="523" y="459"/>
                  </a:cubicBezTo>
                  <a:close/>
                  <a:moveTo>
                    <a:pt x="562" y="459"/>
                  </a:moveTo>
                  <a:cubicBezTo>
                    <a:pt x="569" y="459"/>
                    <a:pt x="575" y="453"/>
                    <a:pt x="575" y="446"/>
                  </a:cubicBezTo>
                  <a:cubicBezTo>
                    <a:pt x="575" y="439"/>
                    <a:pt x="569" y="434"/>
                    <a:pt x="562" y="434"/>
                  </a:cubicBezTo>
                  <a:cubicBezTo>
                    <a:pt x="555" y="434"/>
                    <a:pt x="549" y="439"/>
                    <a:pt x="549" y="446"/>
                  </a:cubicBezTo>
                  <a:cubicBezTo>
                    <a:pt x="549" y="453"/>
                    <a:pt x="555" y="459"/>
                    <a:pt x="562" y="459"/>
                  </a:cubicBezTo>
                  <a:close/>
                  <a:moveTo>
                    <a:pt x="602" y="459"/>
                  </a:moveTo>
                  <a:cubicBezTo>
                    <a:pt x="609" y="459"/>
                    <a:pt x="614" y="453"/>
                    <a:pt x="614" y="446"/>
                  </a:cubicBezTo>
                  <a:cubicBezTo>
                    <a:pt x="614" y="439"/>
                    <a:pt x="609" y="434"/>
                    <a:pt x="602" y="434"/>
                  </a:cubicBezTo>
                  <a:cubicBezTo>
                    <a:pt x="595" y="434"/>
                    <a:pt x="589" y="439"/>
                    <a:pt x="589" y="446"/>
                  </a:cubicBezTo>
                  <a:cubicBezTo>
                    <a:pt x="589" y="453"/>
                    <a:pt x="595" y="459"/>
                    <a:pt x="602" y="459"/>
                  </a:cubicBezTo>
                  <a:close/>
                  <a:moveTo>
                    <a:pt x="641" y="459"/>
                  </a:moveTo>
                  <a:cubicBezTo>
                    <a:pt x="648" y="459"/>
                    <a:pt x="654" y="453"/>
                    <a:pt x="654" y="446"/>
                  </a:cubicBezTo>
                  <a:cubicBezTo>
                    <a:pt x="654" y="439"/>
                    <a:pt x="648" y="434"/>
                    <a:pt x="641" y="434"/>
                  </a:cubicBezTo>
                  <a:cubicBezTo>
                    <a:pt x="634" y="434"/>
                    <a:pt x="628" y="439"/>
                    <a:pt x="628" y="446"/>
                  </a:cubicBezTo>
                  <a:cubicBezTo>
                    <a:pt x="628" y="453"/>
                    <a:pt x="634" y="459"/>
                    <a:pt x="641" y="459"/>
                  </a:cubicBezTo>
                  <a:close/>
                  <a:moveTo>
                    <a:pt x="680" y="459"/>
                  </a:moveTo>
                  <a:cubicBezTo>
                    <a:pt x="687" y="459"/>
                    <a:pt x="693" y="453"/>
                    <a:pt x="693" y="446"/>
                  </a:cubicBezTo>
                  <a:cubicBezTo>
                    <a:pt x="693" y="439"/>
                    <a:pt x="687" y="434"/>
                    <a:pt x="680" y="434"/>
                  </a:cubicBezTo>
                  <a:cubicBezTo>
                    <a:pt x="673" y="434"/>
                    <a:pt x="668" y="439"/>
                    <a:pt x="668" y="446"/>
                  </a:cubicBezTo>
                  <a:cubicBezTo>
                    <a:pt x="668" y="453"/>
                    <a:pt x="673" y="459"/>
                    <a:pt x="680" y="459"/>
                  </a:cubicBezTo>
                  <a:close/>
                  <a:moveTo>
                    <a:pt x="720" y="459"/>
                  </a:moveTo>
                  <a:cubicBezTo>
                    <a:pt x="727" y="459"/>
                    <a:pt x="733" y="453"/>
                    <a:pt x="733" y="446"/>
                  </a:cubicBezTo>
                  <a:cubicBezTo>
                    <a:pt x="733" y="439"/>
                    <a:pt x="727" y="434"/>
                    <a:pt x="720" y="434"/>
                  </a:cubicBezTo>
                  <a:cubicBezTo>
                    <a:pt x="713" y="434"/>
                    <a:pt x="707" y="439"/>
                    <a:pt x="707" y="446"/>
                  </a:cubicBezTo>
                  <a:cubicBezTo>
                    <a:pt x="707" y="453"/>
                    <a:pt x="713" y="459"/>
                    <a:pt x="720" y="459"/>
                  </a:cubicBezTo>
                  <a:close/>
                  <a:moveTo>
                    <a:pt x="917" y="459"/>
                  </a:moveTo>
                  <a:cubicBezTo>
                    <a:pt x="924" y="459"/>
                    <a:pt x="930" y="453"/>
                    <a:pt x="930" y="446"/>
                  </a:cubicBezTo>
                  <a:cubicBezTo>
                    <a:pt x="930" y="439"/>
                    <a:pt x="924" y="434"/>
                    <a:pt x="917" y="434"/>
                  </a:cubicBezTo>
                  <a:cubicBezTo>
                    <a:pt x="910" y="434"/>
                    <a:pt x="904" y="439"/>
                    <a:pt x="904" y="446"/>
                  </a:cubicBezTo>
                  <a:cubicBezTo>
                    <a:pt x="904" y="453"/>
                    <a:pt x="910" y="459"/>
                    <a:pt x="917" y="459"/>
                  </a:cubicBezTo>
                  <a:close/>
                  <a:moveTo>
                    <a:pt x="956" y="459"/>
                  </a:moveTo>
                  <a:cubicBezTo>
                    <a:pt x="963" y="459"/>
                    <a:pt x="969" y="453"/>
                    <a:pt x="969" y="446"/>
                  </a:cubicBezTo>
                  <a:cubicBezTo>
                    <a:pt x="969" y="439"/>
                    <a:pt x="963" y="434"/>
                    <a:pt x="956" y="434"/>
                  </a:cubicBezTo>
                  <a:cubicBezTo>
                    <a:pt x="949" y="434"/>
                    <a:pt x="944" y="439"/>
                    <a:pt x="944" y="446"/>
                  </a:cubicBezTo>
                  <a:cubicBezTo>
                    <a:pt x="944" y="453"/>
                    <a:pt x="949" y="459"/>
                    <a:pt x="956" y="459"/>
                  </a:cubicBezTo>
                  <a:close/>
                  <a:moveTo>
                    <a:pt x="1035" y="459"/>
                  </a:moveTo>
                  <a:cubicBezTo>
                    <a:pt x="1042" y="459"/>
                    <a:pt x="1048" y="453"/>
                    <a:pt x="1048" y="446"/>
                  </a:cubicBezTo>
                  <a:cubicBezTo>
                    <a:pt x="1048" y="439"/>
                    <a:pt x="1042" y="434"/>
                    <a:pt x="1035" y="434"/>
                  </a:cubicBezTo>
                  <a:cubicBezTo>
                    <a:pt x="1028" y="434"/>
                    <a:pt x="1022" y="439"/>
                    <a:pt x="1022" y="446"/>
                  </a:cubicBezTo>
                  <a:cubicBezTo>
                    <a:pt x="1022" y="453"/>
                    <a:pt x="1028" y="459"/>
                    <a:pt x="1035" y="459"/>
                  </a:cubicBezTo>
                  <a:close/>
                  <a:moveTo>
                    <a:pt x="1784" y="459"/>
                  </a:moveTo>
                  <a:cubicBezTo>
                    <a:pt x="1791" y="459"/>
                    <a:pt x="1797" y="453"/>
                    <a:pt x="1797" y="446"/>
                  </a:cubicBezTo>
                  <a:cubicBezTo>
                    <a:pt x="1797" y="439"/>
                    <a:pt x="1791" y="434"/>
                    <a:pt x="1784" y="434"/>
                  </a:cubicBezTo>
                  <a:cubicBezTo>
                    <a:pt x="1777" y="434"/>
                    <a:pt x="1772" y="439"/>
                    <a:pt x="1772" y="446"/>
                  </a:cubicBezTo>
                  <a:cubicBezTo>
                    <a:pt x="1772" y="453"/>
                    <a:pt x="1777" y="459"/>
                    <a:pt x="1784" y="459"/>
                  </a:cubicBezTo>
                  <a:close/>
                  <a:moveTo>
                    <a:pt x="1824" y="459"/>
                  </a:moveTo>
                  <a:cubicBezTo>
                    <a:pt x="1831" y="459"/>
                    <a:pt x="1836" y="453"/>
                    <a:pt x="1836" y="446"/>
                  </a:cubicBezTo>
                  <a:cubicBezTo>
                    <a:pt x="1836" y="439"/>
                    <a:pt x="1831" y="434"/>
                    <a:pt x="1824" y="434"/>
                  </a:cubicBezTo>
                  <a:cubicBezTo>
                    <a:pt x="1817" y="434"/>
                    <a:pt x="1811" y="439"/>
                    <a:pt x="1811" y="446"/>
                  </a:cubicBezTo>
                  <a:cubicBezTo>
                    <a:pt x="1811" y="453"/>
                    <a:pt x="1817" y="459"/>
                    <a:pt x="1824" y="459"/>
                  </a:cubicBezTo>
                  <a:close/>
                  <a:moveTo>
                    <a:pt x="1863" y="459"/>
                  </a:moveTo>
                  <a:cubicBezTo>
                    <a:pt x="1870" y="459"/>
                    <a:pt x="1876" y="453"/>
                    <a:pt x="1876" y="446"/>
                  </a:cubicBezTo>
                  <a:cubicBezTo>
                    <a:pt x="1876" y="439"/>
                    <a:pt x="1870" y="434"/>
                    <a:pt x="1863" y="434"/>
                  </a:cubicBezTo>
                  <a:cubicBezTo>
                    <a:pt x="1856" y="434"/>
                    <a:pt x="1850" y="439"/>
                    <a:pt x="1850" y="446"/>
                  </a:cubicBezTo>
                  <a:cubicBezTo>
                    <a:pt x="1850" y="453"/>
                    <a:pt x="1856" y="459"/>
                    <a:pt x="1863" y="459"/>
                  </a:cubicBezTo>
                  <a:close/>
                  <a:moveTo>
                    <a:pt x="1942" y="459"/>
                  </a:moveTo>
                  <a:cubicBezTo>
                    <a:pt x="1949" y="459"/>
                    <a:pt x="1955" y="453"/>
                    <a:pt x="1955" y="446"/>
                  </a:cubicBezTo>
                  <a:cubicBezTo>
                    <a:pt x="1955" y="439"/>
                    <a:pt x="1949" y="434"/>
                    <a:pt x="1942" y="434"/>
                  </a:cubicBezTo>
                  <a:cubicBezTo>
                    <a:pt x="1935" y="434"/>
                    <a:pt x="1929" y="439"/>
                    <a:pt x="1929" y="446"/>
                  </a:cubicBezTo>
                  <a:cubicBezTo>
                    <a:pt x="1929" y="453"/>
                    <a:pt x="1935" y="459"/>
                    <a:pt x="1942" y="459"/>
                  </a:cubicBezTo>
                  <a:close/>
                  <a:moveTo>
                    <a:pt x="1981" y="459"/>
                  </a:moveTo>
                  <a:cubicBezTo>
                    <a:pt x="1988" y="459"/>
                    <a:pt x="1994" y="453"/>
                    <a:pt x="1994" y="446"/>
                  </a:cubicBezTo>
                  <a:cubicBezTo>
                    <a:pt x="1994" y="439"/>
                    <a:pt x="1988" y="434"/>
                    <a:pt x="1981" y="434"/>
                  </a:cubicBezTo>
                  <a:cubicBezTo>
                    <a:pt x="1974" y="434"/>
                    <a:pt x="1969" y="439"/>
                    <a:pt x="1969" y="446"/>
                  </a:cubicBezTo>
                  <a:cubicBezTo>
                    <a:pt x="1969" y="453"/>
                    <a:pt x="1974" y="459"/>
                    <a:pt x="1981" y="459"/>
                  </a:cubicBezTo>
                  <a:close/>
                  <a:moveTo>
                    <a:pt x="2021" y="459"/>
                  </a:moveTo>
                  <a:cubicBezTo>
                    <a:pt x="2028" y="459"/>
                    <a:pt x="2034" y="453"/>
                    <a:pt x="2034" y="446"/>
                  </a:cubicBezTo>
                  <a:cubicBezTo>
                    <a:pt x="2034" y="439"/>
                    <a:pt x="2028" y="434"/>
                    <a:pt x="2021" y="434"/>
                  </a:cubicBezTo>
                  <a:cubicBezTo>
                    <a:pt x="2014" y="434"/>
                    <a:pt x="2008" y="439"/>
                    <a:pt x="2008" y="446"/>
                  </a:cubicBezTo>
                  <a:cubicBezTo>
                    <a:pt x="2008" y="453"/>
                    <a:pt x="2014" y="459"/>
                    <a:pt x="2021" y="459"/>
                  </a:cubicBezTo>
                  <a:close/>
                  <a:moveTo>
                    <a:pt x="2060" y="459"/>
                  </a:moveTo>
                  <a:cubicBezTo>
                    <a:pt x="2067" y="459"/>
                    <a:pt x="2073" y="453"/>
                    <a:pt x="2073" y="446"/>
                  </a:cubicBezTo>
                  <a:cubicBezTo>
                    <a:pt x="2073" y="439"/>
                    <a:pt x="2067" y="434"/>
                    <a:pt x="2060" y="434"/>
                  </a:cubicBezTo>
                  <a:cubicBezTo>
                    <a:pt x="2053" y="434"/>
                    <a:pt x="2048" y="439"/>
                    <a:pt x="2048" y="446"/>
                  </a:cubicBezTo>
                  <a:cubicBezTo>
                    <a:pt x="2048" y="453"/>
                    <a:pt x="2053" y="459"/>
                    <a:pt x="2060" y="459"/>
                  </a:cubicBezTo>
                  <a:close/>
                  <a:moveTo>
                    <a:pt x="2100" y="459"/>
                  </a:moveTo>
                  <a:cubicBezTo>
                    <a:pt x="2107" y="459"/>
                    <a:pt x="2112" y="453"/>
                    <a:pt x="2112" y="446"/>
                  </a:cubicBezTo>
                  <a:cubicBezTo>
                    <a:pt x="2112" y="439"/>
                    <a:pt x="2107" y="434"/>
                    <a:pt x="2100" y="434"/>
                  </a:cubicBezTo>
                  <a:cubicBezTo>
                    <a:pt x="2093" y="434"/>
                    <a:pt x="2087" y="439"/>
                    <a:pt x="2087" y="446"/>
                  </a:cubicBezTo>
                  <a:cubicBezTo>
                    <a:pt x="2087" y="453"/>
                    <a:pt x="2093" y="459"/>
                    <a:pt x="2100" y="459"/>
                  </a:cubicBezTo>
                  <a:close/>
                  <a:moveTo>
                    <a:pt x="2139" y="459"/>
                  </a:moveTo>
                  <a:cubicBezTo>
                    <a:pt x="2146" y="459"/>
                    <a:pt x="2152" y="453"/>
                    <a:pt x="2152" y="446"/>
                  </a:cubicBezTo>
                  <a:cubicBezTo>
                    <a:pt x="2152" y="439"/>
                    <a:pt x="2146" y="434"/>
                    <a:pt x="2139" y="434"/>
                  </a:cubicBezTo>
                  <a:cubicBezTo>
                    <a:pt x="2132" y="434"/>
                    <a:pt x="2126" y="439"/>
                    <a:pt x="2126" y="446"/>
                  </a:cubicBezTo>
                  <a:cubicBezTo>
                    <a:pt x="2126" y="453"/>
                    <a:pt x="2132" y="459"/>
                    <a:pt x="2139" y="459"/>
                  </a:cubicBezTo>
                  <a:close/>
                  <a:moveTo>
                    <a:pt x="2179" y="459"/>
                  </a:moveTo>
                  <a:cubicBezTo>
                    <a:pt x="2186" y="459"/>
                    <a:pt x="2191" y="453"/>
                    <a:pt x="2191" y="446"/>
                  </a:cubicBezTo>
                  <a:cubicBezTo>
                    <a:pt x="2191" y="439"/>
                    <a:pt x="2186" y="434"/>
                    <a:pt x="2179" y="434"/>
                  </a:cubicBezTo>
                  <a:cubicBezTo>
                    <a:pt x="2171" y="434"/>
                    <a:pt x="2166" y="439"/>
                    <a:pt x="2166" y="446"/>
                  </a:cubicBezTo>
                  <a:cubicBezTo>
                    <a:pt x="2166" y="453"/>
                    <a:pt x="2171" y="459"/>
                    <a:pt x="2179" y="459"/>
                  </a:cubicBezTo>
                  <a:close/>
                  <a:moveTo>
                    <a:pt x="2218" y="459"/>
                  </a:moveTo>
                  <a:cubicBezTo>
                    <a:pt x="2225" y="459"/>
                    <a:pt x="2231" y="453"/>
                    <a:pt x="2231" y="446"/>
                  </a:cubicBezTo>
                  <a:cubicBezTo>
                    <a:pt x="2231" y="439"/>
                    <a:pt x="2225" y="434"/>
                    <a:pt x="2218" y="434"/>
                  </a:cubicBezTo>
                  <a:cubicBezTo>
                    <a:pt x="2211" y="434"/>
                    <a:pt x="2205" y="439"/>
                    <a:pt x="2205" y="446"/>
                  </a:cubicBezTo>
                  <a:cubicBezTo>
                    <a:pt x="2205" y="453"/>
                    <a:pt x="2211" y="459"/>
                    <a:pt x="2218" y="459"/>
                  </a:cubicBezTo>
                  <a:close/>
                  <a:moveTo>
                    <a:pt x="2257" y="459"/>
                  </a:moveTo>
                  <a:cubicBezTo>
                    <a:pt x="2264" y="459"/>
                    <a:pt x="2270" y="453"/>
                    <a:pt x="2270" y="446"/>
                  </a:cubicBezTo>
                  <a:cubicBezTo>
                    <a:pt x="2270" y="439"/>
                    <a:pt x="2264" y="434"/>
                    <a:pt x="2257" y="434"/>
                  </a:cubicBezTo>
                  <a:cubicBezTo>
                    <a:pt x="2250" y="434"/>
                    <a:pt x="2245" y="439"/>
                    <a:pt x="2245" y="446"/>
                  </a:cubicBezTo>
                  <a:cubicBezTo>
                    <a:pt x="2245" y="453"/>
                    <a:pt x="2250" y="459"/>
                    <a:pt x="2257" y="459"/>
                  </a:cubicBezTo>
                  <a:close/>
                  <a:moveTo>
                    <a:pt x="2297" y="459"/>
                  </a:moveTo>
                  <a:cubicBezTo>
                    <a:pt x="2304" y="459"/>
                    <a:pt x="2310" y="453"/>
                    <a:pt x="2310" y="446"/>
                  </a:cubicBezTo>
                  <a:cubicBezTo>
                    <a:pt x="2310" y="439"/>
                    <a:pt x="2304" y="434"/>
                    <a:pt x="2297" y="434"/>
                  </a:cubicBezTo>
                  <a:cubicBezTo>
                    <a:pt x="2290" y="434"/>
                    <a:pt x="2284" y="439"/>
                    <a:pt x="2284" y="446"/>
                  </a:cubicBezTo>
                  <a:cubicBezTo>
                    <a:pt x="2284" y="453"/>
                    <a:pt x="2290" y="459"/>
                    <a:pt x="2297" y="459"/>
                  </a:cubicBezTo>
                  <a:close/>
                  <a:moveTo>
                    <a:pt x="2336" y="459"/>
                  </a:moveTo>
                  <a:cubicBezTo>
                    <a:pt x="2343" y="459"/>
                    <a:pt x="2349" y="453"/>
                    <a:pt x="2349" y="446"/>
                  </a:cubicBezTo>
                  <a:cubicBezTo>
                    <a:pt x="2349" y="439"/>
                    <a:pt x="2343" y="434"/>
                    <a:pt x="2336" y="434"/>
                  </a:cubicBezTo>
                  <a:cubicBezTo>
                    <a:pt x="2329" y="434"/>
                    <a:pt x="2323" y="439"/>
                    <a:pt x="2323" y="446"/>
                  </a:cubicBezTo>
                  <a:cubicBezTo>
                    <a:pt x="2323" y="453"/>
                    <a:pt x="2329" y="459"/>
                    <a:pt x="2336" y="459"/>
                  </a:cubicBezTo>
                  <a:close/>
                  <a:moveTo>
                    <a:pt x="2376" y="459"/>
                  </a:moveTo>
                  <a:cubicBezTo>
                    <a:pt x="2383" y="459"/>
                    <a:pt x="2388" y="453"/>
                    <a:pt x="2388" y="446"/>
                  </a:cubicBezTo>
                  <a:cubicBezTo>
                    <a:pt x="2388" y="439"/>
                    <a:pt x="2383" y="434"/>
                    <a:pt x="2376" y="434"/>
                  </a:cubicBezTo>
                  <a:cubicBezTo>
                    <a:pt x="2369" y="434"/>
                    <a:pt x="2363" y="439"/>
                    <a:pt x="2363" y="446"/>
                  </a:cubicBezTo>
                  <a:cubicBezTo>
                    <a:pt x="2363" y="453"/>
                    <a:pt x="2369" y="459"/>
                    <a:pt x="2376" y="459"/>
                  </a:cubicBezTo>
                  <a:close/>
                  <a:moveTo>
                    <a:pt x="2415" y="459"/>
                  </a:moveTo>
                  <a:cubicBezTo>
                    <a:pt x="2422" y="459"/>
                    <a:pt x="2428" y="453"/>
                    <a:pt x="2428" y="446"/>
                  </a:cubicBezTo>
                  <a:cubicBezTo>
                    <a:pt x="2428" y="439"/>
                    <a:pt x="2422" y="434"/>
                    <a:pt x="2415" y="434"/>
                  </a:cubicBezTo>
                  <a:cubicBezTo>
                    <a:pt x="2408" y="434"/>
                    <a:pt x="2402" y="439"/>
                    <a:pt x="2402" y="446"/>
                  </a:cubicBezTo>
                  <a:cubicBezTo>
                    <a:pt x="2402" y="453"/>
                    <a:pt x="2408" y="459"/>
                    <a:pt x="2415" y="459"/>
                  </a:cubicBezTo>
                  <a:close/>
                  <a:moveTo>
                    <a:pt x="2454" y="459"/>
                  </a:moveTo>
                  <a:cubicBezTo>
                    <a:pt x="2462" y="459"/>
                    <a:pt x="2467" y="453"/>
                    <a:pt x="2467" y="446"/>
                  </a:cubicBezTo>
                  <a:cubicBezTo>
                    <a:pt x="2467" y="439"/>
                    <a:pt x="2462" y="434"/>
                    <a:pt x="2454" y="434"/>
                  </a:cubicBezTo>
                  <a:cubicBezTo>
                    <a:pt x="2447" y="434"/>
                    <a:pt x="2442" y="439"/>
                    <a:pt x="2442" y="446"/>
                  </a:cubicBezTo>
                  <a:cubicBezTo>
                    <a:pt x="2442" y="453"/>
                    <a:pt x="2447" y="459"/>
                    <a:pt x="2454" y="459"/>
                  </a:cubicBezTo>
                  <a:close/>
                  <a:moveTo>
                    <a:pt x="2494" y="459"/>
                  </a:moveTo>
                  <a:cubicBezTo>
                    <a:pt x="2501" y="459"/>
                    <a:pt x="2507" y="453"/>
                    <a:pt x="2507" y="446"/>
                  </a:cubicBezTo>
                  <a:cubicBezTo>
                    <a:pt x="2507" y="439"/>
                    <a:pt x="2501" y="434"/>
                    <a:pt x="2494" y="434"/>
                  </a:cubicBezTo>
                  <a:cubicBezTo>
                    <a:pt x="2487" y="434"/>
                    <a:pt x="2481" y="439"/>
                    <a:pt x="2481" y="446"/>
                  </a:cubicBezTo>
                  <a:cubicBezTo>
                    <a:pt x="2481" y="453"/>
                    <a:pt x="2487" y="459"/>
                    <a:pt x="2494" y="459"/>
                  </a:cubicBezTo>
                  <a:close/>
                  <a:moveTo>
                    <a:pt x="2533" y="459"/>
                  </a:moveTo>
                  <a:cubicBezTo>
                    <a:pt x="2540" y="459"/>
                    <a:pt x="2546" y="453"/>
                    <a:pt x="2546" y="446"/>
                  </a:cubicBezTo>
                  <a:cubicBezTo>
                    <a:pt x="2546" y="439"/>
                    <a:pt x="2540" y="434"/>
                    <a:pt x="2533" y="434"/>
                  </a:cubicBezTo>
                  <a:cubicBezTo>
                    <a:pt x="2526" y="434"/>
                    <a:pt x="2521" y="439"/>
                    <a:pt x="2521" y="446"/>
                  </a:cubicBezTo>
                  <a:cubicBezTo>
                    <a:pt x="2521" y="453"/>
                    <a:pt x="2526" y="459"/>
                    <a:pt x="2533" y="459"/>
                  </a:cubicBezTo>
                  <a:close/>
                  <a:moveTo>
                    <a:pt x="2573" y="459"/>
                  </a:moveTo>
                  <a:cubicBezTo>
                    <a:pt x="2580" y="459"/>
                    <a:pt x="2586" y="453"/>
                    <a:pt x="2586" y="446"/>
                  </a:cubicBezTo>
                  <a:cubicBezTo>
                    <a:pt x="2586" y="439"/>
                    <a:pt x="2580" y="434"/>
                    <a:pt x="2573" y="434"/>
                  </a:cubicBezTo>
                  <a:cubicBezTo>
                    <a:pt x="2566" y="434"/>
                    <a:pt x="2560" y="439"/>
                    <a:pt x="2560" y="446"/>
                  </a:cubicBezTo>
                  <a:cubicBezTo>
                    <a:pt x="2560" y="453"/>
                    <a:pt x="2566" y="459"/>
                    <a:pt x="2573" y="459"/>
                  </a:cubicBezTo>
                  <a:close/>
                  <a:moveTo>
                    <a:pt x="2612" y="459"/>
                  </a:moveTo>
                  <a:cubicBezTo>
                    <a:pt x="2619" y="459"/>
                    <a:pt x="2625" y="453"/>
                    <a:pt x="2625" y="446"/>
                  </a:cubicBezTo>
                  <a:cubicBezTo>
                    <a:pt x="2625" y="439"/>
                    <a:pt x="2619" y="434"/>
                    <a:pt x="2612" y="434"/>
                  </a:cubicBezTo>
                  <a:cubicBezTo>
                    <a:pt x="2605" y="434"/>
                    <a:pt x="2599" y="439"/>
                    <a:pt x="2599" y="446"/>
                  </a:cubicBezTo>
                  <a:cubicBezTo>
                    <a:pt x="2599" y="453"/>
                    <a:pt x="2605" y="459"/>
                    <a:pt x="2612" y="459"/>
                  </a:cubicBezTo>
                  <a:close/>
                  <a:moveTo>
                    <a:pt x="2652" y="459"/>
                  </a:moveTo>
                  <a:cubicBezTo>
                    <a:pt x="2659" y="459"/>
                    <a:pt x="2664" y="453"/>
                    <a:pt x="2664" y="446"/>
                  </a:cubicBezTo>
                  <a:cubicBezTo>
                    <a:pt x="2664" y="439"/>
                    <a:pt x="2659" y="434"/>
                    <a:pt x="2652" y="434"/>
                  </a:cubicBezTo>
                  <a:cubicBezTo>
                    <a:pt x="2645" y="434"/>
                    <a:pt x="2639" y="439"/>
                    <a:pt x="2639" y="446"/>
                  </a:cubicBezTo>
                  <a:cubicBezTo>
                    <a:pt x="2639" y="453"/>
                    <a:pt x="2645" y="459"/>
                    <a:pt x="2652" y="459"/>
                  </a:cubicBezTo>
                  <a:close/>
                  <a:moveTo>
                    <a:pt x="2691" y="459"/>
                  </a:moveTo>
                  <a:cubicBezTo>
                    <a:pt x="2698" y="459"/>
                    <a:pt x="2704" y="453"/>
                    <a:pt x="2704" y="446"/>
                  </a:cubicBezTo>
                  <a:cubicBezTo>
                    <a:pt x="2704" y="439"/>
                    <a:pt x="2698" y="434"/>
                    <a:pt x="2691" y="434"/>
                  </a:cubicBezTo>
                  <a:cubicBezTo>
                    <a:pt x="2684" y="434"/>
                    <a:pt x="2678" y="439"/>
                    <a:pt x="2678" y="446"/>
                  </a:cubicBezTo>
                  <a:cubicBezTo>
                    <a:pt x="2678" y="453"/>
                    <a:pt x="2684" y="459"/>
                    <a:pt x="2691" y="459"/>
                  </a:cubicBezTo>
                  <a:close/>
                  <a:moveTo>
                    <a:pt x="2730" y="459"/>
                  </a:moveTo>
                  <a:cubicBezTo>
                    <a:pt x="2738" y="459"/>
                    <a:pt x="2743" y="453"/>
                    <a:pt x="2743" y="446"/>
                  </a:cubicBezTo>
                  <a:cubicBezTo>
                    <a:pt x="2743" y="439"/>
                    <a:pt x="2738" y="434"/>
                    <a:pt x="2730" y="434"/>
                  </a:cubicBezTo>
                  <a:cubicBezTo>
                    <a:pt x="2723" y="434"/>
                    <a:pt x="2718" y="439"/>
                    <a:pt x="2718" y="446"/>
                  </a:cubicBezTo>
                  <a:cubicBezTo>
                    <a:pt x="2718" y="453"/>
                    <a:pt x="2723" y="459"/>
                    <a:pt x="2730" y="459"/>
                  </a:cubicBezTo>
                  <a:close/>
                  <a:moveTo>
                    <a:pt x="2770" y="459"/>
                  </a:moveTo>
                  <a:cubicBezTo>
                    <a:pt x="2777" y="459"/>
                    <a:pt x="2783" y="453"/>
                    <a:pt x="2783" y="446"/>
                  </a:cubicBezTo>
                  <a:cubicBezTo>
                    <a:pt x="2783" y="439"/>
                    <a:pt x="2777" y="434"/>
                    <a:pt x="2770" y="434"/>
                  </a:cubicBezTo>
                  <a:cubicBezTo>
                    <a:pt x="2763" y="434"/>
                    <a:pt x="2757" y="439"/>
                    <a:pt x="2757" y="446"/>
                  </a:cubicBezTo>
                  <a:cubicBezTo>
                    <a:pt x="2757" y="453"/>
                    <a:pt x="2763" y="459"/>
                    <a:pt x="2770" y="459"/>
                  </a:cubicBezTo>
                  <a:close/>
                  <a:moveTo>
                    <a:pt x="2809" y="459"/>
                  </a:moveTo>
                  <a:cubicBezTo>
                    <a:pt x="2816" y="459"/>
                    <a:pt x="2822" y="453"/>
                    <a:pt x="2822" y="446"/>
                  </a:cubicBezTo>
                  <a:cubicBezTo>
                    <a:pt x="2822" y="439"/>
                    <a:pt x="2816" y="434"/>
                    <a:pt x="2809" y="434"/>
                  </a:cubicBezTo>
                  <a:cubicBezTo>
                    <a:pt x="2802" y="434"/>
                    <a:pt x="2797" y="439"/>
                    <a:pt x="2797" y="446"/>
                  </a:cubicBezTo>
                  <a:cubicBezTo>
                    <a:pt x="2797" y="453"/>
                    <a:pt x="2802" y="459"/>
                    <a:pt x="2809" y="459"/>
                  </a:cubicBezTo>
                  <a:close/>
                  <a:moveTo>
                    <a:pt x="2849" y="459"/>
                  </a:moveTo>
                  <a:cubicBezTo>
                    <a:pt x="2856" y="459"/>
                    <a:pt x="2861" y="453"/>
                    <a:pt x="2861" y="446"/>
                  </a:cubicBezTo>
                  <a:cubicBezTo>
                    <a:pt x="2861" y="439"/>
                    <a:pt x="2856" y="434"/>
                    <a:pt x="2849" y="434"/>
                  </a:cubicBezTo>
                  <a:cubicBezTo>
                    <a:pt x="2842" y="434"/>
                    <a:pt x="2836" y="439"/>
                    <a:pt x="2836" y="446"/>
                  </a:cubicBezTo>
                  <a:cubicBezTo>
                    <a:pt x="2836" y="453"/>
                    <a:pt x="2842" y="459"/>
                    <a:pt x="2849" y="459"/>
                  </a:cubicBezTo>
                  <a:close/>
                  <a:moveTo>
                    <a:pt x="2888" y="459"/>
                  </a:moveTo>
                  <a:cubicBezTo>
                    <a:pt x="2895" y="459"/>
                    <a:pt x="2901" y="453"/>
                    <a:pt x="2901" y="446"/>
                  </a:cubicBezTo>
                  <a:cubicBezTo>
                    <a:pt x="2901" y="439"/>
                    <a:pt x="2895" y="434"/>
                    <a:pt x="2888" y="434"/>
                  </a:cubicBezTo>
                  <a:cubicBezTo>
                    <a:pt x="2881" y="434"/>
                    <a:pt x="2875" y="439"/>
                    <a:pt x="2875" y="446"/>
                  </a:cubicBezTo>
                  <a:cubicBezTo>
                    <a:pt x="2875" y="453"/>
                    <a:pt x="2881" y="459"/>
                    <a:pt x="2888" y="459"/>
                  </a:cubicBezTo>
                  <a:close/>
                  <a:moveTo>
                    <a:pt x="2928" y="459"/>
                  </a:moveTo>
                  <a:cubicBezTo>
                    <a:pt x="2935" y="459"/>
                    <a:pt x="2940" y="453"/>
                    <a:pt x="2940" y="446"/>
                  </a:cubicBezTo>
                  <a:cubicBezTo>
                    <a:pt x="2940" y="439"/>
                    <a:pt x="2935" y="434"/>
                    <a:pt x="2928" y="434"/>
                  </a:cubicBezTo>
                  <a:cubicBezTo>
                    <a:pt x="2921" y="434"/>
                    <a:pt x="2915" y="439"/>
                    <a:pt x="2915" y="446"/>
                  </a:cubicBezTo>
                  <a:cubicBezTo>
                    <a:pt x="2915" y="453"/>
                    <a:pt x="2921" y="459"/>
                    <a:pt x="2928" y="459"/>
                  </a:cubicBezTo>
                  <a:close/>
                  <a:moveTo>
                    <a:pt x="2967" y="459"/>
                  </a:moveTo>
                  <a:cubicBezTo>
                    <a:pt x="2974" y="459"/>
                    <a:pt x="2980" y="453"/>
                    <a:pt x="2980" y="446"/>
                  </a:cubicBezTo>
                  <a:cubicBezTo>
                    <a:pt x="2980" y="439"/>
                    <a:pt x="2974" y="434"/>
                    <a:pt x="2967" y="434"/>
                  </a:cubicBezTo>
                  <a:cubicBezTo>
                    <a:pt x="2960" y="434"/>
                    <a:pt x="2954" y="439"/>
                    <a:pt x="2954" y="446"/>
                  </a:cubicBezTo>
                  <a:cubicBezTo>
                    <a:pt x="2954" y="453"/>
                    <a:pt x="2960" y="459"/>
                    <a:pt x="2967" y="459"/>
                  </a:cubicBezTo>
                  <a:close/>
                  <a:moveTo>
                    <a:pt x="3006" y="459"/>
                  </a:moveTo>
                  <a:cubicBezTo>
                    <a:pt x="3013" y="459"/>
                    <a:pt x="3019" y="453"/>
                    <a:pt x="3019" y="446"/>
                  </a:cubicBezTo>
                  <a:cubicBezTo>
                    <a:pt x="3019" y="439"/>
                    <a:pt x="3013" y="434"/>
                    <a:pt x="3006" y="434"/>
                  </a:cubicBezTo>
                  <a:cubicBezTo>
                    <a:pt x="2999" y="434"/>
                    <a:pt x="2994" y="439"/>
                    <a:pt x="2994" y="446"/>
                  </a:cubicBezTo>
                  <a:cubicBezTo>
                    <a:pt x="2994" y="453"/>
                    <a:pt x="2999" y="459"/>
                    <a:pt x="3006" y="459"/>
                  </a:cubicBezTo>
                  <a:close/>
                  <a:moveTo>
                    <a:pt x="3046" y="459"/>
                  </a:moveTo>
                  <a:cubicBezTo>
                    <a:pt x="3053" y="459"/>
                    <a:pt x="3059" y="453"/>
                    <a:pt x="3059" y="446"/>
                  </a:cubicBezTo>
                  <a:cubicBezTo>
                    <a:pt x="3059" y="439"/>
                    <a:pt x="3053" y="434"/>
                    <a:pt x="3046" y="434"/>
                  </a:cubicBezTo>
                  <a:cubicBezTo>
                    <a:pt x="3039" y="434"/>
                    <a:pt x="3033" y="439"/>
                    <a:pt x="3033" y="446"/>
                  </a:cubicBezTo>
                  <a:cubicBezTo>
                    <a:pt x="3033" y="453"/>
                    <a:pt x="3039" y="459"/>
                    <a:pt x="3046" y="459"/>
                  </a:cubicBezTo>
                  <a:close/>
                  <a:moveTo>
                    <a:pt x="3085" y="459"/>
                  </a:moveTo>
                  <a:cubicBezTo>
                    <a:pt x="3092" y="459"/>
                    <a:pt x="3098" y="453"/>
                    <a:pt x="3098" y="446"/>
                  </a:cubicBezTo>
                  <a:cubicBezTo>
                    <a:pt x="3098" y="439"/>
                    <a:pt x="3092" y="434"/>
                    <a:pt x="3085" y="434"/>
                  </a:cubicBezTo>
                  <a:cubicBezTo>
                    <a:pt x="3078" y="434"/>
                    <a:pt x="3073" y="439"/>
                    <a:pt x="3073" y="446"/>
                  </a:cubicBezTo>
                  <a:cubicBezTo>
                    <a:pt x="3073" y="453"/>
                    <a:pt x="3078" y="459"/>
                    <a:pt x="3085" y="459"/>
                  </a:cubicBezTo>
                  <a:close/>
                  <a:moveTo>
                    <a:pt x="3125" y="459"/>
                  </a:moveTo>
                  <a:cubicBezTo>
                    <a:pt x="3132" y="459"/>
                    <a:pt x="3137" y="453"/>
                    <a:pt x="3137" y="446"/>
                  </a:cubicBezTo>
                  <a:cubicBezTo>
                    <a:pt x="3137" y="439"/>
                    <a:pt x="3132" y="434"/>
                    <a:pt x="3125" y="434"/>
                  </a:cubicBezTo>
                  <a:cubicBezTo>
                    <a:pt x="3118" y="434"/>
                    <a:pt x="3112" y="439"/>
                    <a:pt x="3112" y="446"/>
                  </a:cubicBezTo>
                  <a:cubicBezTo>
                    <a:pt x="3112" y="453"/>
                    <a:pt x="3118" y="459"/>
                    <a:pt x="3125" y="459"/>
                  </a:cubicBezTo>
                  <a:close/>
                  <a:moveTo>
                    <a:pt x="3243" y="459"/>
                  </a:moveTo>
                  <a:cubicBezTo>
                    <a:pt x="3250" y="459"/>
                    <a:pt x="3256" y="453"/>
                    <a:pt x="3256" y="446"/>
                  </a:cubicBezTo>
                  <a:cubicBezTo>
                    <a:pt x="3256" y="439"/>
                    <a:pt x="3250" y="434"/>
                    <a:pt x="3243" y="434"/>
                  </a:cubicBezTo>
                  <a:cubicBezTo>
                    <a:pt x="3236" y="434"/>
                    <a:pt x="3230" y="439"/>
                    <a:pt x="3230" y="446"/>
                  </a:cubicBezTo>
                  <a:cubicBezTo>
                    <a:pt x="3230" y="453"/>
                    <a:pt x="3236" y="459"/>
                    <a:pt x="3243" y="459"/>
                  </a:cubicBezTo>
                  <a:close/>
                  <a:moveTo>
                    <a:pt x="3309" y="446"/>
                  </a:moveTo>
                  <a:cubicBezTo>
                    <a:pt x="3309" y="453"/>
                    <a:pt x="3315" y="459"/>
                    <a:pt x="3322" y="459"/>
                  </a:cubicBezTo>
                  <a:cubicBezTo>
                    <a:pt x="3329" y="459"/>
                    <a:pt x="3335" y="453"/>
                    <a:pt x="3335" y="446"/>
                  </a:cubicBezTo>
                  <a:cubicBezTo>
                    <a:pt x="3335" y="439"/>
                    <a:pt x="3329" y="434"/>
                    <a:pt x="3322" y="434"/>
                  </a:cubicBezTo>
                  <a:cubicBezTo>
                    <a:pt x="3315" y="434"/>
                    <a:pt x="3309" y="439"/>
                    <a:pt x="3309" y="446"/>
                  </a:cubicBezTo>
                  <a:close/>
                  <a:moveTo>
                    <a:pt x="89" y="478"/>
                  </a:moveTo>
                  <a:cubicBezTo>
                    <a:pt x="85" y="478"/>
                    <a:pt x="82" y="482"/>
                    <a:pt x="82" y="486"/>
                  </a:cubicBezTo>
                  <a:cubicBezTo>
                    <a:pt x="82" y="490"/>
                    <a:pt x="85" y="493"/>
                    <a:pt x="89" y="493"/>
                  </a:cubicBezTo>
                  <a:cubicBezTo>
                    <a:pt x="93" y="493"/>
                    <a:pt x="96" y="490"/>
                    <a:pt x="96" y="486"/>
                  </a:cubicBezTo>
                  <a:cubicBezTo>
                    <a:pt x="96" y="482"/>
                    <a:pt x="93" y="478"/>
                    <a:pt x="89" y="478"/>
                  </a:cubicBezTo>
                  <a:close/>
                  <a:moveTo>
                    <a:pt x="326" y="476"/>
                  </a:moveTo>
                  <a:cubicBezTo>
                    <a:pt x="320" y="476"/>
                    <a:pt x="316" y="480"/>
                    <a:pt x="316" y="486"/>
                  </a:cubicBezTo>
                  <a:cubicBezTo>
                    <a:pt x="316" y="491"/>
                    <a:pt x="320" y="496"/>
                    <a:pt x="326" y="496"/>
                  </a:cubicBezTo>
                  <a:cubicBezTo>
                    <a:pt x="331" y="496"/>
                    <a:pt x="336" y="491"/>
                    <a:pt x="336" y="486"/>
                  </a:cubicBezTo>
                  <a:cubicBezTo>
                    <a:pt x="336" y="480"/>
                    <a:pt x="331" y="476"/>
                    <a:pt x="326" y="476"/>
                  </a:cubicBezTo>
                  <a:close/>
                  <a:moveTo>
                    <a:pt x="365" y="473"/>
                  </a:moveTo>
                  <a:cubicBezTo>
                    <a:pt x="358" y="473"/>
                    <a:pt x="352" y="479"/>
                    <a:pt x="352" y="486"/>
                  </a:cubicBezTo>
                  <a:cubicBezTo>
                    <a:pt x="352" y="493"/>
                    <a:pt x="358" y="499"/>
                    <a:pt x="365" y="499"/>
                  </a:cubicBezTo>
                  <a:cubicBezTo>
                    <a:pt x="372" y="499"/>
                    <a:pt x="378" y="493"/>
                    <a:pt x="378" y="486"/>
                  </a:cubicBezTo>
                  <a:cubicBezTo>
                    <a:pt x="378" y="479"/>
                    <a:pt x="372" y="473"/>
                    <a:pt x="365" y="473"/>
                  </a:cubicBezTo>
                  <a:close/>
                  <a:moveTo>
                    <a:pt x="404" y="499"/>
                  </a:moveTo>
                  <a:cubicBezTo>
                    <a:pt x="411" y="499"/>
                    <a:pt x="417" y="493"/>
                    <a:pt x="417" y="486"/>
                  </a:cubicBezTo>
                  <a:cubicBezTo>
                    <a:pt x="417" y="479"/>
                    <a:pt x="411" y="473"/>
                    <a:pt x="404" y="473"/>
                  </a:cubicBezTo>
                  <a:cubicBezTo>
                    <a:pt x="397" y="473"/>
                    <a:pt x="392" y="479"/>
                    <a:pt x="392" y="486"/>
                  </a:cubicBezTo>
                  <a:cubicBezTo>
                    <a:pt x="392" y="493"/>
                    <a:pt x="397" y="499"/>
                    <a:pt x="404" y="499"/>
                  </a:cubicBezTo>
                  <a:close/>
                  <a:moveTo>
                    <a:pt x="444" y="499"/>
                  </a:moveTo>
                  <a:cubicBezTo>
                    <a:pt x="451" y="499"/>
                    <a:pt x="457" y="493"/>
                    <a:pt x="457" y="486"/>
                  </a:cubicBezTo>
                  <a:cubicBezTo>
                    <a:pt x="457" y="479"/>
                    <a:pt x="451" y="473"/>
                    <a:pt x="444" y="473"/>
                  </a:cubicBezTo>
                  <a:cubicBezTo>
                    <a:pt x="437" y="473"/>
                    <a:pt x="431" y="479"/>
                    <a:pt x="431" y="486"/>
                  </a:cubicBezTo>
                  <a:cubicBezTo>
                    <a:pt x="431" y="493"/>
                    <a:pt x="437" y="499"/>
                    <a:pt x="444" y="499"/>
                  </a:cubicBezTo>
                  <a:close/>
                  <a:moveTo>
                    <a:pt x="483" y="499"/>
                  </a:moveTo>
                  <a:cubicBezTo>
                    <a:pt x="490" y="499"/>
                    <a:pt x="496" y="493"/>
                    <a:pt x="496" y="486"/>
                  </a:cubicBezTo>
                  <a:cubicBezTo>
                    <a:pt x="496" y="479"/>
                    <a:pt x="490" y="473"/>
                    <a:pt x="483" y="473"/>
                  </a:cubicBezTo>
                  <a:cubicBezTo>
                    <a:pt x="476" y="473"/>
                    <a:pt x="471" y="479"/>
                    <a:pt x="471" y="486"/>
                  </a:cubicBezTo>
                  <a:cubicBezTo>
                    <a:pt x="471" y="493"/>
                    <a:pt x="476" y="499"/>
                    <a:pt x="483" y="499"/>
                  </a:cubicBezTo>
                  <a:close/>
                  <a:moveTo>
                    <a:pt x="523" y="499"/>
                  </a:moveTo>
                  <a:cubicBezTo>
                    <a:pt x="530" y="499"/>
                    <a:pt x="535" y="493"/>
                    <a:pt x="535" y="486"/>
                  </a:cubicBezTo>
                  <a:cubicBezTo>
                    <a:pt x="535" y="479"/>
                    <a:pt x="530" y="473"/>
                    <a:pt x="523" y="473"/>
                  </a:cubicBezTo>
                  <a:cubicBezTo>
                    <a:pt x="516" y="473"/>
                    <a:pt x="510" y="479"/>
                    <a:pt x="510" y="486"/>
                  </a:cubicBezTo>
                  <a:cubicBezTo>
                    <a:pt x="510" y="493"/>
                    <a:pt x="516" y="499"/>
                    <a:pt x="523" y="499"/>
                  </a:cubicBezTo>
                  <a:close/>
                  <a:moveTo>
                    <a:pt x="562" y="499"/>
                  </a:moveTo>
                  <a:cubicBezTo>
                    <a:pt x="569" y="499"/>
                    <a:pt x="575" y="493"/>
                    <a:pt x="575" y="486"/>
                  </a:cubicBezTo>
                  <a:cubicBezTo>
                    <a:pt x="575" y="479"/>
                    <a:pt x="569" y="473"/>
                    <a:pt x="562" y="473"/>
                  </a:cubicBezTo>
                  <a:cubicBezTo>
                    <a:pt x="555" y="473"/>
                    <a:pt x="549" y="479"/>
                    <a:pt x="549" y="486"/>
                  </a:cubicBezTo>
                  <a:cubicBezTo>
                    <a:pt x="549" y="493"/>
                    <a:pt x="555" y="499"/>
                    <a:pt x="562" y="499"/>
                  </a:cubicBezTo>
                  <a:close/>
                  <a:moveTo>
                    <a:pt x="602" y="499"/>
                  </a:moveTo>
                  <a:cubicBezTo>
                    <a:pt x="609" y="499"/>
                    <a:pt x="614" y="493"/>
                    <a:pt x="614" y="486"/>
                  </a:cubicBezTo>
                  <a:cubicBezTo>
                    <a:pt x="614" y="479"/>
                    <a:pt x="609" y="473"/>
                    <a:pt x="602" y="473"/>
                  </a:cubicBezTo>
                  <a:cubicBezTo>
                    <a:pt x="595" y="473"/>
                    <a:pt x="589" y="479"/>
                    <a:pt x="589" y="486"/>
                  </a:cubicBezTo>
                  <a:cubicBezTo>
                    <a:pt x="589" y="493"/>
                    <a:pt x="595" y="499"/>
                    <a:pt x="602" y="499"/>
                  </a:cubicBezTo>
                  <a:close/>
                  <a:moveTo>
                    <a:pt x="641" y="499"/>
                  </a:moveTo>
                  <a:cubicBezTo>
                    <a:pt x="648" y="499"/>
                    <a:pt x="654" y="493"/>
                    <a:pt x="654" y="486"/>
                  </a:cubicBezTo>
                  <a:cubicBezTo>
                    <a:pt x="654" y="479"/>
                    <a:pt x="648" y="473"/>
                    <a:pt x="641" y="473"/>
                  </a:cubicBezTo>
                  <a:cubicBezTo>
                    <a:pt x="634" y="473"/>
                    <a:pt x="628" y="479"/>
                    <a:pt x="628" y="486"/>
                  </a:cubicBezTo>
                  <a:cubicBezTo>
                    <a:pt x="628" y="493"/>
                    <a:pt x="634" y="499"/>
                    <a:pt x="641" y="499"/>
                  </a:cubicBezTo>
                  <a:close/>
                  <a:moveTo>
                    <a:pt x="680" y="499"/>
                  </a:moveTo>
                  <a:cubicBezTo>
                    <a:pt x="687" y="499"/>
                    <a:pt x="693" y="493"/>
                    <a:pt x="693" y="486"/>
                  </a:cubicBezTo>
                  <a:cubicBezTo>
                    <a:pt x="693" y="479"/>
                    <a:pt x="687" y="473"/>
                    <a:pt x="680" y="473"/>
                  </a:cubicBezTo>
                  <a:cubicBezTo>
                    <a:pt x="673" y="473"/>
                    <a:pt x="668" y="479"/>
                    <a:pt x="668" y="486"/>
                  </a:cubicBezTo>
                  <a:cubicBezTo>
                    <a:pt x="668" y="493"/>
                    <a:pt x="673" y="499"/>
                    <a:pt x="680" y="499"/>
                  </a:cubicBezTo>
                  <a:close/>
                  <a:moveTo>
                    <a:pt x="720" y="499"/>
                  </a:moveTo>
                  <a:cubicBezTo>
                    <a:pt x="727" y="499"/>
                    <a:pt x="733" y="493"/>
                    <a:pt x="733" y="486"/>
                  </a:cubicBezTo>
                  <a:cubicBezTo>
                    <a:pt x="733" y="479"/>
                    <a:pt x="727" y="473"/>
                    <a:pt x="720" y="473"/>
                  </a:cubicBezTo>
                  <a:cubicBezTo>
                    <a:pt x="713" y="473"/>
                    <a:pt x="707" y="479"/>
                    <a:pt x="707" y="486"/>
                  </a:cubicBezTo>
                  <a:cubicBezTo>
                    <a:pt x="707" y="493"/>
                    <a:pt x="713" y="499"/>
                    <a:pt x="720" y="499"/>
                  </a:cubicBezTo>
                  <a:close/>
                  <a:moveTo>
                    <a:pt x="759" y="499"/>
                  </a:moveTo>
                  <a:cubicBezTo>
                    <a:pt x="766" y="499"/>
                    <a:pt x="772" y="493"/>
                    <a:pt x="772" y="486"/>
                  </a:cubicBezTo>
                  <a:cubicBezTo>
                    <a:pt x="772" y="479"/>
                    <a:pt x="766" y="473"/>
                    <a:pt x="759" y="473"/>
                  </a:cubicBezTo>
                  <a:cubicBezTo>
                    <a:pt x="752" y="473"/>
                    <a:pt x="747" y="479"/>
                    <a:pt x="747" y="486"/>
                  </a:cubicBezTo>
                  <a:cubicBezTo>
                    <a:pt x="747" y="493"/>
                    <a:pt x="752" y="499"/>
                    <a:pt x="759" y="499"/>
                  </a:cubicBezTo>
                  <a:close/>
                  <a:moveTo>
                    <a:pt x="799" y="499"/>
                  </a:moveTo>
                  <a:cubicBezTo>
                    <a:pt x="806" y="499"/>
                    <a:pt x="811" y="493"/>
                    <a:pt x="811" y="486"/>
                  </a:cubicBezTo>
                  <a:cubicBezTo>
                    <a:pt x="811" y="479"/>
                    <a:pt x="806" y="473"/>
                    <a:pt x="799" y="473"/>
                  </a:cubicBezTo>
                  <a:cubicBezTo>
                    <a:pt x="792" y="473"/>
                    <a:pt x="786" y="479"/>
                    <a:pt x="786" y="486"/>
                  </a:cubicBezTo>
                  <a:cubicBezTo>
                    <a:pt x="786" y="493"/>
                    <a:pt x="792" y="499"/>
                    <a:pt x="799" y="499"/>
                  </a:cubicBezTo>
                  <a:close/>
                  <a:moveTo>
                    <a:pt x="956" y="499"/>
                  </a:moveTo>
                  <a:cubicBezTo>
                    <a:pt x="963" y="499"/>
                    <a:pt x="969" y="493"/>
                    <a:pt x="969" y="486"/>
                  </a:cubicBezTo>
                  <a:cubicBezTo>
                    <a:pt x="969" y="479"/>
                    <a:pt x="963" y="473"/>
                    <a:pt x="956" y="473"/>
                  </a:cubicBezTo>
                  <a:cubicBezTo>
                    <a:pt x="949" y="473"/>
                    <a:pt x="944" y="479"/>
                    <a:pt x="944" y="486"/>
                  </a:cubicBezTo>
                  <a:cubicBezTo>
                    <a:pt x="944" y="493"/>
                    <a:pt x="949" y="499"/>
                    <a:pt x="956" y="499"/>
                  </a:cubicBezTo>
                  <a:close/>
                  <a:moveTo>
                    <a:pt x="996" y="499"/>
                  </a:moveTo>
                  <a:cubicBezTo>
                    <a:pt x="1003" y="499"/>
                    <a:pt x="1009" y="493"/>
                    <a:pt x="1009" y="486"/>
                  </a:cubicBezTo>
                  <a:cubicBezTo>
                    <a:pt x="1009" y="479"/>
                    <a:pt x="1003" y="473"/>
                    <a:pt x="996" y="473"/>
                  </a:cubicBezTo>
                  <a:cubicBezTo>
                    <a:pt x="989" y="473"/>
                    <a:pt x="983" y="479"/>
                    <a:pt x="983" y="486"/>
                  </a:cubicBezTo>
                  <a:cubicBezTo>
                    <a:pt x="983" y="493"/>
                    <a:pt x="989" y="499"/>
                    <a:pt x="996" y="499"/>
                  </a:cubicBezTo>
                  <a:close/>
                  <a:moveTo>
                    <a:pt x="1035" y="499"/>
                  </a:moveTo>
                  <a:cubicBezTo>
                    <a:pt x="1042" y="499"/>
                    <a:pt x="1048" y="493"/>
                    <a:pt x="1048" y="486"/>
                  </a:cubicBezTo>
                  <a:cubicBezTo>
                    <a:pt x="1048" y="479"/>
                    <a:pt x="1042" y="473"/>
                    <a:pt x="1035" y="473"/>
                  </a:cubicBezTo>
                  <a:cubicBezTo>
                    <a:pt x="1028" y="473"/>
                    <a:pt x="1022" y="479"/>
                    <a:pt x="1022" y="486"/>
                  </a:cubicBezTo>
                  <a:cubicBezTo>
                    <a:pt x="1022" y="493"/>
                    <a:pt x="1028" y="499"/>
                    <a:pt x="1035" y="499"/>
                  </a:cubicBezTo>
                  <a:close/>
                  <a:moveTo>
                    <a:pt x="1666" y="493"/>
                  </a:moveTo>
                  <a:cubicBezTo>
                    <a:pt x="1670" y="493"/>
                    <a:pt x="1673" y="490"/>
                    <a:pt x="1673" y="486"/>
                  </a:cubicBezTo>
                  <a:cubicBezTo>
                    <a:pt x="1673" y="482"/>
                    <a:pt x="1670" y="478"/>
                    <a:pt x="1666" y="478"/>
                  </a:cubicBezTo>
                  <a:cubicBezTo>
                    <a:pt x="1662" y="478"/>
                    <a:pt x="1659" y="482"/>
                    <a:pt x="1659" y="486"/>
                  </a:cubicBezTo>
                  <a:cubicBezTo>
                    <a:pt x="1659" y="490"/>
                    <a:pt x="1662" y="493"/>
                    <a:pt x="1666" y="493"/>
                  </a:cubicBezTo>
                  <a:close/>
                  <a:moveTo>
                    <a:pt x="1784" y="499"/>
                  </a:moveTo>
                  <a:cubicBezTo>
                    <a:pt x="1791" y="499"/>
                    <a:pt x="1797" y="493"/>
                    <a:pt x="1797" y="486"/>
                  </a:cubicBezTo>
                  <a:cubicBezTo>
                    <a:pt x="1797" y="479"/>
                    <a:pt x="1791" y="473"/>
                    <a:pt x="1784" y="473"/>
                  </a:cubicBezTo>
                  <a:cubicBezTo>
                    <a:pt x="1777" y="473"/>
                    <a:pt x="1772" y="479"/>
                    <a:pt x="1772" y="486"/>
                  </a:cubicBezTo>
                  <a:cubicBezTo>
                    <a:pt x="1772" y="493"/>
                    <a:pt x="1777" y="499"/>
                    <a:pt x="1784" y="499"/>
                  </a:cubicBezTo>
                  <a:close/>
                  <a:moveTo>
                    <a:pt x="1863" y="473"/>
                  </a:moveTo>
                  <a:cubicBezTo>
                    <a:pt x="1856" y="473"/>
                    <a:pt x="1850" y="479"/>
                    <a:pt x="1850" y="486"/>
                  </a:cubicBezTo>
                  <a:cubicBezTo>
                    <a:pt x="1850" y="493"/>
                    <a:pt x="1856" y="498"/>
                    <a:pt x="1863" y="498"/>
                  </a:cubicBezTo>
                  <a:cubicBezTo>
                    <a:pt x="1870" y="498"/>
                    <a:pt x="1876" y="493"/>
                    <a:pt x="1876" y="486"/>
                  </a:cubicBezTo>
                  <a:cubicBezTo>
                    <a:pt x="1876" y="479"/>
                    <a:pt x="1870" y="473"/>
                    <a:pt x="1863" y="473"/>
                  </a:cubicBezTo>
                  <a:close/>
                  <a:moveTo>
                    <a:pt x="1942" y="499"/>
                  </a:moveTo>
                  <a:cubicBezTo>
                    <a:pt x="1949" y="499"/>
                    <a:pt x="1955" y="493"/>
                    <a:pt x="1955" y="486"/>
                  </a:cubicBezTo>
                  <a:cubicBezTo>
                    <a:pt x="1955" y="479"/>
                    <a:pt x="1949" y="473"/>
                    <a:pt x="1942" y="473"/>
                  </a:cubicBezTo>
                  <a:cubicBezTo>
                    <a:pt x="1935" y="473"/>
                    <a:pt x="1929" y="479"/>
                    <a:pt x="1929" y="486"/>
                  </a:cubicBezTo>
                  <a:cubicBezTo>
                    <a:pt x="1929" y="493"/>
                    <a:pt x="1935" y="499"/>
                    <a:pt x="1942" y="499"/>
                  </a:cubicBezTo>
                  <a:close/>
                  <a:moveTo>
                    <a:pt x="1981" y="499"/>
                  </a:moveTo>
                  <a:cubicBezTo>
                    <a:pt x="1988" y="499"/>
                    <a:pt x="1994" y="493"/>
                    <a:pt x="1994" y="486"/>
                  </a:cubicBezTo>
                  <a:cubicBezTo>
                    <a:pt x="1994" y="479"/>
                    <a:pt x="1988" y="473"/>
                    <a:pt x="1981" y="473"/>
                  </a:cubicBezTo>
                  <a:cubicBezTo>
                    <a:pt x="1974" y="473"/>
                    <a:pt x="1969" y="479"/>
                    <a:pt x="1969" y="486"/>
                  </a:cubicBezTo>
                  <a:cubicBezTo>
                    <a:pt x="1969" y="493"/>
                    <a:pt x="1974" y="499"/>
                    <a:pt x="1981" y="499"/>
                  </a:cubicBezTo>
                  <a:close/>
                  <a:moveTo>
                    <a:pt x="2021" y="499"/>
                  </a:moveTo>
                  <a:cubicBezTo>
                    <a:pt x="2028" y="499"/>
                    <a:pt x="2034" y="493"/>
                    <a:pt x="2034" y="486"/>
                  </a:cubicBezTo>
                  <a:cubicBezTo>
                    <a:pt x="2034" y="479"/>
                    <a:pt x="2028" y="473"/>
                    <a:pt x="2021" y="473"/>
                  </a:cubicBezTo>
                  <a:cubicBezTo>
                    <a:pt x="2014" y="473"/>
                    <a:pt x="2008" y="479"/>
                    <a:pt x="2008" y="486"/>
                  </a:cubicBezTo>
                  <a:cubicBezTo>
                    <a:pt x="2008" y="493"/>
                    <a:pt x="2014" y="499"/>
                    <a:pt x="2021" y="499"/>
                  </a:cubicBezTo>
                  <a:close/>
                  <a:moveTo>
                    <a:pt x="2060" y="499"/>
                  </a:moveTo>
                  <a:cubicBezTo>
                    <a:pt x="2067" y="499"/>
                    <a:pt x="2073" y="493"/>
                    <a:pt x="2073" y="486"/>
                  </a:cubicBezTo>
                  <a:cubicBezTo>
                    <a:pt x="2073" y="479"/>
                    <a:pt x="2067" y="473"/>
                    <a:pt x="2060" y="473"/>
                  </a:cubicBezTo>
                  <a:cubicBezTo>
                    <a:pt x="2053" y="473"/>
                    <a:pt x="2048" y="479"/>
                    <a:pt x="2048" y="486"/>
                  </a:cubicBezTo>
                  <a:cubicBezTo>
                    <a:pt x="2048" y="493"/>
                    <a:pt x="2053" y="499"/>
                    <a:pt x="2060" y="499"/>
                  </a:cubicBezTo>
                  <a:close/>
                  <a:moveTo>
                    <a:pt x="2100" y="499"/>
                  </a:moveTo>
                  <a:cubicBezTo>
                    <a:pt x="2107" y="499"/>
                    <a:pt x="2112" y="493"/>
                    <a:pt x="2112" y="486"/>
                  </a:cubicBezTo>
                  <a:cubicBezTo>
                    <a:pt x="2112" y="479"/>
                    <a:pt x="2107" y="473"/>
                    <a:pt x="2100" y="473"/>
                  </a:cubicBezTo>
                  <a:cubicBezTo>
                    <a:pt x="2093" y="473"/>
                    <a:pt x="2087" y="479"/>
                    <a:pt x="2087" y="486"/>
                  </a:cubicBezTo>
                  <a:cubicBezTo>
                    <a:pt x="2087" y="493"/>
                    <a:pt x="2093" y="499"/>
                    <a:pt x="2100" y="499"/>
                  </a:cubicBezTo>
                  <a:close/>
                  <a:moveTo>
                    <a:pt x="2139" y="499"/>
                  </a:moveTo>
                  <a:cubicBezTo>
                    <a:pt x="2146" y="499"/>
                    <a:pt x="2152" y="493"/>
                    <a:pt x="2152" y="486"/>
                  </a:cubicBezTo>
                  <a:cubicBezTo>
                    <a:pt x="2152" y="479"/>
                    <a:pt x="2146" y="473"/>
                    <a:pt x="2139" y="473"/>
                  </a:cubicBezTo>
                  <a:cubicBezTo>
                    <a:pt x="2132" y="473"/>
                    <a:pt x="2126" y="479"/>
                    <a:pt x="2126" y="486"/>
                  </a:cubicBezTo>
                  <a:cubicBezTo>
                    <a:pt x="2126" y="493"/>
                    <a:pt x="2132" y="499"/>
                    <a:pt x="2139" y="499"/>
                  </a:cubicBezTo>
                  <a:close/>
                  <a:moveTo>
                    <a:pt x="2179" y="499"/>
                  </a:moveTo>
                  <a:cubicBezTo>
                    <a:pt x="2186" y="499"/>
                    <a:pt x="2191" y="493"/>
                    <a:pt x="2191" y="486"/>
                  </a:cubicBezTo>
                  <a:cubicBezTo>
                    <a:pt x="2191" y="479"/>
                    <a:pt x="2186" y="473"/>
                    <a:pt x="2179" y="473"/>
                  </a:cubicBezTo>
                  <a:cubicBezTo>
                    <a:pt x="2171" y="473"/>
                    <a:pt x="2166" y="479"/>
                    <a:pt x="2166" y="486"/>
                  </a:cubicBezTo>
                  <a:cubicBezTo>
                    <a:pt x="2166" y="493"/>
                    <a:pt x="2171" y="499"/>
                    <a:pt x="2179" y="499"/>
                  </a:cubicBezTo>
                  <a:close/>
                  <a:moveTo>
                    <a:pt x="2218" y="499"/>
                  </a:moveTo>
                  <a:cubicBezTo>
                    <a:pt x="2225" y="499"/>
                    <a:pt x="2231" y="493"/>
                    <a:pt x="2231" y="486"/>
                  </a:cubicBezTo>
                  <a:cubicBezTo>
                    <a:pt x="2231" y="479"/>
                    <a:pt x="2225" y="473"/>
                    <a:pt x="2218" y="473"/>
                  </a:cubicBezTo>
                  <a:cubicBezTo>
                    <a:pt x="2211" y="473"/>
                    <a:pt x="2205" y="479"/>
                    <a:pt x="2205" y="486"/>
                  </a:cubicBezTo>
                  <a:cubicBezTo>
                    <a:pt x="2205" y="493"/>
                    <a:pt x="2211" y="499"/>
                    <a:pt x="2218" y="499"/>
                  </a:cubicBezTo>
                  <a:close/>
                  <a:moveTo>
                    <a:pt x="2257" y="499"/>
                  </a:moveTo>
                  <a:cubicBezTo>
                    <a:pt x="2264" y="499"/>
                    <a:pt x="2270" y="493"/>
                    <a:pt x="2270" y="486"/>
                  </a:cubicBezTo>
                  <a:cubicBezTo>
                    <a:pt x="2270" y="479"/>
                    <a:pt x="2264" y="473"/>
                    <a:pt x="2257" y="473"/>
                  </a:cubicBezTo>
                  <a:cubicBezTo>
                    <a:pt x="2250" y="473"/>
                    <a:pt x="2245" y="479"/>
                    <a:pt x="2245" y="486"/>
                  </a:cubicBezTo>
                  <a:cubicBezTo>
                    <a:pt x="2245" y="493"/>
                    <a:pt x="2250" y="499"/>
                    <a:pt x="2257" y="499"/>
                  </a:cubicBezTo>
                  <a:close/>
                  <a:moveTo>
                    <a:pt x="2297" y="499"/>
                  </a:moveTo>
                  <a:cubicBezTo>
                    <a:pt x="2304" y="499"/>
                    <a:pt x="2310" y="493"/>
                    <a:pt x="2310" y="486"/>
                  </a:cubicBezTo>
                  <a:cubicBezTo>
                    <a:pt x="2310" y="479"/>
                    <a:pt x="2304" y="473"/>
                    <a:pt x="2297" y="473"/>
                  </a:cubicBezTo>
                  <a:cubicBezTo>
                    <a:pt x="2290" y="473"/>
                    <a:pt x="2284" y="479"/>
                    <a:pt x="2284" y="486"/>
                  </a:cubicBezTo>
                  <a:cubicBezTo>
                    <a:pt x="2284" y="493"/>
                    <a:pt x="2290" y="499"/>
                    <a:pt x="2297" y="499"/>
                  </a:cubicBezTo>
                  <a:close/>
                  <a:moveTo>
                    <a:pt x="2336" y="499"/>
                  </a:moveTo>
                  <a:cubicBezTo>
                    <a:pt x="2343" y="499"/>
                    <a:pt x="2349" y="493"/>
                    <a:pt x="2349" y="486"/>
                  </a:cubicBezTo>
                  <a:cubicBezTo>
                    <a:pt x="2349" y="479"/>
                    <a:pt x="2343" y="473"/>
                    <a:pt x="2336" y="473"/>
                  </a:cubicBezTo>
                  <a:cubicBezTo>
                    <a:pt x="2329" y="473"/>
                    <a:pt x="2323" y="479"/>
                    <a:pt x="2323" y="486"/>
                  </a:cubicBezTo>
                  <a:cubicBezTo>
                    <a:pt x="2323" y="493"/>
                    <a:pt x="2329" y="499"/>
                    <a:pt x="2336" y="499"/>
                  </a:cubicBezTo>
                  <a:close/>
                  <a:moveTo>
                    <a:pt x="2376" y="499"/>
                  </a:moveTo>
                  <a:cubicBezTo>
                    <a:pt x="2383" y="499"/>
                    <a:pt x="2388" y="493"/>
                    <a:pt x="2388" y="486"/>
                  </a:cubicBezTo>
                  <a:cubicBezTo>
                    <a:pt x="2388" y="479"/>
                    <a:pt x="2383" y="473"/>
                    <a:pt x="2376" y="473"/>
                  </a:cubicBezTo>
                  <a:cubicBezTo>
                    <a:pt x="2369" y="473"/>
                    <a:pt x="2363" y="479"/>
                    <a:pt x="2363" y="486"/>
                  </a:cubicBezTo>
                  <a:cubicBezTo>
                    <a:pt x="2363" y="493"/>
                    <a:pt x="2369" y="499"/>
                    <a:pt x="2376" y="499"/>
                  </a:cubicBezTo>
                  <a:close/>
                  <a:moveTo>
                    <a:pt x="2415" y="499"/>
                  </a:moveTo>
                  <a:cubicBezTo>
                    <a:pt x="2422" y="499"/>
                    <a:pt x="2428" y="493"/>
                    <a:pt x="2428" y="486"/>
                  </a:cubicBezTo>
                  <a:cubicBezTo>
                    <a:pt x="2428" y="479"/>
                    <a:pt x="2422" y="473"/>
                    <a:pt x="2415" y="473"/>
                  </a:cubicBezTo>
                  <a:cubicBezTo>
                    <a:pt x="2408" y="473"/>
                    <a:pt x="2402" y="479"/>
                    <a:pt x="2402" y="486"/>
                  </a:cubicBezTo>
                  <a:cubicBezTo>
                    <a:pt x="2402" y="493"/>
                    <a:pt x="2408" y="499"/>
                    <a:pt x="2415" y="499"/>
                  </a:cubicBezTo>
                  <a:close/>
                  <a:moveTo>
                    <a:pt x="2454" y="499"/>
                  </a:moveTo>
                  <a:cubicBezTo>
                    <a:pt x="2462" y="499"/>
                    <a:pt x="2467" y="493"/>
                    <a:pt x="2467" y="486"/>
                  </a:cubicBezTo>
                  <a:cubicBezTo>
                    <a:pt x="2467" y="479"/>
                    <a:pt x="2462" y="473"/>
                    <a:pt x="2454" y="473"/>
                  </a:cubicBezTo>
                  <a:cubicBezTo>
                    <a:pt x="2447" y="473"/>
                    <a:pt x="2442" y="479"/>
                    <a:pt x="2442" y="486"/>
                  </a:cubicBezTo>
                  <a:cubicBezTo>
                    <a:pt x="2442" y="493"/>
                    <a:pt x="2447" y="499"/>
                    <a:pt x="2454" y="499"/>
                  </a:cubicBezTo>
                  <a:close/>
                  <a:moveTo>
                    <a:pt x="2494" y="499"/>
                  </a:moveTo>
                  <a:cubicBezTo>
                    <a:pt x="2501" y="499"/>
                    <a:pt x="2507" y="493"/>
                    <a:pt x="2507" y="486"/>
                  </a:cubicBezTo>
                  <a:cubicBezTo>
                    <a:pt x="2507" y="479"/>
                    <a:pt x="2501" y="473"/>
                    <a:pt x="2494" y="473"/>
                  </a:cubicBezTo>
                  <a:cubicBezTo>
                    <a:pt x="2487" y="473"/>
                    <a:pt x="2481" y="479"/>
                    <a:pt x="2481" y="486"/>
                  </a:cubicBezTo>
                  <a:cubicBezTo>
                    <a:pt x="2481" y="493"/>
                    <a:pt x="2487" y="499"/>
                    <a:pt x="2494" y="499"/>
                  </a:cubicBezTo>
                  <a:close/>
                  <a:moveTo>
                    <a:pt x="2533" y="499"/>
                  </a:moveTo>
                  <a:cubicBezTo>
                    <a:pt x="2540" y="499"/>
                    <a:pt x="2546" y="493"/>
                    <a:pt x="2546" y="486"/>
                  </a:cubicBezTo>
                  <a:cubicBezTo>
                    <a:pt x="2546" y="479"/>
                    <a:pt x="2540" y="473"/>
                    <a:pt x="2533" y="473"/>
                  </a:cubicBezTo>
                  <a:cubicBezTo>
                    <a:pt x="2526" y="473"/>
                    <a:pt x="2521" y="479"/>
                    <a:pt x="2521" y="486"/>
                  </a:cubicBezTo>
                  <a:cubicBezTo>
                    <a:pt x="2521" y="493"/>
                    <a:pt x="2526" y="499"/>
                    <a:pt x="2533" y="499"/>
                  </a:cubicBezTo>
                  <a:close/>
                  <a:moveTo>
                    <a:pt x="2573" y="499"/>
                  </a:moveTo>
                  <a:cubicBezTo>
                    <a:pt x="2580" y="499"/>
                    <a:pt x="2586" y="493"/>
                    <a:pt x="2586" y="486"/>
                  </a:cubicBezTo>
                  <a:cubicBezTo>
                    <a:pt x="2586" y="479"/>
                    <a:pt x="2580" y="473"/>
                    <a:pt x="2573" y="473"/>
                  </a:cubicBezTo>
                  <a:cubicBezTo>
                    <a:pt x="2566" y="473"/>
                    <a:pt x="2560" y="479"/>
                    <a:pt x="2560" y="486"/>
                  </a:cubicBezTo>
                  <a:cubicBezTo>
                    <a:pt x="2560" y="493"/>
                    <a:pt x="2566" y="499"/>
                    <a:pt x="2573" y="499"/>
                  </a:cubicBezTo>
                  <a:close/>
                  <a:moveTo>
                    <a:pt x="2612" y="499"/>
                  </a:moveTo>
                  <a:cubicBezTo>
                    <a:pt x="2619" y="499"/>
                    <a:pt x="2625" y="493"/>
                    <a:pt x="2625" y="486"/>
                  </a:cubicBezTo>
                  <a:cubicBezTo>
                    <a:pt x="2625" y="479"/>
                    <a:pt x="2619" y="473"/>
                    <a:pt x="2612" y="473"/>
                  </a:cubicBezTo>
                  <a:cubicBezTo>
                    <a:pt x="2605" y="473"/>
                    <a:pt x="2599" y="479"/>
                    <a:pt x="2599" y="486"/>
                  </a:cubicBezTo>
                  <a:cubicBezTo>
                    <a:pt x="2599" y="493"/>
                    <a:pt x="2605" y="499"/>
                    <a:pt x="2612" y="499"/>
                  </a:cubicBezTo>
                  <a:close/>
                  <a:moveTo>
                    <a:pt x="2652" y="499"/>
                  </a:moveTo>
                  <a:cubicBezTo>
                    <a:pt x="2659" y="499"/>
                    <a:pt x="2664" y="493"/>
                    <a:pt x="2664" y="486"/>
                  </a:cubicBezTo>
                  <a:cubicBezTo>
                    <a:pt x="2664" y="479"/>
                    <a:pt x="2659" y="473"/>
                    <a:pt x="2652" y="473"/>
                  </a:cubicBezTo>
                  <a:cubicBezTo>
                    <a:pt x="2645" y="473"/>
                    <a:pt x="2639" y="479"/>
                    <a:pt x="2639" y="486"/>
                  </a:cubicBezTo>
                  <a:cubicBezTo>
                    <a:pt x="2639" y="493"/>
                    <a:pt x="2645" y="499"/>
                    <a:pt x="2652" y="499"/>
                  </a:cubicBezTo>
                  <a:close/>
                  <a:moveTo>
                    <a:pt x="2691" y="499"/>
                  </a:moveTo>
                  <a:cubicBezTo>
                    <a:pt x="2698" y="499"/>
                    <a:pt x="2704" y="493"/>
                    <a:pt x="2704" y="486"/>
                  </a:cubicBezTo>
                  <a:cubicBezTo>
                    <a:pt x="2704" y="479"/>
                    <a:pt x="2698" y="473"/>
                    <a:pt x="2691" y="473"/>
                  </a:cubicBezTo>
                  <a:cubicBezTo>
                    <a:pt x="2684" y="473"/>
                    <a:pt x="2678" y="479"/>
                    <a:pt x="2678" y="486"/>
                  </a:cubicBezTo>
                  <a:cubicBezTo>
                    <a:pt x="2678" y="493"/>
                    <a:pt x="2684" y="499"/>
                    <a:pt x="2691" y="499"/>
                  </a:cubicBezTo>
                  <a:close/>
                  <a:moveTo>
                    <a:pt x="2730" y="499"/>
                  </a:moveTo>
                  <a:cubicBezTo>
                    <a:pt x="2738" y="499"/>
                    <a:pt x="2743" y="493"/>
                    <a:pt x="2743" y="486"/>
                  </a:cubicBezTo>
                  <a:cubicBezTo>
                    <a:pt x="2743" y="479"/>
                    <a:pt x="2738" y="473"/>
                    <a:pt x="2730" y="473"/>
                  </a:cubicBezTo>
                  <a:cubicBezTo>
                    <a:pt x="2723" y="473"/>
                    <a:pt x="2718" y="479"/>
                    <a:pt x="2718" y="486"/>
                  </a:cubicBezTo>
                  <a:cubicBezTo>
                    <a:pt x="2718" y="493"/>
                    <a:pt x="2723" y="499"/>
                    <a:pt x="2730" y="499"/>
                  </a:cubicBezTo>
                  <a:close/>
                  <a:moveTo>
                    <a:pt x="2770" y="499"/>
                  </a:moveTo>
                  <a:cubicBezTo>
                    <a:pt x="2777" y="499"/>
                    <a:pt x="2783" y="493"/>
                    <a:pt x="2783" y="486"/>
                  </a:cubicBezTo>
                  <a:cubicBezTo>
                    <a:pt x="2783" y="479"/>
                    <a:pt x="2777" y="473"/>
                    <a:pt x="2770" y="473"/>
                  </a:cubicBezTo>
                  <a:cubicBezTo>
                    <a:pt x="2763" y="473"/>
                    <a:pt x="2757" y="479"/>
                    <a:pt x="2757" y="486"/>
                  </a:cubicBezTo>
                  <a:cubicBezTo>
                    <a:pt x="2757" y="493"/>
                    <a:pt x="2763" y="499"/>
                    <a:pt x="2770" y="499"/>
                  </a:cubicBezTo>
                  <a:close/>
                  <a:moveTo>
                    <a:pt x="2809" y="499"/>
                  </a:moveTo>
                  <a:cubicBezTo>
                    <a:pt x="2816" y="499"/>
                    <a:pt x="2822" y="493"/>
                    <a:pt x="2822" y="486"/>
                  </a:cubicBezTo>
                  <a:cubicBezTo>
                    <a:pt x="2822" y="479"/>
                    <a:pt x="2816" y="473"/>
                    <a:pt x="2809" y="473"/>
                  </a:cubicBezTo>
                  <a:cubicBezTo>
                    <a:pt x="2802" y="473"/>
                    <a:pt x="2797" y="479"/>
                    <a:pt x="2797" y="486"/>
                  </a:cubicBezTo>
                  <a:cubicBezTo>
                    <a:pt x="2797" y="493"/>
                    <a:pt x="2802" y="499"/>
                    <a:pt x="2809" y="499"/>
                  </a:cubicBezTo>
                  <a:close/>
                  <a:moveTo>
                    <a:pt x="2849" y="499"/>
                  </a:moveTo>
                  <a:cubicBezTo>
                    <a:pt x="2856" y="499"/>
                    <a:pt x="2861" y="493"/>
                    <a:pt x="2861" y="486"/>
                  </a:cubicBezTo>
                  <a:cubicBezTo>
                    <a:pt x="2861" y="479"/>
                    <a:pt x="2856" y="473"/>
                    <a:pt x="2849" y="473"/>
                  </a:cubicBezTo>
                  <a:cubicBezTo>
                    <a:pt x="2842" y="473"/>
                    <a:pt x="2836" y="479"/>
                    <a:pt x="2836" y="486"/>
                  </a:cubicBezTo>
                  <a:cubicBezTo>
                    <a:pt x="2836" y="493"/>
                    <a:pt x="2842" y="499"/>
                    <a:pt x="2849" y="499"/>
                  </a:cubicBezTo>
                  <a:close/>
                  <a:moveTo>
                    <a:pt x="2888" y="499"/>
                  </a:moveTo>
                  <a:cubicBezTo>
                    <a:pt x="2895" y="499"/>
                    <a:pt x="2901" y="493"/>
                    <a:pt x="2901" y="486"/>
                  </a:cubicBezTo>
                  <a:cubicBezTo>
                    <a:pt x="2901" y="479"/>
                    <a:pt x="2895" y="473"/>
                    <a:pt x="2888" y="473"/>
                  </a:cubicBezTo>
                  <a:cubicBezTo>
                    <a:pt x="2881" y="473"/>
                    <a:pt x="2875" y="479"/>
                    <a:pt x="2875" y="486"/>
                  </a:cubicBezTo>
                  <a:cubicBezTo>
                    <a:pt x="2875" y="493"/>
                    <a:pt x="2881" y="499"/>
                    <a:pt x="2888" y="499"/>
                  </a:cubicBezTo>
                  <a:close/>
                  <a:moveTo>
                    <a:pt x="2928" y="499"/>
                  </a:moveTo>
                  <a:cubicBezTo>
                    <a:pt x="2935" y="499"/>
                    <a:pt x="2940" y="493"/>
                    <a:pt x="2940" y="486"/>
                  </a:cubicBezTo>
                  <a:cubicBezTo>
                    <a:pt x="2940" y="479"/>
                    <a:pt x="2935" y="473"/>
                    <a:pt x="2928" y="473"/>
                  </a:cubicBezTo>
                  <a:cubicBezTo>
                    <a:pt x="2921" y="473"/>
                    <a:pt x="2915" y="479"/>
                    <a:pt x="2915" y="486"/>
                  </a:cubicBezTo>
                  <a:cubicBezTo>
                    <a:pt x="2915" y="493"/>
                    <a:pt x="2921" y="499"/>
                    <a:pt x="2928" y="499"/>
                  </a:cubicBezTo>
                  <a:close/>
                  <a:moveTo>
                    <a:pt x="2967" y="499"/>
                  </a:moveTo>
                  <a:cubicBezTo>
                    <a:pt x="2974" y="499"/>
                    <a:pt x="2980" y="493"/>
                    <a:pt x="2980" y="486"/>
                  </a:cubicBezTo>
                  <a:cubicBezTo>
                    <a:pt x="2980" y="479"/>
                    <a:pt x="2974" y="473"/>
                    <a:pt x="2967" y="473"/>
                  </a:cubicBezTo>
                  <a:cubicBezTo>
                    <a:pt x="2960" y="473"/>
                    <a:pt x="2954" y="479"/>
                    <a:pt x="2954" y="486"/>
                  </a:cubicBezTo>
                  <a:cubicBezTo>
                    <a:pt x="2954" y="493"/>
                    <a:pt x="2960" y="499"/>
                    <a:pt x="2967" y="499"/>
                  </a:cubicBezTo>
                  <a:close/>
                  <a:moveTo>
                    <a:pt x="3006" y="499"/>
                  </a:moveTo>
                  <a:cubicBezTo>
                    <a:pt x="3013" y="499"/>
                    <a:pt x="3019" y="493"/>
                    <a:pt x="3019" y="486"/>
                  </a:cubicBezTo>
                  <a:cubicBezTo>
                    <a:pt x="3019" y="479"/>
                    <a:pt x="3013" y="473"/>
                    <a:pt x="3006" y="473"/>
                  </a:cubicBezTo>
                  <a:cubicBezTo>
                    <a:pt x="2999" y="473"/>
                    <a:pt x="2994" y="479"/>
                    <a:pt x="2994" y="486"/>
                  </a:cubicBezTo>
                  <a:cubicBezTo>
                    <a:pt x="2994" y="493"/>
                    <a:pt x="2999" y="499"/>
                    <a:pt x="3006" y="499"/>
                  </a:cubicBezTo>
                  <a:close/>
                  <a:moveTo>
                    <a:pt x="3046" y="499"/>
                  </a:moveTo>
                  <a:cubicBezTo>
                    <a:pt x="3053" y="499"/>
                    <a:pt x="3059" y="493"/>
                    <a:pt x="3059" y="486"/>
                  </a:cubicBezTo>
                  <a:cubicBezTo>
                    <a:pt x="3059" y="479"/>
                    <a:pt x="3053" y="473"/>
                    <a:pt x="3046" y="473"/>
                  </a:cubicBezTo>
                  <a:cubicBezTo>
                    <a:pt x="3039" y="473"/>
                    <a:pt x="3033" y="479"/>
                    <a:pt x="3033" y="486"/>
                  </a:cubicBezTo>
                  <a:cubicBezTo>
                    <a:pt x="3033" y="493"/>
                    <a:pt x="3039" y="499"/>
                    <a:pt x="3046" y="499"/>
                  </a:cubicBezTo>
                  <a:close/>
                  <a:moveTo>
                    <a:pt x="3085" y="499"/>
                  </a:moveTo>
                  <a:cubicBezTo>
                    <a:pt x="3092" y="499"/>
                    <a:pt x="3098" y="493"/>
                    <a:pt x="3098" y="486"/>
                  </a:cubicBezTo>
                  <a:cubicBezTo>
                    <a:pt x="3098" y="479"/>
                    <a:pt x="3092" y="473"/>
                    <a:pt x="3085" y="473"/>
                  </a:cubicBezTo>
                  <a:cubicBezTo>
                    <a:pt x="3078" y="473"/>
                    <a:pt x="3073" y="479"/>
                    <a:pt x="3073" y="486"/>
                  </a:cubicBezTo>
                  <a:cubicBezTo>
                    <a:pt x="3073" y="493"/>
                    <a:pt x="3078" y="499"/>
                    <a:pt x="3085" y="499"/>
                  </a:cubicBezTo>
                  <a:close/>
                  <a:moveTo>
                    <a:pt x="3282" y="499"/>
                  </a:moveTo>
                  <a:cubicBezTo>
                    <a:pt x="3289" y="499"/>
                    <a:pt x="3295" y="493"/>
                    <a:pt x="3295" y="486"/>
                  </a:cubicBezTo>
                  <a:cubicBezTo>
                    <a:pt x="3295" y="479"/>
                    <a:pt x="3289" y="473"/>
                    <a:pt x="3282" y="473"/>
                  </a:cubicBezTo>
                  <a:cubicBezTo>
                    <a:pt x="3275" y="473"/>
                    <a:pt x="3270" y="479"/>
                    <a:pt x="3270" y="486"/>
                  </a:cubicBezTo>
                  <a:cubicBezTo>
                    <a:pt x="3270" y="493"/>
                    <a:pt x="3275" y="499"/>
                    <a:pt x="3282" y="499"/>
                  </a:cubicBezTo>
                  <a:close/>
                  <a:moveTo>
                    <a:pt x="3322" y="473"/>
                  </a:moveTo>
                  <a:cubicBezTo>
                    <a:pt x="3315" y="473"/>
                    <a:pt x="3309" y="479"/>
                    <a:pt x="3309" y="486"/>
                  </a:cubicBezTo>
                  <a:cubicBezTo>
                    <a:pt x="3309" y="493"/>
                    <a:pt x="3315" y="499"/>
                    <a:pt x="3322" y="499"/>
                  </a:cubicBezTo>
                  <a:cubicBezTo>
                    <a:pt x="3329" y="499"/>
                    <a:pt x="3335" y="493"/>
                    <a:pt x="3335" y="486"/>
                  </a:cubicBezTo>
                  <a:cubicBezTo>
                    <a:pt x="3335" y="479"/>
                    <a:pt x="3329" y="473"/>
                    <a:pt x="3322" y="473"/>
                  </a:cubicBezTo>
                  <a:close/>
                  <a:moveTo>
                    <a:pt x="404" y="512"/>
                  </a:moveTo>
                  <a:cubicBezTo>
                    <a:pt x="397" y="512"/>
                    <a:pt x="392" y="518"/>
                    <a:pt x="392" y="525"/>
                  </a:cubicBezTo>
                  <a:cubicBezTo>
                    <a:pt x="392" y="532"/>
                    <a:pt x="397" y="538"/>
                    <a:pt x="404" y="538"/>
                  </a:cubicBezTo>
                  <a:cubicBezTo>
                    <a:pt x="411" y="538"/>
                    <a:pt x="417" y="532"/>
                    <a:pt x="417" y="525"/>
                  </a:cubicBezTo>
                  <a:cubicBezTo>
                    <a:pt x="417" y="518"/>
                    <a:pt x="411" y="512"/>
                    <a:pt x="404" y="512"/>
                  </a:cubicBezTo>
                  <a:close/>
                  <a:moveTo>
                    <a:pt x="444" y="538"/>
                  </a:moveTo>
                  <a:cubicBezTo>
                    <a:pt x="451" y="538"/>
                    <a:pt x="457" y="532"/>
                    <a:pt x="457" y="525"/>
                  </a:cubicBezTo>
                  <a:cubicBezTo>
                    <a:pt x="457" y="518"/>
                    <a:pt x="451" y="512"/>
                    <a:pt x="444" y="512"/>
                  </a:cubicBezTo>
                  <a:cubicBezTo>
                    <a:pt x="437" y="512"/>
                    <a:pt x="431" y="518"/>
                    <a:pt x="431" y="525"/>
                  </a:cubicBezTo>
                  <a:cubicBezTo>
                    <a:pt x="431" y="532"/>
                    <a:pt x="437" y="538"/>
                    <a:pt x="444" y="538"/>
                  </a:cubicBezTo>
                  <a:close/>
                  <a:moveTo>
                    <a:pt x="483" y="538"/>
                  </a:moveTo>
                  <a:cubicBezTo>
                    <a:pt x="490" y="538"/>
                    <a:pt x="496" y="532"/>
                    <a:pt x="496" y="525"/>
                  </a:cubicBezTo>
                  <a:cubicBezTo>
                    <a:pt x="496" y="518"/>
                    <a:pt x="490" y="512"/>
                    <a:pt x="483" y="512"/>
                  </a:cubicBezTo>
                  <a:cubicBezTo>
                    <a:pt x="476" y="512"/>
                    <a:pt x="471" y="518"/>
                    <a:pt x="471" y="525"/>
                  </a:cubicBezTo>
                  <a:cubicBezTo>
                    <a:pt x="471" y="532"/>
                    <a:pt x="476" y="538"/>
                    <a:pt x="483" y="538"/>
                  </a:cubicBezTo>
                  <a:close/>
                  <a:moveTo>
                    <a:pt x="523" y="538"/>
                  </a:moveTo>
                  <a:cubicBezTo>
                    <a:pt x="530" y="538"/>
                    <a:pt x="535" y="532"/>
                    <a:pt x="535" y="525"/>
                  </a:cubicBezTo>
                  <a:cubicBezTo>
                    <a:pt x="535" y="518"/>
                    <a:pt x="530" y="512"/>
                    <a:pt x="523" y="512"/>
                  </a:cubicBezTo>
                  <a:cubicBezTo>
                    <a:pt x="516" y="512"/>
                    <a:pt x="510" y="518"/>
                    <a:pt x="510" y="525"/>
                  </a:cubicBezTo>
                  <a:cubicBezTo>
                    <a:pt x="510" y="532"/>
                    <a:pt x="516" y="538"/>
                    <a:pt x="523" y="538"/>
                  </a:cubicBezTo>
                  <a:close/>
                  <a:moveTo>
                    <a:pt x="562" y="538"/>
                  </a:moveTo>
                  <a:cubicBezTo>
                    <a:pt x="569" y="538"/>
                    <a:pt x="575" y="532"/>
                    <a:pt x="575" y="525"/>
                  </a:cubicBezTo>
                  <a:cubicBezTo>
                    <a:pt x="575" y="518"/>
                    <a:pt x="569" y="512"/>
                    <a:pt x="562" y="512"/>
                  </a:cubicBezTo>
                  <a:cubicBezTo>
                    <a:pt x="555" y="512"/>
                    <a:pt x="549" y="518"/>
                    <a:pt x="549" y="525"/>
                  </a:cubicBezTo>
                  <a:cubicBezTo>
                    <a:pt x="549" y="532"/>
                    <a:pt x="555" y="538"/>
                    <a:pt x="562" y="538"/>
                  </a:cubicBezTo>
                  <a:close/>
                  <a:moveTo>
                    <a:pt x="602" y="538"/>
                  </a:moveTo>
                  <a:cubicBezTo>
                    <a:pt x="609" y="538"/>
                    <a:pt x="614" y="532"/>
                    <a:pt x="614" y="525"/>
                  </a:cubicBezTo>
                  <a:cubicBezTo>
                    <a:pt x="614" y="518"/>
                    <a:pt x="609" y="512"/>
                    <a:pt x="602" y="512"/>
                  </a:cubicBezTo>
                  <a:cubicBezTo>
                    <a:pt x="595" y="512"/>
                    <a:pt x="589" y="518"/>
                    <a:pt x="589" y="525"/>
                  </a:cubicBezTo>
                  <a:cubicBezTo>
                    <a:pt x="589" y="532"/>
                    <a:pt x="595" y="538"/>
                    <a:pt x="602" y="538"/>
                  </a:cubicBezTo>
                  <a:close/>
                  <a:moveTo>
                    <a:pt x="641" y="538"/>
                  </a:moveTo>
                  <a:cubicBezTo>
                    <a:pt x="648" y="538"/>
                    <a:pt x="654" y="532"/>
                    <a:pt x="654" y="525"/>
                  </a:cubicBezTo>
                  <a:cubicBezTo>
                    <a:pt x="654" y="518"/>
                    <a:pt x="648" y="512"/>
                    <a:pt x="641" y="512"/>
                  </a:cubicBezTo>
                  <a:cubicBezTo>
                    <a:pt x="634" y="512"/>
                    <a:pt x="628" y="518"/>
                    <a:pt x="628" y="525"/>
                  </a:cubicBezTo>
                  <a:cubicBezTo>
                    <a:pt x="628" y="532"/>
                    <a:pt x="634" y="538"/>
                    <a:pt x="641" y="538"/>
                  </a:cubicBezTo>
                  <a:close/>
                  <a:moveTo>
                    <a:pt x="680" y="538"/>
                  </a:moveTo>
                  <a:cubicBezTo>
                    <a:pt x="687" y="538"/>
                    <a:pt x="693" y="532"/>
                    <a:pt x="693" y="525"/>
                  </a:cubicBezTo>
                  <a:cubicBezTo>
                    <a:pt x="693" y="518"/>
                    <a:pt x="687" y="512"/>
                    <a:pt x="680" y="512"/>
                  </a:cubicBezTo>
                  <a:cubicBezTo>
                    <a:pt x="673" y="512"/>
                    <a:pt x="668" y="518"/>
                    <a:pt x="668" y="525"/>
                  </a:cubicBezTo>
                  <a:cubicBezTo>
                    <a:pt x="668" y="532"/>
                    <a:pt x="673" y="538"/>
                    <a:pt x="680" y="538"/>
                  </a:cubicBezTo>
                  <a:close/>
                  <a:moveTo>
                    <a:pt x="720" y="538"/>
                  </a:moveTo>
                  <a:cubicBezTo>
                    <a:pt x="727" y="538"/>
                    <a:pt x="733" y="532"/>
                    <a:pt x="733" y="525"/>
                  </a:cubicBezTo>
                  <a:cubicBezTo>
                    <a:pt x="733" y="518"/>
                    <a:pt x="727" y="512"/>
                    <a:pt x="720" y="512"/>
                  </a:cubicBezTo>
                  <a:cubicBezTo>
                    <a:pt x="713" y="512"/>
                    <a:pt x="707" y="518"/>
                    <a:pt x="707" y="525"/>
                  </a:cubicBezTo>
                  <a:cubicBezTo>
                    <a:pt x="707" y="532"/>
                    <a:pt x="713" y="538"/>
                    <a:pt x="720" y="538"/>
                  </a:cubicBezTo>
                  <a:close/>
                  <a:moveTo>
                    <a:pt x="759" y="538"/>
                  </a:moveTo>
                  <a:cubicBezTo>
                    <a:pt x="766" y="538"/>
                    <a:pt x="772" y="532"/>
                    <a:pt x="772" y="525"/>
                  </a:cubicBezTo>
                  <a:cubicBezTo>
                    <a:pt x="772" y="518"/>
                    <a:pt x="766" y="512"/>
                    <a:pt x="759" y="512"/>
                  </a:cubicBezTo>
                  <a:cubicBezTo>
                    <a:pt x="752" y="512"/>
                    <a:pt x="747" y="518"/>
                    <a:pt x="747" y="525"/>
                  </a:cubicBezTo>
                  <a:cubicBezTo>
                    <a:pt x="747" y="532"/>
                    <a:pt x="752" y="538"/>
                    <a:pt x="759" y="538"/>
                  </a:cubicBezTo>
                  <a:close/>
                  <a:moveTo>
                    <a:pt x="799" y="538"/>
                  </a:moveTo>
                  <a:cubicBezTo>
                    <a:pt x="806" y="538"/>
                    <a:pt x="811" y="532"/>
                    <a:pt x="811" y="525"/>
                  </a:cubicBezTo>
                  <a:cubicBezTo>
                    <a:pt x="811" y="518"/>
                    <a:pt x="806" y="512"/>
                    <a:pt x="799" y="512"/>
                  </a:cubicBezTo>
                  <a:cubicBezTo>
                    <a:pt x="792" y="512"/>
                    <a:pt x="786" y="518"/>
                    <a:pt x="786" y="525"/>
                  </a:cubicBezTo>
                  <a:cubicBezTo>
                    <a:pt x="786" y="532"/>
                    <a:pt x="792" y="538"/>
                    <a:pt x="799" y="538"/>
                  </a:cubicBezTo>
                  <a:close/>
                  <a:moveTo>
                    <a:pt x="838" y="538"/>
                  </a:moveTo>
                  <a:cubicBezTo>
                    <a:pt x="845" y="538"/>
                    <a:pt x="851" y="532"/>
                    <a:pt x="851" y="525"/>
                  </a:cubicBezTo>
                  <a:cubicBezTo>
                    <a:pt x="851" y="518"/>
                    <a:pt x="845" y="512"/>
                    <a:pt x="838" y="512"/>
                  </a:cubicBezTo>
                  <a:cubicBezTo>
                    <a:pt x="831" y="512"/>
                    <a:pt x="825" y="518"/>
                    <a:pt x="825" y="525"/>
                  </a:cubicBezTo>
                  <a:cubicBezTo>
                    <a:pt x="825" y="532"/>
                    <a:pt x="831" y="538"/>
                    <a:pt x="838" y="538"/>
                  </a:cubicBezTo>
                  <a:close/>
                  <a:moveTo>
                    <a:pt x="917" y="538"/>
                  </a:moveTo>
                  <a:cubicBezTo>
                    <a:pt x="924" y="538"/>
                    <a:pt x="930" y="532"/>
                    <a:pt x="930" y="525"/>
                  </a:cubicBezTo>
                  <a:cubicBezTo>
                    <a:pt x="930" y="518"/>
                    <a:pt x="924" y="512"/>
                    <a:pt x="917" y="512"/>
                  </a:cubicBezTo>
                  <a:cubicBezTo>
                    <a:pt x="910" y="512"/>
                    <a:pt x="904" y="518"/>
                    <a:pt x="904" y="525"/>
                  </a:cubicBezTo>
                  <a:cubicBezTo>
                    <a:pt x="904" y="532"/>
                    <a:pt x="910" y="538"/>
                    <a:pt x="917" y="538"/>
                  </a:cubicBezTo>
                  <a:close/>
                  <a:moveTo>
                    <a:pt x="956" y="538"/>
                  </a:moveTo>
                  <a:cubicBezTo>
                    <a:pt x="963" y="538"/>
                    <a:pt x="969" y="532"/>
                    <a:pt x="969" y="525"/>
                  </a:cubicBezTo>
                  <a:cubicBezTo>
                    <a:pt x="969" y="518"/>
                    <a:pt x="963" y="512"/>
                    <a:pt x="956" y="512"/>
                  </a:cubicBezTo>
                  <a:cubicBezTo>
                    <a:pt x="949" y="512"/>
                    <a:pt x="944" y="518"/>
                    <a:pt x="944" y="525"/>
                  </a:cubicBezTo>
                  <a:cubicBezTo>
                    <a:pt x="944" y="532"/>
                    <a:pt x="949" y="538"/>
                    <a:pt x="956" y="538"/>
                  </a:cubicBezTo>
                  <a:close/>
                  <a:moveTo>
                    <a:pt x="996" y="538"/>
                  </a:moveTo>
                  <a:cubicBezTo>
                    <a:pt x="1003" y="538"/>
                    <a:pt x="1009" y="532"/>
                    <a:pt x="1009" y="525"/>
                  </a:cubicBezTo>
                  <a:cubicBezTo>
                    <a:pt x="1009" y="518"/>
                    <a:pt x="1003" y="512"/>
                    <a:pt x="996" y="512"/>
                  </a:cubicBezTo>
                  <a:cubicBezTo>
                    <a:pt x="989" y="512"/>
                    <a:pt x="983" y="518"/>
                    <a:pt x="983" y="525"/>
                  </a:cubicBezTo>
                  <a:cubicBezTo>
                    <a:pt x="983" y="532"/>
                    <a:pt x="989" y="538"/>
                    <a:pt x="996" y="538"/>
                  </a:cubicBezTo>
                  <a:close/>
                  <a:moveTo>
                    <a:pt x="1035" y="538"/>
                  </a:moveTo>
                  <a:cubicBezTo>
                    <a:pt x="1042" y="538"/>
                    <a:pt x="1048" y="532"/>
                    <a:pt x="1048" y="525"/>
                  </a:cubicBezTo>
                  <a:cubicBezTo>
                    <a:pt x="1048" y="518"/>
                    <a:pt x="1042" y="512"/>
                    <a:pt x="1035" y="512"/>
                  </a:cubicBezTo>
                  <a:cubicBezTo>
                    <a:pt x="1028" y="512"/>
                    <a:pt x="1022" y="518"/>
                    <a:pt x="1022" y="525"/>
                  </a:cubicBezTo>
                  <a:cubicBezTo>
                    <a:pt x="1022" y="532"/>
                    <a:pt x="1028" y="538"/>
                    <a:pt x="1035" y="538"/>
                  </a:cubicBezTo>
                  <a:close/>
                  <a:moveTo>
                    <a:pt x="1062" y="525"/>
                  </a:moveTo>
                  <a:cubicBezTo>
                    <a:pt x="1062" y="532"/>
                    <a:pt x="1068" y="538"/>
                    <a:pt x="1075" y="538"/>
                  </a:cubicBezTo>
                  <a:cubicBezTo>
                    <a:pt x="1082" y="538"/>
                    <a:pt x="1087" y="532"/>
                    <a:pt x="1087" y="525"/>
                  </a:cubicBezTo>
                  <a:cubicBezTo>
                    <a:pt x="1087" y="518"/>
                    <a:pt x="1082" y="512"/>
                    <a:pt x="1075" y="512"/>
                  </a:cubicBezTo>
                  <a:cubicBezTo>
                    <a:pt x="1068" y="512"/>
                    <a:pt x="1062" y="518"/>
                    <a:pt x="1062" y="525"/>
                  </a:cubicBezTo>
                  <a:close/>
                  <a:moveTo>
                    <a:pt x="1627" y="538"/>
                  </a:moveTo>
                  <a:cubicBezTo>
                    <a:pt x="1634" y="538"/>
                    <a:pt x="1639" y="532"/>
                    <a:pt x="1639" y="525"/>
                  </a:cubicBezTo>
                  <a:cubicBezTo>
                    <a:pt x="1639" y="518"/>
                    <a:pt x="1634" y="512"/>
                    <a:pt x="1627" y="512"/>
                  </a:cubicBezTo>
                  <a:cubicBezTo>
                    <a:pt x="1620" y="512"/>
                    <a:pt x="1614" y="518"/>
                    <a:pt x="1614" y="525"/>
                  </a:cubicBezTo>
                  <a:cubicBezTo>
                    <a:pt x="1614" y="532"/>
                    <a:pt x="1620" y="538"/>
                    <a:pt x="1627" y="538"/>
                  </a:cubicBezTo>
                  <a:close/>
                  <a:moveTo>
                    <a:pt x="1666" y="537"/>
                  </a:moveTo>
                  <a:cubicBezTo>
                    <a:pt x="1673" y="537"/>
                    <a:pt x="1678" y="532"/>
                    <a:pt x="1678" y="525"/>
                  </a:cubicBezTo>
                  <a:cubicBezTo>
                    <a:pt x="1678" y="519"/>
                    <a:pt x="1673" y="513"/>
                    <a:pt x="1666" y="513"/>
                  </a:cubicBezTo>
                  <a:cubicBezTo>
                    <a:pt x="1659" y="513"/>
                    <a:pt x="1654" y="519"/>
                    <a:pt x="1654" y="525"/>
                  </a:cubicBezTo>
                  <a:cubicBezTo>
                    <a:pt x="1654" y="532"/>
                    <a:pt x="1659" y="537"/>
                    <a:pt x="1666" y="537"/>
                  </a:cubicBezTo>
                  <a:close/>
                  <a:moveTo>
                    <a:pt x="1784" y="538"/>
                  </a:moveTo>
                  <a:cubicBezTo>
                    <a:pt x="1791" y="538"/>
                    <a:pt x="1797" y="532"/>
                    <a:pt x="1797" y="525"/>
                  </a:cubicBezTo>
                  <a:cubicBezTo>
                    <a:pt x="1797" y="518"/>
                    <a:pt x="1791" y="512"/>
                    <a:pt x="1784" y="512"/>
                  </a:cubicBezTo>
                  <a:cubicBezTo>
                    <a:pt x="1777" y="512"/>
                    <a:pt x="1772" y="518"/>
                    <a:pt x="1772" y="525"/>
                  </a:cubicBezTo>
                  <a:cubicBezTo>
                    <a:pt x="1772" y="532"/>
                    <a:pt x="1777" y="538"/>
                    <a:pt x="1784" y="538"/>
                  </a:cubicBezTo>
                  <a:close/>
                  <a:moveTo>
                    <a:pt x="1824" y="538"/>
                  </a:moveTo>
                  <a:cubicBezTo>
                    <a:pt x="1831" y="538"/>
                    <a:pt x="1836" y="532"/>
                    <a:pt x="1836" y="525"/>
                  </a:cubicBezTo>
                  <a:cubicBezTo>
                    <a:pt x="1836" y="518"/>
                    <a:pt x="1831" y="512"/>
                    <a:pt x="1824" y="512"/>
                  </a:cubicBezTo>
                  <a:cubicBezTo>
                    <a:pt x="1817" y="512"/>
                    <a:pt x="1811" y="518"/>
                    <a:pt x="1811" y="525"/>
                  </a:cubicBezTo>
                  <a:cubicBezTo>
                    <a:pt x="1811" y="532"/>
                    <a:pt x="1817" y="538"/>
                    <a:pt x="1824" y="538"/>
                  </a:cubicBezTo>
                  <a:close/>
                  <a:moveTo>
                    <a:pt x="1863" y="538"/>
                  </a:moveTo>
                  <a:cubicBezTo>
                    <a:pt x="1870" y="538"/>
                    <a:pt x="1876" y="532"/>
                    <a:pt x="1876" y="525"/>
                  </a:cubicBezTo>
                  <a:cubicBezTo>
                    <a:pt x="1876" y="518"/>
                    <a:pt x="1870" y="512"/>
                    <a:pt x="1863" y="512"/>
                  </a:cubicBezTo>
                  <a:cubicBezTo>
                    <a:pt x="1856" y="512"/>
                    <a:pt x="1850" y="518"/>
                    <a:pt x="1850" y="525"/>
                  </a:cubicBezTo>
                  <a:cubicBezTo>
                    <a:pt x="1850" y="532"/>
                    <a:pt x="1856" y="538"/>
                    <a:pt x="1863" y="538"/>
                  </a:cubicBezTo>
                  <a:close/>
                  <a:moveTo>
                    <a:pt x="1903" y="538"/>
                  </a:moveTo>
                  <a:cubicBezTo>
                    <a:pt x="1910" y="538"/>
                    <a:pt x="1915" y="532"/>
                    <a:pt x="1915" y="525"/>
                  </a:cubicBezTo>
                  <a:cubicBezTo>
                    <a:pt x="1915" y="518"/>
                    <a:pt x="1910" y="512"/>
                    <a:pt x="1903" y="512"/>
                  </a:cubicBezTo>
                  <a:cubicBezTo>
                    <a:pt x="1896" y="512"/>
                    <a:pt x="1890" y="518"/>
                    <a:pt x="1890" y="525"/>
                  </a:cubicBezTo>
                  <a:cubicBezTo>
                    <a:pt x="1890" y="532"/>
                    <a:pt x="1896" y="538"/>
                    <a:pt x="1903" y="538"/>
                  </a:cubicBezTo>
                  <a:close/>
                  <a:moveTo>
                    <a:pt x="1942" y="538"/>
                  </a:moveTo>
                  <a:cubicBezTo>
                    <a:pt x="1949" y="538"/>
                    <a:pt x="1955" y="532"/>
                    <a:pt x="1955" y="525"/>
                  </a:cubicBezTo>
                  <a:cubicBezTo>
                    <a:pt x="1955" y="518"/>
                    <a:pt x="1949" y="512"/>
                    <a:pt x="1942" y="512"/>
                  </a:cubicBezTo>
                  <a:cubicBezTo>
                    <a:pt x="1935" y="512"/>
                    <a:pt x="1929" y="518"/>
                    <a:pt x="1929" y="525"/>
                  </a:cubicBezTo>
                  <a:cubicBezTo>
                    <a:pt x="1929" y="532"/>
                    <a:pt x="1935" y="538"/>
                    <a:pt x="1942" y="538"/>
                  </a:cubicBezTo>
                  <a:close/>
                  <a:moveTo>
                    <a:pt x="1981" y="538"/>
                  </a:moveTo>
                  <a:cubicBezTo>
                    <a:pt x="1988" y="538"/>
                    <a:pt x="1994" y="532"/>
                    <a:pt x="1994" y="525"/>
                  </a:cubicBezTo>
                  <a:cubicBezTo>
                    <a:pt x="1994" y="518"/>
                    <a:pt x="1988" y="512"/>
                    <a:pt x="1981" y="512"/>
                  </a:cubicBezTo>
                  <a:cubicBezTo>
                    <a:pt x="1974" y="512"/>
                    <a:pt x="1969" y="518"/>
                    <a:pt x="1969" y="525"/>
                  </a:cubicBezTo>
                  <a:cubicBezTo>
                    <a:pt x="1969" y="532"/>
                    <a:pt x="1974" y="538"/>
                    <a:pt x="1981" y="538"/>
                  </a:cubicBezTo>
                  <a:close/>
                  <a:moveTo>
                    <a:pt x="2021" y="538"/>
                  </a:moveTo>
                  <a:cubicBezTo>
                    <a:pt x="2028" y="538"/>
                    <a:pt x="2034" y="532"/>
                    <a:pt x="2034" y="525"/>
                  </a:cubicBezTo>
                  <a:cubicBezTo>
                    <a:pt x="2034" y="518"/>
                    <a:pt x="2028" y="512"/>
                    <a:pt x="2021" y="512"/>
                  </a:cubicBezTo>
                  <a:cubicBezTo>
                    <a:pt x="2014" y="512"/>
                    <a:pt x="2008" y="518"/>
                    <a:pt x="2008" y="525"/>
                  </a:cubicBezTo>
                  <a:cubicBezTo>
                    <a:pt x="2008" y="532"/>
                    <a:pt x="2014" y="538"/>
                    <a:pt x="2021" y="538"/>
                  </a:cubicBezTo>
                  <a:close/>
                  <a:moveTo>
                    <a:pt x="2060" y="538"/>
                  </a:moveTo>
                  <a:cubicBezTo>
                    <a:pt x="2067" y="538"/>
                    <a:pt x="2073" y="532"/>
                    <a:pt x="2073" y="525"/>
                  </a:cubicBezTo>
                  <a:cubicBezTo>
                    <a:pt x="2073" y="518"/>
                    <a:pt x="2067" y="512"/>
                    <a:pt x="2060" y="512"/>
                  </a:cubicBezTo>
                  <a:cubicBezTo>
                    <a:pt x="2053" y="512"/>
                    <a:pt x="2048" y="518"/>
                    <a:pt x="2048" y="525"/>
                  </a:cubicBezTo>
                  <a:cubicBezTo>
                    <a:pt x="2048" y="532"/>
                    <a:pt x="2053" y="538"/>
                    <a:pt x="2060" y="538"/>
                  </a:cubicBezTo>
                  <a:close/>
                  <a:moveTo>
                    <a:pt x="2100" y="538"/>
                  </a:moveTo>
                  <a:cubicBezTo>
                    <a:pt x="2107" y="538"/>
                    <a:pt x="2112" y="532"/>
                    <a:pt x="2112" y="525"/>
                  </a:cubicBezTo>
                  <a:cubicBezTo>
                    <a:pt x="2112" y="518"/>
                    <a:pt x="2107" y="512"/>
                    <a:pt x="2100" y="512"/>
                  </a:cubicBezTo>
                  <a:cubicBezTo>
                    <a:pt x="2093" y="512"/>
                    <a:pt x="2087" y="518"/>
                    <a:pt x="2087" y="525"/>
                  </a:cubicBezTo>
                  <a:cubicBezTo>
                    <a:pt x="2087" y="532"/>
                    <a:pt x="2093" y="538"/>
                    <a:pt x="2100" y="538"/>
                  </a:cubicBezTo>
                  <a:close/>
                  <a:moveTo>
                    <a:pt x="2139" y="538"/>
                  </a:moveTo>
                  <a:cubicBezTo>
                    <a:pt x="2146" y="538"/>
                    <a:pt x="2152" y="532"/>
                    <a:pt x="2152" y="525"/>
                  </a:cubicBezTo>
                  <a:cubicBezTo>
                    <a:pt x="2152" y="518"/>
                    <a:pt x="2146" y="512"/>
                    <a:pt x="2139" y="512"/>
                  </a:cubicBezTo>
                  <a:cubicBezTo>
                    <a:pt x="2132" y="512"/>
                    <a:pt x="2126" y="518"/>
                    <a:pt x="2126" y="525"/>
                  </a:cubicBezTo>
                  <a:cubicBezTo>
                    <a:pt x="2126" y="532"/>
                    <a:pt x="2132" y="538"/>
                    <a:pt x="2139" y="538"/>
                  </a:cubicBezTo>
                  <a:close/>
                  <a:moveTo>
                    <a:pt x="2179" y="538"/>
                  </a:moveTo>
                  <a:cubicBezTo>
                    <a:pt x="2186" y="538"/>
                    <a:pt x="2191" y="532"/>
                    <a:pt x="2191" y="525"/>
                  </a:cubicBezTo>
                  <a:cubicBezTo>
                    <a:pt x="2191" y="518"/>
                    <a:pt x="2186" y="512"/>
                    <a:pt x="2179" y="512"/>
                  </a:cubicBezTo>
                  <a:cubicBezTo>
                    <a:pt x="2171" y="512"/>
                    <a:pt x="2166" y="518"/>
                    <a:pt x="2166" y="525"/>
                  </a:cubicBezTo>
                  <a:cubicBezTo>
                    <a:pt x="2166" y="532"/>
                    <a:pt x="2171" y="538"/>
                    <a:pt x="2179" y="538"/>
                  </a:cubicBezTo>
                  <a:close/>
                  <a:moveTo>
                    <a:pt x="2218" y="538"/>
                  </a:moveTo>
                  <a:cubicBezTo>
                    <a:pt x="2225" y="538"/>
                    <a:pt x="2231" y="532"/>
                    <a:pt x="2231" y="525"/>
                  </a:cubicBezTo>
                  <a:cubicBezTo>
                    <a:pt x="2231" y="518"/>
                    <a:pt x="2225" y="512"/>
                    <a:pt x="2218" y="512"/>
                  </a:cubicBezTo>
                  <a:cubicBezTo>
                    <a:pt x="2211" y="512"/>
                    <a:pt x="2205" y="518"/>
                    <a:pt x="2205" y="525"/>
                  </a:cubicBezTo>
                  <a:cubicBezTo>
                    <a:pt x="2205" y="532"/>
                    <a:pt x="2211" y="538"/>
                    <a:pt x="2218" y="538"/>
                  </a:cubicBezTo>
                  <a:close/>
                  <a:moveTo>
                    <a:pt x="2257" y="538"/>
                  </a:moveTo>
                  <a:cubicBezTo>
                    <a:pt x="2264" y="538"/>
                    <a:pt x="2270" y="532"/>
                    <a:pt x="2270" y="525"/>
                  </a:cubicBezTo>
                  <a:cubicBezTo>
                    <a:pt x="2270" y="518"/>
                    <a:pt x="2264" y="512"/>
                    <a:pt x="2257" y="512"/>
                  </a:cubicBezTo>
                  <a:cubicBezTo>
                    <a:pt x="2250" y="512"/>
                    <a:pt x="2245" y="518"/>
                    <a:pt x="2245" y="525"/>
                  </a:cubicBezTo>
                  <a:cubicBezTo>
                    <a:pt x="2245" y="532"/>
                    <a:pt x="2250" y="538"/>
                    <a:pt x="2257" y="538"/>
                  </a:cubicBezTo>
                  <a:close/>
                  <a:moveTo>
                    <a:pt x="2297" y="538"/>
                  </a:moveTo>
                  <a:cubicBezTo>
                    <a:pt x="2304" y="538"/>
                    <a:pt x="2310" y="532"/>
                    <a:pt x="2310" y="525"/>
                  </a:cubicBezTo>
                  <a:cubicBezTo>
                    <a:pt x="2310" y="518"/>
                    <a:pt x="2304" y="512"/>
                    <a:pt x="2297" y="512"/>
                  </a:cubicBezTo>
                  <a:cubicBezTo>
                    <a:pt x="2290" y="512"/>
                    <a:pt x="2284" y="518"/>
                    <a:pt x="2284" y="525"/>
                  </a:cubicBezTo>
                  <a:cubicBezTo>
                    <a:pt x="2284" y="532"/>
                    <a:pt x="2290" y="538"/>
                    <a:pt x="2297" y="538"/>
                  </a:cubicBezTo>
                  <a:close/>
                  <a:moveTo>
                    <a:pt x="2336" y="538"/>
                  </a:moveTo>
                  <a:cubicBezTo>
                    <a:pt x="2343" y="538"/>
                    <a:pt x="2349" y="532"/>
                    <a:pt x="2349" y="525"/>
                  </a:cubicBezTo>
                  <a:cubicBezTo>
                    <a:pt x="2349" y="518"/>
                    <a:pt x="2343" y="512"/>
                    <a:pt x="2336" y="512"/>
                  </a:cubicBezTo>
                  <a:cubicBezTo>
                    <a:pt x="2329" y="512"/>
                    <a:pt x="2323" y="518"/>
                    <a:pt x="2323" y="525"/>
                  </a:cubicBezTo>
                  <a:cubicBezTo>
                    <a:pt x="2323" y="532"/>
                    <a:pt x="2329" y="538"/>
                    <a:pt x="2336" y="538"/>
                  </a:cubicBezTo>
                  <a:close/>
                  <a:moveTo>
                    <a:pt x="2376" y="538"/>
                  </a:moveTo>
                  <a:cubicBezTo>
                    <a:pt x="2383" y="538"/>
                    <a:pt x="2388" y="532"/>
                    <a:pt x="2388" y="525"/>
                  </a:cubicBezTo>
                  <a:cubicBezTo>
                    <a:pt x="2388" y="518"/>
                    <a:pt x="2383" y="512"/>
                    <a:pt x="2376" y="512"/>
                  </a:cubicBezTo>
                  <a:cubicBezTo>
                    <a:pt x="2369" y="512"/>
                    <a:pt x="2363" y="518"/>
                    <a:pt x="2363" y="525"/>
                  </a:cubicBezTo>
                  <a:cubicBezTo>
                    <a:pt x="2363" y="532"/>
                    <a:pt x="2369" y="538"/>
                    <a:pt x="2376" y="538"/>
                  </a:cubicBezTo>
                  <a:close/>
                  <a:moveTo>
                    <a:pt x="2415" y="538"/>
                  </a:moveTo>
                  <a:cubicBezTo>
                    <a:pt x="2422" y="538"/>
                    <a:pt x="2428" y="532"/>
                    <a:pt x="2428" y="525"/>
                  </a:cubicBezTo>
                  <a:cubicBezTo>
                    <a:pt x="2428" y="518"/>
                    <a:pt x="2422" y="512"/>
                    <a:pt x="2415" y="512"/>
                  </a:cubicBezTo>
                  <a:cubicBezTo>
                    <a:pt x="2408" y="512"/>
                    <a:pt x="2402" y="518"/>
                    <a:pt x="2402" y="525"/>
                  </a:cubicBezTo>
                  <a:cubicBezTo>
                    <a:pt x="2402" y="532"/>
                    <a:pt x="2408" y="538"/>
                    <a:pt x="2415" y="538"/>
                  </a:cubicBezTo>
                  <a:close/>
                  <a:moveTo>
                    <a:pt x="2455" y="538"/>
                  </a:moveTo>
                  <a:cubicBezTo>
                    <a:pt x="2462" y="538"/>
                    <a:pt x="2467" y="532"/>
                    <a:pt x="2467" y="525"/>
                  </a:cubicBezTo>
                  <a:cubicBezTo>
                    <a:pt x="2467" y="518"/>
                    <a:pt x="2462" y="512"/>
                    <a:pt x="2455" y="512"/>
                  </a:cubicBezTo>
                  <a:cubicBezTo>
                    <a:pt x="2447" y="512"/>
                    <a:pt x="2442" y="518"/>
                    <a:pt x="2442" y="525"/>
                  </a:cubicBezTo>
                  <a:cubicBezTo>
                    <a:pt x="2442" y="532"/>
                    <a:pt x="2447" y="538"/>
                    <a:pt x="2455" y="538"/>
                  </a:cubicBezTo>
                  <a:close/>
                  <a:moveTo>
                    <a:pt x="2494" y="538"/>
                  </a:moveTo>
                  <a:cubicBezTo>
                    <a:pt x="2501" y="538"/>
                    <a:pt x="2507" y="532"/>
                    <a:pt x="2507" y="525"/>
                  </a:cubicBezTo>
                  <a:cubicBezTo>
                    <a:pt x="2507" y="518"/>
                    <a:pt x="2501" y="512"/>
                    <a:pt x="2494" y="512"/>
                  </a:cubicBezTo>
                  <a:cubicBezTo>
                    <a:pt x="2487" y="512"/>
                    <a:pt x="2481" y="518"/>
                    <a:pt x="2481" y="525"/>
                  </a:cubicBezTo>
                  <a:cubicBezTo>
                    <a:pt x="2481" y="532"/>
                    <a:pt x="2487" y="538"/>
                    <a:pt x="2494" y="538"/>
                  </a:cubicBezTo>
                  <a:close/>
                  <a:moveTo>
                    <a:pt x="2533" y="538"/>
                  </a:moveTo>
                  <a:cubicBezTo>
                    <a:pt x="2540" y="538"/>
                    <a:pt x="2546" y="532"/>
                    <a:pt x="2546" y="525"/>
                  </a:cubicBezTo>
                  <a:cubicBezTo>
                    <a:pt x="2546" y="518"/>
                    <a:pt x="2540" y="512"/>
                    <a:pt x="2533" y="512"/>
                  </a:cubicBezTo>
                  <a:cubicBezTo>
                    <a:pt x="2526" y="512"/>
                    <a:pt x="2521" y="518"/>
                    <a:pt x="2521" y="525"/>
                  </a:cubicBezTo>
                  <a:cubicBezTo>
                    <a:pt x="2521" y="532"/>
                    <a:pt x="2526" y="538"/>
                    <a:pt x="2533" y="538"/>
                  </a:cubicBezTo>
                  <a:close/>
                  <a:moveTo>
                    <a:pt x="2573" y="538"/>
                  </a:moveTo>
                  <a:cubicBezTo>
                    <a:pt x="2580" y="538"/>
                    <a:pt x="2586" y="532"/>
                    <a:pt x="2586" y="525"/>
                  </a:cubicBezTo>
                  <a:cubicBezTo>
                    <a:pt x="2586" y="518"/>
                    <a:pt x="2580" y="512"/>
                    <a:pt x="2573" y="512"/>
                  </a:cubicBezTo>
                  <a:cubicBezTo>
                    <a:pt x="2566" y="512"/>
                    <a:pt x="2560" y="518"/>
                    <a:pt x="2560" y="525"/>
                  </a:cubicBezTo>
                  <a:cubicBezTo>
                    <a:pt x="2560" y="532"/>
                    <a:pt x="2566" y="538"/>
                    <a:pt x="2573" y="538"/>
                  </a:cubicBezTo>
                  <a:close/>
                  <a:moveTo>
                    <a:pt x="2612" y="538"/>
                  </a:moveTo>
                  <a:cubicBezTo>
                    <a:pt x="2619" y="538"/>
                    <a:pt x="2625" y="532"/>
                    <a:pt x="2625" y="525"/>
                  </a:cubicBezTo>
                  <a:cubicBezTo>
                    <a:pt x="2625" y="518"/>
                    <a:pt x="2619" y="512"/>
                    <a:pt x="2612" y="512"/>
                  </a:cubicBezTo>
                  <a:cubicBezTo>
                    <a:pt x="2605" y="512"/>
                    <a:pt x="2599" y="518"/>
                    <a:pt x="2599" y="525"/>
                  </a:cubicBezTo>
                  <a:cubicBezTo>
                    <a:pt x="2599" y="532"/>
                    <a:pt x="2605" y="538"/>
                    <a:pt x="2612" y="538"/>
                  </a:cubicBezTo>
                  <a:close/>
                  <a:moveTo>
                    <a:pt x="2652" y="538"/>
                  </a:moveTo>
                  <a:cubicBezTo>
                    <a:pt x="2659" y="538"/>
                    <a:pt x="2664" y="532"/>
                    <a:pt x="2664" y="525"/>
                  </a:cubicBezTo>
                  <a:cubicBezTo>
                    <a:pt x="2664" y="518"/>
                    <a:pt x="2659" y="512"/>
                    <a:pt x="2652" y="512"/>
                  </a:cubicBezTo>
                  <a:cubicBezTo>
                    <a:pt x="2645" y="512"/>
                    <a:pt x="2639" y="518"/>
                    <a:pt x="2639" y="525"/>
                  </a:cubicBezTo>
                  <a:cubicBezTo>
                    <a:pt x="2639" y="532"/>
                    <a:pt x="2645" y="538"/>
                    <a:pt x="2652" y="538"/>
                  </a:cubicBezTo>
                  <a:close/>
                  <a:moveTo>
                    <a:pt x="2691" y="538"/>
                  </a:moveTo>
                  <a:cubicBezTo>
                    <a:pt x="2698" y="538"/>
                    <a:pt x="2704" y="532"/>
                    <a:pt x="2704" y="525"/>
                  </a:cubicBezTo>
                  <a:cubicBezTo>
                    <a:pt x="2704" y="518"/>
                    <a:pt x="2698" y="512"/>
                    <a:pt x="2691" y="512"/>
                  </a:cubicBezTo>
                  <a:cubicBezTo>
                    <a:pt x="2684" y="512"/>
                    <a:pt x="2678" y="518"/>
                    <a:pt x="2678" y="525"/>
                  </a:cubicBezTo>
                  <a:cubicBezTo>
                    <a:pt x="2678" y="532"/>
                    <a:pt x="2684" y="538"/>
                    <a:pt x="2691" y="538"/>
                  </a:cubicBezTo>
                  <a:close/>
                  <a:moveTo>
                    <a:pt x="2730" y="538"/>
                  </a:moveTo>
                  <a:cubicBezTo>
                    <a:pt x="2738" y="538"/>
                    <a:pt x="2743" y="532"/>
                    <a:pt x="2743" y="525"/>
                  </a:cubicBezTo>
                  <a:cubicBezTo>
                    <a:pt x="2743" y="518"/>
                    <a:pt x="2738" y="512"/>
                    <a:pt x="2730" y="512"/>
                  </a:cubicBezTo>
                  <a:cubicBezTo>
                    <a:pt x="2723" y="512"/>
                    <a:pt x="2718" y="518"/>
                    <a:pt x="2718" y="525"/>
                  </a:cubicBezTo>
                  <a:cubicBezTo>
                    <a:pt x="2718" y="532"/>
                    <a:pt x="2723" y="538"/>
                    <a:pt x="2730" y="538"/>
                  </a:cubicBezTo>
                  <a:close/>
                  <a:moveTo>
                    <a:pt x="2770" y="538"/>
                  </a:moveTo>
                  <a:cubicBezTo>
                    <a:pt x="2777" y="538"/>
                    <a:pt x="2783" y="532"/>
                    <a:pt x="2783" y="525"/>
                  </a:cubicBezTo>
                  <a:cubicBezTo>
                    <a:pt x="2783" y="518"/>
                    <a:pt x="2777" y="512"/>
                    <a:pt x="2770" y="512"/>
                  </a:cubicBezTo>
                  <a:cubicBezTo>
                    <a:pt x="2763" y="512"/>
                    <a:pt x="2757" y="518"/>
                    <a:pt x="2757" y="525"/>
                  </a:cubicBezTo>
                  <a:cubicBezTo>
                    <a:pt x="2757" y="532"/>
                    <a:pt x="2763" y="538"/>
                    <a:pt x="2770" y="538"/>
                  </a:cubicBezTo>
                  <a:close/>
                  <a:moveTo>
                    <a:pt x="2809" y="538"/>
                  </a:moveTo>
                  <a:cubicBezTo>
                    <a:pt x="2816" y="538"/>
                    <a:pt x="2822" y="532"/>
                    <a:pt x="2822" y="525"/>
                  </a:cubicBezTo>
                  <a:cubicBezTo>
                    <a:pt x="2822" y="518"/>
                    <a:pt x="2816" y="512"/>
                    <a:pt x="2809" y="512"/>
                  </a:cubicBezTo>
                  <a:cubicBezTo>
                    <a:pt x="2802" y="512"/>
                    <a:pt x="2797" y="518"/>
                    <a:pt x="2797" y="525"/>
                  </a:cubicBezTo>
                  <a:cubicBezTo>
                    <a:pt x="2797" y="532"/>
                    <a:pt x="2802" y="538"/>
                    <a:pt x="2809" y="538"/>
                  </a:cubicBezTo>
                  <a:close/>
                  <a:moveTo>
                    <a:pt x="2849" y="538"/>
                  </a:moveTo>
                  <a:cubicBezTo>
                    <a:pt x="2856" y="538"/>
                    <a:pt x="2861" y="532"/>
                    <a:pt x="2861" y="525"/>
                  </a:cubicBezTo>
                  <a:cubicBezTo>
                    <a:pt x="2861" y="518"/>
                    <a:pt x="2856" y="512"/>
                    <a:pt x="2849" y="512"/>
                  </a:cubicBezTo>
                  <a:cubicBezTo>
                    <a:pt x="2842" y="512"/>
                    <a:pt x="2836" y="518"/>
                    <a:pt x="2836" y="525"/>
                  </a:cubicBezTo>
                  <a:cubicBezTo>
                    <a:pt x="2836" y="532"/>
                    <a:pt x="2842" y="538"/>
                    <a:pt x="2849" y="538"/>
                  </a:cubicBezTo>
                  <a:close/>
                  <a:moveTo>
                    <a:pt x="2888" y="538"/>
                  </a:moveTo>
                  <a:cubicBezTo>
                    <a:pt x="2895" y="538"/>
                    <a:pt x="2901" y="532"/>
                    <a:pt x="2901" y="525"/>
                  </a:cubicBezTo>
                  <a:cubicBezTo>
                    <a:pt x="2901" y="518"/>
                    <a:pt x="2895" y="512"/>
                    <a:pt x="2888" y="512"/>
                  </a:cubicBezTo>
                  <a:cubicBezTo>
                    <a:pt x="2881" y="512"/>
                    <a:pt x="2875" y="518"/>
                    <a:pt x="2875" y="525"/>
                  </a:cubicBezTo>
                  <a:cubicBezTo>
                    <a:pt x="2875" y="532"/>
                    <a:pt x="2881" y="538"/>
                    <a:pt x="2888" y="538"/>
                  </a:cubicBezTo>
                  <a:close/>
                  <a:moveTo>
                    <a:pt x="2928" y="538"/>
                  </a:moveTo>
                  <a:cubicBezTo>
                    <a:pt x="2935" y="538"/>
                    <a:pt x="2940" y="532"/>
                    <a:pt x="2940" y="525"/>
                  </a:cubicBezTo>
                  <a:cubicBezTo>
                    <a:pt x="2940" y="518"/>
                    <a:pt x="2935" y="512"/>
                    <a:pt x="2928" y="512"/>
                  </a:cubicBezTo>
                  <a:cubicBezTo>
                    <a:pt x="2921" y="512"/>
                    <a:pt x="2915" y="518"/>
                    <a:pt x="2915" y="525"/>
                  </a:cubicBezTo>
                  <a:cubicBezTo>
                    <a:pt x="2915" y="532"/>
                    <a:pt x="2921" y="538"/>
                    <a:pt x="2928" y="538"/>
                  </a:cubicBezTo>
                  <a:close/>
                  <a:moveTo>
                    <a:pt x="2967" y="538"/>
                  </a:moveTo>
                  <a:cubicBezTo>
                    <a:pt x="2974" y="538"/>
                    <a:pt x="2980" y="532"/>
                    <a:pt x="2980" y="525"/>
                  </a:cubicBezTo>
                  <a:cubicBezTo>
                    <a:pt x="2980" y="518"/>
                    <a:pt x="2974" y="512"/>
                    <a:pt x="2967" y="512"/>
                  </a:cubicBezTo>
                  <a:cubicBezTo>
                    <a:pt x="2960" y="512"/>
                    <a:pt x="2954" y="518"/>
                    <a:pt x="2954" y="525"/>
                  </a:cubicBezTo>
                  <a:cubicBezTo>
                    <a:pt x="2954" y="532"/>
                    <a:pt x="2960" y="538"/>
                    <a:pt x="2967" y="538"/>
                  </a:cubicBezTo>
                  <a:close/>
                  <a:moveTo>
                    <a:pt x="3006" y="538"/>
                  </a:moveTo>
                  <a:cubicBezTo>
                    <a:pt x="3013" y="538"/>
                    <a:pt x="3019" y="532"/>
                    <a:pt x="3019" y="525"/>
                  </a:cubicBezTo>
                  <a:cubicBezTo>
                    <a:pt x="3019" y="518"/>
                    <a:pt x="3013" y="512"/>
                    <a:pt x="3006" y="512"/>
                  </a:cubicBezTo>
                  <a:cubicBezTo>
                    <a:pt x="2999" y="512"/>
                    <a:pt x="2994" y="518"/>
                    <a:pt x="2994" y="525"/>
                  </a:cubicBezTo>
                  <a:cubicBezTo>
                    <a:pt x="2994" y="532"/>
                    <a:pt x="2999" y="538"/>
                    <a:pt x="3006" y="538"/>
                  </a:cubicBezTo>
                  <a:close/>
                  <a:moveTo>
                    <a:pt x="3046" y="538"/>
                  </a:moveTo>
                  <a:cubicBezTo>
                    <a:pt x="3053" y="538"/>
                    <a:pt x="3059" y="532"/>
                    <a:pt x="3059" y="525"/>
                  </a:cubicBezTo>
                  <a:cubicBezTo>
                    <a:pt x="3059" y="518"/>
                    <a:pt x="3053" y="512"/>
                    <a:pt x="3046" y="512"/>
                  </a:cubicBezTo>
                  <a:cubicBezTo>
                    <a:pt x="3039" y="512"/>
                    <a:pt x="3033" y="518"/>
                    <a:pt x="3033" y="525"/>
                  </a:cubicBezTo>
                  <a:cubicBezTo>
                    <a:pt x="3033" y="532"/>
                    <a:pt x="3039" y="538"/>
                    <a:pt x="3046" y="538"/>
                  </a:cubicBezTo>
                  <a:close/>
                  <a:moveTo>
                    <a:pt x="3085" y="538"/>
                  </a:moveTo>
                  <a:cubicBezTo>
                    <a:pt x="3092" y="538"/>
                    <a:pt x="3098" y="532"/>
                    <a:pt x="3098" y="525"/>
                  </a:cubicBezTo>
                  <a:cubicBezTo>
                    <a:pt x="3098" y="518"/>
                    <a:pt x="3092" y="512"/>
                    <a:pt x="3085" y="512"/>
                  </a:cubicBezTo>
                  <a:cubicBezTo>
                    <a:pt x="3078" y="512"/>
                    <a:pt x="3073" y="518"/>
                    <a:pt x="3073" y="525"/>
                  </a:cubicBezTo>
                  <a:cubicBezTo>
                    <a:pt x="3073" y="532"/>
                    <a:pt x="3078" y="538"/>
                    <a:pt x="3085" y="538"/>
                  </a:cubicBezTo>
                  <a:close/>
                  <a:moveTo>
                    <a:pt x="3282" y="512"/>
                  </a:moveTo>
                  <a:cubicBezTo>
                    <a:pt x="3275" y="512"/>
                    <a:pt x="3270" y="518"/>
                    <a:pt x="3270" y="525"/>
                  </a:cubicBezTo>
                  <a:cubicBezTo>
                    <a:pt x="3270" y="532"/>
                    <a:pt x="3275" y="538"/>
                    <a:pt x="3282" y="538"/>
                  </a:cubicBezTo>
                  <a:cubicBezTo>
                    <a:pt x="3289" y="538"/>
                    <a:pt x="3295" y="532"/>
                    <a:pt x="3295" y="525"/>
                  </a:cubicBezTo>
                  <a:cubicBezTo>
                    <a:pt x="3295" y="518"/>
                    <a:pt x="3289" y="512"/>
                    <a:pt x="3282" y="512"/>
                  </a:cubicBezTo>
                  <a:close/>
                  <a:moveTo>
                    <a:pt x="444" y="577"/>
                  </a:moveTo>
                  <a:cubicBezTo>
                    <a:pt x="451" y="577"/>
                    <a:pt x="457" y="572"/>
                    <a:pt x="457" y="565"/>
                  </a:cubicBezTo>
                  <a:cubicBezTo>
                    <a:pt x="457" y="558"/>
                    <a:pt x="451" y="552"/>
                    <a:pt x="444" y="552"/>
                  </a:cubicBezTo>
                  <a:cubicBezTo>
                    <a:pt x="437" y="552"/>
                    <a:pt x="431" y="558"/>
                    <a:pt x="431" y="565"/>
                  </a:cubicBezTo>
                  <a:cubicBezTo>
                    <a:pt x="431" y="572"/>
                    <a:pt x="437" y="577"/>
                    <a:pt x="444" y="577"/>
                  </a:cubicBezTo>
                  <a:close/>
                  <a:moveTo>
                    <a:pt x="483" y="577"/>
                  </a:moveTo>
                  <a:cubicBezTo>
                    <a:pt x="490" y="577"/>
                    <a:pt x="496" y="572"/>
                    <a:pt x="496" y="565"/>
                  </a:cubicBezTo>
                  <a:cubicBezTo>
                    <a:pt x="496" y="558"/>
                    <a:pt x="490" y="552"/>
                    <a:pt x="483" y="552"/>
                  </a:cubicBezTo>
                  <a:cubicBezTo>
                    <a:pt x="476" y="552"/>
                    <a:pt x="471" y="558"/>
                    <a:pt x="471" y="565"/>
                  </a:cubicBezTo>
                  <a:cubicBezTo>
                    <a:pt x="471" y="572"/>
                    <a:pt x="476" y="577"/>
                    <a:pt x="483" y="577"/>
                  </a:cubicBezTo>
                  <a:close/>
                  <a:moveTo>
                    <a:pt x="523" y="577"/>
                  </a:moveTo>
                  <a:cubicBezTo>
                    <a:pt x="530" y="577"/>
                    <a:pt x="535" y="572"/>
                    <a:pt x="535" y="565"/>
                  </a:cubicBezTo>
                  <a:cubicBezTo>
                    <a:pt x="535" y="558"/>
                    <a:pt x="530" y="552"/>
                    <a:pt x="523" y="552"/>
                  </a:cubicBezTo>
                  <a:cubicBezTo>
                    <a:pt x="516" y="552"/>
                    <a:pt x="510" y="558"/>
                    <a:pt x="510" y="565"/>
                  </a:cubicBezTo>
                  <a:cubicBezTo>
                    <a:pt x="510" y="572"/>
                    <a:pt x="516" y="577"/>
                    <a:pt x="523" y="577"/>
                  </a:cubicBezTo>
                  <a:close/>
                  <a:moveTo>
                    <a:pt x="562" y="577"/>
                  </a:moveTo>
                  <a:cubicBezTo>
                    <a:pt x="569" y="577"/>
                    <a:pt x="575" y="572"/>
                    <a:pt x="575" y="565"/>
                  </a:cubicBezTo>
                  <a:cubicBezTo>
                    <a:pt x="575" y="558"/>
                    <a:pt x="569" y="552"/>
                    <a:pt x="562" y="552"/>
                  </a:cubicBezTo>
                  <a:cubicBezTo>
                    <a:pt x="555" y="552"/>
                    <a:pt x="549" y="558"/>
                    <a:pt x="549" y="565"/>
                  </a:cubicBezTo>
                  <a:cubicBezTo>
                    <a:pt x="549" y="572"/>
                    <a:pt x="555" y="577"/>
                    <a:pt x="562" y="577"/>
                  </a:cubicBezTo>
                  <a:close/>
                  <a:moveTo>
                    <a:pt x="602" y="577"/>
                  </a:moveTo>
                  <a:cubicBezTo>
                    <a:pt x="609" y="577"/>
                    <a:pt x="614" y="572"/>
                    <a:pt x="614" y="565"/>
                  </a:cubicBezTo>
                  <a:cubicBezTo>
                    <a:pt x="614" y="558"/>
                    <a:pt x="609" y="552"/>
                    <a:pt x="602" y="552"/>
                  </a:cubicBezTo>
                  <a:cubicBezTo>
                    <a:pt x="595" y="552"/>
                    <a:pt x="589" y="558"/>
                    <a:pt x="589" y="565"/>
                  </a:cubicBezTo>
                  <a:cubicBezTo>
                    <a:pt x="589" y="572"/>
                    <a:pt x="595" y="577"/>
                    <a:pt x="602" y="577"/>
                  </a:cubicBezTo>
                  <a:close/>
                  <a:moveTo>
                    <a:pt x="641" y="577"/>
                  </a:moveTo>
                  <a:cubicBezTo>
                    <a:pt x="648" y="577"/>
                    <a:pt x="654" y="572"/>
                    <a:pt x="654" y="565"/>
                  </a:cubicBezTo>
                  <a:cubicBezTo>
                    <a:pt x="654" y="558"/>
                    <a:pt x="648" y="552"/>
                    <a:pt x="641" y="552"/>
                  </a:cubicBezTo>
                  <a:cubicBezTo>
                    <a:pt x="634" y="552"/>
                    <a:pt x="628" y="558"/>
                    <a:pt x="628" y="565"/>
                  </a:cubicBezTo>
                  <a:cubicBezTo>
                    <a:pt x="628" y="572"/>
                    <a:pt x="634" y="577"/>
                    <a:pt x="641" y="577"/>
                  </a:cubicBezTo>
                  <a:close/>
                  <a:moveTo>
                    <a:pt x="680" y="577"/>
                  </a:moveTo>
                  <a:cubicBezTo>
                    <a:pt x="687" y="577"/>
                    <a:pt x="693" y="572"/>
                    <a:pt x="693" y="565"/>
                  </a:cubicBezTo>
                  <a:cubicBezTo>
                    <a:pt x="693" y="558"/>
                    <a:pt x="687" y="552"/>
                    <a:pt x="680" y="552"/>
                  </a:cubicBezTo>
                  <a:cubicBezTo>
                    <a:pt x="673" y="552"/>
                    <a:pt x="668" y="558"/>
                    <a:pt x="668" y="565"/>
                  </a:cubicBezTo>
                  <a:cubicBezTo>
                    <a:pt x="668" y="572"/>
                    <a:pt x="673" y="577"/>
                    <a:pt x="680" y="577"/>
                  </a:cubicBezTo>
                  <a:close/>
                  <a:moveTo>
                    <a:pt x="720" y="577"/>
                  </a:moveTo>
                  <a:cubicBezTo>
                    <a:pt x="727" y="577"/>
                    <a:pt x="733" y="572"/>
                    <a:pt x="733" y="565"/>
                  </a:cubicBezTo>
                  <a:cubicBezTo>
                    <a:pt x="733" y="558"/>
                    <a:pt x="727" y="552"/>
                    <a:pt x="720" y="552"/>
                  </a:cubicBezTo>
                  <a:cubicBezTo>
                    <a:pt x="713" y="552"/>
                    <a:pt x="707" y="558"/>
                    <a:pt x="707" y="565"/>
                  </a:cubicBezTo>
                  <a:cubicBezTo>
                    <a:pt x="707" y="572"/>
                    <a:pt x="713" y="577"/>
                    <a:pt x="720" y="577"/>
                  </a:cubicBezTo>
                  <a:close/>
                  <a:moveTo>
                    <a:pt x="759" y="577"/>
                  </a:moveTo>
                  <a:cubicBezTo>
                    <a:pt x="766" y="577"/>
                    <a:pt x="772" y="572"/>
                    <a:pt x="772" y="565"/>
                  </a:cubicBezTo>
                  <a:cubicBezTo>
                    <a:pt x="772" y="558"/>
                    <a:pt x="766" y="552"/>
                    <a:pt x="759" y="552"/>
                  </a:cubicBezTo>
                  <a:cubicBezTo>
                    <a:pt x="752" y="552"/>
                    <a:pt x="747" y="558"/>
                    <a:pt x="747" y="565"/>
                  </a:cubicBezTo>
                  <a:cubicBezTo>
                    <a:pt x="747" y="572"/>
                    <a:pt x="752" y="577"/>
                    <a:pt x="759" y="577"/>
                  </a:cubicBezTo>
                  <a:close/>
                  <a:moveTo>
                    <a:pt x="799" y="577"/>
                  </a:moveTo>
                  <a:cubicBezTo>
                    <a:pt x="806" y="577"/>
                    <a:pt x="811" y="572"/>
                    <a:pt x="811" y="565"/>
                  </a:cubicBezTo>
                  <a:cubicBezTo>
                    <a:pt x="811" y="558"/>
                    <a:pt x="806" y="552"/>
                    <a:pt x="799" y="552"/>
                  </a:cubicBezTo>
                  <a:cubicBezTo>
                    <a:pt x="792" y="552"/>
                    <a:pt x="786" y="558"/>
                    <a:pt x="786" y="565"/>
                  </a:cubicBezTo>
                  <a:cubicBezTo>
                    <a:pt x="786" y="572"/>
                    <a:pt x="792" y="577"/>
                    <a:pt x="799" y="577"/>
                  </a:cubicBezTo>
                  <a:close/>
                  <a:moveTo>
                    <a:pt x="838" y="577"/>
                  </a:moveTo>
                  <a:cubicBezTo>
                    <a:pt x="845" y="577"/>
                    <a:pt x="851" y="572"/>
                    <a:pt x="851" y="565"/>
                  </a:cubicBezTo>
                  <a:cubicBezTo>
                    <a:pt x="851" y="558"/>
                    <a:pt x="845" y="552"/>
                    <a:pt x="838" y="552"/>
                  </a:cubicBezTo>
                  <a:cubicBezTo>
                    <a:pt x="831" y="552"/>
                    <a:pt x="825" y="558"/>
                    <a:pt x="825" y="565"/>
                  </a:cubicBezTo>
                  <a:cubicBezTo>
                    <a:pt x="825" y="572"/>
                    <a:pt x="831" y="577"/>
                    <a:pt x="838" y="577"/>
                  </a:cubicBezTo>
                  <a:close/>
                  <a:moveTo>
                    <a:pt x="878" y="577"/>
                  </a:moveTo>
                  <a:cubicBezTo>
                    <a:pt x="885" y="577"/>
                    <a:pt x="890" y="572"/>
                    <a:pt x="890" y="565"/>
                  </a:cubicBezTo>
                  <a:cubicBezTo>
                    <a:pt x="890" y="558"/>
                    <a:pt x="885" y="552"/>
                    <a:pt x="878" y="552"/>
                  </a:cubicBezTo>
                  <a:cubicBezTo>
                    <a:pt x="871" y="552"/>
                    <a:pt x="865" y="558"/>
                    <a:pt x="865" y="565"/>
                  </a:cubicBezTo>
                  <a:cubicBezTo>
                    <a:pt x="865" y="572"/>
                    <a:pt x="871" y="577"/>
                    <a:pt x="878" y="577"/>
                  </a:cubicBezTo>
                  <a:close/>
                  <a:moveTo>
                    <a:pt x="917" y="577"/>
                  </a:moveTo>
                  <a:cubicBezTo>
                    <a:pt x="924" y="577"/>
                    <a:pt x="930" y="572"/>
                    <a:pt x="930" y="565"/>
                  </a:cubicBezTo>
                  <a:cubicBezTo>
                    <a:pt x="930" y="558"/>
                    <a:pt x="924" y="552"/>
                    <a:pt x="917" y="552"/>
                  </a:cubicBezTo>
                  <a:cubicBezTo>
                    <a:pt x="910" y="552"/>
                    <a:pt x="904" y="558"/>
                    <a:pt x="904" y="565"/>
                  </a:cubicBezTo>
                  <a:cubicBezTo>
                    <a:pt x="904" y="572"/>
                    <a:pt x="910" y="577"/>
                    <a:pt x="917" y="577"/>
                  </a:cubicBezTo>
                  <a:close/>
                  <a:moveTo>
                    <a:pt x="956" y="577"/>
                  </a:moveTo>
                  <a:cubicBezTo>
                    <a:pt x="963" y="577"/>
                    <a:pt x="969" y="572"/>
                    <a:pt x="969" y="565"/>
                  </a:cubicBezTo>
                  <a:cubicBezTo>
                    <a:pt x="969" y="558"/>
                    <a:pt x="963" y="552"/>
                    <a:pt x="956" y="552"/>
                  </a:cubicBezTo>
                  <a:cubicBezTo>
                    <a:pt x="949" y="552"/>
                    <a:pt x="944" y="558"/>
                    <a:pt x="944" y="565"/>
                  </a:cubicBezTo>
                  <a:cubicBezTo>
                    <a:pt x="944" y="572"/>
                    <a:pt x="949" y="577"/>
                    <a:pt x="956" y="577"/>
                  </a:cubicBezTo>
                  <a:close/>
                  <a:moveTo>
                    <a:pt x="996" y="577"/>
                  </a:moveTo>
                  <a:cubicBezTo>
                    <a:pt x="1003" y="577"/>
                    <a:pt x="1009" y="572"/>
                    <a:pt x="1009" y="565"/>
                  </a:cubicBezTo>
                  <a:cubicBezTo>
                    <a:pt x="1009" y="558"/>
                    <a:pt x="1003" y="552"/>
                    <a:pt x="996" y="552"/>
                  </a:cubicBezTo>
                  <a:cubicBezTo>
                    <a:pt x="989" y="552"/>
                    <a:pt x="983" y="558"/>
                    <a:pt x="983" y="565"/>
                  </a:cubicBezTo>
                  <a:cubicBezTo>
                    <a:pt x="983" y="572"/>
                    <a:pt x="989" y="577"/>
                    <a:pt x="996" y="577"/>
                  </a:cubicBezTo>
                  <a:close/>
                  <a:moveTo>
                    <a:pt x="1035" y="577"/>
                  </a:moveTo>
                  <a:cubicBezTo>
                    <a:pt x="1042" y="577"/>
                    <a:pt x="1048" y="572"/>
                    <a:pt x="1048" y="565"/>
                  </a:cubicBezTo>
                  <a:cubicBezTo>
                    <a:pt x="1048" y="558"/>
                    <a:pt x="1042" y="552"/>
                    <a:pt x="1035" y="552"/>
                  </a:cubicBezTo>
                  <a:cubicBezTo>
                    <a:pt x="1028" y="552"/>
                    <a:pt x="1022" y="558"/>
                    <a:pt x="1022" y="565"/>
                  </a:cubicBezTo>
                  <a:cubicBezTo>
                    <a:pt x="1022" y="572"/>
                    <a:pt x="1028" y="577"/>
                    <a:pt x="1035" y="577"/>
                  </a:cubicBezTo>
                  <a:close/>
                  <a:moveTo>
                    <a:pt x="1075" y="577"/>
                  </a:moveTo>
                  <a:cubicBezTo>
                    <a:pt x="1082" y="577"/>
                    <a:pt x="1087" y="572"/>
                    <a:pt x="1087" y="565"/>
                  </a:cubicBezTo>
                  <a:cubicBezTo>
                    <a:pt x="1087" y="558"/>
                    <a:pt x="1082" y="552"/>
                    <a:pt x="1075" y="552"/>
                  </a:cubicBezTo>
                  <a:cubicBezTo>
                    <a:pt x="1068" y="552"/>
                    <a:pt x="1062" y="558"/>
                    <a:pt x="1062" y="565"/>
                  </a:cubicBezTo>
                  <a:cubicBezTo>
                    <a:pt x="1062" y="572"/>
                    <a:pt x="1068" y="577"/>
                    <a:pt x="1075" y="577"/>
                  </a:cubicBezTo>
                  <a:close/>
                  <a:moveTo>
                    <a:pt x="1666" y="577"/>
                  </a:moveTo>
                  <a:cubicBezTo>
                    <a:pt x="1673" y="577"/>
                    <a:pt x="1679" y="572"/>
                    <a:pt x="1679" y="565"/>
                  </a:cubicBezTo>
                  <a:cubicBezTo>
                    <a:pt x="1679" y="558"/>
                    <a:pt x="1673" y="552"/>
                    <a:pt x="1666" y="552"/>
                  </a:cubicBezTo>
                  <a:cubicBezTo>
                    <a:pt x="1659" y="552"/>
                    <a:pt x="1653" y="558"/>
                    <a:pt x="1653" y="565"/>
                  </a:cubicBezTo>
                  <a:cubicBezTo>
                    <a:pt x="1653" y="572"/>
                    <a:pt x="1659" y="577"/>
                    <a:pt x="1666" y="577"/>
                  </a:cubicBezTo>
                  <a:close/>
                  <a:moveTo>
                    <a:pt x="1745" y="577"/>
                  </a:moveTo>
                  <a:cubicBezTo>
                    <a:pt x="1752" y="577"/>
                    <a:pt x="1758" y="572"/>
                    <a:pt x="1758" y="565"/>
                  </a:cubicBezTo>
                  <a:cubicBezTo>
                    <a:pt x="1758" y="558"/>
                    <a:pt x="1752" y="552"/>
                    <a:pt x="1745" y="552"/>
                  </a:cubicBezTo>
                  <a:cubicBezTo>
                    <a:pt x="1738" y="552"/>
                    <a:pt x="1732" y="558"/>
                    <a:pt x="1732" y="565"/>
                  </a:cubicBezTo>
                  <a:cubicBezTo>
                    <a:pt x="1732" y="572"/>
                    <a:pt x="1738" y="577"/>
                    <a:pt x="1745" y="577"/>
                  </a:cubicBezTo>
                  <a:close/>
                  <a:moveTo>
                    <a:pt x="1784" y="577"/>
                  </a:moveTo>
                  <a:cubicBezTo>
                    <a:pt x="1791" y="577"/>
                    <a:pt x="1797" y="572"/>
                    <a:pt x="1797" y="565"/>
                  </a:cubicBezTo>
                  <a:cubicBezTo>
                    <a:pt x="1797" y="558"/>
                    <a:pt x="1791" y="552"/>
                    <a:pt x="1784" y="552"/>
                  </a:cubicBezTo>
                  <a:cubicBezTo>
                    <a:pt x="1777" y="552"/>
                    <a:pt x="1772" y="558"/>
                    <a:pt x="1772" y="565"/>
                  </a:cubicBezTo>
                  <a:cubicBezTo>
                    <a:pt x="1772" y="572"/>
                    <a:pt x="1777" y="577"/>
                    <a:pt x="1784" y="577"/>
                  </a:cubicBezTo>
                  <a:close/>
                  <a:moveTo>
                    <a:pt x="1824" y="577"/>
                  </a:moveTo>
                  <a:cubicBezTo>
                    <a:pt x="1831" y="577"/>
                    <a:pt x="1836" y="572"/>
                    <a:pt x="1836" y="565"/>
                  </a:cubicBezTo>
                  <a:cubicBezTo>
                    <a:pt x="1836" y="558"/>
                    <a:pt x="1831" y="552"/>
                    <a:pt x="1824" y="552"/>
                  </a:cubicBezTo>
                  <a:cubicBezTo>
                    <a:pt x="1817" y="552"/>
                    <a:pt x="1811" y="558"/>
                    <a:pt x="1811" y="565"/>
                  </a:cubicBezTo>
                  <a:cubicBezTo>
                    <a:pt x="1811" y="572"/>
                    <a:pt x="1817" y="577"/>
                    <a:pt x="1824" y="577"/>
                  </a:cubicBezTo>
                  <a:close/>
                  <a:moveTo>
                    <a:pt x="1863" y="577"/>
                  </a:moveTo>
                  <a:cubicBezTo>
                    <a:pt x="1870" y="577"/>
                    <a:pt x="1876" y="572"/>
                    <a:pt x="1876" y="565"/>
                  </a:cubicBezTo>
                  <a:cubicBezTo>
                    <a:pt x="1876" y="558"/>
                    <a:pt x="1870" y="552"/>
                    <a:pt x="1863" y="552"/>
                  </a:cubicBezTo>
                  <a:cubicBezTo>
                    <a:pt x="1856" y="552"/>
                    <a:pt x="1850" y="558"/>
                    <a:pt x="1850" y="565"/>
                  </a:cubicBezTo>
                  <a:cubicBezTo>
                    <a:pt x="1850" y="572"/>
                    <a:pt x="1856" y="577"/>
                    <a:pt x="1863" y="577"/>
                  </a:cubicBezTo>
                  <a:close/>
                  <a:moveTo>
                    <a:pt x="1903" y="577"/>
                  </a:moveTo>
                  <a:cubicBezTo>
                    <a:pt x="1910" y="577"/>
                    <a:pt x="1915" y="572"/>
                    <a:pt x="1915" y="565"/>
                  </a:cubicBezTo>
                  <a:cubicBezTo>
                    <a:pt x="1915" y="558"/>
                    <a:pt x="1910" y="552"/>
                    <a:pt x="1903" y="552"/>
                  </a:cubicBezTo>
                  <a:cubicBezTo>
                    <a:pt x="1896" y="552"/>
                    <a:pt x="1890" y="558"/>
                    <a:pt x="1890" y="565"/>
                  </a:cubicBezTo>
                  <a:cubicBezTo>
                    <a:pt x="1890" y="572"/>
                    <a:pt x="1896" y="577"/>
                    <a:pt x="1903" y="577"/>
                  </a:cubicBezTo>
                  <a:close/>
                  <a:moveTo>
                    <a:pt x="1942" y="577"/>
                  </a:moveTo>
                  <a:cubicBezTo>
                    <a:pt x="1949" y="577"/>
                    <a:pt x="1955" y="572"/>
                    <a:pt x="1955" y="565"/>
                  </a:cubicBezTo>
                  <a:cubicBezTo>
                    <a:pt x="1955" y="558"/>
                    <a:pt x="1949" y="552"/>
                    <a:pt x="1942" y="552"/>
                  </a:cubicBezTo>
                  <a:cubicBezTo>
                    <a:pt x="1935" y="552"/>
                    <a:pt x="1929" y="558"/>
                    <a:pt x="1929" y="565"/>
                  </a:cubicBezTo>
                  <a:cubicBezTo>
                    <a:pt x="1929" y="572"/>
                    <a:pt x="1935" y="577"/>
                    <a:pt x="1942" y="577"/>
                  </a:cubicBezTo>
                  <a:close/>
                  <a:moveTo>
                    <a:pt x="1981" y="577"/>
                  </a:moveTo>
                  <a:cubicBezTo>
                    <a:pt x="1988" y="577"/>
                    <a:pt x="1994" y="572"/>
                    <a:pt x="1994" y="565"/>
                  </a:cubicBezTo>
                  <a:cubicBezTo>
                    <a:pt x="1994" y="558"/>
                    <a:pt x="1988" y="552"/>
                    <a:pt x="1981" y="552"/>
                  </a:cubicBezTo>
                  <a:cubicBezTo>
                    <a:pt x="1974" y="552"/>
                    <a:pt x="1969" y="558"/>
                    <a:pt x="1969" y="565"/>
                  </a:cubicBezTo>
                  <a:cubicBezTo>
                    <a:pt x="1969" y="572"/>
                    <a:pt x="1974" y="577"/>
                    <a:pt x="1981" y="577"/>
                  </a:cubicBezTo>
                  <a:close/>
                  <a:moveTo>
                    <a:pt x="2021" y="577"/>
                  </a:moveTo>
                  <a:cubicBezTo>
                    <a:pt x="2028" y="577"/>
                    <a:pt x="2034" y="572"/>
                    <a:pt x="2034" y="565"/>
                  </a:cubicBezTo>
                  <a:cubicBezTo>
                    <a:pt x="2034" y="558"/>
                    <a:pt x="2028" y="552"/>
                    <a:pt x="2021" y="552"/>
                  </a:cubicBezTo>
                  <a:cubicBezTo>
                    <a:pt x="2014" y="552"/>
                    <a:pt x="2008" y="558"/>
                    <a:pt x="2008" y="565"/>
                  </a:cubicBezTo>
                  <a:cubicBezTo>
                    <a:pt x="2008" y="572"/>
                    <a:pt x="2014" y="577"/>
                    <a:pt x="2021" y="577"/>
                  </a:cubicBezTo>
                  <a:close/>
                  <a:moveTo>
                    <a:pt x="2060" y="577"/>
                  </a:moveTo>
                  <a:cubicBezTo>
                    <a:pt x="2067" y="577"/>
                    <a:pt x="2073" y="572"/>
                    <a:pt x="2073" y="565"/>
                  </a:cubicBezTo>
                  <a:cubicBezTo>
                    <a:pt x="2073" y="558"/>
                    <a:pt x="2067" y="552"/>
                    <a:pt x="2060" y="552"/>
                  </a:cubicBezTo>
                  <a:cubicBezTo>
                    <a:pt x="2053" y="552"/>
                    <a:pt x="2048" y="558"/>
                    <a:pt x="2048" y="565"/>
                  </a:cubicBezTo>
                  <a:cubicBezTo>
                    <a:pt x="2048" y="572"/>
                    <a:pt x="2053" y="577"/>
                    <a:pt x="2060" y="577"/>
                  </a:cubicBezTo>
                  <a:close/>
                  <a:moveTo>
                    <a:pt x="2100" y="577"/>
                  </a:moveTo>
                  <a:cubicBezTo>
                    <a:pt x="2107" y="577"/>
                    <a:pt x="2112" y="572"/>
                    <a:pt x="2112" y="565"/>
                  </a:cubicBezTo>
                  <a:cubicBezTo>
                    <a:pt x="2112" y="558"/>
                    <a:pt x="2107" y="552"/>
                    <a:pt x="2100" y="552"/>
                  </a:cubicBezTo>
                  <a:cubicBezTo>
                    <a:pt x="2093" y="552"/>
                    <a:pt x="2087" y="558"/>
                    <a:pt x="2087" y="565"/>
                  </a:cubicBezTo>
                  <a:cubicBezTo>
                    <a:pt x="2087" y="572"/>
                    <a:pt x="2093" y="577"/>
                    <a:pt x="2100" y="577"/>
                  </a:cubicBezTo>
                  <a:close/>
                  <a:moveTo>
                    <a:pt x="2139" y="577"/>
                  </a:moveTo>
                  <a:cubicBezTo>
                    <a:pt x="2146" y="577"/>
                    <a:pt x="2152" y="572"/>
                    <a:pt x="2152" y="565"/>
                  </a:cubicBezTo>
                  <a:cubicBezTo>
                    <a:pt x="2152" y="558"/>
                    <a:pt x="2146" y="552"/>
                    <a:pt x="2139" y="552"/>
                  </a:cubicBezTo>
                  <a:cubicBezTo>
                    <a:pt x="2132" y="552"/>
                    <a:pt x="2126" y="558"/>
                    <a:pt x="2126" y="565"/>
                  </a:cubicBezTo>
                  <a:cubicBezTo>
                    <a:pt x="2126" y="572"/>
                    <a:pt x="2132" y="577"/>
                    <a:pt x="2139" y="577"/>
                  </a:cubicBezTo>
                  <a:close/>
                  <a:moveTo>
                    <a:pt x="2179" y="577"/>
                  </a:moveTo>
                  <a:cubicBezTo>
                    <a:pt x="2186" y="577"/>
                    <a:pt x="2191" y="572"/>
                    <a:pt x="2191" y="565"/>
                  </a:cubicBezTo>
                  <a:cubicBezTo>
                    <a:pt x="2191" y="558"/>
                    <a:pt x="2186" y="552"/>
                    <a:pt x="2179" y="552"/>
                  </a:cubicBezTo>
                  <a:cubicBezTo>
                    <a:pt x="2171" y="552"/>
                    <a:pt x="2166" y="558"/>
                    <a:pt x="2166" y="565"/>
                  </a:cubicBezTo>
                  <a:cubicBezTo>
                    <a:pt x="2166" y="572"/>
                    <a:pt x="2171" y="577"/>
                    <a:pt x="2179" y="577"/>
                  </a:cubicBezTo>
                  <a:close/>
                  <a:moveTo>
                    <a:pt x="2218" y="577"/>
                  </a:moveTo>
                  <a:cubicBezTo>
                    <a:pt x="2225" y="577"/>
                    <a:pt x="2231" y="572"/>
                    <a:pt x="2231" y="565"/>
                  </a:cubicBezTo>
                  <a:cubicBezTo>
                    <a:pt x="2231" y="558"/>
                    <a:pt x="2225" y="552"/>
                    <a:pt x="2218" y="552"/>
                  </a:cubicBezTo>
                  <a:cubicBezTo>
                    <a:pt x="2211" y="552"/>
                    <a:pt x="2205" y="558"/>
                    <a:pt x="2205" y="565"/>
                  </a:cubicBezTo>
                  <a:cubicBezTo>
                    <a:pt x="2205" y="572"/>
                    <a:pt x="2211" y="577"/>
                    <a:pt x="2218" y="577"/>
                  </a:cubicBezTo>
                  <a:close/>
                  <a:moveTo>
                    <a:pt x="2257" y="577"/>
                  </a:moveTo>
                  <a:cubicBezTo>
                    <a:pt x="2264" y="577"/>
                    <a:pt x="2270" y="572"/>
                    <a:pt x="2270" y="565"/>
                  </a:cubicBezTo>
                  <a:cubicBezTo>
                    <a:pt x="2270" y="558"/>
                    <a:pt x="2264" y="552"/>
                    <a:pt x="2257" y="552"/>
                  </a:cubicBezTo>
                  <a:cubicBezTo>
                    <a:pt x="2250" y="552"/>
                    <a:pt x="2245" y="558"/>
                    <a:pt x="2245" y="565"/>
                  </a:cubicBezTo>
                  <a:cubicBezTo>
                    <a:pt x="2245" y="572"/>
                    <a:pt x="2250" y="577"/>
                    <a:pt x="2257" y="577"/>
                  </a:cubicBezTo>
                  <a:close/>
                  <a:moveTo>
                    <a:pt x="2297" y="577"/>
                  </a:moveTo>
                  <a:cubicBezTo>
                    <a:pt x="2304" y="577"/>
                    <a:pt x="2310" y="572"/>
                    <a:pt x="2310" y="565"/>
                  </a:cubicBezTo>
                  <a:cubicBezTo>
                    <a:pt x="2310" y="558"/>
                    <a:pt x="2304" y="552"/>
                    <a:pt x="2297" y="552"/>
                  </a:cubicBezTo>
                  <a:cubicBezTo>
                    <a:pt x="2290" y="552"/>
                    <a:pt x="2284" y="558"/>
                    <a:pt x="2284" y="565"/>
                  </a:cubicBezTo>
                  <a:cubicBezTo>
                    <a:pt x="2284" y="572"/>
                    <a:pt x="2290" y="577"/>
                    <a:pt x="2297" y="577"/>
                  </a:cubicBezTo>
                  <a:close/>
                  <a:moveTo>
                    <a:pt x="2336" y="577"/>
                  </a:moveTo>
                  <a:cubicBezTo>
                    <a:pt x="2343" y="577"/>
                    <a:pt x="2349" y="572"/>
                    <a:pt x="2349" y="565"/>
                  </a:cubicBezTo>
                  <a:cubicBezTo>
                    <a:pt x="2349" y="558"/>
                    <a:pt x="2343" y="552"/>
                    <a:pt x="2336" y="552"/>
                  </a:cubicBezTo>
                  <a:cubicBezTo>
                    <a:pt x="2329" y="552"/>
                    <a:pt x="2323" y="558"/>
                    <a:pt x="2323" y="565"/>
                  </a:cubicBezTo>
                  <a:cubicBezTo>
                    <a:pt x="2323" y="572"/>
                    <a:pt x="2329" y="577"/>
                    <a:pt x="2336" y="577"/>
                  </a:cubicBezTo>
                  <a:close/>
                  <a:moveTo>
                    <a:pt x="2376" y="577"/>
                  </a:moveTo>
                  <a:cubicBezTo>
                    <a:pt x="2383" y="577"/>
                    <a:pt x="2388" y="572"/>
                    <a:pt x="2388" y="565"/>
                  </a:cubicBezTo>
                  <a:cubicBezTo>
                    <a:pt x="2388" y="558"/>
                    <a:pt x="2383" y="552"/>
                    <a:pt x="2376" y="552"/>
                  </a:cubicBezTo>
                  <a:cubicBezTo>
                    <a:pt x="2369" y="552"/>
                    <a:pt x="2363" y="558"/>
                    <a:pt x="2363" y="565"/>
                  </a:cubicBezTo>
                  <a:cubicBezTo>
                    <a:pt x="2363" y="572"/>
                    <a:pt x="2369" y="577"/>
                    <a:pt x="2376" y="577"/>
                  </a:cubicBezTo>
                  <a:close/>
                  <a:moveTo>
                    <a:pt x="2415" y="577"/>
                  </a:moveTo>
                  <a:cubicBezTo>
                    <a:pt x="2422" y="577"/>
                    <a:pt x="2428" y="572"/>
                    <a:pt x="2428" y="565"/>
                  </a:cubicBezTo>
                  <a:cubicBezTo>
                    <a:pt x="2428" y="558"/>
                    <a:pt x="2422" y="552"/>
                    <a:pt x="2415" y="552"/>
                  </a:cubicBezTo>
                  <a:cubicBezTo>
                    <a:pt x="2408" y="552"/>
                    <a:pt x="2402" y="558"/>
                    <a:pt x="2402" y="565"/>
                  </a:cubicBezTo>
                  <a:cubicBezTo>
                    <a:pt x="2402" y="572"/>
                    <a:pt x="2408" y="577"/>
                    <a:pt x="2415" y="577"/>
                  </a:cubicBezTo>
                  <a:close/>
                  <a:moveTo>
                    <a:pt x="2455" y="577"/>
                  </a:moveTo>
                  <a:cubicBezTo>
                    <a:pt x="2462" y="577"/>
                    <a:pt x="2467" y="572"/>
                    <a:pt x="2467" y="565"/>
                  </a:cubicBezTo>
                  <a:cubicBezTo>
                    <a:pt x="2467" y="558"/>
                    <a:pt x="2462" y="552"/>
                    <a:pt x="2455" y="552"/>
                  </a:cubicBezTo>
                  <a:cubicBezTo>
                    <a:pt x="2447" y="552"/>
                    <a:pt x="2442" y="558"/>
                    <a:pt x="2442" y="565"/>
                  </a:cubicBezTo>
                  <a:cubicBezTo>
                    <a:pt x="2442" y="572"/>
                    <a:pt x="2447" y="577"/>
                    <a:pt x="2455" y="577"/>
                  </a:cubicBezTo>
                  <a:close/>
                  <a:moveTo>
                    <a:pt x="2494" y="577"/>
                  </a:moveTo>
                  <a:cubicBezTo>
                    <a:pt x="2501" y="577"/>
                    <a:pt x="2507" y="572"/>
                    <a:pt x="2507" y="565"/>
                  </a:cubicBezTo>
                  <a:cubicBezTo>
                    <a:pt x="2507" y="558"/>
                    <a:pt x="2501" y="552"/>
                    <a:pt x="2494" y="552"/>
                  </a:cubicBezTo>
                  <a:cubicBezTo>
                    <a:pt x="2487" y="552"/>
                    <a:pt x="2481" y="558"/>
                    <a:pt x="2481" y="565"/>
                  </a:cubicBezTo>
                  <a:cubicBezTo>
                    <a:pt x="2481" y="572"/>
                    <a:pt x="2487" y="577"/>
                    <a:pt x="2494" y="577"/>
                  </a:cubicBezTo>
                  <a:close/>
                  <a:moveTo>
                    <a:pt x="2533" y="577"/>
                  </a:moveTo>
                  <a:cubicBezTo>
                    <a:pt x="2540" y="577"/>
                    <a:pt x="2546" y="572"/>
                    <a:pt x="2546" y="565"/>
                  </a:cubicBezTo>
                  <a:cubicBezTo>
                    <a:pt x="2546" y="558"/>
                    <a:pt x="2540" y="552"/>
                    <a:pt x="2533" y="552"/>
                  </a:cubicBezTo>
                  <a:cubicBezTo>
                    <a:pt x="2526" y="552"/>
                    <a:pt x="2521" y="558"/>
                    <a:pt x="2521" y="565"/>
                  </a:cubicBezTo>
                  <a:cubicBezTo>
                    <a:pt x="2521" y="572"/>
                    <a:pt x="2526" y="577"/>
                    <a:pt x="2533" y="577"/>
                  </a:cubicBezTo>
                  <a:close/>
                  <a:moveTo>
                    <a:pt x="2573" y="577"/>
                  </a:moveTo>
                  <a:cubicBezTo>
                    <a:pt x="2580" y="577"/>
                    <a:pt x="2586" y="572"/>
                    <a:pt x="2586" y="565"/>
                  </a:cubicBezTo>
                  <a:cubicBezTo>
                    <a:pt x="2586" y="558"/>
                    <a:pt x="2580" y="552"/>
                    <a:pt x="2573" y="552"/>
                  </a:cubicBezTo>
                  <a:cubicBezTo>
                    <a:pt x="2566" y="552"/>
                    <a:pt x="2560" y="558"/>
                    <a:pt x="2560" y="565"/>
                  </a:cubicBezTo>
                  <a:cubicBezTo>
                    <a:pt x="2560" y="572"/>
                    <a:pt x="2566" y="577"/>
                    <a:pt x="2573" y="577"/>
                  </a:cubicBezTo>
                  <a:close/>
                  <a:moveTo>
                    <a:pt x="2612" y="577"/>
                  </a:moveTo>
                  <a:cubicBezTo>
                    <a:pt x="2619" y="577"/>
                    <a:pt x="2625" y="572"/>
                    <a:pt x="2625" y="565"/>
                  </a:cubicBezTo>
                  <a:cubicBezTo>
                    <a:pt x="2625" y="558"/>
                    <a:pt x="2619" y="552"/>
                    <a:pt x="2612" y="552"/>
                  </a:cubicBezTo>
                  <a:cubicBezTo>
                    <a:pt x="2605" y="552"/>
                    <a:pt x="2599" y="558"/>
                    <a:pt x="2599" y="565"/>
                  </a:cubicBezTo>
                  <a:cubicBezTo>
                    <a:pt x="2599" y="572"/>
                    <a:pt x="2605" y="577"/>
                    <a:pt x="2612" y="577"/>
                  </a:cubicBezTo>
                  <a:close/>
                  <a:moveTo>
                    <a:pt x="2652" y="577"/>
                  </a:moveTo>
                  <a:cubicBezTo>
                    <a:pt x="2659" y="577"/>
                    <a:pt x="2664" y="572"/>
                    <a:pt x="2664" y="565"/>
                  </a:cubicBezTo>
                  <a:cubicBezTo>
                    <a:pt x="2664" y="558"/>
                    <a:pt x="2659" y="552"/>
                    <a:pt x="2652" y="552"/>
                  </a:cubicBezTo>
                  <a:cubicBezTo>
                    <a:pt x="2645" y="552"/>
                    <a:pt x="2639" y="558"/>
                    <a:pt x="2639" y="565"/>
                  </a:cubicBezTo>
                  <a:cubicBezTo>
                    <a:pt x="2639" y="572"/>
                    <a:pt x="2645" y="577"/>
                    <a:pt x="2652" y="577"/>
                  </a:cubicBezTo>
                  <a:close/>
                  <a:moveTo>
                    <a:pt x="2691" y="577"/>
                  </a:moveTo>
                  <a:cubicBezTo>
                    <a:pt x="2698" y="577"/>
                    <a:pt x="2704" y="572"/>
                    <a:pt x="2704" y="565"/>
                  </a:cubicBezTo>
                  <a:cubicBezTo>
                    <a:pt x="2704" y="558"/>
                    <a:pt x="2698" y="552"/>
                    <a:pt x="2691" y="552"/>
                  </a:cubicBezTo>
                  <a:cubicBezTo>
                    <a:pt x="2684" y="552"/>
                    <a:pt x="2678" y="558"/>
                    <a:pt x="2678" y="565"/>
                  </a:cubicBezTo>
                  <a:cubicBezTo>
                    <a:pt x="2678" y="572"/>
                    <a:pt x="2684" y="577"/>
                    <a:pt x="2691" y="577"/>
                  </a:cubicBezTo>
                  <a:close/>
                  <a:moveTo>
                    <a:pt x="2730" y="577"/>
                  </a:moveTo>
                  <a:cubicBezTo>
                    <a:pt x="2738" y="577"/>
                    <a:pt x="2743" y="572"/>
                    <a:pt x="2743" y="565"/>
                  </a:cubicBezTo>
                  <a:cubicBezTo>
                    <a:pt x="2743" y="558"/>
                    <a:pt x="2738" y="552"/>
                    <a:pt x="2730" y="552"/>
                  </a:cubicBezTo>
                  <a:cubicBezTo>
                    <a:pt x="2723" y="552"/>
                    <a:pt x="2718" y="558"/>
                    <a:pt x="2718" y="565"/>
                  </a:cubicBezTo>
                  <a:cubicBezTo>
                    <a:pt x="2718" y="572"/>
                    <a:pt x="2723" y="577"/>
                    <a:pt x="2730" y="577"/>
                  </a:cubicBezTo>
                  <a:close/>
                  <a:moveTo>
                    <a:pt x="2770" y="577"/>
                  </a:moveTo>
                  <a:cubicBezTo>
                    <a:pt x="2777" y="577"/>
                    <a:pt x="2783" y="572"/>
                    <a:pt x="2783" y="565"/>
                  </a:cubicBezTo>
                  <a:cubicBezTo>
                    <a:pt x="2783" y="558"/>
                    <a:pt x="2777" y="552"/>
                    <a:pt x="2770" y="552"/>
                  </a:cubicBezTo>
                  <a:cubicBezTo>
                    <a:pt x="2763" y="552"/>
                    <a:pt x="2757" y="558"/>
                    <a:pt x="2757" y="565"/>
                  </a:cubicBezTo>
                  <a:cubicBezTo>
                    <a:pt x="2757" y="572"/>
                    <a:pt x="2763" y="577"/>
                    <a:pt x="2770" y="577"/>
                  </a:cubicBezTo>
                  <a:close/>
                  <a:moveTo>
                    <a:pt x="2809" y="577"/>
                  </a:moveTo>
                  <a:cubicBezTo>
                    <a:pt x="2816" y="577"/>
                    <a:pt x="2822" y="572"/>
                    <a:pt x="2822" y="565"/>
                  </a:cubicBezTo>
                  <a:cubicBezTo>
                    <a:pt x="2822" y="558"/>
                    <a:pt x="2816" y="552"/>
                    <a:pt x="2809" y="552"/>
                  </a:cubicBezTo>
                  <a:cubicBezTo>
                    <a:pt x="2802" y="552"/>
                    <a:pt x="2797" y="558"/>
                    <a:pt x="2797" y="565"/>
                  </a:cubicBezTo>
                  <a:cubicBezTo>
                    <a:pt x="2797" y="572"/>
                    <a:pt x="2802" y="577"/>
                    <a:pt x="2809" y="577"/>
                  </a:cubicBezTo>
                  <a:close/>
                  <a:moveTo>
                    <a:pt x="2849" y="577"/>
                  </a:moveTo>
                  <a:cubicBezTo>
                    <a:pt x="2856" y="577"/>
                    <a:pt x="2861" y="572"/>
                    <a:pt x="2861" y="565"/>
                  </a:cubicBezTo>
                  <a:cubicBezTo>
                    <a:pt x="2861" y="558"/>
                    <a:pt x="2856" y="552"/>
                    <a:pt x="2849" y="552"/>
                  </a:cubicBezTo>
                  <a:cubicBezTo>
                    <a:pt x="2842" y="552"/>
                    <a:pt x="2836" y="558"/>
                    <a:pt x="2836" y="565"/>
                  </a:cubicBezTo>
                  <a:cubicBezTo>
                    <a:pt x="2836" y="572"/>
                    <a:pt x="2842" y="577"/>
                    <a:pt x="2849" y="577"/>
                  </a:cubicBezTo>
                  <a:close/>
                  <a:moveTo>
                    <a:pt x="2888" y="577"/>
                  </a:moveTo>
                  <a:cubicBezTo>
                    <a:pt x="2895" y="577"/>
                    <a:pt x="2901" y="572"/>
                    <a:pt x="2901" y="565"/>
                  </a:cubicBezTo>
                  <a:cubicBezTo>
                    <a:pt x="2901" y="558"/>
                    <a:pt x="2895" y="552"/>
                    <a:pt x="2888" y="552"/>
                  </a:cubicBezTo>
                  <a:cubicBezTo>
                    <a:pt x="2881" y="552"/>
                    <a:pt x="2875" y="558"/>
                    <a:pt x="2875" y="565"/>
                  </a:cubicBezTo>
                  <a:cubicBezTo>
                    <a:pt x="2875" y="572"/>
                    <a:pt x="2881" y="577"/>
                    <a:pt x="2888" y="577"/>
                  </a:cubicBezTo>
                  <a:close/>
                  <a:moveTo>
                    <a:pt x="2928" y="577"/>
                  </a:moveTo>
                  <a:cubicBezTo>
                    <a:pt x="2935" y="577"/>
                    <a:pt x="2940" y="572"/>
                    <a:pt x="2940" y="565"/>
                  </a:cubicBezTo>
                  <a:cubicBezTo>
                    <a:pt x="2940" y="558"/>
                    <a:pt x="2935" y="552"/>
                    <a:pt x="2928" y="552"/>
                  </a:cubicBezTo>
                  <a:cubicBezTo>
                    <a:pt x="2921" y="552"/>
                    <a:pt x="2915" y="558"/>
                    <a:pt x="2915" y="565"/>
                  </a:cubicBezTo>
                  <a:cubicBezTo>
                    <a:pt x="2915" y="572"/>
                    <a:pt x="2921" y="577"/>
                    <a:pt x="2928" y="577"/>
                  </a:cubicBezTo>
                  <a:close/>
                  <a:moveTo>
                    <a:pt x="2967" y="577"/>
                  </a:moveTo>
                  <a:cubicBezTo>
                    <a:pt x="2974" y="577"/>
                    <a:pt x="2980" y="572"/>
                    <a:pt x="2980" y="565"/>
                  </a:cubicBezTo>
                  <a:cubicBezTo>
                    <a:pt x="2980" y="558"/>
                    <a:pt x="2974" y="552"/>
                    <a:pt x="2967" y="552"/>
                  </a:cubicBezTo>
                  <a:cubicBezTo>
                    <a:pt x="2960" y="552"/>
                    <a:pt x="2954" y="558"/>
                    <a:pt x="2954" y="565"/>
                  </a:cubicBezTo>
                  <a:cubicBezTo>
                    <a:pt x="2954" y="572"/>
                    <a:pt x="2960" y="577"/>
                    <a:pt x="2967" y="577"/>
                  </a:cubicBezTo>
                  <a:close/>
                  <a:moveTo>
                    <a:pt x="3006" y="577"/>
                  </a:moveTo>
                  <a:cubicBezTo>
                    <a:pt x="3013" y="577"/>
                    <a:pt x="3019" y="572"/>
                    <a:pt x="3019" y="565"/>
                  </a:cubicBezTo>
                  <a:cubicBezTo>
                    <a:pt x="3019" y="558"/>
                    <a:pt x="3013" y="552"/>
                    <a:pt x="3006" y="552"/>
                  </a:cubicBezTo>
                  <a:cubicBezTo>
                    <a:pt x="2999" y="552"/>
                    <a:pt x="2994" y="558"/>
                    <a:pt x="2994" y="565"/>
                  </a:cubicBezTo>
                  <a:cubicBezTo>
                    <a:pt x="2994" y="572"/>
                    <a:pt x="2999" y="577"/>
                    <a:pt x="3006" y="577"/>
                  </a:cubicBezTo>
                  <a:close/>
                  <a:moveTo>
                    <a:pt x="3046" y="577"/>
                  </a:moveTo>
                  <a:cubicBezTo>
                    <a:pt x="3053" y="577"/>
                    <a:pt x="3059" y="572"/>
                    <a:pt x="3059" y="565"/>
                  </a:cubicBezTo>
                  <a:cubicBezTo>
                    <a:pt x="3059" y="558"/>
                    <a:pt x="3053" y="552"/>
                    <a:pt x="3046" y="552"/>
                  </a:cubicBezTo>
                  <a:cubicBezTo>
                    <a:pt x="3039" y="552"/>
                    <a:pt x="3033" y="558"/>
                    <a:pt x="3033" y="565"/>
                  </a:cubicBezTo>
                  <a:cubicBezTo>
                    <a:pt x="3033" y="572"/>
                    <a:pt x="3039" y="577"/>
                    <a:pt x="3046" y="577"/>
                  </a:cubicBezTo>
                  <a:close/>
                  <a:moveTo>
                    <a:pt x="3085" y="577"/>
                  </a:moveTo>
                  <a:cubicBezTo>
                    <a:pt x="3092" y="577"/>
                    <a:pt x="3098" y="572"/>
                    <a:pt x="3098" y="565"/>
                  </a:cubicBezTo>
                  <a:cubicBezTo>
                    <a:pt x="3098" y="558"/>
                    <a:pt x="3092" y="552"/>
                    <a:pt x="3085" y="552"/>
                  </a:cubicBezTo>
                  <a:cubicBezTo>
                    <a:pt x="3078" y="552"/>
                    <a:pt x="3073" y="558"/>
                    <a:pt x="3073" y="565"/>
                  </a:cubicBezTo>
                  <a:cubicBezTo>
                    <a:pt x="3073" y="572"/>
                    <a:pt x="3078" y="577"/>
                    <a:pt x="3085" y="577"/>
                  </a:cubicBezTo>
                  <a:close/>
                  <a:moveTo>
                    <a:pt x="3282" y="554"/>
                  </a:moveTo>
                  <a:cubicBezTo>
                    <a:pt x="3276" y="554"/>
                    <a:pt x="3272" y="559"/>
                    <a:pt x="3272" y="565"/>
                  </a:cubicBezTo>
                  <a:cubicBezTo>
                    <a:pt x="3272" y="571"/>
                    <a:pt x="3276" y="575"/>
                    <a:pt x="3282" y="575"/>
                  </a:cubicBezTo>
                  <a:cubicBezTo>
                    <a:pt x="3288" y="575"/>
                    <a:pt x="3293" y="571"/>
                    <a:pt x="3293" y="565"/>
                  </a:cubicBezTo>
                  <a:cubicBezTo>
                    <a:pt x="3293" y="559"/>
                    <a:pt x="3288" y="554"/>
                    <a:pt x="3282" y="554"/>
                  </a:cubicBezTo>
                  <a:close/>
                  <a:moveTo>
                    <a:pt x="444" y="617"/>
                  </a:moveTo>
                  <a:cubicBezTo>
                    <a:pt x="451" y="617"/>
                    <a:pt x="457" y="611"/>
                    <a:pt x="457" y="604"/>
                  </a:cubicBezTo>
                  <a:cubicBezTo>
                    <a:pt x="457" y="597"/>
                    <a:pt x="451" y="591"/>
                    <a:pt x="444" y="591"/>
                  </a:cubicBezTo>
                  <a:cubicBezTo>
                    <a:pt x="437" y="591"/>
                    <a:pt x="431" y="597"/>
                    <a:pt x="431" y="604"/>
                  </a:cubicBezTo>
                  <a:cubicBezTo>
                    <a:pt x="431" y="611"/>
                    <a:pt x="437" y="617"/>
                    <a:pt x="444" y="617"/>
                  </a:cubicBezTo>
                  <a:close/>
                  <a:moveTo>
                    <a:pt x="483" y="617"/>
                  </a:moveTo>
                  <a:cubicBezTo>
                    <a:pt x="490" y="617"/>
                    <a:pt x="496" y="611"/>
                    <a:pt x="496" y="604"/>
                  </a:cubicBezTo>
                  <a:cubicBezTo>
                    <a:pt x="496" y="597"/>
                    <a:pt x="490" y="591"/>
                    <a:pt x="483" y="591"/>
                  </a:cubicBezTo>
                  <a:cubicBezTo>
                    <a:pt x="476" y="591"/>
                    <a:pt x="471" y="597"/>
                    <a:pt x="471" y="604"/>
                  </a:cubicBezTo>
                  <a:cubicBezTo>
                    <a:pt x="471" y="611"/>
                    <a:pt x="476" y="617"/>
                    <a:pt x="483" y="617"/>
                  </a:cubicBezTo>
                  <a:close/>
                  <a:moveTo>
                    <a:pt x="523" y="617"/>
                  </a:moveTo>
                  <a:cubicBezTo>
                    <a:pt x="530" y="617"/>
                    <a:pt x="535" y="611"/>
                    <a:pt x="535" y="604"/>
                  </a:cubicBezTo>
                  <a:cubicBezTo>
                    <a:pt x="535" y="597"/>
                    <a:pt x="530" y="591"/>
                    <a:pt x="523" y="591"/>
                  </a:cubicBezTo>
                  <a:cubicBezTo>
                    <a:pt x="516" y="591"/>
                    <a:pt x="510" y="597"/>
                    <a:pt x="510" y="604"/>
                  </a:cubicBezTo>
                  <a:cubicBezTo>
                    <a:pt x="510" y="611"/>
                    <a:pt x="516" y="617"/>
                    <a:pt x="523" y="617"/>
                  </a:cubicBezTo>
                  <a:close/>
                  <a:moveTo>
                    <a:pt x="562" y="617"/>
                  </a:moveTo>
                  <a:cubicBezTo>
                    <a:pt x="569" y="617"/>
                    <a:pt x="575" y="611"/>
                    <a:pt x="575" y="604"/>
                  </a:cubicBezTo>
                  <a:cubicBezTo>
                    <a:pt x="575" y="597"/>
                    <a:pt x="569" y="591"/>
                    <a:pt x="562" y="591"/>
                  </a:cubicBezTo>
                  <a:cubicBezTo>
                    <a:pt x="555" y="591"/>
                    <a:pt x="549" y="597"/>
                    <a:pt x="549" y="604"/>
                  </a:cubicBezTo>
                  <a:cubicBezTo>
                    <a:pt x="549" y="611"/>
                    <a:pt x="555" y="617"/>
                    <a:pt x="562" y="617"/>
                  </a:cubicBezTo>
                  <a:close/>
                  <a:moveTo>
                    <a:pt x="602" y="617"/>
                  </a:moveTo>
                  <a:cubicBezTo>
                    <a:pt x="609" y="617"/>
                    <a:pt x="614" y="611"/>
                    <a:pt x="614" y="604"/>
                  </a:cubicBezTo>
                  <a:cubicBezTo>
                    <a:pt x="614" y="597"/>
                    <a:pt x="609" y="591"/>
                    <a:pt x="602" y="591"/>
                  </a:cubicBezTo>
                  <a:cubicBezTo>
                    <a:pt x="595" y="591"/>
                    <a:pt x="589" y="597"/>
                    <a:pt x="589" y="604"/>
                  </a:cubicBezTo>
                  <a:cubicBezTo>
                    <a:pt x="589" y="611"/>
                    <a:pt x="595" y="617"/>
                    <a:pt x="602" y="617"/>
                  </a:cubicBezTo>
                  <a:close/>
                  <a:moveTo>
                    <a:pt x="641" y="617"/>
                  </a:moveTo>
                  <a:cubicBezTo>
                    <a:pt x="648" y="617"/>
                    <a:pt x="654" y="611"/>
                    <a:pt x="654" y="604"/>
                  </a:cubicBezTo>
                  <a:cubicBezTo>
                    <a:pt x="654" y="597"/>
                    <a:pt x="648" y="591"/>
                    <a:pt x="641" y="591"/>
                  </a:cubicBezTo>
                  <a:cubicBezTo>
                    <a:pt x="634" y="591"/>
                    <a:pt x="628" y="597"/>
                    <a:pt x="628" y="604"/>
                  </a:cubicBezTo>
                  <a:cubicBezTo>
                    <a:pt x="628" y="611"/>
                    <a:pt x="634" y="617"/>
                    <a:pt x="641" y="617"/>
                  </a:cubicBezTo>
                  <a:close/>
                  <a:moveTo>
                    <a:pt x="680" y="617"/>
                  </a:moveTo>
                  <a:cubicBezTo>
                    <a:pt x="687" y="617"/>
                    <a:pt x="693" y="611"/>
                    <a:pt x="693" y="604"/>
                  </a:cubicBezTo>
                  <a:cubicBezTo>
                    <a:pt x="693" y="597"/>
                    <a:pt x="687" y="591"/>
                    <a:pt x="680" y="591"/>
                  </a:cubicBezTo>
                  <a:cubicBezTo>
                    <a:pt x="673" y="591"/>
                    <a:pt x="668" y="597"/>
                    <a:pt x="668" y="604"/>
                  </a:cubicBezTo>
                  <a:cubicBezTo>
                    <a:pt x="668" y="611"/>
                    <a:pt x="673" y="617"/>
                    <a:pt x="680" y="617"/>
                  </a:cubicBezTo>
                  <a:close/>
                  <a:moveTo>
                    <a:pt x="720" y="617"/>
                  </a:moveTo>
                  <a:cubicBezTo>
                    <a:pt x="727" y="617"/>
                    <a:pt x="733" y="611"/>
                    <a:pt x="733" y="604"/>
                  </a:cubicBezTo>
                  <a:cubicBezTo>
                    <a:pt x="733" y="597"/>
                    <a:pt x="727" y="591"/>
                    <a:pt x="720" y="591"/>
                  </a:cubicBezTo>
                  <a:cubicBezTo>
                    <a:pt x="713" y="591"/>
                    <a:pt x="707" y="597"/>
                    <a:pt x="707" y="604"/>
                  </a:cubicBezTo>
                  <a:cubicBezTo>
                    <a:pt x="707" y="611"/>
                    <a:pt x="713" y="617"/>
                    <a:pt x="720" y="617"/>
                  </a:cubicBezTo>
                  <a:close/>
                  <a:moveTo>
                    <a:pt x="759" y="617"/>
                  </a:moveTo>
                  <a:cubicBezTo>
                    <a:pt x="766" y="617"/>
                    <a:pt x="772" y="611"/>
                    <a:pt x="772" y="604"/>
                  </a:cubicBezTo>
                  <a:cubicBezTo>
                    <a:pt x="772" y="597"/>
                    <a:pt x="766" y="591"/>
                    <a:pt x="759" y="591"/>
                  </a:cubicBezTo>
                  <a:cubicBezTo>
                    <a:pt x="752" y="591"/>
                    <a:pt x="747" y="597"/>
                    <a:pt x="747" y="604"/>
                  </a:cubicBezTo>
                  <a:cubicBezTo>
                    <a:pt x="747" y="611"/>
                    <a:pt x="752" y="617"/>
                    <a:pt x="759" y="617"/>
                  </a:cubicBezTo>
                  <a:close/>
                  <a:moveTo>
                    <a:pt x="838" y="617"/>
                  </a:moveTo>
                  <a:cubicBezTo>
                    <a:pt x="845" y="617"/>
                    <a:pt x="851" y="611"/>
                    <a:pt x="851" y="604"/>
                  </a:cubicBezTo>
                  <a:cubicBezTo>
                    <a:pt x="851" y="597"/>
                    <a:pt x="845" y="591"/>
                    <a:pt x="838" y="591"/>
                  </a:cubicBezTo>
                  <a:cubicBezTo>
                    <a:pt x="831" y="591"/>
                    <a:pt x="825" y="597"/>
                    <a:pt x="825" y="604"/>
                  </a:cubicBezTo>
                  <a:cubicBezTo>
                    <a:pt x="825" y="611"/>
                    <a:pt x="831" y="617"/>
                    <a:pt x="838" y="617"/>
                  </a:cubicBezTo>
                  <a:close/>
                  <a:moveTo>
                    <a:pt x="878" y="617"/>
                  </a:moveTo>
                  <a:cubicBezTo>
                    <a:pt x="885" y="617"/>
                    <a:pt x="890" y="611"/>
                    <a:pt x="890" y="604"/>
                  </a:cubicBezTo>
                  <a:cubicBezTo>
                    <a:pt x="890" y="597"/>
                    <a:pt x="885" y="591"/>
                    <a:pt x="878" y="591"/>
                  </a:cubicBezTo>
                  <a:cubicBezTo>
                    <a:pt x="871" y="591"/>
                    <a:pt x="865" y="597"/>
                    <a:pt x="865" y="604"/>
                  </a:cubicBezTo>
                  <a:cubicBezTo>
                    <a:pt x="865" y="611"/>
                    <a:pt x="871" y="617"/>
                    <a:pt x="878" y="617"/>
                  </a:cubicBezTo>
                  <a:close/>
                  <a:moveTo>
                    <a:pt x="917" y="617"/>
                  </a:moveTo>
                  <a:cubicBezTo>
                    <a:pt x="924" y="617"/>
                    <a:pt x="930" y="611"/>
                    <a:pt x="930" y="604"/>
                  </a:cubicBezTo>
                  <a:cubicBezTo>
                    <a:pt x="930" y="597"/>
                    <a:pt x="924" y="591"/>
                    <a:pt x="917" y="591"/>
                  </a:cubicBezTo>
                  <a:cubicBezTo>
                    <a:pt x="910" y="591"/>
                    <a:pt x="904" y="597"/>
                    <a:pt x="904" y="604"/>
                  </a:cubicBezTo>
                  <a:cubicBezTo>
                    <a:pt x="904" y="611"/>
                    <a:pt x="910" y="617"/>
                    <a:pt x="917" y="617"/>
                  </a:cubicBezTo>
                  <a:close/>
                  <a:moveTo>
                    <a:pt x="956" y="617"/>
                  </a:moveTo>
                  <a:cubicBezTo>
                    <a:pt x="963" y="617"/>
                    <a:pt x="969" y="611"/>
                    <a:pt x="969" y="604"/>
                  </a:cubicBezTo>
                  <a:cubicBezTo>
                    <a:pt x="969" y="597"/>
                    <a:pt x="963" y="591"/>
                    <a:pt x="956" y="591"/>
                  </a:cubicBezTo>
                  <a:cubicBezTo>
                    <a:pt x="949" y="591"/>
                    <a:pt x="944" y="597"/>
                    <a:pt x="944" y="604"/>
                  </a:cubicBezTo>
                  <a:cubicBezTo>
                    <a:pt x="944" y="611"/>
                    <a:pt x="949" y="617"/>
                    <a:pt x="956" y="617"/>
                  </a:cubicBezTo>
                  <a:close/>
                  <a:moveTo>
                    <a:pt x="996" y="617"/>
                  </a:moveTo>
                  <a:cubicBezTo>
                    <a:pt x="1003" y="617"/>
                    <a:pt x="1009" y="611"/>
                    <a:pt x="1009" y="604"/>
                  </a:cubicBezTo>
                  <a:cubicBezTo>
                    <a:pt x="1009" y="597"/>
                    <a:pt x="1003" y="591"/>
                    <a:pt x="996" y="591"/>
                  </a:cubicBezTo>
                  <a:cubicBezTo>
                    <a:pt x="989" y="591"/>
                    <a:pt x="983" y="597"/>
                    <a:pt x="983" y="604"/>
                  </a:cubicBezTo>
                  <a:cubicBezTo>
                    <a:pt x="983" y="611"/>
                    <a:pt x="989" y="617"/>
                    <a:pt x="996" y="617"/>
                  </a:cubicBezTo>
                  <a:close/>
                  <a:moveTo>
                    <a:pt x="1035" y="595"/>
                  </a:moveTo>
                  <a:cubicBezTo>
                    <a:pt x="1030" y="595"/>
                    <a:pt x="1026" y="599"/>
                    <a:pt x="1026" y="604"/>
                  </a:cubicBezTo>
                  <a:cubicBezTo>
                    <a:pt x="1026" y="609"/>
                    <a:pt x="1030" y="613"/>
                    <a:pt x="1035" y="613"/>
                  </a:cubicBezTo>
                  <a:cubicBezTo>
                    <a:pt x="1040" y="613"/>
                    <a:pt x="1045" y="609"/>
                    <a:pt x="1045" y="604"/>
                  </a:cubicBezTo>
                  <a:cubicBezTo>
                    <a:pt x="1045" y="599"/>
                    <a:pt x="1040" y="595"/>
                    <a:pt x="1035" y="595"/>
                  </a:cubicBezTo>
                  <a:close/>
                  <a:moveTo>
                    <a:pt x="1101" y="604"/>
                  </a:moveTo>
                  <a:cubicBezTo>
                    <a:pt x="1101" y="611"/>
                    <a:pt x="1107" y="617"/>
                    <a:pt x="1114" y="617"/>
                  </a:cubicBezTo>
                  <a:cubicBezTo>
                    <a:pt x="1121" y="617"/>
                    <a:pt x="1127" y="611"/>
                    <a:pt x="1127" y="604"/>
                  </a:cubicBezTo>
                  <a:cubicBezTo>
                    <a:pt x="1127" y="597"/>
                    <a:pt x="1121" y="591"/>
                    <a:pt x="1114" y="591"/>
                  </a:cubicBezTo>
                  <a:cubicBezTo>
                    <a:pt x="1107" y="591"/>
                    <a:pt x="1101" y="597"/>
                    <a:pt x="1101" y="604"/>
                  </a:cubicBezTo>
                  <a:close/>
                  <a:moveTo>
                    <a:pt x="1144" y="604"/>
                  </a:moveTo>
                  <a:cubicBezTo>
                    <a:pt x="1144" y="609"/>
                    <a:pt x="1148" y="613"/>
                    <a:pt x="1154" y="613"/>
                  </a:cubicBezTo>
                  <a:cubicBezTo>
                    <a:pt x="1159" y="613"/>
                    <a:pt x="1163" y="609"/>
                    <a:pt x="1163" y="604"/>
                  </a:cubicBezTo>
                  <a:cubicBezTo>
                    <a:pt x="1163" y="599"/>
                    <a:pt x="1159" y="595"/>
                    <a:pt x="1154" y="595"/>
                  </a:cubicBezTo>
                  <a:cubicBezTo>
                    <a:pt x="1148" y="595"/>
                    <a:pt x="1144" y="599"/>
                    <a:pt x="1144" y="604"/>
                  </a:cubicBezTo>
                  <a:close/>
                  <a:moveTo>
                    <a:pt x="1666" y="591"/>
                  </a:moveTo>
                  <a:cubicBezTo>
                    <a:pt x="1659" y="591"/>
                    <a:pt x="1653" y="597"/>
                    <a:pt x="1653" y="604"/>
                  </a:cubicBezTo>
                  <a:cubicBezTo>
                    <a:pt x="1653" y="611"/>
                    <a:pt x="1659" y="617"/>
                    <a:pt x="1666" y="617"/>
                  </a:cubicBezTo>
                  <a:cubicBezTo>
                    <a:pt x="1673" y="617"/>
                    <a:pt x="1679" y="611"/>
                    <a:pt x="1679" y="604"/>
                  </a:cubicBezTo>
                  <a:cubicBezTo>
                    <a:pt x="1679" y="597"/>
                    <a:pt x="1673" y="591"/>
                    <a:pt x="1666" y="591"/>
                  </a:cubicBezTo>
                  <a:close/>
                  <a:moveTo>
                    <a:pt x="1705" y="617"/>
                  </a:moveTo>
                  <a:cubicBezTo>
                    <a:pt x="1712" y="617"/>
                    <a:pt x="1718" y="611"/>
                    <a:pt x="1718" y="604"/>
                  </a:cubicBezTo>
                  <a:cubicBezTo>
                    <a:pt x="1718" y="597"/>
                    <a:pt x="1712" y="591"/>
                    <a:pt x="1705" y="591"/>
                  </a:cubicBezTo>
                  <a:cubicBezTo>
                    <a:pt x="1698" y="591"/>
                    <a:pt x="1693" y="597"/>
                    <a:pt x="1693" y="604"/>
                  </a:cubicBezTo>
                  <a:cubicBezTo>
                    <a:pt x="1693" y="611"/>
                    <a:pt x="1698" y="617"/>
                    <a:pt x="1705" y="617"/>
                  </a:cubicBezTo>
                  <a:close/>
                  <a:moveTo>
                    <a:pt x="1745" y="617"/>
                  </a:moveTo>
                  <a:cubicBezTo>
                    <a:pt x="1752" y="617"/>
                    <a:pt x="1758" y="611"/>
                    <a:pt x="1758" y="604"/>
                  </a:cubicBezTo>
                  <a:cubicBezTo>
                    <a:pt x="1758" y="597"/>
                    <a:pt x="1752" y="591"/>
                    <a:pt x="1745" y="591"/>
                  </a:cubicBezTo>
                  <a:cubicBezTo>
                    <a:pt x="1738" y="591"/>
                    <a:pt x="1732" y="597"/>
                    <a:pt x="1732" y="604"/>
                  </a:cubicBezTo>
                  <a:cubicBezTo>
                    <a:pt x="1732" y="611"/>
                    <a:pt x="1738" y="617"/>
                    <a:pt x="1745" y="617"/>
                  </a:cubicBezTo>
                  <a:close/>
                  <a:moveTo>
                    <a:pt x="1784" y="617"/>
                  </a:moveTo>
                  <a:cubicBezTo>
                    <a:pt x="1791" y="617"/>
                    <a:pt x="1797" y="611"/>
                    <a:pt x="1797" y="604"/>
                  </a:cubicBezTo>
                  <a:cubicBezTo>
                    <a:pt x="1797" y="597"/>
                    <a:pt x="1791" y="591"/>
                    <a:pt x="1784" y="591"/>
                  </a:cubicBezTo>
                  <a:cubicBezTo>
                    <a:pt x="1777" y="591"/>
                    <a:pt x="1772" y="597"/>
                    <a:pt x="1772" y="604"/>
                  </a:cubicBezTo>
                  <a:cubicBezTo>
                    <a:pt x="1772" y="611"/>
                    <a:pt x="1777" y="617"/>
                    <a:pt x="1784" y="617"/>
                  </a:cubicBezTo>
                  <a:close/>
                  <a:moveTo>
                    <a:pt x="1824" y="617"/>
                  </a:moveTo>
                  <a:cubicBezTo>
                    <a:pt x="1831" y="617"/>
                    <a:pt x="1836" y="611"/>
                    <a:pt x="1836" y="604"/>
                  </a:cubicBezTo>
                  <a:cubicBezTo>
                    <a:pt x="1836" y="597"/>
                    <a:pt x="1831" y="591"/>
                    <a:pt x="1824" y="591"/>
                  </a:cubicBezTo>
                  <a:cubicBezTo>
                    <a:pt x="1817" y="591"/>
                    <a:pt x="1811" y="597"/>
                    <a:pt x="1811" y="604"/>
                  </a:cubicBezTo>
                  <a:cubicBezTo>
                    <a:pt x="1811" y="611"/>
                    <a:pt x="1817" y="617"/>
                    <a:pt x="1824" y="617"/>
                  </a:cubicBezTo>
                  <a:close/>
                  <a:moveTo>
                    <a:pt x="1863" y="617"/>
                  </a:moveTo>
                  <a:cubicBezTo>
                    <a:pt x="1870" y="617"/>
                    <a:pt x="1876" y="611"/>
                    <a:pt x="1876" y="604"/>
                  </a:cubicBezTo>
                  <a:cubicBezTo>
                    <a:pt x="1876" y="597"/>
                    <a:pt x="1870" y="591"/>
                    <a:pt x="1863" y="591"/>
                  </a:cubicBezTo>
                  <a:cubicBezTo>
                    <a:pt x="1856" y="591"/>
                    <a:pt x="1850" y="597"/>
                    <a:pt x="1850" y="604"/>
                  </a:cubicBezTo>
                  <a:cubicBezTo>
                    <a:pt x="1850" y="611"/>
                    <a:pt x="1856" y="617"/>
                    <a:pt x="1863" y="617"/>
                  </a:cubicBezTo>
                  <a:close/>
                  <a:moveTo>
                    <a:pt x="1903" y="617"/>
                  </a:moveTo>
                  <a:cubicBezTo>
                    <a:pt x="1910" y="617"/>
                    <a:pt x="1915" y="611"/>
                    <a:pt x="1915" y="604"/>
                  </a:cubicBezTo>
                  <a:cubicBezTo>
                    <a:pt x="1915" y="597"/>
                    <a:pt x="1910" y="591"/>
                    <a:pt x="1903" y="591"/>
                  </a:cubicBezTo>
                  <a:cubicBezTo>
                    <a:pt x="1896" y="591"/>
                    <a:pt x="1890" y="597"/>
                    <a:pt x="1890" y="604"/>
                  </a:cubicBezTo>
                  <a:cubicBezTo>
                    <a:pt x="1890" y="611"/>
                    <a:pt x="1896" y="617"/>
                    <a:pt x="1903" y="617"/>
                  </a:cubicBezTo>
                  <a:close/>
                  <a:moveTo>
                    <a:pt x="1942" y="617"/>
                  </a:moveTo>
                  <a:cubicBezTo>
                    <a:pt x="1949" y="617"/>
                    <a:pt x="1955" y="611"/>
                    <a:pt x="1955" y="604"/>
                  </a:cubicBezTo>
                  <a:cubicBezTo>
                    <a:pt x="1955" y="597"/>
                    <a:pt x="1949" y="591"/>
                    <a:pt x="1942" y="591"/>
                  </a:cubicBezTo>
                  <a:cubicBezTo>
                    <a:pt x="1935" y="591"/>
                    <a:pt x="1929" y="597"/>
                    <a:pt x="1929" y="604"/>
                  </a:cubicBezTo>
                  <a:cubicBezTo>
                    <a:pt x="1929" y="611"/>
                    <a:pt x="1935" y="617"/>
                    <a:pt x="1942" y="617"/>
                  </a:cubicBezTo>
                  <a:close/>
                  <a:moveTo>
                    <a:pt x="1981" y="617"/>
                  </a:moveTo>
                  <a:cubicBezTo>
                    <a:pt x="1988" y="617"/>
                    <a:pt x="1994" y="611"/>
                    <a:pt x="1994" y="604"/>
                  </a:cubicBezTo>
                  <a:cubicBezTo>
                    <a:pt x="1994" y="597"/>
                    <a:pt x="1988" y="591"/>
                    <a:pt x="1981" y="591"/>
                  </a:cubicBezTo>
                  <a:cubicBezTo>
                    <a:pt x="1974" y="591"/>
                    <a:pt x="1969" y="597"/>
                    <a:pt x="1969" y="604"/>
                  </a:cubicBezTo>
                  <a:cubicBezTo>
                    <a:pt x="1969" y="611"/>
                    <a:pt x="1974" y="617"/>
                    <a:pt x="1981" y="617"/>
                  </a:cubicBezTo>
                  <a:close/>
                  <a:moveTo>
                    <a:pt x="2021" y="617"/>
                  </a:moveTo>
                  <a:cubicBezTo>
                    <a:pt x="2028" y="617"/>
                    <a:pt x="2034" y="611"/>
                    <a:pt x="2034" y="604"/>
                  </a:cubicBezTo>
                  <a:cubicBezTo>
                    <a:pt x="2034" y="597"/>
                    <a:pt x="2028" y="591"/>
                    <a:pt x="2021" y="591"/>
                  </a:cubicBezTo>
                  <a:cubicBezTo>
                    <a:pt x="2014" y="591"/>
                    <a:pt x="2008" y="597"/>
                    <a:pt x="2008" y="604"/>
                  </a:cubicBezTo>
                  <a:cubicBezTo>
                    <a:pt x="2008" y="611"/>
                    <a:pt x="2014" y="617"/>
                    <a:pt x="2021" y="617"/>
                  </a:cubicBezTo>
                  <a:close/>
                  <a:moveTo>
                    <a:pt x="2060" y="617"/>
                  </a:moveTo>
                  <a:cubicBezTo>
                    <a:pt x="2067" y="617"/>
                    <a:pt x="2073" y="611"/>
                    <a:pt x="2073" y="604"/>
                  </a:cubicBezTo>
                  <a:cubicBezTo>
                    <a:pt x="2073" y="597"/>
                    <a:pt x="2067" y="591"/>
                    <a:pt x="2060" y="591"/>
                  </a:cubicBezTo>
                  <a:cubicBezTo>
                    <a:pt x="2053" y="591"/>
                    <a:pt x="2048" y="597"/>
                    <a:pt x="2048" y="604"/>
                  </a:cubicBezTo>
                  <a:cubicBezTo>
                    <a:pt x="2048" y="611"/>
                    <a:pt x="2053" y="617"/>
                    <a:pt x="2060" y="617"/>
                  </a:cubicBezTo>
                  <a:close/>
                  <a:moveTo>
                    <a:pt x="2100" y="617"/>
                  </a:moveTo>
                  <a:cubicBezTo>
                    <a:pt x="2107" y="617"/>
                    <a:pt x="2112" y="611"/>
                    <a:pt x="2112" y="604"/>
                  </a:cubicBezTo>
                  <a:cubicBezTo>
                    <a:pt x="2112" y="597"/>
                    <a:pt x="2107" y="591"/>
                    <a:pt x="2100" y="591"/>
                  </a:cubicBezTo>
                  <a:cubicBezTo>
                    <a:pt x="2093" y="591"/>
                    <a:pt x="2087" y="597"/>
                    <a:pt x="2087" y="604"/>
                  </a:cubicBezTo>
                  <a:cubicBezTo>
                    <a:pt x="2087" y="611"/>
                    <a:pt x="2093" y="617"/>
                    <a:pt x="2100" y="617"/>
                  </a:cubicBezTo>
                  <a:close/>
                  <a:moveTo>
                    <a:pt x="2139" y="617"/>
                  </a:moveTo>
                  <a:cubicBezTo>
                    <a:pt x="2146" y="617"/>
                    <a:pt x="2152" y="611"/>
                    <a:pt x="2152" y="604"/>
                  </a:cubicBezTo>
                  <a:cubicBezTo>
                    <a:pt x="2152" y="597"/>
                    <a:pt x="2146" y="591"/>
                    <a:pt x="2139" y="591"/>
                  </a:cubicBezTo>
                  <a:cubicBezTo>
                    <a:pt x="2132" y="591"/>
                    <a:pt x="2126" y="597"/>
                    <a:pt x="2126" y="604"/>
                  </a:cubicBezTo>
                  <a:cubicBezTo>
                    <a:pt x="2126" y="611"/>
                    <a:pt x="2132" y="617"/>
                    <a:pt x="2139" y="617"/>
                  </a:cubicBezTo>
                  <a:close/>
                  <a:moveTo>
                    <a:pt x="2179" y="617"/>
                  </a:moveTo>
                  <a:cubicBezTo>
                    <a:pt x="2186" y="617"/>
                    <a:pt x="2191" y="611"/>
                    <a:pt x="2191" y="604"/>
                  </a:cubicBezTo>
                  <a:cubicBezTo>
                    <a:pt x="2191" y="597"/>
                    <a:pt x="2186" y="591"/>
                    <a:pt x="2179" y="591"/>
                  </a:cubicBezTo>
                  <a:cubicBezTo>
                    <a:pt x="2171" y="591"/>
                    <a:pt x="2166" y="597"/>
                    <a:pt x="2166" y="604"/>
                  </a:cubicBezTo>
                  <a:cubicBezTo>
                    <a:pt x="2166" y="611"/>
                    <a:pt x="2171" y="617"/>
                    <a:pt x="2179" y="617"/>
                  </a:cubicBezTo>
                  <a:close/>
                  <a:moveTo>
                    <a:pt x="2218" y="617"/>
                  </a:moveTo>
                  <a:cubicBezTo>
                    <a:pt x="2225" y="617"/>
                    <a:pt x="2231" y="611"/>
                    <a:pt x="2231" y="604"/>
                  </a:cubicBezTo>
                  <a:cubicBezTo>
                    <a:pt x="2231" y="597"/>
                    <a:pt x="2225" y="591"/>
                    <a:pt x="2218" y="591"/>
                  </a:cubicBezTo>
                  <a:cubicBezTo>
                    <a:pt x="2211" y="591"/>
                    <a:pt x="2205" y="597"/>
                    <a:pt x="2205" y="604"/>
                  </a:cubicBezTo>
                  <a:cubicBezTo>
                    <a:pt x="2205" y="611"/>
                    <a:pt x="2211" y="617"/>
                    <a:pt x="2218" y="617"/>
                  </a:cubicBezTo>
                  <a:close/>
                  <a:moveTo>
                    <a:pt x="2257" y="617"/>
                  </a:moveTo>
                  <a:cubicBezTo>
                    <a:pt x="2264" y="617"/>
                    <a:pt x="2270" y="611"/>
                    <a:pt x="2270" y="604"/>
                  </a:cubicBezTo>
                  <a:cubicBezTo>
                    <a:pt x="2270" y="597"/>
                    <a:pt x="2264" y="591"/>
                    <a:pt x="2257" y="591"/>
                  </a:cubicBezTo>
                  <a:cubicBezTo>
                    <a:pt x="2250" y="591"/>
                    <a:pt x="2245" y="597"/>
                    <a:pt x="2245" y="604"/>
                  </a:cubicBezTo>
                  <a:cubicBezTo>
                    <a:pt x="2245" y="611"/>
                    <a:pt x="2250" y="617"/>
                    <a:pt x="2257" y="617"/>
                  </a:cubicBezTo>
                  <a:close/>
                  <a:moveTo>
                    <a:pt x="2297" y="617"/>
                  </a:moveTo>
                  <a:cubicBezTo>
                    <a:pt x="2304" y="617"/>
                    <a:pt x="2310" y="611"/>
                    <a:pt x="2310" y="604"/>
                  </a:cubicBezTo>
                  <a:cubicBezTo>
                    <a:pt x="2310" y="597"/>
                    <a:pt x="2304" y="591"/>
                    <a:pt x="2297" y="591"/>
                  </a:cubicBezTo>
                  <a:cubicBezTo>
                    <a:pt x="2290" y="591"/>
                    <a:pt x="2284" y="597"/>
                    <a:pt x="2284" y="604"/>
                  </a:cubicBezTo>
                  <a:cubicBezTo>
                    <a:pt x="2284" y="611"/>
                    <a:pt x="2290" y="617"/>
                    <a:pt x="2297" y="617"/>
                  </a:cubicBezTo>
                  <a:close/>
                  <a:moveTo>
                    <a:pt x="2336" y="617"/>
                  </a:moveTo>
                  <a:cubicBezTo>
                    <a:pt x="2343" y="617"/>
                    <a:pt x="2349" y="611"/>
                    <a:pt x="2349" y="604"/>
                  </a:cubicBezTo>
                  <a:cubicBezTo>
                    <a:pt x="2349" y="597"/>
                    <a:pt x="2343" y="591"/>
                    <a:pt x="2336" y="591"/>
                  </a:cubicBezTo>
                  <a:cubicBezTo>
                    <a:pt x="2329" y="591"/>
                    <a:pt x="2323" y="597"/>
                    <a:pt x="2323" y="604"/>
                  </a:cubicBezTo>
                  <a:cubicBezTo>
                    <a:pt x="2323" y="611"/>
                    <a:pt x="2329" y="617"/>
                    <a:pt x="2336" y="617"/>
                  </a:cubicBezTo>
                  <a:close/>
                  <a:moveTo>
                    <a:pt x="2376" y="617"/>
                  </a:moveTo>
                  <a:cubicBezTo>
                    <a:pt x="2383" y="617"/>
                    <a:pt x="2388" y="611"/>
                    <a:pt x="2388" y="604"/>
                  </a:cubicBezTo>
                  <a:cubicBezTo>
                    <a:pt x="2388" y="597"/>
                    <a:pt x="2383" y="591"/>
                    <a:pt x="2376" y="591"/>
                  </a:cubicBezTo>
                  <a:cubicBezTo>
                    <a:pt x="2369" y="591"/>
                    <a:pt x="2363" y="597"/>
                    <a:pt x="2363" y="604"/>
                  </a:cubicBezTo>
                  <a:cubicBezTo>
                    <a:pt x="2363" y="611"/>
                    <a:pt x="2369" y="617"/>
                    <a:pt x="2376" y="617"/>
                  </a:cubicBezTo>
                  <a:close/>
                  <a:moveTo>
                    <a:pt x="2415" y="617"/>
                  </a:moveTo>
                  <a:cubicBezTo>
                    <a:pt x="2422" y="617"/>
                    <a:pt x="2428" y="611"/>
                    <a:pt x="2428" y="604"/>
                  </a:cubicBezTo>
                  <a:cubicBezTo>
                    <a:pt x="2428" y="597"/>
                    <a:pt x="2422" y="591"/>
                    <a:pt x="2415" y="591"/>
                  </a:cubicBezTo>
                  <a:cubicBezTo>
                    <a:pt x="2408" y="591"/>
                    <a:pt x="2402" y="597"/>
                    <a:pt x="2402" y="604"/>
                  </a:cubicBezTo>
                  <a:cubicBezTo>
                    <a:pt x="2402" y="611"/>
                    <a:pt x="2408" y="617"/>
                    <a:pt x="2415" y="617"/>
                  </a:cubicBezTo>
                  <a:close/>
                  <a:moveTo>
                    <a:pt x="2455" y="617"/>
                  </a:moveTo>
                  <a:cubicBezTo>
                    <a:pt x="2462" y="617"/>
                    <a:pt x="2467" y="611"/>
                    <a:pt x="2467" y="604"/>
                  </a:cubicBezTo>
                  <a:cubicBezTo>
                    <a:pt x="2467" y="597"/>
                    <a:pt x="2462" y="591"/>
                    <a:pt x="2455" y="591"/>
                  </a:cubicBezTo>
                  <a:cubicBezTo>
                    <a:pt x="2447" y="591"/>
                    <a:pt x="2442" y="597"/>
                    <a:pt x="2442" y="604"/>
                  </a:cubicBezTo>
                  <a:cubicBezTo>
                    <a:pt x="2442" y="611"/>
                    <a:pt x="2447" y="617"/>
                    <a:pt x="2455" y="617"/>
                  </a:cubicBezTo>
                  <a:close/>
                  <a:moveTo>
                    <a:pt x="2494" y="617"/>
                  </a:moveTo>
                  <a:cubicBezTo>
                    <a:pt x="2501" y="617"/>
                    <a:pt x="2507" y="611"/>
                    <a:pt x="2507" y="604"/>
                  </a:cubicBezTo>
                  <a:cubicBezTo>
                    <a:pt x="2507" y="597"/>
                    <a:pt x="2501" y="591"/>
                    <a:pt x="2494" y="591"/>
                  </a:cubicBezTo>
                  <a:cubicBezTo>
                    <a:pt x="2487" y="591"/>
                    <a:pt x="2481" y="597"/>
                    <a:pt x="2481" y="604"/>
                  </a:cubicBezTo>
                  <a:cubicBezTo>
                    <a:pt x="2481" y="611"/>
                    <a:pt x="2487" y="617"/>
                    <a:pt x="2494" y="617"/>
                  </a:cubicBezTo>
                  <a:close/>
                  <a:moveTo>
                    <a:pt x="2533" y="617"/>
                  </a:moveTo>
                  <a:cubicBezTo>
                    <a:pt x="2540" y="617"/>
                    <a:pt x="2546" y="611"/>
                    <a:pt x="2546" y="604"/>
                  </a:cubicBezTo>
                  <a:cubicBezTo>
                    <a:pt x="2546" y="597"/>
                    <a:pt x="2540" y="591"/>
                    <a:pt x="2533" y="591"/>
                  </a:cubicBezTo>
                  <a:cubicBezTo>
                    <a:pt x="2526" y="591"/>
                    <a:pt x="2521" y="597"/>
                    <a:pt x="2521" y="604"/>
                  </a:cubicBezTo>
                  <a:cubicBezTo>
                    <a:pt x="2521" y="611"/>
                    <a:pt x="2526" y="617"/>
                    <a:pt x="2533" y="617"/>
                  </a:cubicBezTo>
                  <a:close/>
                  <a:moveTo>
                    <a:pt x="2573" y="617"/>
                  </a:moveTo>
                  <a:cubicBezTo>
                    <a:pt x="2580" y="617"/>
                    <a:pt x="2586" y="611"/>
                    <a:pt x="2586" y="604"/>
                  </a:cubicBezTo>
                  <a:cubicBezTo>
                    <a:pt x="2586" y="597"/>
                    <a:pt x="2580" y="591"/>
                    <a:pt x="2573" y="591"/>
                  </a:cubicBezTo>
                  <a:cubicBezTo>
                    <a:pt x="2566" y="591"/>
                    <a:pt x="2560" y="597"/>
                    <a:pt x="2560" y="604"/>
                  </a:cubicBezTo>
                  <a:cubicBezTo>
                    <a:pt x="2560" y="611"/>
                    <a:pt x="2566" y="617"/>
                    <a:pt x="2573" y="617"/>
                  </a:cubicBezTo>
                  <a:close/>
                  <a:moveTo>
                    <a:pt x="2612" y="617"/>
                  </a:moveTo>
                  <a:cubicBezTo>
                    <a:pt x="2619" y="617"/>
                    <a:pt x="2625" y="611"/>
                    <a:pt x="2625" y="604"/>
                  </a:cubicBezTo>
                  <a:cubicBezTo>
                    <a:pt x="2625" y="597"/>
                    <a:pt x="2619" y="591"/>
                    <a:pt x="2612" y="591"/>
                  </a:cubicBezTo>
                  <a:cubicBezTo>
                    <a:pt x="2605" y="591"/>
                    <a:pt x="2599" y="597"/>
                    <a:pt x="2599" y="604"/>
                  </a:cubicBezTo>
                  <a:cubicBezTo>
                    <a:pt x="2599" y="611"/>
                    <a:pt x="2605" y="617"/>
                    <a:pt x="2612" y="617"/>
                  </a:cubicBezTo>
                  <a:close/>
                  <a:moveTo>
                    <a:pt x="2652" y="617"/>
                  </a:moveTo>
                  <a:cubicBezTo>
                    <a:pt x="2659" y="617"/>
                    <a:pt x="2664" y="611"/>
                    <a:pt x="2664" y="604"/>
                  </a:cubicBezTo>
                  <a:cubicBezTo>
                    <a:pt x="2664" y="597"/>
                    <a:pt x="2659" y="591"/>
                    <a:pt x="2652" y="591"/>
                  </a:cubicBezTo>
                  <a:cubicBezTo>
                    <a:pt x="2645" y="591"/>
                    <a:pt x="2639" y="597"/>
                    <a:pt x="2639" y="604"/>
                  </a:cubicBezTo>
                  <a:cubicBezTo>
                    <a:pt x="2639" y="611"/>
                    <a:pt x="2645" y="617"/>
                    <a:pt x="2652" y="617"/>
                  </a:cubicBezTo>
                  <a:close/>
                  <a:moveTo>
                    <a:pt x="2691" y="617"/>
                  </a:moveTo>
                  <a:cubicBezTo>
                    <a:pt x="2698" y="617"/>
                    <a:pt x="2704" y="611"/>
                    <a:pt x="2704" y="604"/>
                  </a:cubicBezTo>
                  <a:cubicBezTo>
                    <a:pt x="2704" y="597"/>
                    <a:pt x="2698" y="591"/>
                    <a:pt x="2691" y="591"/>
                  </a:cubicBezTo>
                  <a:cubicBezTo>
                    <a:pt x="2684" y="591"/>
                    <a:pt x="2678" y="597"/>
                    <a:pt x="2678" y="604"/>
                  </a:cubicBezTo>
                  <a:cubicBezTo>
                    <a:pt x="2678" y="611"/>
                    <a:pt x="2684" y="617"/>
                    <a:pt x="2691" y="617"/>
                  </a:cubicBezTo>
                  <a:close/>
                  <a:moveTo>
                    <a:pt x="2730" y="617"/>
                  </a:moveTo>
                  <a:cubicBezTo>
                    <a:pt x="2738" y="617"/>
                    <a:pt x="2743" y="611"/>
                    <a:pt x="2743" y="604"/>
                  </a:cubicBezTo>
                  <a:cubicBezTo>
                    <a:pt x="2743" y="597"/>
                    <a:pt x="2738" y="591"/>
                    <a:pt x="2730" y="591"/>
                  </a:cubicBezTo>
                  <a:cubicBezTo>
                    <a:pt x="2723" y="591"/>
                    <a:pt x="2718" y="597"/>
                    <a:pt x="2718" y="604"/>
                  </a:cubicBezTo>
                  <a:cubicBezTo>
                    <a:pt x="2718" y="611"/>
                    <a:pt x="2723" y="617"/>
                    <a:pt x="2730" y="617"/>
                  </a:cubicBezTo>
                  <a:close/>
                  <a:moveTo>
                    <a:pt x="2770" y="617"/>
                  </a:moveTo>
                  <a:cubicBezTo>
                    <a:pt x="2777" y="617"/>
                    <a:pt x="2783" y="611"/>
                    <a:pt x="2783" y="604"/>
                  </a:cubicBezTo>
                  <a:cubicBezTo>
                    <a:pt x="2783" y="597"/>
                    <a:pt x="2777" y="591"/>
                    <a:pt x="2770" y="591"/>
                  </a:cubicBezTo>
                  <a:cubicBezTo>
                    <a:pt x="2763" y="591"/>
                    <a:pt x="2757" y="597"/>
                    <a:pt x="2757" y="604"/>
                  </a:cubicBezTo>
                  <a:cubicBezTo>
                    <a:pt x="2757" y="611"/>
                    <a:pt x="2763" y="617"/>
                    <a:pt x="2770" y="617"/>
                  </a:cubicBezTo>
                  <a:close/>
                  <a:moveTo>
                    <a:pt x="2809" y="617"/>
                  </a:moveTo>
                  <a:cubicBezTo>
                    <a:pt x="2816" y="617"/>
                    <a:pt x="2822" y="611"/>
                    <a:pt x="2822" y="604"/>
                  </a:cubicBezTo>
                  <a:cubicBezTo>
                    <a:pt x="2822" y="597"/>
                    <a:pt x="2816" y="591"/>
                    <a:pt x="2809" y="591"/>
                  </a:cubicBezTo>
                  <a:cubicBezTo>
                    <a:pt x="2802" y="591"/>
                    <a:pt x="2797" y="597"/>
                    <a:pt x="2797" y="604"/>
                  </a:cubicBezTo>
                  <a:cubicBezTo>
                    <a:pt x="2797" y="611"/>
                    <a:pt x="2802" y="617"/>
                    <a:pt x="2809" y="617"/>
                  </a:cubicBezTo>
                  <a:close/>
                  <a:moveTo>
                    <a:pt x="2849" y="617"/>
                  </a:moveTo>
                  <a:cubicBezTo>
                    <a:pt x="2856" y="617"/>
                    <a:pt x="2861" y="611"/>
                    <a:pt x="2861" y="604"/>
                  </a:cubicBezTo>
                  <a:cubicBezTo>
                    <a:pt x="2861" y="597"/>
                    <a:pt x="2856" y="591"/>
                    <a:pt x="2849" y="591"/>
                  </a:cubicBezTo>
                  <a:cubicBezTo>
                    <a:pt x="2842" y="591"/>
                    <a:pt x="2836" y="597"/>
                    <a:pt x="2836" y="604"/>
                  </a:cubicBezTo>
                  <a:cubicBezTo>
                    <a:pt x="2836" y="611"/>
                    <a:pt x="2842" y="617"/>
                    <a:pt x="2849" y="617"/>
                  </a:cubicBezTo>
                  <a:close/>
                  <a:moveTo>
                    <a:pt x="2888" y="617"/>
                  </a:moveTo>
                  <a:cubicBezTo>
                    <a:pt x="2895" y="617"/>
                    <a:pt x="2901" y="611"/>
                    <a:pt x="2901" y="604"/>
                  </a:cubicBezTo>
                  <a:cubicBezTo>
                    <a:pt x="2901" y="597"/>
                    <a:pt x="2895" y="591"/>
                    <a:pt x="2888" y="591"/>
                  </a:cubicBezTo>
                  <a:cubicBezTo>
                    <a:pt x="2881" y="591"/>
                    <a:pt x="2875" y="597"/>
                    <a:pt x="2875" y="604"/>
                  </a:cubicBezTo>
                  <a:cubicBezTo>
                    <a:pt x="2875" y="611"/>
                    <a:pt x="2881" y="617"/>
                    <a:pt x="2888" y="617"/>
                  </a:cubicBezTo>
                  <a:close/>
                  <a:moveTo>
                    <a:pt x="2928" y="617"/>
                  </a:moveTo>
                  <a:cubicBezTo>
                    <a:pt x="2935" y="617"/>
                    <a:pt x="2940" y="611"/>
                    <a:pt x="2940" y="604"/>
                  </a:cubicBezTo>
                  <a:cubicBezTo>
                    <a:pt x="2940" y="597"/>
                    <a:pt x="2935" y="591"/>
                    <a:pt x="2928" y="591"/>
                  </a:cubicBezTo>
                  <a:cubicBezTo>
                    <a:pt x="2921" y="591"/>
                    <a:pt x="2915" y="597"/>
                    <a:pt x="2915" y="604"/>
                  </a:cubicBezTo>
                  <a:cubicBezTo>
                    <a:pt x="2915" y="611"/>
                    <a:pt x="2921" y="617"/>
                    <a:pt x="2928" y="617"/>
                  </a:cubicBezTo>
                  <a:close/>
                  <a:moveTo>
                    <a:pt x="2967" y="617"/>
                  </a:moveTo>
                  <a:cubicBezTo>
                    <a:pt x="2974" y="617"/>
                    <a:pt x="2980" y="611"/>
                    <a:pt x="2980" y="604"/>
                  </a:cubicBezTo>
                  <a:cubicBezTo>
                    <a:pt x="2980" y="597"/>
                    <a:pt x="2974" y="591"/>
                    <a:pt x="2967" y="591"/>
                  </a:cubicBezTo>
                  <a:cubicBezTo>
                    <a:pt x="2960" y="591"/>
                    <a:pt x="2954" y="597"/>
                    <a:pt x="2954" y="604"/>
                  </a:cubicBezTo>
                  <a:cubicBezTo>
                    <a:pt x="2954" y="611"/>
                    <a:pt x="2960" y="617"/>
                    <a:pt x="2967" y="617"/>
                  </a:cubicBezTo>
                  <a:close/>
                  <a:moveTo>
                    <a:pt x="3006" y="617"/>
                  </a:moveTo>
                  <a:cubicBezTo>
                    <a:pt x="3013" y="617"/>
                    <a:pt x="3019" y="611"/>
                    <a:pt x="3019" y="604"/>
                  </a:cubicBezTo>
                  <a:cubicBezTo>
                    <a:pt x="3019" y="597"/>
                    <a:pt x="3013" y="591"/>
                    <a:pt x="3006" y="591"/>
                  </a:cubicBezTo>
                  <a:cubicBezTo>
                    <a:pt x="2999" y="591"/>
                    <a:pt x="2994" y="597"/>
                    <a:pt x="2994" y="604"/>
                  </a:cubicBezTo>
                  <a:cubicBezTo>
                    <a:pt x="2994" y="611"/>
                    <a:pt x="2999" y="617"/>
                    <a:pt x="3006" y="617"/>
                  </a:cubicBezTo>
                  <a:close/>
                  <a:moveTo>
                    <a:pt x="3046" y="617"/>
                  </a:moveTo>
                  <a:cubicBezTo>
                    <a:pt x="3053" y="617"/>
                    <a:pt x="3059" y="611"/>
                    <a:pt x="3059" y="604"/>
                  </a:cubicBezTo>
                  <a:cubicBezTo>
                    <a:pt x="3059" y="597"/>
                    <a:pt x="3053" y="591"/>
                    <a:pt x="3046" y="591"/>
                  </a:cubicBezTo>
                  <a:cubicBezTo>
                    <a:pt x="3039" y="591"/>
                    <a:pt x="3033" y="597"/>
                    <a:pt x="3033" y="604"/>
                  </a:cubicBezTo>
                  <a:cubicBezTo>
                    <a:pt x="3033" y="611"/>
                    <a:pt x="3039" y="617"/>
                    <a:pt x="3046" y="617"/>
                  </a:cubicBezTo>
                  <a:close/>
                  <a:moveTo>
                    <a:pt x="3085" y="617"/>
                  </a:moveTo>
                  <a:cubicBezTo>
                    <a:pt x="3092" y="617"/>
                    <a:pt x="3098" y="611"/>
                    <a:pt x="3098" y="604"/>
                  </a:cubicBezTo>
                  <a:cubicBezTo>
                    <a:pt x="3098" y="597"/>
                    <a:pt x="3092" y="591"/>
                    <a:pt x="3085" y="591"/>
                  </a:cubicBezTo>
                  <a:cubicBezTo>
                    <a:pt x="3078" y="591"/>
                    <a:pt x="3073" y="597"/>
                    <a:pt x="3073" y="604"/>
                  </a:cubicBezTo>
                  <a:cubicBezTo>
                    <a:pt x="3073" y="611"/>
                    <a:pt x="3078" y="617"/>
                    <a:pt x="3085" y="617"/>
                  </a:cubicBezTo>
                  <a:close/>
                  <a:moveTo>
                    <a:pt x="444" y="656"/>
                  </a:moveTo>
                  <a:cubicBezTo>
                    <a:pt x="451" y="656"/>
                    <a:pt x="457" y="651"/>
                    <a:pt x="457" y="643"/>
                  </a:cubicBezTo>
                  <a:cubicBezTo>
                    <a:pt x="457" y="636"/>
                    <a:pt x="451" y="631"/>
                    <a:pt x="444" y="631"/>
                  </a:cubicBezTo>
                  <a:cubicBezTo>
                    <a:pt x="437" y="631"/>
                    <a:pt x="431" y="636"/>
                    <a:pt x="431" y="643"/>
                  </a:cubicBezTo>
                  <a:cubicBezTo>
                    <a:pt x="431" y="651"/>
                    <a:pt x="437" y="656"/>
                    <a:pt x="444" y="656"/>
                  </a:cubicBezTo>
                  <a:close/>
                  <a:moveTo>
                    <a:pt x="483" y="656"/>
                  </a:moveTo>
                  <a:cubicBezTo>
                    <a:pt x="490" y="656"/>
                    <a:pt x="496" y="651"/>
                    <a:pt x="496" y="643"/>
                  </a:cubicBezTo>
                  <a:cubicBezTo>
                    <a:pt x="496" y="636"/>
                    <a:pt x="490" y="631"/>
                    <a:pt x="483" y="631"/>
                  </a:cubicBezTo>
                  <a:cubicBezTo>
                    <a:pt x="476" y="631"/>
                    <a:pt x="471" y="636"/>
                    <a:pt x="471" y="643"/>
                  </a:cubicBezTo>
                  <a:cubicBezTo>
                    <a:pt x="471" y="651"/>
                    <a:pt x="476" y="656"/>
                    <a:pt x="483" y="656"/>
                  </a:cubicBezTo>
                  <a:close/>
                  <a:moveTo>
                    <a:pt x="523" y="656"/>
                  </a:moveTo>
                  <a:cubicBezTo>
                    <a:pt x="530" y="656"/>
                    <a:pt x="535" y="651"/>
                    <a:pt x="535" y="643"/>
                  </a:cubicBezTo>
                  <a:cubicBezTo>
                    <a:pt x="535" y="636"/>
                    <a:pt x="530" y="631"/>
                    <a:pt x="523" y="631"/>
                  </a:cubicBezTo>
                  <a:cubicBezTo>
                    <a:pt x="516" y="631"/>
                    <a:pt x="510" y="636"/>
                    <a:pt x="510" y="643"/>
                  </a:cubicBezTo>
                  <a:cubicBezTo>
                    <a:pt x="510" y="651"/>
                    <a:pt x="516" y="656"/>
                    <a:pt x="523" y="656"/>
                  </a:cubicBezTo>
                  <a:close/>
                  <a:moveTo>
                    <a:pt x="562" y="656"/>
                  </a:moveTo>
                  <a:cubicBezTo>
                    <a:pt x="569" y="656"/>
                    <a:pt x="575" y="651"/>
                    <a:pt x="575" y="643"/>
                  </a:cubicBezTo>
                  <a:cubicBezTo>
                    <a:pt x="575" y="636"/>
                    <a:pt x="569" y="631"/>
                    <a:pt x="562" y="631"/>
                  </a:cubicBezTo>
                  <a:cubicBezTo>
                    <a:pt x="555" y="631"/>
                    <a:pt x="549" y="636"/>
                    <a:pt x="549" y="643"/>
                  </a:cubicBezTo>
                  <a:cubicBezTo>
                    <a:pt x="549" y="651"/>
                    <a:pt x="555" y="656"/>
                    <a:pt x="562" y="656"/>
                  </a:cubicBezTo>
                  <a:close/>
                  <a:moveTo>
                    <a:pt x="602" y="656"/>
                  </a:moveTo>
                  <a:cubicBezTo>
                    <a:pt x="609" y="656"/>
                    <a:pt x="614" y="651"/>
                    <a:pt x="614" y="643"/>
                  </a:cubicBezTo>
                  <a:cubicBezTo>
                    <a:pt x="614" y="636"/>
                    <a:pt x="609" y="631"/>
                    <a:pt x="602" y="631"/>
                  </a:cubicBezTo>
                  <a:cubicBezTo>
                    <a:pt x="595" y="631"/>
                    <a:pt x="589" y="636"/>
                    <a:pt x="589" y="643"/>
                  </a:cubicBezTo>
                  <a:cubicBezTo>
                    <a:pt x="589" y="651"/>
                    <a:pt x="595" y="656"/>
                    <a:pt x="602" y="656"/>
                  </a:cubicBezTo>
                  <a:close/>
                  <a:moveTo>
                    <a:pt x="641" y="656"/>
                  </a:moveTo>
                  <a:cubicBezTo>
                    <a:pt x="648" y="656"/>
                    <a:pt x="654" y="651"/>
                    <a:pt x="654" y="643"/>
                  </a:cubicBezTo>
                  <a:cubicBezTo>
                    <a:pt x="654" y="636"/>
                    <a:pt x="648" y="631"/>
                    <a:pt x="641" y="631"/>
                  </a:cubicBezTo>
                  <a:cubicBezTo>
                    <a:pt x="634" y="631"/>
                    <a:pt x="628" y="636"/>
                    <a:pt x="628" y="643"/>
                  </a:cubicBezTo>
                  <a:cubicBezTo>
                    <a:pt x="628" y="651"/>
                    <a:pt x="634" y="656"/>
                    <a:pt x="641" y="656"/>
                  </a:cubicBezTo>
                  <a:close/>
                  <a:moveTo>
                    <a:pt x="680" y="656"/>
                  </a:moveTo>
                  <a:cubicBezTo>
                    <a:pt x="687" y="656"/>
                    <a:pt x="693" y="651"/>
                    <a:pt x="693" y="643"/>
                  </a:cubicBezTo>
                  <a:cubicBezTo>
                    <a:pt x="693" y="636"/>
                    <a:pt x="687" y="631"/>
                    <a:pt x="680" y="631"/>
                  </a:cubicBezTo>
                  <a:cubicBezTo>
                    <a:pt x="673" y="631"/>
                    <a:pt x="668" y="636"/>
                    <a:pt x="668" y="643"/>
                  </a:cubicBezTo>
                  <a:cubicBezTo>
                    <a:pt x="668" y="651"/>
                    <a:pt x="673" y="656"/>
                    <a:pt x="680" y="656"/>
                  </a:cubicBezTo>
                  <a:close/>
                  <a:moveTo>
                    <a:pt x="720" y="656"/>
                  </a:moveTo>
                  <a:cubicBezTo>
                    <a:pt x="727" y="656"/>
                    <a:pt x="733" y="651"/>
                    <a:pt x="733" y="643"/>
                  </a:cubicBezTo>
                  <a:cubicBezTo>
                    <a:pt x="733" y="636"/>
                    <a:pt x="727" y="631"/>
                    <a:pt x="720" y="631"/>
                  </a:cubicBezTo>
                  <a:cubicBezTo>
                    <a:pt x="713" y="631"/>
                    <a:pt x="707" y="636"/>
                    <a:pt x="707" y="643"/>
                  </a:cubicBezTo>
                  <a:cubicBezTo>
                    <a:pt x="707" y="651"/>
                    <a:pt x="713" y="656"/>
                    <a:pt x="720" y="656"/>
                  </a:cubicBezTo>
                  <a:close/>
                  <a:moveTo>
                    <a:pt x="759" y="656"/>
                  </a:moveTo>
                  <a:cubicBezTo>
                    <a:pt x="766" y="656"/>
                    <a:pt x="772" y="651"/>
                    <a:pt x="772" y="643"/>
                  </a:cubicBezTo>
                  <a:cubicBezTo>
                    <a:pt x="772" y="636"/>
                    <a:pt x="766" y="631"/>
                    <a:pt x="759" y="631"/>
                  </a:cubicBezTo>
                  <a:cubicBezTo>
                    <a:pt x="752" y="631"/>
                    <a:pt x="747" y="636"/>
                    <a:pt x="747" y="643"/>
                  </a:cubicBezTo>
                  <a:cubicBezTo>
                    <a:pt x="747" y="651"/>
                    <a:pt x="752" y="656"/>
                    <a:pt x="759" y="656"/>
                  </a:cubicBezTo>
                  <a:close/>
                  <a:moveTo>
                    <a:pt x="799" y="656"/>
                  </a:moveTo>
                  <a:cubicBezTo>
                    <a:pt x="806" y="656"/>
                    <a:pt x="811" y="651"/>
                    <a:pt x="811" y="643"/>
                  </a:cubicBezTo>
                  <a:cubicBezTo>
                    <a:pt x="811" y="636"/>
                    <a:pt x="806" y="631"/>
                    <a:pt x="799" y="631"/>
                  </a:cubicBezTo>
                  <a:cubicBezTo>
                    <a:pt x="792" y="631"/>
                    <a:pt x="786" y="636"/>
                    <a:pt x="786" y="643"/>
                  </a:cubicBezTo>
                  <a:cubicBezTo>
                    <a:pt x="786" y="651"/>
                    <a:pt x="792" y="656"/>
                    <a:pt x="799" y="656"/>
                  </a:cubicBezTo>
                  <a:close/>
                  <a:moveTo>
                    <a:pt x="838" y="656"/>
                  </a:moveTo>
                  <a:cubicBezTo>
                    <a:pt x="845" y="656"/>
                    <a:pt x="851" y="651"/>
                    <a:pt x="851" y="643"/>
                  </a:cubicBezTo>
                  <a:cubicBezTo>
                    <a:pt x="851" y="636"/>
                    <a:pt x="845" y="631"/>
                    <a:pt x="838" y="631"/>
                  </a:cubicBezTo>
                  <a:cubicBezTo>
                    <a:pt x="831" y="631"/>
                    <a:pt x="825" y="636"/>
                    <a:pt x="825" y="643"/>
                  </a:cubicBezTo>
                  <a:cubicBezTo>
                    <a:pt x="825" y="651"/>
                    <a:pt x="831" y="656"/>
                    <a:pt x="838" y="656"/>
                  </a:cubicBezTo>
                  <a:close/>
                  <a:moveTo>
                    <a:pt x="917" y="656"/>
                  </a:moveTo>
                  <a:cubicBezTo>
                    <a:pt x="924" y="656"/>
                    <a:pt x="930" y="651"/>
                    <a:pt x="930" y="643"/>
                  </a:cubicBezTo>
                  <a:cubicBezTo>
                    <a:pt x="930" y="636"/>
                    <a:pt x="924" y="631"/>
                    <a:pt x="917" y="631"/>
                  </a:cubicBezTo>
                  <a:cubicBezTo>
                    <a:pt x="910" y="631"/>
                    <a:pt x="904" y="636"/>
                    <a:pt x="904" y="643"/>
                  </a:cubicBezTo>
                  <a:cubicBezTo>
                    <a:pt x="904" y="651"/>
                    <a:pt x="910" y="656"/>
                    <a:pt x="917" y="656"/>
                  </a:cubicBezTo>
                  <a:close/>
                  <a:moveTo>
                    <a:pt x="956" y="656"/>
                  </a:moveTo>
                  <a:cubicBezTo>
                    <a:pt x="963" y="656"/>
                    <a:pt x="969" y="651"/>
                    <a:pt x="969" y="643"/>
                  </a:cubicBezTo>
                  <a:cubicBezTo>
                    <a:pt x="969" y="636"/>
                    <a:pt x="963" y="631"/>
                    <a:pt x="956" y="631"/>
                  </a:cubicBezTo>
                  <a:cubicBezTo>
                    <a:pt x="949" y="631"/>
                    <a:pt x="944" y="636"/>
                    <a:pt x="944" y="643"/>
                  </a:cubicBezTo>
                  <a:cubicBezTo>
                    <a:pt x="944" y="651"/>
                    <a:pt x="949" y="656"/>
                    <a:pt x="956" y="656"/>
                  </a:cubicBezTo>
                  <a:close/>
                  <a:moveTo>
                    <a:pt x="996" y="656"/>
                  </a:moveTo>
                  <a:cubicBezTo>
                    <a:pt x="1003" y="656"/>
                    <a:pt x="1009" y="651"/>
                    <a:pt x="1009" y="643"/>
                  </a:cubicBezTo>
                  <a:cubicBezTo>
                    <a:pt x="1009" y="636"/>
                    <a:pt x="1003" y="631"/>
                    <a:pt x="996" y="631"/>
                  </a:cubicBezTo>
                  <a:cubicBezTo>
                    <a:pt x="989" y="631"/>
                    <a:pt x="983" y="636"/>
                    <a:pt x="983" y="643"/>
                  </a:cubicBezTo>
                  <a:cubicBezTo>
                    <a:pt x="983" y="651"/>
                    <a:pt x="989" y="656"/>
                    <a:pt x="996" y="656"/>
                  </a:cubicBezTo>
                  <a:close/>
                  <a:moveTo>
                    <a:pt x="1035" y="656"/>
                  </a:moveTo>
                  <a:cubicBezTo>
                    <a:pt x="1042" y="656"/>
                    <a:pt x="1048" y="651"/>
                    <a:pt x="1048" y="643"/>
                  </a:cubicBezTo>
                  <a:cubicBezTo>
                    <a:pt x="1048" y="636"/>
                    <a:pt x="1042" y="631"/>
                    <a:pt x="1035" y="631"/>
                  </a:cubicBezTo>
                  <a:cubicBezTo>
                    <a:pt x="1028" y="631"/>
                    <a:pt x="1022" y="636"/>
                    <a:pt x="1022" y="643"/>
                  </a:cubicBezTo>
                  <a:cubicBezTo>
                    <a:pt x="1022" y="651"/>
                    <a:pt x="1028" y="656"/>
                    <a:pt x="1035" y="656"/>
                  </a:cubicBezTo>
                  <a:close/>
                  <a:moveTo>
                    <a:pt x="1705" y="656"/>
                  </a:moveTo>
                  <a:cubicBezTo>
                    <a:pt x="1712" y="656"/>
                    <a:pt x="1718" y="651"/>
                    <a:pt x="1718" y="643"/>
                  </a:cubicBezTo>
                  <a:cubicBezTo>
                    <a:pt x="1718" y="636"/>
                    <a:pt x="1712" y="631"/>
                    <a:pt x="1705" y="631"/>
                  </a:cubicBezTo>
                  <a:cubicBezTo>
                    <a:pt x="1698" y="631"/>
                    <a:pt x="1693" y="636"/>
                    <a:pt x="1693" y="643"/>
                  </a:cubicBezTo>
                  <a:cubicBezTo>
                    <a:pt x="1693" y="651"/>
                    <a:pt x="1698" y="656"/>
                    <a:pt x="1705" y="656"/>
                  </a:cubicBezTo>
                  <a:close/>
                  <a:moveTo>
                    <a:pt x="1745" y="656"/>
                  </a:moveTo>
                  <a:cubicBezTo>
                    <a:pt x="1752" y="656"/>
                    <a:pt x="1758" y="651"/>
                    <a:pt x="1758" y="643"/>
                  </a:cubicBezTo>
                  <a:cubicBezTo>
                    <a:pt x="1758" y="636"/>
                    <a:pt x="1752" y="631"/>
                    <a:pt x="1745" y="631"/>
                  </a:cubicBezTo>
                  <a:cubicBezTo>
                    <a:pt x="1738" y="631"/>
                    <a:pt x="1732" y="636"/>
                    <a:pt x="1732" y="643"/>
                  </a:cubicBezTo>
                  <a:cubicBezTo>
                    <a:pt x="1732" y="651"/>
                    <a:pt x="1738" y="656"/>
                    <a:pt x="1745" y="656"/>
                  </a:cubicBezTo>
                  <a:close/>
                  <a:moveTo>
                    <a:pt x="1784" y="656"/>
                  </a:moveTo>
                  <a:cubicBezTo>
                    <a:pt x="1791" y="656"/>
                    <a:pt x="1797" y="651"/>
                    <a:pt x="1797" y="643"/>
                  </a:cubicBezTo>
                  <a:cubicBezTo>
                    <a:pt x="1797" y="636"/>
                    <a:pt x="1791" y="631"/>
                    <a:pt x="1784" y="631"/>
                  </a:cubicBezTo>
                  <a:cubicBezTo>
                    <a:pt x="1777" y="631"/>
                    <a:pt x="1772" y="636"/>
                    <a:pt x="1772" y="643"/>
                  </a:cubicBezTo>
                  <a:cubicBezTo>
                    <a:pt x="1772" y="651"/>
                    <a:pt x="1777" y="656"/>
                    <a:pt x="1784" y="656"/>
                  </a:cubicBezTo>
                  <a:close/>
                  <a:moveTo>
                    <a:pt x="1863" y="656"/>
                  </a:moveTo>
                  <a:cubicBezTo>
                    <a:pt x="1870" y="656"/>
                    <a:pt x="1876" y="651"/>
                    <a:pt x="1876" y="643"/>
                  </a:cubicBezTo>
                  <a:cubicBezTo>
                    <a:pt x="1876" y="636"/>
                    <a:pt x="1870" y="631"/>
                    <a:pt x="1863" y="631"/>
                  </a:cubicBezTo>
                  <a:cubicBezTo>
                    <a:pt x="1856" y="631"/>
                    <a:pt x="1850" y="636"/>
                    <a:pt x="1850" y="643"/>
                  </a:cubicBezTo>
                  <a:cubicBezTo>
                    <a:pt x="1850" y="651"/>
                    <a:pt x="1856" y="656"/>
                    <a:pt x="1863" y="656"/>
                  </a:cubicBezTo>
                  <a:close/>
                  <a:moveTo>
                    <a:pt x="1903" y="656"/>
                  </a:moveTo>
                  <a:cubicBezTo>
                    <a:pt x="1910" y="656"/>
                    <a:pt x="1915" y="651"/>
                    <a:pt x="1915" y="643"/>
                  </a:cubicBezTo>
                  <a:cubicBezTo>
                    <a:pt x="1915" y="636"/>
                    <a:pt x="1910" y="631"/>
                    <a:pt x="1903" y="631"/>
                  </a:cubicBezTo>
                  <a:cubicBezTo>
                    <a:pt x="1896" y="631"/>
                    <a:pt x="1890" y="636"/>
                    <a:pt x="1890" y="643"/>
                  </a:cubicBezTo>
                  <a:cubicBezTo>
                    <a:pt x="1890" y="651"/>
                    <a:pt x="1896" y="656"/>
                    <a:pt x="1903" y="656"/>
                  </a:cubicBezTo>
                  <a:close/>
                  <a:moveTo>
                    <a:pt x="1942" y="656"/>
                  </a:moveTo>
                  <a:cubicBezTo>
                    <a:pt x="1949" y="656"/>
                    <a:pt x="1955" y="651"/>
                    <a:pt x="1955" y="643"/>
                  </a:cubicBezTo>
                  <a:cubicBezTo>
                    <a:pt x="1955" y="636"/>
                    <a:pt x="1949" y="631"/>
                    <a:pt x="1942" y="631"/>
                  </a:cubicBezTo>
                  <a:cubicBezTo>
                    <a:pt x="1935" y="631"/>
                    <a:pt x="1929" y="636"/>
                    <a:pt x="1929" y="643"/>
                  </a:cubicBezTo>
                  <a:cubicBezTo>
                    <a:pt x="1929" y="651"/>
                    <a:pt x="1935" y="656"/>
                    <a:pt x="1942" y="656"/>
                  </a:cubicBezTo>
                  <a:close/>
                  <a:moveTo>
                    <a:pt x="1994" y="643"/>
                  </a:moveTo>
                  <a:cubicBezTo>
                    <a:pt x="1994" y="636"/>
                    <a:pt x="1988" y="631"/>
                    <a:pt x="1981" y="631"/>
                  </a:cubicBezTo>
                  <a:cubicBezTo>
                    <a:pt x="1974" y="631"/>
                    <a:pt x="1969" y="636"/>
                    <a:pt x="1969" y="643"/>
                  </a:cubicBezTo>
                  <a:cubicBezTo>
                    <a:pt x="1969" y="650"/>
                    <a:pt x="1974" y="656"/>
                    <a:pt x="1981" y="656"/>
                  </a:cubicBezTo>
                  <a:cubicBezTo>
                    <a:pt x="1988" y="656"/>
                    <a:pt x="1994" y="650"/>
                    <a:pt x="1994" y="643"/>
                  </a:cubicBezTo>
                  <a:close/>
                  <a:moveTo>
                    <a:pt x="2100" y="656"/>
                  </a:moveTo>
                  <a:cubicBezTo>
                    <a:pt x="2107" y="656"/>
                    <a:pt x="2112" y="651"/>
                    <a:pt x="2112" y="643"/>
                  </a:cubicBezTo>
                  <a:cubicBezTo>
                    <a:pt x="2112" y="636"/>
                    <a:pt x="2107" y="631"/>
                    <a:pt x="2100" y="631"/>
                  </a:cubicBezTo>
                  <a:cubicBezTo>
                    <a:pt x="2093" y="631"/>
                    <a:pt x="2087" y="636"/>
                    <a:pt x="2087" y="643"/>
                  </a:cubicBezTo>
                  <a:cubicBezTo>
                    <a:pt x="2087" y="651"/>
                    <a:pt x="2093" y="656"/>
                    <a:pt x="2100" y="656"/>
                  </a:cubicBezTo>
                  <a:close/>
                  <a:moveTo>
                    <a:pt x="2139" y="656"/>
                  </a:moveTo>
                  <a:cubicBezTo>
                    <a:pt x="2146" y="656"/>
                    <a:pt x="2152" y="651"/>
                    <a:pt x="2152" y="643"/>
                  </a:cubicBezTo>
                  <a:cubicBezTo>
                    <a:pt x="2152" y="636"/>
                    <a:pt x="2146" y="631"/>
                    <a:pt x="2139" y="631"/>
                  </a:cubicBezTo>
                  <a:cubicBezTo>
                    <a:pt x="2132" y="631"/>
                    <a:pt x="2126" y="636"/>
                    <a:pt x="2126" y="643"/>
                  </a:cubicBezTo>
                  <a:cubicBezTo>
                    <a:pt x="2126" y="651"/>
                    <a:pt x="2132" y="656"/>
                    <a:pt x="2139" y="656"/>
                  </a:cubicBezTo>
                  <a:close/>
                  <a:moveTo>
                    <a:pt x="2218" y="631"/>
                  </a:moveTo>
                  <a:cubicBezTo>
                    <a:pt x="2211" y="631"/>
                    <a:pt x="2205" y="636"/>
                    <a:pt x="2205" y="643"/>
                  </a:cubicBezTo>
                  <a:cubicBezTo>
                    <a:pt x="2205" y="650"/>
                    <a:pt x="2211" y="656"/>
                    <a:pt x="2218" y="656"/>
                  </a:cubicBezTo>
                  <a:cubicBezTo>
                    <a:pt x="2225" y="656"/>
                    <a:pt x="2231" y="650"/>
                    <a:pt x="2231" y="643"/>
                  </a:cubicBezTo>
                  <a:cubicBezTo>
                    <a:pt x="2231" y="636"/>
                    <a:pt x="2225" y="631"/>
                    <a:pt x="2218" y="631"/>
                  </a:cubicBezTo>
                  <a:close/>
                  <a:moveTo>
                    <a:pt x="2257" y="656"/>
                  </a:moveTo>
                  <a:cubicBezTo>
                    <a:pt x="2264" y="656"/>
                    <a:pt x="2270" y="651"/>
                    <a:pt x="2270" y="643"/>
                  </a:cubicBezTo>
                  <a:cubicBezTo>
                    <a:pt x="2270" y="636"/>
                    <a:pt x="2264" y="631"/>
                    <a:pt x="2257" y="631"/>
                  </a:cubicBezTo>
                  <a:cubicBezTo>
                    <a:pt x="2250" y="631"/>
                    <a:pt x="2245" y="636"/>
                    <a:pt x="2245" y="643"/>
                  </a:cubicBezTo>
                  <a:cubicBezTo>
                    <a:pt x="2245" y="651"/>
                    <a:pt x="2250" y="656"/>
                    <a:pt x="2257" y="656"/>
                  </a:cubicBezTo>
                  <a:close/>
                  <a:moveTo>
                    <a:pt x="2297" y="631"/>
                  </a:moveTo>
                  <a:cubicBezTo>
                    <a:pt x="2290" y="631"/>
                    <a:pt x="2284" y="636"/>
                    <a:pt x="2284" y="643"/>
                  </a:cubicBezTo>
                  <a:cubicBezTo>
                    <a:pt x="2284" y="650"/>
                    <a:pt x="2290" y="656"/>
                    <a:pt x="2297" y="656"/>
                  </a:cubicBezTo>
                  <a:cubicBezTo>
                    <a:pt x="2304" y="656"/>
                    <a:pt x="2310" y="650"/>
                    <a:pt x="2310" y="643"/>
                  </a:cubicBezTo>
                  <a:cubicBezTo>
                    <a:pt x="2310" y="636"/>
                    <a:pt x="2304" y="631"/>
                    <a:pt x="2297" y="631"/>
                  </a:cubicBezTo>
                  <a:close/>
                  <a:moveTo>
                    <a:pt x="2336" y="656"/>
                  </a:moveTo>
                  <a:cubicBezTo>
                    <a:pt x="2343" y="656"/>
                    <a:pt x="2349" y="651"/>
                    <a:pt x="2349" y="643"/>
                  </a:cubicBezTo>
                  <a:cubicBezTo>
                    <a:pt x="2349" y="636"/>
                    <a:pt x="2343" y="631"/>
                    <a:pt x="2336" y="631"/>
                  </a:cubicBezTo>
                  <a:cubicBezTo>
                    <a:pt x="2329" y="631"/>
                    <a:pt x="2323" y="636"/>
                    <a:pt x="2323" y="643"/>
                  </a:cubicBezTo>
                  <a:cubicBezTo>
                    <a:pt x="2323" y="651"/>
                    <a:pt x="2329" y="656"/>
                    <a:pt x="2336" y="656"/>
                  </a:cubicBezTo>
                  <a:close/>
                  <a:moveTo>
                    <a:pt x="2376" y="656"/>
                  </a:moveTo>
                  <a:cubicBezTo>
                    <a:pt x="2383" y="656"/>
                    <a:pt x="2388" y="651"/>
                    <a:pt x="2388" y="643"/>
                  </a:cubicBezTo>
                  <a:cubicBezTo>
                    <a:pt x="2388" y="636"/>
                    <a:pt x="2383" y="631"/>
                    <a:pt x="2376" y="631"/>
                  </a:cubicBezTo>
                  <a:cubicBezTo>
                    <a:pt x="2369" y="631"/>
                    <a:pt x="2363" y="636"/>
                    <a:pt x="2363" y="643"/>
                  </a:cubicBezTo>
                  <a:cubicBezTo>
                    <a:pt x="2363" y="651"/>
                    <a:pt x="2369" y="656"/>
                    <a:pt x="2376" y="656"/>
                  </a:cubicBezTo>
                  <a:close/>
                  <a:moveTo>
                    <a:pt x="2415" y="656"/>
                  </a:moveTo>
                  <a:cubicBezTo>
                    <a:pt x="2422" y="656"/>
                    <a:pt x="2428" y="651"/>
                    <a:pt x="2428" y="643"/>
                  </a:cubicBezTo>
                  <a:cubicBezTo>
                    <a:pt x="2428" y="636"/>
                    <a:pt x="2422" y="631"/>
                    <a:pt x="2415" y="631"/>
                  </a:cubicBezTo>
                  <a:cubicBezTo>
                    <a:pt x="2408" y="631"/>
                    <a:pt x="2402" y="636"/>
                    <a:pt x="2402" y="643"/>
                  </a:cubicBezTo>
                  <a:cubicBezTo>
                    <a:pt x="2402" y="651"/>
                    <a:pt x="2408" y="656"/>
                    <a:pt x="2415" y="656"/>
                  </a:cubicBezTo>
                  <a:close/>
                  <a:moveTo>
                    <a:pt x="2455" y="656"/>
                  </a:moveTo>
                  <a:cubicBezTo>
                    <a:pt x="2462" y="656"/>
                    <a:pt x="2467" y="651"/>
                    <a:pt x="2467" y="643"/>
                  </a:cubicBezTo>
                  <a:cubicBezTo>
                    <a:pt x="2467" y="636"/>
                    <a:pt x="2462" y="631"/>
                    <a:pt x="2455" y="631"/>
                  </a:cubicBezTo>
                  <a:cubicBezTo>
                    <a:pt x="2447" y="631"/>
                    <a:pt x="2442" y="636"/>
                    <a:pt x="2442" y="643"/>
                  </a:cubicBezTo>
                  <a:cubicBezTo>
                    <a:pt x="2442" y="651"/>
                    <a:pt x="2447" y="656"/>
                    <a:pt x="2455" y="656"/>
                  </a:cubicBezTo>
                  <a:close/>
                  <a:moveTo>
                    <a:pt x="2494" y="656"/>
                  </a:moveTo>
                  <a:cubicBezTo>
                    <a:pt x="2501" y="656"/>
                    <a:pt x="2507" y="651"/>
                    <a:pt x="2507" y="643"/>
                  </a:cubicBezTo>
                  <a:cubicBezTo>
                    <a:pt x="2507" y="636"/>
                    <a:pt x="2501" y="631"/>
                    <a:pt x="2494" y="631"/>
                  </a:cubicBezTo>
                  <a:cubicBezTo>
                    <a:pt x="2487" y="631"/>
                    <a:pt x="2481" y="636"/>
                    <a:pt x="2481" y="643"/>
                  </a:cubicBezTo>
                  <a:cubicBezTo>
                    <a:pt x="2481" y="651"/>
                    <a:pt x="2487" y="656"/>
                    <a:pt x="2494" y="656"/>
                  </a:cubicBezTo>
                  <a:close/>
                  <a:moveTo>
                    <a:pt x="2533" y="656"/>
                  </a:moveTo>
                  <a:cubicBezTo>
                    <a:pt x="2540" y="656"/>
                    <a:pt x="2546" y="651"/>
                    <a:pt x="2546" y="643"/>
                  </a:cubicBezTo>
                  <a:cubicBezTo>
                    <a:pt x="2546" y="636"/>
                    <a:pt x="2540" y="631"/>
                    <a:pt x="2533" y="631"/>
                  </a:cubicBezTo>
                  <a:cubicBezTo>
                    <a:pt x="2526" y="631"/>
                    <a:pt x="2521" y="636"/>
                    <a:pt x="2521" y="643"/>
                  </a:cubicBezTo>
                  <a:cubicBezTo>
                    <a:pt x="2521" y="651"/>
                    <a:pt x="2526" y="656"/>
                    <a:pt x="2533" y="656"/>
                  </a:cubicBezTo>
                  <a:close/>
                  <a:moveTo>
                    <a:pt x="2573" y="656"/>
                  </a:moveTo>
                  <a:cubicBezTo>
                    <a:pt x="2580" y="656"/>
                    <a:pt x="2586" y="651"/>
                    <a:pt x="2586" y="643"/>
                  </a:cubicBezTo>
                  <a:cubicBezTo>
                    <a:pt x="2586" y="636"/>
                    <a:pt x="2580" y="631"/>
                    <a:pt x="2573" y="631"/>
                  </a:cubicBezTo>
                  <a:cubicBezTo>
                    <a:pt x="2566" y="631"/>
                    <a:pt x="2560" y="636"/>
                    <a:pt x="2560" y="643"/>
                  </a:cubicBezTo>
                  <a:cubicBezTo>
                    <a:pt x="2560" y="651"/>
                    <a:pt x="2566" y="656"/>
                    <a:pt x="2573" y="656"/>
                  </a:cubicBezTo>
                  <a:close/>
                  <a:moveTo>
                    <a:pt x="2612" y="656"/>
                  </a:moveTo>
                  <a:cubicBezTo>
                    <a:pt x="2619" y="656"/>
                    <a:pt x="2625" y="651"/>
                    <a:pt x="2625" y="643"/>
                  </a:cubicBezTo>
                  <a:cubicBezTo>
                    <a:pt x="2625" y="636"/>
                    <a:pt x="2619" y="631"/>
                    <a:pt x="2612" y="631"/>
                  </a:cubicBezTo>
                  <a:cubicBezTo>
                    <a:pt x="2605" y="631"/>
                    <a:pt x="2599" y="636"/>
                    <a:pt x="2599" y="643"/>
                  </a:cubicBezTo>
                  <a:cubicBezTo>
                    <a:pt x="2599" y="651"/>
                    <a:pt x="2605" y="656"/>
                    <a:pt x="2612" y="656"/>
                  </a:cubicBezTo>
                  <a:close/>
                  <a:moveTo>
                    <a:pt x="2652" y="656"/>
                  </a:moveTo>
                  <a:cubicBezTo>
                    <a:pt x="2659" y="656"/>
                    <a:pt x="2664" y="651"/>
                    <a:pt x="2664" y="643"/>
                  </a:cubicBezTo>
                  <a:cubicBezTo>
                    <a:pt x="2664" y="636"/>
                    <a:pt x="2659" y="631"/>
                    <a:pt x="2652" y="631"/>
                  </a:cubicBezTo>
                  <a:cubicBezTo>
                    <a:pt x="2645" y="631"/>
                    <a:pt x="2639" y="636"/>
                    <a:pt x="2639" y="643"/>
                  </a:cubicBezTo>
                  <a:cubicBezTo>
                    <a:pt x="2639" y="651"/>
                    <a:pt x="2645" y="656"/>
                    <a:pt x="2652" y="656"/>
                  </a:cubicBezTo>
                  <a:close/>
                  <a:moveTo>
                    <a:pt x="2691" y="656"/>
                  </a:moveTo>
                  <a:cubicBezTo>
                    <a:pt x="2698" y="656"/>
                    <a:pt x="2704" y="651"/>
                    <a:pt x="2704" y="643"/>
                  </a:cubicBezTo>
                  <a:cubicBezTo>
                    <a:pt x="2704" y="636"/>
                    <a:pt x="2698" y="631"/>
                    <a:pt x="2691" y="631"/>
                  </a:cubicBezTo>
                  <a:cubicBezTo>
                    <a:pt x="2684" y="631"/>
                    <a:pt x="2678" y="636"/>
                    <a:pt x="2678" y="643"/>
                  </a:cubicBezTo>
                  <a:cubicBezTo>
                    <a:pt x="2678" y="651"/>
                    <a:pt x="2684" y="656"/>
                    <a:pt x="2691" y="656"/>
                  </a:cubicBezTo>
                  <a:close/>
                  <a:moveTo>
                    <a:pt x="2730" y="656"/>
                  </a:moveTo>
                  <a:cubicBezTo>
                    <a:pt x="2738" y="656"/>
                    <a:pt x="2743" y="651"/>
                    <a:pt x="2743" y="643"/>
                  </a:cubicBezTo>
                  <a:cubicBezTo>
                    <a:pt x="2743" y="636"/>
                    <a:pt x="2738" y="631"/>
                    <a:pt x="2730" y="631"/>
                  </a:cubicBezTo>
                  <a:cubicBezTo>
                    <a:pt x="2723" y="631"/>
                    <a:pt x="2718" y="636"/>
                    <a:pt x="2718" y="643"/>
                  </a:cubicBezTo>
                  <a:cubicBezTo>
                    <a:pt x="2718" y="651"/>
                    <a:pt x="2723" y="656"/>
                    <a:pt x="2730" y="656"/>
                  </a:cubicBezTo>
                  <a:close/>
                  <a:moveTo>
                    <a:pt x="2770" y="656"/>
                  </a:moveTo>
                  <a:cubicBezTo>
                    <a:pt x="2777" y="656"/>
                    <a:pt x="2783" y="651"/>
                    <a:pt x="2783" y="643"/>
                  </a:cubicBezTo>
                  <a:cubicBezTo>
                    <a:pt x="2783" y="636"/>
                    <a:pt x="2777" y="631"/>
                    <a:pt x="2770" y="631"/>
                  </a:cubicBezTo>
                  <a:cubicBezTo>
                    <a:pt x="2763" y="631"/>
                    <a:pt x="2757" y="636"/>
                    <a:pt x="2757" y="643"/>
                  </a:cubicBezTo>
                  <a:cubicBezTo>
                    <a:pt x="2757" y="651"/>
                    <a:pt x="2763" y="656"/>
                    <a:pt x="2770" y="656"/>
                  </a:cubicBezTo>
                  <a:close/>
                  <a:moveTo>
                    <a:pt x="2809" y="656"/>
                  </a:moveTo>
                  <a:cubicBezTo>
                    <a:pt x="2816" y="656"/>
                    <a:pt x="2822" y="651"/>
                    <a:pt x="2822" y="643"/>
                  </a:cubicBezTo>
                  <a:cubicBezTo>
                    <a:pt x="2822" y="636"/>
                    <a:pt x="2816" y="631"/>
                    <a:pt x="2809" y="631"/>
                  </a:cubicBezTo>
                  <a:cubicBezTo>
                    <a:pt x="2802" y="631"/>
                    <a:pt x="2797" y="636"/>
                    <a:pt x="2797" y="643"/>
                  </a:cubicBezTo>
                  <a:cubicBezTo>
                    <a:pt x="2797" y="651"/>
                    <a:pt x="2802" y="656"/>
                    <a:pt x="2809" y="656"/>
                  </a:cubicBezTo>
                  <a:close/>
                  <a:moveTo>
                    <a:pt x="2849" y="656"/>
                  </a:moveTo>
                  <a:cubicBezTo>
                    <a:pt x="2856" y="656"/>
                    <a:pt x="2862" y="651"/>
                    <a:pt x="2862" y="643"/>
                  </a:cubicBezTo>
                  <a:cubicBezTo>
                    <a:pt x="2862" y="636"/>
                    <a:pt x="2856" y="631"/>
                    <a:pt x="2849" y="631"/>
                  </a:cubicBezTo>
                  <a:cubicBezTo>
                    <a:pt x="2842" y="631"/>
                    <a:pt x="2836" y="636"/>
                    <a:pt x="2836" y="643"/>
                  </a:cubicBezTo>
                  <a:cubicBezTo>
                    <a:pt x="2836" y="651"/>
                    <a:pt x="2842" y="656"/>
                    <a:pt x="2849" y="656"/>
                  </a:cubicBezTo>
                  <a:close/>
                  <a:moveTo>
                    <a:pt x="2888" y="656"/>
                  </a:moveTo>
                  <a:cubicBezTo>
                    <a:pt x="2895" y="656"/>
                    <a:pt x="2901" y="651"/>
                    <a:pt x="2901" y="643"/>
                  </a:cubicBezTo>
                  <a:cubicBezTo>
                    <a:pt x="2901" y="636"/>
                    <a:pt x="2895" y="631"/>
                    <a:pt x="2888" y="631"/>
                  </a:cubicBezTo>
                  <a:cubicBezTo>
                    <a:pt x="2881" y="631"/>
                    <a:pt x="2875" y="636"/>
                    <a:pt x="2875" y="643"/>
                  </a:cubicBezTo>
                  <a:cubicBezTo>
                    <a:pt x="2875" y="651"/>
                    <a:pt x="2881" y="656"/>
                    <a:pt x="2888" y="656"/>
                  </a:cubicBezTo>
                  <a:close/>
                  <a:moveTo>
                    <a:pt x="2928" y="656"/>
                  </a:moveTo>
                  <a:cubicBezTo>
                    <a:pt x="2935" y="656"/>
                    <a:pt x="2940" y="651"/>
                    <a:pt x="2940" y="643"/>
                  </a:cubicBezTo>
                  <a:cubicBezTo>
                    <a:pt x="2940" y="636"/>
                    <a:pt x="2935" y="631"/>
                    <a:pt x="2928" y="631"/>
                  </a:cubicBezTo>
                  <a:cubicBezTo>
                    <a:pt x="2921" y="631"/>
                    <a:pt x="2915" y="636"/>
                    <a:pt x="2915" y="643"/>
                  </a:cubicBezTo>
                  <a:cubicBezTo>
                    <a:pt x="2915" y="651"/>
                    <a:pt x="2921" y="656"/>
                    <a:pt x="2928" y="656"/>
                  </a:cubicBezTo>
                  <a:close/>
                  <a:moveTo>
                    <a:pt x="2967" y="656"/>
                  </a:moveTo>
                  <a:cubicBezTo>
                    <a:pt x="2974" y="656"/>
                    <a:pt x="2980" y="651"/>
                    <a:pt x="2980" y="643"/>
                  </a:cubicBezTo>
                  <a:cubicBezTo>
                    <a:pt x="2980" y="636"/>
                    <a:pt x="2974" y="631"/>
                    <a:pt x="2967" y="631"/>
                  </a:cubicBezTo>
                  <a:cubicBezTo>
                    <a:pt x="2960" y="631"/>
                    <a:pt x="2954" y="636"/>
                    <a:pt x="2954" y="643"/>
                  </a:cubicBezTo>
                  <a:cubicBezTo>
                    <a:pt x="2954" y="651"/>
                    <a:pt x="2960" y="656"/>
                    <a:pt x="2967" y="656"/>
                  </a:cubicBezTo>
                  <a:close/>
                  <a:moveTo>
                    <a:pt x="3006" y="656"/>
                  </a:moveTo>
                  <a:cubicBezTo>
                    <a:pt x="3013" y="656"/>
                    <a:pt x="3019" y="651"/>
                    <a:pt x="3019" y="643"/>
                  </a:cubicBezTo>
                  <a:cubicBezTo>
                    <a:pt x="3019" y="636"/>
                    <a:pt x="3013" y="631"/>
                    <a:pt x="3006" y="631"/>
                  </a:cubicBezTo>
                  <a:cubicBezTo>
                    <a:pt x="2999" y="631"/>
                    <a:pt x="2994" y="636"/>
                    <a:pt x="2994" y="643"/>
                  </a:cubicBezTo>
                  <a:cubicBezTo>
                    <a:pt x="2994" y="651"/>
                    <a:pt x="2999" y="656"/>
                    <a:pt x="3006" y="656"/>
                  </a:cubicBezTo>
                  <a:close/>
                  <a:moveTo>
                    <a:pt x="3046" y="656"/>
                  </a:moveTo>
                  <a:cubicBezTo>
                    <a:pt x="3053" y="656"/>
                    <a:pt x="3059" y="651"/>
                    <a:pt x="3059" y="643"/>
                  </a:cubicBezTo>
                  <a:cubicBezTo>
                    <a:pt x="3059" y="636"/>
                    <a:pt x="3053" y="631"/>
                    <a:pt x="3046" y="631"/>
                  </a:cubicBezTo>
                  <a:cubicBezTo>
                    <a:pt x="3039" y="631"/>
                    <a:pt x="3033" y="636"/>
                    <a:pt x="3033" y="643"/>
                  </a:cubicBezTo>
                  <a:cubicBezTo>
                    <a:pt x="3033" y="651"/>
                    <a:pt x="3039" y="656"/>
                    <a:pt x="3046" y="656"/>
                  </a:cubicBezTo>
                  <a:close/>
                  <a:moveTo>
                    <a:pt x="444" y="670"/>
                  </a:moveTo>
                  <a:cubicBezTo>
                    <a:pt x="437" y="670"/>
                    <a:pt x="431" y="676"/>
                    <a:pt x="431" y="683"/>
                  </a:cubicBezTo>
                  <a:cubicBezTo>
                    <a:pt x="431" y="690"/>
                    <a:pt x="437" y="696"/>
                    <a:pt x="444" y="696"/>
                  </a:cubicBezTo>
                  <a:cubicBezTo>
                    <a:pt x="451" y="696"/>
                    <a:pt x="457" y="690"/>
                    <a:pt x="457" y="683"/>
                  </a:cubicBezTo>
                  <a:cubicBezTo>
                    <a:pt x="457" y="676"/>
                    <a:pt x="451" y="670"/>
                    <a:pt x="444" y="670"/>
                  </a:cubicBezTo>
                  <a:close/>
                  <a:moveTo>
                    <a:pt x="483" y="696"/>
                  </a:moveTo>
                  <a:cubicBezTo>
                    <a:pt x="490" y="696"/>
                    <a:pt x="496" y="690"/>
                    <a:pt x="496" y="683"/>
                  </a:cubicBezTo>
                  <a:cubicBezTo>
                    <a:pt x="496" y="676"/>
                    <a:pt x="490" y="670"/>
                    <a:pt x="483" y="670"/>
                  </a:cubicBezTo>
                  <a:cubicBezTo>
                    <a:pt x="476" y="670"/>
                    <a:pt x="471" y="676"/>
                    <a:pt x="471" y="683"/>
                  </a:cubicBezTo>
                  <a:cubicBezTo>
                    <a:pt x="471" y="690"/>
                    <a:pt x="476" y="696"/>
                    <a:pt x="483" y="696"/>
                  </a:cubicBezTo>
                  <a:close/>
                  <a:moveTo>
                    <a:pt x="523" y="696"/>
                  </a:moveTo>
                  <a:cubicBezTo>
                    <a:pt x="530" y="696"/>
                    <a:pt x="535" y="690"/>
                    <a:pt x="535" y="683"/>
                  </a:cubicBezTo>
                  <a:cubicBezTo>
                    <a:pt x="535" y="676"/>
                    <a:pt x="530" y="670"/>
                    <a:pt x="523" y="670"/>
                  </a:cubicBezTo>
                  <a:cubicBezTo>
                    <a:pt x="516" y="670"/>
                    <a:pt x="510" y="676"/>
                    <a:pt x="510" y="683"/>
                  </a:cubicBezTo>
                  <a:cubicBezTo>
                    <a:pt x="510" y="690"/>
                    <a:pt x="516" y="696"/>
                    <a:pt x="523" y="696"/>
                  </a:cubicBezTo>
                  <a:close/>
                  <a:moveTo>
                    <a:pt x="562" y="696"/>
                  </a:moveTo>
                  <a:cubicBezTo>
                    <a:pt x="569" y="696"/>
                    <a:pt x="575" y="690"/>
                    <a:pt x="575" y="683"/>
                  </a:cubicBezTo>
                  <a:cubicBezTo>
                    <a:pt x="575" y="676"/>
                    <a:pt x="569" y="670"/>
                    <a:pt x="562" y="670"/>
                  </a:cubicBezTo>
                  <a:cubicBezTo>
                    <a:pt x="555" y="670"/>
                    <a:pt x="549" y="676"/>
                    <a:pt x="549" y="683"/>
                  </a:cubicBezTo>
                  <a:cubicBezTo>
                    <a:pt x="549" y="690"/>
                    <a:pt x="555" y="696"/>
                    <a:pt x="562" y="696"/>
                  </a:cubicBezTo>
                  <a:close/>
                  <a:moveTo>
                    <a:pt x="602" y="696"/>
                  </a:moveTo>
                  <a:cubicBezTo>
                    <a:pt x="609" y="696"/>
                    <a:pt x="614" y="690"/>
                    <a:pt x="614" y="683"/>
                  </a:cubicBezTo>
                  <a:cubicBezTo>
                    <a:pt x="614" y="676"/>
                    <a:pt x="609" y="670"/>
                    <a:pt x="602" y="670"/>
                  </a:cubicBezTo>
                  <a:cubicBezTo>
                    <a:pt x="595" y="670"/>
                    <a:pt x="589" y="676"/>
                    <a:pt x="589" y="683"/>
                  </a:cubicBezTo>
                  <a:cubicBezTo>
                    <a:pt x="589" y="690"/>
                    <a:pt x="595" y="696"/>
                    <a:pt x="602" y="696"/>
                  </a:cubicBezTo>
                  <a:close/>
                  <a:moveTo>
                    <a:pt x="641" y="696"/>
                  </a:moveTo>
                  <a:cubicBezTo>
                    <a:pt x="648" y="696"/>
                    <a:pt x="654" y="690"/>
                    <a:pt x="654" y="683"/>
                  </a:cubicBezTo>
                  <a:cubicBezTo>
                    <a:pt x="654" y="676"/>
                    <a:pt x="648" y="670"/>
                    <a:pt x="641" y="670"/>
                  </a:cubicBezTo>
                  <a:cubicBezTo>
                    <a:pt x="634" y="670"/>
                    <a:pt x="628" y="676"/>
                    <a:pt x="628" y="683"/>
                  </a:cubicBezTo>
                  <a:cubicBezTo>
                    <a:pt x="628" y="690"/>
                    <a:pt x="634" y="696"/>
                    <a:pt x="641" y="696"/>
                  </a:cubicBezTo>
                  <a:close/>
                  <a:moveTo>
                    <a:pt x="680" y="696"/>
                  </a:moveTo>
                  <a:cubicBezTo>
                    <a:pt x="687" y="696"/>
                    <a:pt x="693" y="690"/>
                    <a:pt x="693" y="683"/>
                  </a:cubicBezTo>
                  <a:cubicBezTo>
                    <a:pt x="693" y="676"/>
                    <a:pt x="687" y="670"/>
                    <a:pt x="680" y="670"/>
                  </a:cubicBezTo>
                  <a:cubicBezTo>
                    <a:pt x="673" y="670"/>
                    <a:pt x="668" y="676"/>
                    <a:pt x="668" y="683"/>
                  </a:cubicBezTo>
                  <a:cubicBezTo>
                    <a:pt x="668" y="690"/>
                    <a:pt x="673" y="696"/>
                    <a:pt x="680" y="696"/>
                  </a:cubicBezTo>
                  <a:close/>
                  <a:moveTo>
                    <a:pt x="720" y="696"/>
                  </a:moveTo>
                  <a:cubicBezTo>
                    <a:pt x="727" y="696"/>
                    <a:pt x="733" y="690"/>
                    <a:pt x="733" y="683"/>
                  </a:cubicBezTo>
                  <a:cubicBezTo>
                    <a:pt x="733" y="676"/>
                    <a:pt x="727" y="670"/>
                    <a:pt x="720" y="670"/>
                  </a:cubicBezTo>
                  <a:cubicBezTo>
                    <a:pt x="713" y="670"/>
                    <a:pt x="707" y="676"/>
                    <a:pt x="707" y="683"/>
                  </a:cubicBezTo>
                  <a:cubicBezTo>
                    <a:pt x="707" y="690"/>
                    <a:pt x="713" y="696"/>
                    <a:pt x="720" y="696"/>
                  </a:cubicBezTo>
                  <a:close/>
                  <a:moveTo>
                    <a:pt x="759" y="696"/>
                  </a:moveTo>
                  <a:cubicBezTo>
                    <a:pt x="766" y="696"/>
                    <a:pt x="772" y="690"/>
                    <a:pt x="772" y="683"/>
                  </a:cubicBezTo>
                  <a:cubicBezTo>
                    <a:pt x="772" y="676"/>
                    <a:pt x="766" y="670"/>
                    <a:pt x="759" y="670"/>
                  </a:cubicBezTo>
                  <a:cubicBezTo>
                    <a:pt x="752" y="670"/>
                    <a:pt x="747" y="676"/>
                    <a:pt x="747" y="683"/>
                  </a:cubicBezTo>
                  <a:cubicBezTo>
                    <a:pt x="747" y="690"/>
                    <a:pt x="752" y="696"/>
                    <a:pt x="759" y="696"/>
                  </a:cubicBezTo>
                  <a:close/>
                  <a:moveTo>
                    <a:pt x="799" y="696"/>
                  </a:moveTo>
                  <a:cubicBezTo>
                    <a:pt x="806" y="696"/>
                    <a:pt x="811" y="690"/>
                    <a:pt x="811" y="683"/>
                  </a:cubicBezTo>
                  <a:cubicBezTo>
                    <a:pt x="811" y="676"/>
                    <a:pt x="806" y="670"/>
                    <a:pt x="799" y="670"/>
                  </a:cubicBezTo>
                  <a:cubicBezTo>
                    <a:pt x="792" y="670"/>
                    <a:pt x="786" y="676"/>
                    <a:pt x="786" y="683"/>
                  </a:cubicBezTo>
                  <a:cubicBezTo>
                    <a:pt x="786" y="690"/>
                    <a:pt x="792" y="696"/>
                    <a:pt x="799" y="696"/>
                  </a:cubicBezTo>
                  <a:close/>
                  <a:moveTo>
                    <a:pt x="838" y="696"/>
                  </a:moveTo>
                  <a:cubicBezTo>
                    <a:pt x="845" y="696"/>
                    <a:pt x="851" y="690"/>
                    <a:pt x="851" y="683"/>
                  </a:cubicBezTo>
                  <a:cubicBezTo>
                    <a:pt x="851" y="676"/>
                    <a:pt x="845" y="670"/>
                    <a:pt x="838" y="670"/>
                  </a:cubicBezTo>
                  <a:cubicBezTo>
                    <a:pt x="831" y="670"/>
                    <a:pt x="825" y="676"/>
                    <a:pt x="825" y="683"/>
                  </a:cubicBezTo>
                  <a:cubicBezTo>
                    <a:pt x="825" y="690"/>
                    <a:pt x="831" y="696"/>
                    <a:pt x="838" y="696"/>
                  </a:cubicBezTo>
                  <a:close/>
                  <a:moveTo>
                    <a:pt x="878" y="696"/>
                  </a:moveTo>
                  <a:cubicBezTo>
                    <a:pt x="885" y="696"/>
                    <a:pt x="890" y="690"/>
                    <a:pt x="890" y="683"/>
                  </a:cubicBezTo>
                  <a:cubicBezTo>
                    <a:pt x="890" y="676"/>
                    <a:pt x="885" y="670"/>
                    <a:pt x="878" y="670"/>
                  </a:cubicBezTo>
                  <a:cubicBezTo>
                    <a:pt x="871" y="670"/>
                    <a:pt x="865" y="676"/>
                    <a:pt x="865" y="683"/>
                  </a:cubicBezTo>
                  <a:cubicBezTo>
                    <a:pt x="865" y="690"/>
                    <a:pt x="871" y="696"/>
                    <a:pt x="878" y="696"/>
                  </a:cubicBezTo>
                  <a:close/>
                  <a:moveTo>
                    <a:pt x="917" y="696"/>
                  </a:moveTo>
                  <a:cubicBezTo>
                    <a:pt x="924" y="696"/>
                    <a:pt x="930" y="690"/>
                    <a:pt x="930" y="683"/>
                  </a:cubicBezTo>
                  <a:cubicBezTo>
                    <a:pt x="930" y="676"/>
                    <a:pt x="924" y="670"/>
                    <a:pt x="917" y="670"/>
                  </a:cubicBezTo>
                  <a:cubicBezTo>
                    <a:pt x="910" y="670"/>
                    <a:pt x="904" y="676"/>
                    <a:pt x="904" y="683"/>
                  </a:cubicBezTo>
                  <a:cubicBezTo>
                    <a:pt x="904" y="690"/>
                    <a:pt x="910" y="696"/>
                    <a:pt x="917" y="696"/>
                  </a:cubicBezTo>
                  <a:close/>
                  <a:moveTo>
                    <a:pt x="956" y="696"/>
                  </a:moveTo>
                  <a:cubicBezTo>
                    <a:pt x="963" y="696"/>
                    <a:pt x="969" y="690"/>
                    <a:pt x="969" y="683"/>
                  </a:cubicBezTo>
                  <a:cubicBezTo>
                    <a:pt x="969" y="676"/>
                    <a:pt x="963" y="670"/>
                    <a:pt x="956" y="670"/>
                  </a:cubicBezTo>
                  <a:cubicBezTo>
                    <a:pt x="949" y="670"/>
                    <a:pt x="944" y="676"/>
                    <a:pt x="944" y="683"/>
                  </a:cubicBezTo>
                  <a:cubicBezTo>
                    <a:pt x="944" y="690"/>
                    <a:pt x="949" y="696"/>
                    <a:pt x="956" y="696"/>
                  </a:cubicBezTo>
                  <a:close/>
                  <a:moveTo>
                    <a:pt x="1627" y="696"/>
                  </a:moveTo>
                  <a:cubicBezTo>
                    <a:pt x="1634" y="696"/>
                    <a:pt x="1639" y="690"/>
                    <a:pt x="1639" y="683"/>
                  </a:cubicBezTo>
                  <a:cubicBezTo>
                    <a:pt x="1639" y="676"/>
                    <a:pt x="1634" y="670"/>
                    <a:pt x="1627" y="670"/>
                  </a:cubicBezTo>
                  <a:cubicBezTo>
                    <a:pt x="1620" y="670"/>
                    <a:pt x="1614" y="676"/>
                    <a:pt x="1614" y="683"/>
                  </a:cubicBezTo>
                  <a:cubicBezTo>
                    <a:pt x="1614" y="690"/>
                    <a:pt x="1620" y="696"/>
                    <a:pt x="1627" y="696"/>
                  </a:cubicBezTo>
                  <a:close/>
                  <a:moveTo>
                    <a:pt x="1666" y="696"/>
                  </a:moveTo>
                  <a:cubicBezTo>
                    <a:pt x="1673" y="696"/>
                    <a:pt x="1679" y="690"/>
                    <a:pt x="1679" y="683"/>
                  </a:cubicBezTo>
                  <a:cubicBezTo>
                    <a:pt x="1679" y="676"/>
                    <a:pt x="1673" y="670"/>
                    <a:pt x="1666" y="670"/>
                  </a:cubicBezTo>
                  <a:cubicBezTo>
                    <a:pt x="1659" y="670"/>
                    <a:pt x="1653" y="676"/>
                    <a:pt x="1653" y="683"/>
                  </a:cubicBezTo>
                  <a:cubicBezTo>
                    <a:pt x="1653" y="690"/>
                    <a:pt x="1659" y="696"/>
                    <a:pt x="1666" y="696"/>
                  </a:cubicBezTo>
                  <a:close/>
                  <a:moveTo>
                    <a:pt x="1705" y="696"/>
                  </a:moveTo>
                  <a:cubicBezTo>
                    <a:pt x="1712" y="696"/>
                    <a:pt x="1718" y="690"/>
                    <a:pt x="1718" y="683"/>
                  </a:cubicBezTo>
                  <a:cubicBezTo>
                    <a:pt x="1718" y="676"/>
                    <a:pt x="1712" y="670"/>
                    <a:pt x="1705" y="670"/>
                  </a:cubicBezTo>
                  <a:cubicBezTo>
                    <a:pt x="1698" y="670"/>
                    <a:pt x="1693" y="676"/>
                    <a:pt x="1693" y="683"/>
                  </a:cubicBezTo>
                  <a:cubicBezTo>
                    <a:pt x="1693" y="690"/>
                    <a:pt x="1698" y="696"/>
                    <a:pt x="1705" y="696"/>
                  </a:cubicBezTo>
                  <a:close/>
                  <a:moveTo>
                    <a:pt x="1817" y="683"/>
                  </a:moveTo>
                  <a:cubicBezTo>
                    <a:pt x="1817" y="686"/>
                    <a:pt x="1820" y="689"/>
                    <a:pt x="1824" y="689"/>
                  </a:cubicBezTo>
                  <a:cubicBezTo>
                    <a:pt x="1827" y="689"/>
                    <a:pt x="1830" y="686"/>
                    <a:pt x="1830" y="683"/>
                  </a:cubicBezTo>
                  <a:cubicBezTo>
                    <a:pt x="1830" y="679"/>
                    <a:pt x="1827" y="676"/>
                    <a:pt x="1824" y="676"/>
                  </a:cubicBezTo>
                  <a:cubicBezTo>
                    <a:pt x="1820" y="676"/>
                    <a:pt x="1817" y="679"/>
                    <a:pt x="1817" y="683"/>
                  </a:cubicBezTo>
                  <a:close/>
                  <a:moveTo>
                    <a:pt x="1903" y="696"/>
                  </a:moveTo>
                  <a:cubicBezTo>
                    <a:pt x="1910" y="696"/>
                    <a:pt x="1915" y="690"/>
                    <a:pt x="1915" y="683"/>
                  </a:cubicBezTo>
                  <a:cubicBezTo>
                    <a:pt x="1915" y="676"/>
                    <a:pt x="1910" y="670"/>
                    <a:pt x="1903" y="670"/>
                  </a:cubicBezTo>
                  <a:cubicBezTo>
                    <a:pt x="1896" y="670"/>
                    <a:pt x="1890" y="676"/>
                    <a:pt x="1890" y="683"/>
                  </a:cubicBezTo>
                  <a:cubicBezTo>
                    <a:pt x="1890" y="690"/>
                    <a:pt x="1896" y="696"/>
                    <a:pt x="1903" y="696"/>
                  </a:cubicBezTo>
                  <a:close/>
                  <a:moveTo>
                    <a:pt x="1955" y="683"/>
                  </a:moveTo>
                  <a:cubicBezTo>
                    <a:pt x="1955" y="676"/>
                    <a:pt x="1949" y="670"/>
                    <a:pt x="1942" y="670"/>
                  </a:cubicBezTo>
                  <a:cubicBezTo>
                    <a:pt x="1935" y="670"/>
                    <a:pt x="1929" y="676"/>
                    <a:pt x="1929" y="683"/>
                  </a:cubicBezTo>
                  <a:cubicBezTo>
                    <a:pt x="1929" y="690"/>
                    <a:pt x="1935" y="696"/>
                    <a:pt x="1942" y="696"/>
                  </a:cubicBezTo>
                  <a:cubicBezTo>
                    <a:pt x="1949" y="696"/>
                    <a:pt x="1955" y="690"/>
                    <a:pt x="1955" y="683"/>
                  </a:cubicBezTo>
                  <a:close/>
                  <a:moveTo>
                    <a:pt x="1981" y="696"/>
                  </a:moveTo>
                  <a:cubicBezTo>
                    <a:pt x="1988" y="696"/>
                    <a:pt x="1994" y="690"/>
                    <a:pt x="1994" y="683"/>
                  </a:cubicBezTo>
                  <a:cubicBezTo>
                    <a:pt x="1994" y="676"/>
                    <a:pt x="1988" y="670"/>
                    <a:pt x="1981" y="670"/>
                  </a:cubicBezTo>
                  <a:cubicBezTo>
                    <a:pt x="1974" y="670"/>
                    <a:pt x="1969" y="676"/>
                    <a:pt x="1969" y="683"/>
                  </a:cubicBezTo>
                  <a:cubicBezTo>
                    <a:pt x="1969" y="690"/>
                    <a:pt x="1974" y="696"/>
                    <a:pt x="1981" y="696"/>
                  </a:cubicBezTo>
                  <a:close/>
                  <a:moveTo>
                    <a:pt x="2021" y="696"/>
                  </a:moveTo>
                  <a:cubicBezTo>
                    <a:pt x="2028" y="696"/>
                    <a:pt x="2034" y="690"/>
                    <a:pt x="2034" y="683"/>
                  </a:cubicBezTo>
                  <a:cubicBezTo>
                    <a:pt x="2034" y="676"/>
                    <a:pt x="2028" y="670"/>
                    <a:pt x="2021" y="670"/>
                  </a:cubicBezTo>
                  <a:cubicBezTo>
                    <a:pt x="2014" y="670"/>
                    <a:pt x="2008" y="676"/>
                    <a:pt x="2008" y="683"/>
                  </a:cubicBezTo>
                  <a:cubicBezTo>
                    <a:pt x="2008" y="690"/>
                    <a:pt x="2014" y="696"/>
                    <a:pt x="2021" y="696"/>
                  </a:cubicBezTo>
                  <a:close/>
                  <a:moveTo>
                    <a:pt x="2060" y="670"/>
                  </a:moveTo>
                  <a:cubicBezTo>
                    <a:pt x="2053" y="670"/>
                    <a:pt x="2048" y="676"/>
                    <a:pt x="2048" y="683"/>
                  </a:cubicBezTo>
                  <a:cubicBezTo>
                    <a:pt x="2048" y="690"/>
                    <a:pt x="2053" y="696"/>
                    <a:pt x="2060" y="696"/>
                  </a:cubicBezTo>
                  <a:cubicBezTo>
                    <a:pt x="2067" y="696"/>
                    <a:pt x="2073" y="690"/>
                    <a:pt x="2073" y="683"/>
                  </a:cubicBezTo>
                  <a:cubicBezTo>
                    <a:pt x="2073" y="676"/>
                    <a:pt x="2067" y="670"/>
                    <a:pt x="2060" y="670"/>
                  </a:cubicBezTo>
                  <a:close/>
                  <a:moveTo>
                    <a:pt x="2139" y="696"/>
                  </a:moveTo>
                  <a:cubicBezTo>
                    <a:pt x="2146" y="696"/>
                    <a:pt x="2152" y="690"/>
                    <a:pt x="2152" y="683"/>
                  </a:cubicBezTo>
                  <a:cubicBezTo>
                    <a:pt x="2152" y="676"/>
                    <a:pt x="2146" y="670"/>
                    <a:pt x="2139" y="670"/>
                  </a:cubicBezTo>
                  <a:cubicBezTo>
                    <a:pt x="2132" y="670"/>
                    <a:pt x="2126" y="676"/>
                    <a:pt x="2126" y="683"/>
                  </a:cubicBezTo>
                  <a:cubicBezTo>
                    <a:pt x="2126" y="690"/>
                    <a:pt x="2132" y="696"/>
                    <a:pt x="2139" y="696"/>
                  </a:cubicBezTo>
                  <a:close/>
                  <a:moveTo>
                    <a:pt x="2179" y="696"/>
                  </a:moveTo>
                  <a:cubicBezTo>
                    <a:pt x="2186" y="696"/>
                    <a:pt x="2191" y="690"/>
                    <a:pt x="2191" y="683"/>
                  </a:cubicBezTo>
                  <a:cubicBezTo>
                    <a:pt x="2191" y="676"/>
                    <a:pt x="2186" y="670"/>
                    <a:pt x="2179" y="670"/>
                  </a:cubicBezTo>
                  <a:cubicBezTo>
                    <a:pt x="2172" y="670"/>
                    <a:pt x="2166" y="676"/>
                    <a:pt x="2166" y="683"/>
                  </a:cubicBezTo>
                  <a:cubicBezTo>
                    <a:pt x="2166" y="690"/>
                    <a:pt x="2172" y="696"/>
                    <a:pt x="2179" y="696"/>
                  </a:cubicBezTo>
                  <a:close/>
                  <a:moveTo>
                    <a:pt x="2257" y="696"/>
                  </a:moveTo>
                  <a:cubicBezTo>
                    <a:pt x="2264" y="696"/>
                    <a:pt x="2270" y="690"/>
                    <a:pt x="2270" y="683"/>
                  </a:cubicBezTo>
                  <a:cubicBezTo>
                    <a:pt x="2270" y="676"/>
                    <a:pt x="2264" y="670"/>
                    <a:pt x="2257" y="670"/>
                  </a:cubicBezTo>
                  <a:cubicBezTo>
                    <a:pt x="2250" y="670"/>
                    <a:pt x="2245" y="676"/>
                    <a:pt x="2245" y="683"/>
                  </a:cubicBezTo>
                  <a:cubicBezTo>
                    <a:pt x="2245" y="690"/>
                    <a:pt x="2250" y="696"/>
                    <a:pt x="2257" y="696"/>
                  </a:cubicBezTo>
                  <a:close/>
                  <a:moveTo>
                    <a:pt x="2297" y="696"/>
                  </a:moveTo>
                  <a:cubicBezTo>
                    <a:pt x="2304" y="696"/>
                    <a:pt x="2310" y="690"/>
                    <a:pt x="2310" y="683"/>
                  </a:cubicBezTo>
                  <a:cubicBezTo>
                    <a:pt x="2310" y="676"/>
                    <a:pt x="2304" y="670"/>
                    <a:pt x="2297" y="670"/>
                  </a:cubicBezTo>
                  <a:cubicBezTo>
                    <a:pt x="2290" y="670"/>
                    <a:pt x="2284" y="676"/>
                    <a:pt x="2284" y="683"/>
                  </a:cubicBezTo>
                  <a:cubicBezTo>
                    <a:pt x="2284" y="690"/>
                    <a:pt x="2290" y="696"/>
                    <a:pt x="2297" y="696"/>
                  </a:cubicBezTo>
                  <a:close/>
                  <a:moveTo>
                    <a:pt x="2336" y="696"/>
                  </a:moveTo>
                  <a:cubicBezTo>
                    <a:pt x="2343" y="696"/>
                    <a:pt x="2349" y="690"/>
                    <a:pt x="2349" y="683"/>
                  </a:cubicBezTo>
                  <a:cubicBezTo>
                    <a:pt x="2349" y="676"/>
                    <a:pt x="2343" y="670"/>
                    <a:pt x="2336" y="670"/>
                  </a:cubicBezTo>
                  <a:cubicBezTo>
                    <a:pt x="2329" y="670"/>
                    <a:pt x="2323" y="676"/>
                    <a:pt x="2323" y="683"/>
                  </a:cubicBezTo>
                  <a:cubicBezTo>
                    <a:pt x="2323" y="690"/>
                    <a:pt x="2329" y="696"/>
                    <a:pt x="2336" y="696"/>
                  </a:cubicBezTo>
                  <a:close/>
                  <a:moveTo>
                    <a:pt x="2376" y="696"/>
                  </a:moveTo>
                  <a:cubicBezTo>
                    <a:pt x="2383" y="696"/>
                    <a:pt x="2388" y="690"/>
                    <a:pt x="2388" y="683"/>
                  </a:cubicBezTo>
                  <a:cubicBezTo>
                    <a:pt x="2388" y="676"/>
                    <a:pt x="2383" y="670"/>
                    <a:pt x="2376" y="670"/>
                  </a:cubicBezTo>
                  <a:cubicBezTo>
                    <a:pt x="2369" y="670"/>
                    <a:pt x="2363" y="676"/>
                    <a:pt x="2363" y="683"/>
                  </a:cubicBezTo>
                  <a:cubicBezTo>
                    <a:pt x="2363" y="690"/>
                    <a:pt x="2369" y="696"/>
                    <a:pt x="2376" y="696"/>
                  </a:cubicBezTo>
                  <a:close/>
                  <a:moveTo>
                    <a:pt x="2415" y="696"/>
                  </a:moveTo>
                  <a:cubicBezTo>
                    <a:pt x="2422" y="696"/>
                    <a:pt x="2428" y="690"/>
                    <a:pt x="2428" y="683"/>
                  </a:cubicBezTo>
                  <a:cubicBezTo>
                    <a:pt x="2428" y="676"/>
                    <a:pt x="2422" y="670"/>
                    <a:pt x="2415" y="670"/>
                  </a:cubicBezTo>
                  <a:cubicBezTo>
                    <a:pt x="2408" y="670"/>
                    <a:pt x="2402" y="676"/>
                    <a:pt x="2402" y="683"/>
                  </a:cubicBezTo>
                  <a:cubicBezTo>
                    <a:pt x="2402" y="690"/>
                    <a:pt x="2408" y="696"/>
                    <a:pt x="2415" y="696"/>
                  </a:cubicBezTo>
                  <a:close/>
                  <a:moveTo>
                    <a:pt x="2455" y="696"/>
                  </a:moveTo>
                  <a:cubicBezTo>
                    <a:pt x="2462" y="696"/>
                    <a:pt x="2467" y="690"/>
                    <a:pt x="2467" y="683"/>
                  </a:cubicBezTo>
                  <a:cubicBezTo>
                    <a:pt x="2467" y="676"/>
                    <a:pt x="2462" y="670"/>
                    <a:pt x="2455" y="670"/>
                  </a:cubicBezTo>
                  <a:cubicBezTo>
                    <a:pt x="2447" y="670"/>
                    <a:pt x="2442" y="676"/>
                    <a:pt x="2442" y="683"/>
                  </a:cubicBezTo>
                  <a:cubicBezTo>
                    <a:pt x="2442" y="690"/>
                    <a:pt x="2447" y="696"/>
                    <a:pt x="2455" y="696"/>
                  </a:cubicBezTo>
                  <a:close/>
                  <a:moveTo>
                    <a:pt x="2494" y="696"/>
                  </a:moveTo>
                  <a:cubicBezTo>
                    <a:pt x="2501" y="696"/>
                    <a:pt x="2507" y="690"/>
                    <a:pt x="2507" y="683"/>
                  </a:cubicBezTo>
                  <a:cubicBezTo>
                    <a:pt x="2507" y="676"/>
                    <a:pt x="2501" y="670"/>
                    <a:pt x="2494" y="670"/>
                  </a:cubicBezTo>
                  <a:cubicBezTo>
                    <a:pt x="2487" y="670"/>
                    <a:pt x="2481" y="676"/>
                    <a:pt x="2481" y="683"/>
                  </a:cubicBezTo>
                  <a:cubicBezTo>
                    <a:pt x="2481" y="690"/>
                    <a:pt x="2487" y="696"/>
                    <a:pt x="2494" y="696"/>
                  </a:cubicBezTo>
                  <a:close/>
                  <a:moveTo>
                    <a:pt x="2533" y="696"/>
                  </a:moveTo>
                  <a:cubicBezTo>
                    <a:pt x="2540" y="696"/>
                    <a:pt x="2546" y="690"/>
                    <a:pt x="2546" y="683"/>
                  </a:cubicBezTo>
                  <a:cubicBezTo>
                    <a:pt x="2546" y="676"/>
                    <a:pt x="2540" y="670"/>
                    <a:pt x="2533" y="670"/>
                  </a:cubicBezTo>
                  <a:cubicBezTo>
                    <a:pt x="2526" y="670"/>
                    <a:pt x="2521" y="676"/>
                    <a:pt x="2521" y="683"/>
                  </a:cubicBezTo>
                  <a:cubicBezTo>
                    <a:pt x="2521" y="690"/>
                    <a:pt x="2526" y="696"/>
                    <a:pt x="2533" y="696"/>
                  </a:cubicBezTo>
                  <a:close/>
                  <a:moveTo>
                    <a:pt x="2573" y="696"/>
                  </a:moveTo>
                  <a:cubicBezTo>
                    <a:pt x="2580" y="696"/>
                    <a:pt x="2586" y="690"/>
                    <a:pt x="2586" y="683"/>
                  </a:cubicBezTo>
                  <a:cubicBezTo>
                    <a:pt x="2586" y="676"/>
                    <a:pt x="2580" y="670"/>
                    <a:pt x="2573" y="670"/>
                  </a:cubicBezTo>
                  <a:cubicBezTo>
                    <a:pt x="2566" y="670"/>
                    <a:pt x="2560" y="676"/>
                    <a:pt x="2560" y="683"/>
                  </a:cubicBezTo>
                  <a:cubicBezTo>
                    <a:pt x="2560" y="690"/>
                    <a:pt x="2566" y="696"/>
                    <a:pt x="2573" y="696"/>
                  </a:cubicBezTo>
                  <a:close/>
                  <a:moveTo>
                    <a:pt x="2612" y="696"/>
                  </a:moveTo>
                  <a:cubicBezTo>
                    <a:pt x="2619" y="696"/>
                    <a:pt x="2625" y="690"/>
                    <a:pt x="2625" y="683"/>
                  </a:cubicBezTo>
                  <a:cubicBezTo>
                    <a:pt x="2625" y="676"/>
                    <a:pt x="2619" y="670"/>
                    <a:pt x="2612" y="670"/>
                  </a:cubicBezTo>
                  <a:cubicBezTo>
                    <a:pt x="2605" y="670"/>
                    <a:pt x="2599" y="676"/>
                    <a:pt x="2599" y="683"/>
                  </a:cubicBezTo>
                  <a:cubicBezTo>
                    <a:pt x="2599" y="690"/>
                    <a:pt x="2605" y="696"/>
                    <a:pt x="2612" y="696"/>
                  </a:cubicBezTo>
                  <a:close/>
                  <a:moveTo>
                    <a:pt x="2652" y="696"/>
                  </a:moveTo>
                  <a:cubicBezTo>
                    <a:pt x="2659" y="696"/>
                    <a:pt x="2664" y="690"/>
                    <a:pt x="2664" y="683"/>
                  </a:cubicBezTo>
                  <a:cubicBezTo>
                    <a:pt x="2664" y="676"/>
                    <a:pt x="2659" y="670"/>
                    <a:pt x="2652" y="670"/>
                  </a:cubicBezTo>
                  <a:cubicBezTo>
                    <a:pt x="2645" y="670"/>
                    <a:pt x="2639" y="676"/>
                    <a:pt x="2639" y="683"/>
                  </a:cubicBezTo>
                  <a:cubicBezTo>
                    <a:pt x="2639" y="690"/>
                    <a:pt x="2645" y="696"/>
                    <a:pt x="2652" y="696"/>
                  </a:cubicBezTo>
                  <a:close/>
                  <a:moveTo>
                    <a:pt x="2691" y="696"/>
                  </a:moveTo>
                  <a:cubicBezTo>
                    <a:pt x="2698" y="696"/>
                    <a:pt x="2704" y="690"/>
                    <a:pt x="2704" y="683"/>
                  </a:cubicBezTo>
                  <a:cubicBezTo>
                    <a:pt x="2704" y="676"/>
                    <a:pt x="2698" y="670"/>
                    <a:pt x="2691" y="670"/>
                  </a:cubicBezTo>
                  <a:cubicBezTo>
                    <a:pt x="2684" y="670"/>
                    <a:pt x="2678" y="676"/>
                    <a:pt x="2678" y="683"/>
                  </a:cubicBezTo>
                  <a:cubicBezTo>
                    <a:pt x="2678" y="690"/>
                    <a:pt x="2684" y="696"/>
                    <a:pt x="2691" y="696"/>
                  </a:cubicBezTo>
                  <a:close/>
                  <a:moveTo>
                    <a:pt x="2730" y="696"/>
                  </a:moveTo>
                  <a:cubicBezTo>
                    <a:pt x="2738" y="696"/>
                    <a:pt x="2743" y="690"/>
                    <a:pt x="2743" y="683"/>
                  </a:cubicBezTo>
                  <a:cubicBezTo>
                    <a:pt x="2743" y="676"/>
                    <a:pt x="2738" y="670"/>
                    <a:pt x="2730" y="670"/>
                  </a:cubicBezTo>
                  <a:cubicBezTo>
                    <a:pt x="2723" y="670"/>
                    <a:pt x="2718" y="676"/>
                    <a:pt x="2718" y="683"/>
                  </a:cubicBezTo>
                  <a:cubicBezTo>
                    <a:pt x="2718" y="690"/>
                    <a:pt x="2723" y="696"/>
                    <a:pt x="2730" y="696"/>
                  </a:cubicBezTo>
                  <a:close/>
                  <a:moveTo>
                    <a:pt x="2770" y="696"/>
                  </a:moveTo>
                  <a:cubicBezTo>
                    <a:pt x="2777" y="696"/>
                    <a:pt x="2783" y="690"/>
                    <a:pt x="2783" y="683"/>
                  </a:cubicBezTo>
                  <a:cubicBezTo>
                    <a:pt x="2783" y="676"/>
                    <a:pt x="2777" y="670"/>
                    <a:pt x="2770" y="670"/>
                  </a:cubicBezTo>
                  <a:cubicBezTo>
                    <a:pt x="2763" y="670"/>
                    <a:pt x="2757" y="676"/>
                    <a:pt x="2757" y="683"/>
                  </a:cubicBezTo>
                  <a:cubicBezTo>
                    <a:pt x="2757" y="690"/>
                    <a:pt x="2763" y="696"/>
                    <a:pt x="2770" y="696"/>
                  </a:cubicBezTo>
                  <a:close/>
                  <a:moveTo>
                    <a:pt x="2809" y="696"/>
                  </a:moveTo>
                  <a:cubicBezTo>
                    <a:pt x="2816" y="696"/>
                    <a:pt x="2822" y="690"/>
                    <a:pt x="2822" y="683"/>
                  </a:cubicBezTo>
                  <a:cubicBezTo>
                    <a:pt x="2822" y="676"/>
                    <a:pt x="2816" y="670"/>
                    <a:pt x="2809" y="670"/>
                  </a:cubicBezTo>
                  <a:cubicBezTo>
                    <a:pt x="2802" y="670"/>
                    <a:pt x="2797" y="676"/>
                    <a:pt x="2797" y="683"/>
                  </a:cubicBezTo>
                  <a:cubicBezTo>
                    <a:pt x="2797" y="690"/>
                    <a:pt x="2802" y="696"/>
                    <a:pt x="2809" y="696"/>
                  </a:cubicBezTo>
                  <a:close/>
                  <a:moveTo>
                    <a:pt x="2849" y="696"/>
                  </a:moveTo>
                  <a:cubicBezTo>
                    <a:pt x="2856" y="696"/>
                    <a:pt x="2862" y="690"/>
                    <a:pt x="2862" y="683"/>
                  </a:cubicBezTo>
                  <a:cubicBezTo>
                    <a:pt x="2862" y="676"/>
                    <a:pt x="2856" y="670"/>
                    <a:pt x="2849" y="670"/>
                  </a:cubicBezTo>
                  <a:cubicBezTo>
                    <a:pt x="2842" y="670"/>
                    <a:pt x="2836" y="676"/>
                    <a:pt x="2836" y="683"/>
                  </a:cubicBezTo>
                  <a:cubicBezTo>
                    <a:pt x="2836" y="690"/>
                    <a:pt x="2842" y="696"/>
                    <a:pt x="2849" y="696"/>
                  </a:cubicBezTo>
                  <a:close/>
                  <a:moveTo>
                    <a:pt x="2888" y="696"/>
                  </a:moveTo>
                  <a:cubicBezTo>
                    <a:pt x="2895" y="696"/>
                    <a:pt x="2901" y="690"/>
                    <a:pt x="2901" y="683"/>
                  </a:cubicBezTo>
                  <a:cubicBezTo>
                    <a:pt x="2901" y="676"/>
                    <a:pt x="2895" y="670"/>
                    <a:pt x="2888" y="670"/>
                  </a:cubicBezTo>
                  <a:cubicBezTo>
                    <a:pt x="2881" y="670"/>
                    <a:pt x="2875" y="676"/>
                    <a:pt x="2875" y="683"/>
                  </a:cubicBezTo>
                  <a:cubicBezTo>
                    <a:pt x="2875" y="690"/>
                    <a:pt x="2881" y="696"/>
                    <a:pt x="2888" y="696"/>
                  </a:cubicBezTo>
                  <a:close/>
                  <a:moveTo>
                    <a:pt x="2928" y="670"/>
                  </a:moveTo>
                  <a:cubicBezTo>
                    <a:pt x="2921" y="670"/>
                    <a:pt x="2915" y="676"/>
                    <a:pt x="2915" y="683"/>
                  </a:cubicBezTo>
                  <a:cubicBezTo>
                    <a:pt x="2915" y="690"/>
                    <a:pt x="2921" y="696"/>
                    <a:pt x="2928" y="696"/>
                  </a:cubicBezTo>
                  <a:cubicBezTo>
                    <a:pt x="2935" y="696"/>
                    <a:pt x="2940" y="690"/>
                    <a:pt x="2940" y="683"/>
                  </a:cubicBezTo>
                  <a:cubicBezTo>
                    <a:pt x="2940" y="676"/>
                    <a:pt x="2935" y="670"/>
                    <a:pt x="2928" y="670"/>
                  </a:cubicBezTo>
                  <a:close/>
                  <a:moveTo>
                    <a:pt x="2967" y="696"/>
                  </a:moveTo>
                  <a:cubicBezTo>
                    <a:pt x="2974" y="696"/>
                    <a:pt x="2980" y="690"/>
                    <a:pt x="2980" y="683"/>
                  </a:cubicBezTo>
                  <a:cubicBezTo>
                    <a:pt x="2980" y="676"/>
                    <a:pt x="2974" y="670"/>
                    <a:pt x="2967" y="670"/>
                  </a:cubicBezTo>
                  <a:cubicBezTo>
                    <a:pt x="2960" y="670"/>
                    <a:pt x="2954" y="676"/>
                    <a:pt x="2954" y="683"/>
                  </a:cubicBezTo>
                  <a:cubicBezTo>
                    <a:pt x="2954" y="690"/>
                    <a:pt x="2960" y="696"/>
                    <a:pt x="2967" y="696"/>
                  </a:cubicBezTo>
                  <a:close/>
                  <a:moveTo>
                    <a:pt x="3006" y="696"/>
                  </a:moveTo>
                  <a:cubicBezTo>
                    <a:pt x="3013" y="696"/>
                    <a:pt x="3019" y="690"/>
                    <a:pt x="3019" y="683"/>
                  </a:cubicBezTo>
                  <a:cubicBezTo>
                    <a:pt x="3019" y="676"/>
                    <a:pt x="3013" y="670"/>
                    <a:pt x="3006" y="670"/>
                  </a:cubicBezTo>
                  <a:cubicBezTo>
                    <a:pt x="2999" y="670"/>
                    <a:pt x="2994" y="676"/>
                    <a:pt x="2994" y="683"/>
                  </a:cubicBezTo>
                  <a:cubicBezTo>
                    <a:pt x="2994" y="690"/>
                    <a:pt x="2999" y="696"/>
                    <a:pt x="3006" y="696"/>
                  </a:cubicBezTo>
                  <a:close/>
                  <a:moveTo>
                    <a:pt x="483" y="735"/>
                  </a:moveTo>
                  <a:cubicBezTo>
                    <a:pt x="490" y="735"/>
                    <a:pt x="496" y="729"/>
                    <a:pt x="496" y="722"/>
                  </a:cubicBezTo>
                  <a:cubicBezTo>
                    <a:pt x="496" y="715"/>
                    <a:pt x="490" y="710"/>
                    <a:pt x="483" y="710"/>
                  </a:cubicBezTo>
                  <a:cubicBezTo>
                    <a:pt x="476" y="710"/>
                    <a:pt x="471" y="715"/>
                    <a:pt x="471" y="722"/>
                  </a:cubicBezTo>
                  <a:cubicBezTo>
                    <a:pt x="471" y="729"/>
                    <a:pt x="476" y="735"/>
                    <a:pt x="483" y="735"/>
                  </a:cubicBezTo>
                  <a:close/>
                  <a:moveTo>
                    <a:pt x="523" y="735"/>
                  </a:moveTo>
                  <a:cubicBezTo>
                    <a:pt x="530" y="735"/>
                    <a:pt x="535" y="729"/>
                    <a:pt x="535" y="722"/>
                  </a:cubicBezTo>
                  <a:cubicBezTo>
                    <a:pt x="535" y="715"/>
                    <a:pt x="530" y="710"/>
                    <a:pt x="523" y="710"/>
                  </a:cubicBezTo>
                  <a:cubicBezTo>
                    <a:pt x="516" y="710"/>
                    <a:pt x="510" y="715"/>
                    <a:pt x="510" y="722"/>
                  </a:cubicBezTo>
                  <a:cubicBezTo>
                    <a:pt x="510" y="729"/>
                    <a:pt x="516" y="735"/>
                    <a:pt x="523" y="735"/>
                  </a:cubicBezTo>
                  <a:close/>
                  <a:moveTo>
                    <a:pt x="562" y="735"/>
                  </a:moveTo>
                  <a:cubicBezTo>
                    <a:pt x="569" y="735"/>
                    <a:pt x="575" y="729"/>
                    <a:pt x="575" y="722"/>
                  </a:cubicBezTo>
                  <a:cubicBezTo>
                    <a:pt x="575" y="715"/>
                    <a:pt x="569" y="710"/>
                    <a:pt x="562" y="710"/>
                  </a:cubicBezTo>
                  <a:cubicBezTo>
                    <a:pt x="555" y="710"/>
                    <a:pt x="549" y="715"/>
                    <a:pt x="549" y="722"/>
                  </a:cubicBezTo>
                  <a:cubicBezTo>
                    <a:pt x="549" y="729"/>
                    <a:pt x="555" y="735"/>
                    <a:pt x="562" y="735"/>
                  </a:cubicBezTo>
                  <a:close/>
                  <a:moveTo>
                    <a:pt x="602" y="735"/>
                  </a:moveTo>
                  <a:cubicBezTo>
                    <a:pt x="609" y="735"/>
                    <a:pt x="614" y="729"/>
                    <a:pt x="614" y="722"/>
                  </a:cubicBezTo>
                  <a:cubicBezTo>
                    <a:pt x="614" y="715"/>
                    <a:pt x="609" y="710"/>
                    <a:pt x="602" y="710"/>
                  </a:cubicBezTo>
                  <a:cubicBezTo>
                    <a:pt x="595" y="710"/>
                    <a:pt x="589" y="715"/>
                    <a:pt x="589" y="722"/>
                  </a:cubicBezTo>
                  <a:cubicBezTo>
                    <a:pt x="589" y="729"/>
                    <a:pt x="595" y="735"/>
                    <a:pt x="602" y="735"/>
                  </a:cubicBezTo>
                  <a:close/>
                  <a:moveTo>
                    <a:pt x="641" y="735"/>
                  </a:moveTo>
                  <a:cubicBezTo>
                    <a:pt x="648" y="735"/>
                    <a:pt x="654" y="729"/>
                    <a:pt x="654" y="722"/>
                  </a:cubicBezTo>
                  <a:cubicBezTo>
                    <a:pt x="654" y="715"/>
                    <a:pt x="648" y="710"/>
                    <a:pt x="641" y="710"/>
                  </a:cubicBezTo>
                  <a:cubicBezTo>
                    <a:pt x="634" y="710"/>
                    <a:pt x="628" y="715"/>
                    <a:pt x="628" y="722"/>
                  </a:cubicBezTo>
                  <a:cubicBezTo>
                    <a:pt x="628" y="729"/>
                    <a:pt x="634" y="735"/>
                    <a:pt x="641" y="735"/>
                  </a:cubicBezTo>
                  <a:close/>
                  <a:moveTo>
                    <a:pt x="680" y="735"/>
                  </a:moveTo>
                  <a:cubicBezTo>
                    <a:pt x="687" y="735"/>
                    <a:pt x="693" y="729"/>
                    <a:pt x="693" y="722"/>
                  </a:cubicBezTo>
                  <a:cubicBezTo>
                    <a:pt x="693" y="715"/>
                    <a:pt x="687" y="710"/>
                    <a:pt x="680" y="710"/>
                  </a:cubicBezTo>
                  <a:cubicBezTo>
                    <a:pt x="673" y="710"/>
                    <a:pt x="668" y="715"/>
                    <a:pt x="668" y="722"/>
                  </a:cubicBezTo>
                  <a:cubicBezTo>
                    <a:pt x="668" y="729"/>
                    <a:pt x="673" y="735"/>
                    <a:pt x="680" y="735"/>
                  </a:cubicBezTo>
                  <a:close/>
                  <a:moveTo>
                    <a:pt x="720" y="735"/>
                  </a:moveTo>
                  <a:cubicBezTo>
                    <a:pt x="727" y="735"/>
                    <a:pt x="733" y="729"/>
                    <a:pt x="733" y="722"/>
                  </a:cubicBezTo>
                  <a:cubicBezTo>
                    <a:pt x="733" y="715"/>
                    <a:pt x="727" y="710"/>
                    <a:pt x="720" y="710"/>
                  </a:cubicBezTo>
                  <a:cubicBezTo>
                    <a:pt x="713" y="710"/>
                    <a:pt x="707" y="715"/>
                    <a:pt x="707" y="722"/>
                  </a:cubicBezTo>
                  <a:cubicBezTo>
                    <a:pt x="707" y="729"/>
                    <a:pt x="713" y="735"/>
                    <a:pt x="720" y="735"/>
                  </a:cubicBezTo>
                  <a:close/>
                  <a:moveTo>
                    <a:pt x="759" y="735"/>
                  </a:moveTo>
                  <a:cubicBezTo>
                    <a:pt x="766" y="735"/>
                    <a:pt x="772" y="729"/>
                    <a:pt x="772" y="722"/>
                  </a:cubicBezTo>
                  <a:cubicBezTo>
                    <a:pt x="772" y="715"/>
                    <a:pt x="766" y="710"/>
                    <a:pt x="759" y="710"/>
                  </a:cubicBezTo>
                  <a:cubicBezTo>
                    <a:pt x="752" y="710"/>
                    <a:pt x="747" y="715"/>
                    <a:pt x="747" y="722"/>
                  </a:cubicBezTo>
                  <a:cubicBezTo>
                    <a:pt x="747" y="729"/>
                    <a:pt x="752" y="735"/>
                    <a:pt x="759" y="735"/>
                  </a:cubicBezTo>
                  <a:close/>
                  <a:moveTo>
                    <a:pt x="799" y="735"/>
                  </a:moveTo>
                  <a:cubicBezTo>
                    <a:pt x="806" y="735"/>
                    <a:pt x="811" y="729"/>
                    <a:pt x="811" y="722"/>
                  </a:cubicBezTo>
                  <a:cubicBezTo>
                    <a:pt x="811" y="715"/>
                    <a:pt x="806" y="710"/>
                    <a:pt x="799" y="710"/>
                  </a:cubicBezTo>
                  <a:cubicBezTo>
                    <a:pt x="792" y="710"/>
                    <a:pt x="786" y="715"/>
                    <a:pt x="786" y="722"/>
                  </a:cubicBezTo>
                  <a:cubicBezTo>
                    <a:pt x="786" y="729"/>
                    <a:pt x="792" y="735"/>
                    <a:pt x="799" y="735"/>
                  </a:cubicBezTo>
                  <a:close/>
                  <a:moveTo>
                    <a:pt x="838" y="735"/>
                  </a:moveTo>
                  <a:cubicBezTo>
                    <a:pt x="845" y="735"/>
                    <a:pt x="851" y="729"/>
                    <a:pt x="851" y="722"/>
                  </a:cubicBezTo>
                  <a:cubicBezTo>
                    <a:pt x="851" y="715"/>
                    <a:pt x="845" y="710"/>
                    <a:pt x="838" y="710"/>
                  </a:cubicBezTo>
                  <a:cubicBezTo>
                    <a:pt x="831" y="710"/>
                    <a:pt x="825" y="715"/>
                    <a:pt x="825" y="722"/>
                  </a:cubicBezTo>
                  <a:cubicBezTo>
                    <a:pt x="825" y="729"/>
                    <a:pt x="831" y="735"/>
                    <a:pt x="838" y="735"/>
                  </a:cubicBezTo>
                  <a:close/>
                  <a:moveTo>
                    <a:pt x="878" y="735"/>
                  </a:moveTo>
                  <a:cubicBezTo>
                    <a:pt x="885" y="735"/>
                    <a:pt x="890" y="729"/>
                    <a:pt x="890" y="722"/>
                  </a:cubicBezTo>
                  <a:cubicBezTo>
                    <a:pt x="890" y="715"/>
                    <a:pt x="885" y="710"/>
                    <a:pt x="878" y="710"/>
                  </a:cubicBezTo>
                  <a:cubicBezTo>
                    <a:pt x="871" y="710"/>
                    <a:pt x="865" y="715"/>
                    <a:pt x="865" y="722"/>
                  </a:cubicBezTo>
                  <a:cubicBezTo>
                    <a:pt x="865" y="729"/>
                    <a:pt x="871" y="735"/>
                    <a:pt x="878" y="735"/>
                  </a:cubicBezTo>
                  <a:close/>
                  <a:moveTo>
                    <a:pt x="1627" y="735"/>
                  </a:moveTo>
                  <a:cubicBezTo>
                    <a:pt x="1634" y="735"/>
                    <a:pt x="1639" y="729"/>
                    <a:pt x="1639" y="722"/>
                  </a:cubicBezTo>
                  <a:cubicBezTo>
                    <a:pt x="1639" y="715"/>
                    <a:pt x="1634" y="710"/>
                    <a:pt x="1627" y="710"/>
                  </a:cubicBezTo>
                  <a:cubicBezTo>
                    <a:pt x="1620" y="710"/>
                    <a:pt x="1614" y="715"/>
                    <a:pt x="1614" y="722"/>
                  </a:cubicBezTo>
                  <a:cubicBezTo>
                    <a:pt x="1614" y="729"/>
                    <a:pt x="1620" y="735"/>
                    <a:pt x="1627" y="735"/>
                  </a:cubicBezTo>
                  <a:close/>
                  <a:moveTo>
                    <a:pt x="1666" y="735"/>
                  </a:moveTo>
                  <a:cubicBezTo>
                    <a:pt x="1673" y="735"/>
                    <a:pt x="1679" y="729"/>
                    <a:pt x="1679" y="722"/>
                  </a:cubicBezTo>
                  <a:cubicBezTo>
                    <a:pt x="1679" y="715"/>
                    <a:pt x="1673" y="710"/>
                    <a:pt x="1666" y="710"/>
                  </a:cubicBezTo>
                  <a:cubicBezTo>
                    <a:pt x="1659" y="710"/>
                    <a:pt x="1653" y="715"/>
                    <a:pt x="1653" y="722"/>
                  </a:cubicBezTo>
                  <a:cubicBezTo>
                    <a:pt x="1653" y="729"/>
                    <a:pt x="1659" y="735"/>
                    <a:pt x="1666" y="735"/>
                  </a:cubicBezTo>
                  <a:close/>
                  <a:moveTo>
                    <a:pt x="1907" y="722"/>
                  </a:moveTo>
                  <a:cubicBezTo>
                    <a:pt x="1907" y="720"/>
                    <a:pt x="1905" y="718"/>
                    <a:pt x="1903" y="718"/>
                  </a:cubicBezTo>
                  <a:cubicBezTo>
                    <a:pt x="1900" y="718"/>
                    <a:pt x="1898" y="720"/>
                    <a:pt x="1898" y="722"/>
                  </a:cubicBezTo>
                  <a:cubicBezTo>
                    <a:pt x="1898" y="725"/>
                    <a:pt x="1900" y="726"/>
                    <a:pt x="1903" y="726"/>
                  </a:cubicBezTo>
                  <a:cubicBezTo>
                    <a:pt x="1905" y="726"/>
                    <a:pt x="1907" y="725"/>
                    <a:pt x="1907" y="722"/>
                  </a:cubicBezTo>
                  <a:close/>
                  <a:moveTo>
                    <a:pt x="1942" y="735"/>
                  </a:moveTo>
                  <a:cubicBezTo>
                    <a:pt x="1949" y="735"/>
                    <a:pt x="1955" y="729"/>
                    <a:pt x="1955" y="722"/>
                  </a:cubicBezTo>
                  <a:cubicBezTo>
                    <a:pt x="1955" y="715"/>
                    <a:pt x="1949" y="710"/>
                    <a:pt x="1942" y="710"/>
                  </a:cubicBezTo>
                  <a:cubicBezTo>
                    <a:pt x="1935" y="710"/>
                    <a:pt x="1929" y="715"/>
                    <a:pt x="1929" y="722"/>
                  </a:cubicBezTo>
                  <a:cubicBezTo>
                    <a:pt x="1929" y="729"/>
                    <a:pt x="1935" y="735"/>
                    <a:pt x="1942" y="735"/>
                  </a:cubicBezTo>
                  <a:close/>
                  <a:moveTo>
                    <a:pt x="1981" y="735"/>
                  </a:moveTo>
                  <a:cubicBezTo>
                    <a:pt x="1988" y="735"/>
                    <a:pt x="1994" y="729"/>
                    <a:pt x="1994" y="722"/>
                  </a:cubicBezTo>
                  <a:cubicBezTo>
                    <a:pt x="1994" y="715"/>
                    <a:pt x="1988" y="710"/>
                    <a:pt x="1981" y="710"/>
                  </a:cubicBezTo>
                  <a:cubicBezTo>
                    <a:pt x="1974" y="710"/>
                    <a:pt x="1969" y="715"/>
                    <a:pt x="1969" y="722"/>
                  </a:cubicBezTo>
                  <a:cubicBezTo>
                    <a:pt x="1969" y="729"/>
                    <a:pt x="1974" y="735"/>
                    <a:pt x="1981" y="735"/>
                  </a:cubicBezTo>
                  <a:close/>
                  <a:moveTo>
                    <a:pt x="2021" y="735"/>
                  </a:moveTo>
                  <a:cubicBezTo>
                    <a:pt x="2028" y="735"/>
                    <a:pt x="2034" y="729"/>
                    <a:pt x="2034" y="722"/>
                  </a:cubicBezTo>
                  <a:cubicBezTo>
                    <a:pt x="2034" y="715"/>
                    <a:pt x="2028" y="710"/>
                    <a:pt x="2021" y="710"/>
                  </a:cubicBezTo>
                  <a:cubicBezTo>
                    <a:pt x="2014" y="710"/>
                    <a:pt x="2008" y="715"/>
                    <a:pt x="2008" y="722"/>
                  </a:cubicBezTo>
                  <a:cubicBezTo>
                    <a:pt x="2008" y="729"/>
                    <a:pt x="2014" y="735"/>
                    <a:pt x="2021" y="735"/>
                  </a:cubicBezTo>
                  <a:close/>
                  <a:moveTo>
                    <a:pt x="2060" y="735"/>
                  </a:moveTo>
                  <a:cubicBezTo>
                    <a:pt x="2067" y="735"/>
                    <a:pt x="2073" y="729"/>
                    <a:pt x="2073" y="722"/>
                  </a:cubicBezTo>
                  <a:cubicBezTo>
                    <a:pt x="2073" y="715"/>
                    <a:pt x="2067" y="710"/>
                    <a:pt x="2060" y="710"/>
                  </a:cubicBezTo>
                  <a:cubicBezTo>
                    <a:pt x="2053" y="710"/>
                    <a:pt x="2048" y="715"/>
                    <a:pt x="2048" y="722"/>
                  </a:cubicBezTo>
                  <a:cubicBezTo>
                    <a:pt x="2048" y="729"/>
                    <a:pt x="2053" y="735"/>
                    <a:pt x="2060" y="735"/>
                  </a:cubicBezTo>
                  <a:close/>
                  <a:moveTo>
                    <a:pt x="2100" y="735"/>
                  </a:moveTo>
                  <a:cubicBezTo>
                    <a:pt x="2107" y="735"/>
                    <a:pt x="2112" y="729"/>
                    <a:pt x="2112" y="722"/>
                  </a:cubicBezTo>
                  <a:cubicBezTo>
                    <a:pt x="2112" y="715"/>
                    <a:pt x="2107" y="710"/>
                    <a:pt x="2100" y="710"/>
                  </a:cubicBezTo>
                  <a:cubicBezTo>
                    <a:pt x="2093" y="710"/>
                    <a:pt x="2087" y="715"/>
                    <a:pt x="2087" y="722"/>
                  </a:cubicBezTo>
                  <a:cubicBezTo>
                    <a:pt x="2087" y="729"/>
                    <a:pt x="2093" y="735"/>
                    <a:pt x="2100" y="735"/>
                  </a:cubicBezTo>
                  <a:close/>
                  <a:moveTo>
                    <a:pt x="2139" y="735"/>
                  </a:moveTo>
                  <a:cubicBezTo>
                    <a:pt x="2146" y="735"/>
                    <a:pt x="2152" y="729"/>
                    <a:pt x="2152" y="722"/>
                  </a:cubicBezTo>
                  <a:cubicBezTo>
                    <a:pt x="2152" y="715"/>
                    <a:pt x="2146" y="710"/>
                    <a:pt x="2139" y="710"/>
                  </a:cubicBezTo>
                  <a:cubicBezTo>
                    <a:pt x="2132" y="710"/>
                    <a:pt x="2126" y="715"/>
                    <a:pt x="2126" y="722"/>
                  </a:cubicBezTo>
                  <a:cubicBezTo>
                    <a:pt x="2126" y="729"/>
                    <a:pt x="2132" y="735"/>
                    <a:pt x="2139" y="735"/>
                  </a:cubicBezTo>
                  <a:close/>
                  <a:moveTo>
                    <a:pt x="2179" y="735"/>
                  </a:moveTo>
                  <a:cubicBezTo>
                    <a:pt x="2186" y="735"/>
                    <a:pt x="2191" y="729"/>
                    <a:pt x="2191" y="722"/>
                  </a:cubicBezTo>
                  <a:cubicBezTo>
                    <a:pt x="2191" y="715"/>
                    <a:pt x="2186" y="710"/>
                    <a:pt x="2179" y="710"/>
                  </a:cubicBezTo>
                  <a:cubicBezTo>
                    <a:pt x="2172" y="710"/>
                    <a:pt x="2166" y="715"/>
                    <a:pt x="2166" y="722"/>
                  </a:cubicBezTo>
                  <a:cubicBezTo>
                    <a:pt x="2166" y="729"/>
                    <a:pt x="2172" y="735"/>
                    <a:pt x="2179" y="735"/>
                  </a:cubicBezTo>
                  <a:close/>
                  <a:moveTo>
                    <a:pt x="2257" y="735"/>
                  </a:moveTo>
                  <a:cubicBezTo>
                    <a:pt x="2264" y="735"/>
                    <a:pt x="2270" y="729"/>
                    <a:pt x="2270" y="722"/>
                  </a:cubicBezTo>
                  <a:cubicBezTo>
                    <a:pt x="2270" y="715"/>
                    <a:pt x="2264" y="710"/>
                    <a:pt x="2257" y="710"/>
                  </a:cubicBezTo>
                  <a:cubicBezTo>
                    <a:pt x="2250" y="710"/>
                    <a:pt x="2245" y="715"/>
                    <a:pt x="2245" y="722"/>
                  </a:cubicBezTo>
                  <a:cubicBezTo>
                    <a:pt x="2245" y="729"/>
                    <a:pt x="2250" y="735"/>
                    <a:pt x="2257" y="735"/>
                  </a:cubicBezTo>
                  <a:close/>
                  <a:moveTo>
                    <a:pt x="2297" y="735"/>
                  </a:moveTo>
                  <a:cubicBezTo>
                    <a:pt x="2304" y="735"/>
                    <a:pt x="2310" y="729"/>
                    <a:pt x="2310" y="722"/>
                  </a:cubicBezTo>
                  <a:cubicBezTo>
                    <a:pt x="2310" y="715"/>
                    <a:pt x="2304" y="710"/>
                    <a:pt x="2297" y="710"/>
                  </a:cubicBezTo>
                  <a:cubicBezTo>
                    <a:pt x="2290" y="710"/>
                    <a:pt x="2284" y="715"/>
                    <a:pt x="2284" y="722"/>
                  </a:cubicBezTo>
                  <a:cubicBezTo>
                    <a:pt x="2284" y="729"/>
                    <a:pt x="2290" y="735"/>
                    <a:pt x="2297" y="735"/>
                  </a:cubicBezTo>
                  <a:close/>
                  <a:moveTo>
                    <a:pt x="2336" y="735"/>
                  </a:moveTo>
                  <a:cubicBezTo>
                    <a:pt x="2343" y="735"/>
                    <a:pt x="2349" y="729"/>
                    <a:pt x="2349" y="722"/>
                  </a:cubicBezTo>
                  <a:cubicBezTo>
                    <a:pt x="2349" y="715"/>
                    <a:pt x="2343" y="710"/>
                    <a:pt x="2336" y="710"/>
                  </a:cubicBezTo>
                  <a:cubicBezTo>
                    <a:pt x="2329" y="710"/>
                    <a:pt x="2323" y="715"/>
                    <a:pt x="2323" y="722"/>
                  </a:cubicBezTo>
                  <a:cubicBezTo>
                    <a:pt x="2323" y="729"/>
                    <a:pt x="2329" y="735"/>
                    <a:pt x="2336" y="735"/>
                  </a:cubicBezTo>
                  <a:close/>
                  <a:moveTo>
                    <a:pt x="2376" y="735"/>
                  </a:moveTo>
                  <a:cubicBezTo>
                    <a:pt x="2383" y="735"/>
                    <a:pt x="2388" y="729"/>
                    <a:pt x="2388" y="722"/>
                  </a:cubicBezTo>
                  <a:cubicBezTo>
                    <a:pt x="2388" y="715"/>
                    <a:pt x="2383" y="710"/>
                    <a:pt x="2376" y="710"/>
                  </a:cubicBezTo>
                  <a:cubicBezTo>
                    <a:pt x="2369" y="710"/>
                    <a:pt x="2363" y="715"/>
                    <a:pt x="2363" y="722"/>
                  </a:cubicBezTo>
                  <a:cubicBezTo>
                    <a:pt x="2363" y="729"/>
                    <a:pt x="2369" y="735"/>
                    <a:pt x="2376" y="735"/>
                  </a:cubicBezTo>
                  <a:close/>
                  <a:moveTo>
                    <a:pt x="2415" y="735"/>
                  </a:moveTo>
                  <a:cubicBezTo>
                    <a:pt x="2422" y="735"/>
                    <a:pt x="2428" y="729"/>
                    <a:pt x="2428" y="722"/>
                  </a:cubicBezTo>
                  <a:cubicBezTo>
                    <a:pt x="2428" y="715"/>
                    <a:pt x="2422" y="710"/>
                    <a:pt x="2415" y="710"/>
                  </a:cubicBezTo>
                  <a:cubicBezTo>
                    <a:pt x="2408" y="710"/>
                    <a:pt x="2402" y="715"/>
                    <a:pt x="2402" y="722"/>
                  </a:cubicBezTo>
                  <a:cubicBezTo>
                    <a:pt x="2402" y="729"/>
                    <a:pt x="2408" y="735"/>
                    <a:pt x="2415" y="735"/>
                  </a:cubicBezTo>
                  <a:close/>
                  <a:moveTo>
                    <a:pt x="2455" y="735"/>
                  </a:moveTo>
                  <a:cubicBezTo>
                    <a:pt x="2462" y="735"/>
                    <a:pt x="2467" y="729"/>
                    <a:pt x="2467" y="722"/>
                  </a:cubicBezTo>
                  <a:cubicBezTo>
                    <a:pt x="2467" y="715"/>
                    <a:pt x="2462" y="710"/>
                    <a:pt x="2455" y="710"/>
                  </a:cubicBezTo>
                  <a:cubicBezTo>
                    <a:pt x="2447" y="710"/>
                    <a:pt x="2442" y="715"/>
                    <a:pt x="2442" y="722"/>
                  </a:cubicBezTo>
                  <a:cubicBezTo>
                    <a:pt x="2442" y="729"/>
                    <a:pt x="2447" y="735"/>
                    <a:pt x="2455" y="735"/>
                  </a:cubicBezTo>
                  <a:close/>
                  <a:moveTo>
                    <a:pt x="2494" y="735"/>
                  </a:moveTo>
                  <a:cubicBezTo>
                    <a:pt x="2501" y="735"/>
                    <a:pt x="2507" y="729"/>
                    <a:pt x="2507" y="722"/>
                  </a:cubicBezTo>
                  <a:cubicBezTo>
                    <a:pt x="2507" y="715"/>
                    <a:pt x="2501" y="710"/>
                    <a:pt x="2494" y="710"/>
                  </a:cubicBezTo>
                  <a:cubicBezTo>
                    <a:pt x="2487" y="710"/>
                    <a:pt x="2481" y="715"/>
                    <a:pt x="2481" y="722"/>
                  </a:cubicBezTo>
                  <a:cubicBezTo>
                    <a:pt x="2481" y="729"/>
                    <a:pt x="2487" y="735"/>
                    <a:pt x="2494" y="735"/>
                  </a:cubicBezTo>
                  <a:close/>
                  <a:moveTo>
                    <a:pt x="2533" y="735"/>
                  </a:moveTo>
                  <a:cubicBezTo>
                    <a:pt x="2540" y="735"/>
                    <a:pt x="2546" y="729"/>
                    <a:pt x="2546" y="722"/>
                  </a:cubicBezTo>
                  <a:cubicBezTo>
                    <a:pt x="2546" y="715"/>
                    <a:pt x="2540" y="710"/>
                    <a:pt x="2533" y="710"/>
                  </a:cubicBezTo>
                  <a:cubicBezTo>
                    <a:pt x="2526" y="710"/>
                    <a:pt x="2521" y="715"/>
                    <a:pt x="2521" y="722"/>
                  </a:cubicBezTo>
                  <a:cubicBezTo>
                    <a:pt x="2521" y="729"/>
                    <a:pt x="2526" y="735"/>
                    <a:pt x="2533" y="735"/>
                  </a:cubicBezTo>
                  <a:close/>
                  <a:moveTo>
                    <a:pt x="2573" y="735"/>
                  </a:moveTo>
                  <a:cubicBezTo>
                    <a:pt x="2580" y="735"/>
                    <a:pt x="2586" y="729"/>
                    <a:pt x="2586" y="722"/>
                  </a:cubicBezTo>
                  <a:cubicBezTo>
                    <a:pt x="2586" y="715"/>
                    <a:pt x="2580" y="710"/>
                    <a:pt x="2573" y="710"/>
                  </a:cubicBezTo>
                  <a:cubicBezTo>
                    <a:pt x="2566" y="710"/>
                    <a:pt x="2560" y="715"/>
                    <a:pt x="2560" y="722"/>
                  </a:cubicBezTo>
                  <a:cubicBezTo>
                    <a:pt x="2560" y="729"/>
                    <a:pt x="2566" y="735"/>
                    <a:pt x="2573" y="735"/>
                  </a:cubicBezTo>
                  <a:close/>
                  <a:moveTo>
                    <a:pt x="2612" y="735"/>
                  </a:moveTo>
                  <a:cubicBezTo>
                    <a:pt x="2619" y="735"/>
                    <a:pt x="2625" y="729"/>
                    <a:pt x="2625" y="722"/>
                  </a:cubicBezTo>
                  <a:cubicBezTo>
                    <a:pt x="2625" y="715"/>
                    <a:pt x="2619" y="710"/>
                    <a:pt x="2612" y="710"/>
                  </a:cubicBezTo>
                  <a:cubicBezTo>
                    <a:pt x="2605" y="710"/>
                    <a:pt x="2599" y="715"/>
                    <a:pt x="2599" y="722"/>
                  </a:cubicBezTo>
                  <a:cubicBezTo>
                    <a:pt x="2599" y="729"/>
                    <a:pt x="2605" y="735"/>
                    <a:pt x="2612" y="735"/>
                  </a:cubicBezTo>
                  <a:close/>
                  <a:moveTo>
                    <a:pt x="2652" y="735"/>
                  </a:moveTo>
                  <a:cubicBezTo>
                    <a:pt x="2659" y="735"/>
                    <a:pt x="2664" y="729"/>
                    <a:pt x="2664" y="722"/>
                  </a:cubicBezTo>
                  <a:cubicBezTo>
                    <a:pt x="2664" y="715"/>
                    <a:pt x="2659" y="710"/>
                    <a:pt x="2652" y="710"/>
                  </a:cubicBezTo>
                  <a:cubicBezTo>
                    <a:pt x="2645" y="710"/>
                    <a:pt x="2639" y="715"/>
                    <a:pt x="2639" y="722"/>
                  </a:cubicBezTo>
                  <a:cubicBezTo>
                    <a:pt x="2639" y="729"/>
                    <a:pt x="2645" y="735"/>
                    <a:pt x="2652" y="735"/>
                  </a:cubicBezTo>
                  <a:close/>
                  <a:moveTo>
                    <a:pt x="2691" y="735"/>
                  </a:moveTo>
                  <a:cubicBezTo>
                    <a:pt x="2698" y="735"/>
                    <a:pt x="2704" y="729"/>
                    <a:pt x="2704" y="722"/>
                  </a:cubicBezTo>
                  <a:cubicBezTo>
                    <a:pt x="2704" y="715"/>
                    <a:pt x="2698" y="710"/>
                    <a:pt x="2691" y="710"/>
                  </a:cubicBezTo>
                  <a:cubicBezTo>
                    <a:pt x="2684" y="710"/>
                    <a:pt x="2678" y="715"/>
                    <a:pt x="2678" y="722"/>
                  </a:cubicBezTo>
                  <a:cubicBezTo>
                    <a:pt x="2678" y="729"/>
                    <a:pt x="2684" y="735"/>
                    <a:pt x="2691" y="735"/>
                  </a:cubicBezTo>
                  <a:close/>
                  <a:moveTo>
                    <a:pt x="2730" y="735"/>
                  </a:moveTo>
                  <a:cubicBezTo>
                    <a:pt x="2738" y="735"/>
                    <a:pt x="2743" y="729"/>
                    <a:pt x="2743" y="722"/>
                  </a:cubicBezTo>
                  <a:cubicBezTo>
                    <a:pt x="2743" y="715"/>
                    <a:pt x="2738" y="710"/>
                    <a:pt x="2730" y="710"/>
                  </a:cubicBezTo>
                  <a:cubicBezTo>
                    <a:pt x="2723" y="710"/>
                    <a:pt x="2718" y="715"/>
                    <a:pt x="2718" y="722"/>
                  </a:cubicBezTo>
                  <a:cubicBezTo>
                    <a:pt x="2718" y="729"/>
                    <a:pt x="2723" y="735"/>
                    <a:pt x="2730" y="735"/>
                  </a:cubicBezTo>
                  <a:close/>
                  <a:moveTo>
                    <a:pt x="2770" y="735"/>
                  </a:moveTo>
                  <a:cubicBezTo>
                    <a:pt x="2777" y="735"/>
                    <a:pt x="2783" y="729"/>
                    <a:pt x="2783" y="722"/>
                  </a:cubicBezTo>
                  <a:cubicBezTo>
                    <a:pt x="2783" y="715"/>
                    <a:pt x="2777" y="710"/>
                    <a:pt x="2770" y="710"/>
                  </a:cubicBezTo>
                  <a:cubicBezTo>
                    <a:pt x="2763" y="710"/>
                    <a:pt x="2757" y="715"/>
                    <a:pt x="2757" y="722"/>
                  </a:cubicBezTo>
                  <a:cubicBezTo>
                    <a:pt x="2757" y="729"/>
                    <a:pt x="2763" y="735"/>
                    <a:pt x="2770" y="735"/>
                  </a:cubicBezTo>
                  <a:close/>
                  <a:moveTo>
                    <a:pt x="2809" y="735"/>
                  </a:moveTo>
                  <a:cubicBezTo>
                    <a:pt x="2816" y="735"/>
                    <a:pt x="2822" y="729"/>
                    <a:pt x="2822" y="722"/>
                  </a:cubicBezTo>
                  <a:cubicBezTo>
                    <a:pt x="2822" y="715"/>
                    <a:pt x="2816" y="710"/>
                    <a:pt x="2809" y="710"/>
                  </a:cubicBezTo>
                  <a:cubicBezTo>
                    <a:pt x="2802" y="710"/>
                    <a:pt x="2797" y="715"/>
                    <a:pt x="2797" y="722"/>
                  </a:cubicBezTo>
                  <a:cubicBezTo>
                    <a:pt x="2797" y="729"/>
                    <a:pt x="2802" y="735"/>
                    <a:pt x="2809" y="735"/>
                  </a:cubicBezTo>
                  <a:close/>
                  <a:moveTo>
                    <a:pt x="2849" y="735"/>
                  </a:moveTo>
                  <a:cubicBezTo>
                    <a:pt x="2856" y="735"/>
                    <a:pt x="2862" y="729"/>
                    <a:pt x="2862" y="722"/>
                  </a:cubicBezTo>
                  <a:cubicBezTo>
                    <a:pt x="2862" y="715"/>
                    <a:pt x="2856" y="710"/>
                    <a:pt x="2849" y="710"/>
                  </a:cubicBezTo>
                  <a:cubicBezTo>
                    <a:pt x="2842" y="710"/>
                    <a:pt x="2836" y="715"/>
                    <a:pt x="2836" y="722"/>
                  </a:cubicBezTo>
                  <a:cubicBezTo>
                    <a:pt x="2836" y="729"/>
                    <a:pt x="2842" y="735"/>
                    <a:pt x="2849" y="735"/>
                  </a:cubicBezTo>
                  <a:close/>
                  <a:moveTo>
                    <a:pt x="2888" y="735"/>
                  </a:moveTo>
                  <a:cubicBezTo>
                    <a:pt x="2895" y="735"/>
                    <a:pt x="2901" y="729"/>
                    <a:pt x="2901" y="722"/>
                  </a:cubicBezTo>
                  <a:cubicBezTo>
                    <a:pt x="2901" y="715"/>
                    <a:pt x="2895" y="710"/>
                    <a:pt x="2888" y="710"/>
                  </a:cubicBezTo>
                  <a:cubicBezTo>
                    <a:pt x="2881" y="710"/>
                    <a:pt x="2875" y="715"/>
                    <a:pt x="2875" y="722"/>
                  </a:cubicBezTo>
                  <a:cubicBezTo>
                    <a:pt x="2875" y="729"/>
                    <a:pt x="2881" y="735"/>
                    <a:pt x="2888" y="735"/>
                  </a:cubicBezTo>
                  <a:close/>
                  <a:moveTo>
                    <a:pt x="2967" y="735"/>
                  </a:moveTo>
                  <a:cubicBezTo>
                    <a:pt x="2974" y="735"/>
                    <a:pt x="2980" y="729"/>
                    <a:pt x="2980" y="722"/>
                  </a:cubicBezTo>
                  <a:cubicBezTo>
                    <a:pt x="2980" y="715"/>
                    <a:pt x="2974" y="710"/>
                    <a:pt x="2967" y="710"/>
                  </a:cubicBezTo>
                  <a:cubicBezTo>
                    <a:pt x="2960" y="710"/>
                    <a:pt x="2954" y="715"/>
                    <a:pt x="2954" y="722"/>
                  </a:cubicBezTo>
                  <a:cubicBezTo>
                    <a:pt x="2954" y="729"/>
                    <a:pt x="2960" y="735"/>
                    <a:pt x="2967" y="735"/>
                  </a:cubicBezTo>
                  <a:close/>
                  <a:moveTo>
                    <a:pt x="3125" y="735"/>
                  </a:moveTo>
                  <a:cubicBezTo>
                    <a:pt x="3132" y="735"/>
                    <a:pt x="3137" y="729"/>
                    <a:pt x="3137" y="722"/>
                  </a:cubicBezTo>
                  <a:cubicBezTo>
                    <a:pt x="3137" y="715"/>
                    <a:pt x="3132" y="710"/>
                    <a:pt x="3125" y="710"/>
                  </a:cubicBezTo>
                  <a:cubicBezTo>
                    <a:pt x="3118" y="710"/>
                    <a:pt x="3112" y="715"/>
                    <a:pt x="3112" y="722"/>
                  </a:cubicBezTo>
                  <a:cubicBezTo>
                    <a:pt x="3112" y="729"/>
                    <a:pt x="3118" y="735"/>
                    <a:pt x="3125" y="735"/>
                  </a:cubicBezTo>
                  <a:close/>
                  <a:moveTo>
                    <a:pt x="483" y="749"/>
                  </a:moveTo>
                  <a:cubicBezTo>
                    <a:pt x="476" y="749"/>
                    <a:pt x="471" y="755"/>
                    <a:pt x="471" y="762"/>
                  </a:cubicBezTo>
                  <a:cubicBezTo>
                    <a:pt x="471" y="769"/>
                    <a:pt x="476" y="774"/>
                    <a:pt x="483" y="774"/>
                  </a:cubicBezTo>
                  <a:cubicBezTo>
                    <a:pt x="490" y="774"/>
                    <a:pt x="496" y="769"/>
                    <a:pt x="496" y="762"/>
                  </a:cubicBezTo>
                  <a:cubicBezTo>
                    <a:pt x="496" y="755"/>
                    <a:pt x="490" y="749"/>
                    <a:pt x="483" y="749"/>
                  </a:cubicBezTo>
                  <a:close/>
                  <a:moveTo>
                    <a:pt x="523" y="774"/>
                  </a:moveTo>
                  <a:cubicBezTo>
                    <a:pt x="530" y="774"/>
                    <a:pt x="535" y="769"/>
                    <a:pt x="535" y="762"/>
                  </a:cubicBezTo>
                  <a:cubicBezTo>
                    <a:pt x="535" y="755"/>
                    <a:pt x="530" y="749"/>
                    <a:pt x="523" y="749"/>
                  </a:cubicBezTo>
                  <a:cubicBezTo>
                    <a:pt x="516" y="749"/>
                    <a:pt x="510" y="755"/>
                    <a:pt x="510" y="762"/>
                  </a:cubicBezTo>
                  <a:cubicBezTo>
                    <a:pt x="510" y="769"/>
                    <a:pt x="516" y="774"/>
                    <a:pt x="523" y="774"/>
                  </a:cubicBezTo>
                  <a:close/>
                  <a:moveTo>
                    <a:pt x="562" y="774"/>
                  </a:moveTo>
                  <a:cubicBezTo>
                    <a:pt x="569" y="774"/>
                    <a:pt x="575" y="769"/>
                    <a:pt x="575" y="762"/>
                  </a:cubicBezTo>
                  <a:cubicBezTo>
                    <a:pt x="575" y="755"/>
                    <a:pt x="569" y="749"/>
                    <a:pt x="562" y="749"/>
                  </a:cubicBezTo>
                  <a:cubicBezTo>
                    <a:pt x="555" y="749"/>
                    <a:pt x="549" y="755"/>
                    <a:pt x="549" y="762"/>
                  </a:cubicBezTo>
                  <a:cubicBezTo>
                    <a:pt x="549" y="769"/>
                    <a:pt x="555" y="774"/>
                    <a:pt x="562" y="774"/>
                  </a:cubicBezTo>
                  <a:close/>
                  <a:moveTo>
                    <a:pt x="602" y="774"/>
                  </a:moveTo>
                  <a:cubicBezTo>
                    <a:pt x="609" y="774"/>
                    <a:pt x="614" y="769"/>
                    <a:pt x="614" y="762"/>
                  </a:cubicBezTo>
                  <a:cubicBezTo>
                    <a:pt x="614" y="755"/>
                    <a:pt x="609" y="749"/>
                    <a:pt x="602" y="749"/>
                  </a:cubicBezTo>
                  <a:cubicBezTo>
                    <a:pt x="595" y="749"/>
                    <a:pt x="589" y="755"/>
                    <a:pt x="589" y="762"/>
                  </a:cubicBezTo>
                  <a:cubicBezTo>
                    <a:pt x="589" y="769"/>
                    <a:pt x="595" y="774"/>
                    <a:pt x="602" y="774"/>
                  </a:cubicBezTo>
                  <a:close/>
                  <a:moveTo>
                    <a:pt x="641" y="774"/>
                  </a:moveTo>
                  <a:cubicBezTo>
                    <a:pt x="648" y="774"/>
                    <a:pt x="654" y="769"/>
                    <a:pt x="654" y="762"/>
                  </a:cubicBezTo>
                  <a:cubicBezTo>
                    <a:pt x="654" y="755"/>
                    <a:pt x="648" y="749"/>
                    <a:pt x="641" y="749"/>
                  </a:cubicBezTo>
                  <a:cubicBezTo>
                    <a:pt x="634" y="749"/>
                    <a:pt x="628" y="755"/>
                    <a:pt x="628" y="762"/>
                  </a:cubicBezTo>
                  <a:cubicBezTo>
                    <a:pt x="628" y="769"/>
                    <a:pt x="634" y="774"/>
                    <a:pt x="641" y="774"/>
                  </a:cubicBezTo>
                  <a:close/>
                  <a:moveTo>
                    <a:pt x="680" y="774"/>
                  </a:moveTo>
                  <a:cubicBezTo>
                    <a:pt x="687" y="774"/>
                    <a:pt x="693" y="769"/>
                    <a:pt x="693" y="762"/>
                  </a:cubicBezTo>
                  <a:cubicBezTo>
                    <a:pt x="693" y="755"/>
                    <a:pt x="687" y="749"/>
                    <a:pt x="680" y="749"/>
                  </a:cubicBezTo>
                  <a:cubicBezTo>
                    <a:pt x="673" y="749"/>
                    <a:pt x="668" y="755"/>
                    <a:pt x="668" y="762"/>
                  </a:cubicBezTo>
                  <a:cubicBezTo>
                    <a:pt x="668" y="769"/>
                    <a:pt x="673" y="774"/>
                    <a:pt x="680" y="774"/>
                  </a:cubicBezTo>
                  <a:close/>
                  <a:moveTo>
                    <a:pt x="720" y="774"/>
                  </a:moveTo>
                  <a:cubicBezTo>
                    <a:pt x="727" y="774"/>
                    <a:pt x="733" y="769"/>
                    <a:pt x="733" y="762"/>
                  </a:cubicBezTo>
                  <a:cubicBezTo>
                    <a:pt x="733" y="755"/>
                    <a:pt x="727" y="749"/>
                    <a:pt x="720" y="749"/>
                  </a:cubicBezTo>
                  <a:cubicBezTo>
                    <a:pt x="713" y="749"/>
                    <a:pt x="707" y="755"/>
                    <a:pt x="707" y="762"/>
                  </a:cubicBezTo>
                  <a:cubicBezTo>
                    <a:pt x="707" y="769"/>
                    <a:pt x="713" y="774"/>
                    <a:pt x="720" y="774"/>
                  </a:cubicBezTo>
                  <a:close/>
                  <a:moveTo>
                    <a:pt x="759" y="774"/>
                  </a:moveTo>
                  <a:cubicBezTo>
                    <a:pt x="766" y="774"/>
                    <a:pt x="772" y="769"/>
                    <a:pt x="772" y="762"/>
                  </a:cubicBezTo>
                  <a:cubicBezTo>
                    <a:pt x="772" y="755"/>
                    <a:pt x="766" y="749"/>
                    <a:pt x="759" y="749"/>
                  </a:cubicBezTo>
                  <a:cubicBezTo>
                    <a:pt x="752" y="749"/>
                    <a:pt x="747" y="755"/>
                    <a:pt x="747" y="762"/>
                  </a:cubicBezTo>
                  <a:cubicBezTo>
                    <a:pt x="747" y="769"/>
                    <a:pt x="752" y="774"/>
                    <a:pt x="759" y="774"/>
                  </a:cubicBezTo>
                  <a:close/>
                  <a:moveTo>
                    <a:pt x="799" y="774"/>
                  </a:moveTo>
                  <a:cubicBezTo>
                    <a:pt x="806" y="774"/>
                    <a:pt x="811" y="769"/>
                    <a:pt x="811" y="762"/>
                  </a:cubicBezTo>
                  <a:cubicBezTo>
                    <a:pt x="811" y="755"/>
                    <a:pt x="806" y="749"/>
                    <a:pt x="799" y="749"/>
                  </a:cubicBezTo>
                  <a:cubicBezTo>
                    <a:pt x="792" y="749"/>
                    <a:pt x="786" y="755"/>
                    <a:pt x="786" y="762"/>
                  </a:cubicBezTo>
                  <a:cubicBezTo>
                    <a:pt x="786" y="769"/>
                    <a:pt x="792" y="774"/>
                    <a:pt x="799" y="774"/>
                  </a:cubicBezTo>
                  <a:close/>
                  <a:moveTo>
                    <a:pt x="838" y="774"/>
                  </a:moveTo>
                  <a:cubicBezTo>
                    <a:pt x="845" y="774"/>
                    <a:pt x="851" y="769"/>
                    <a:pt x="851" y="762"/>
                  </a:cubicBezTo>
                  <a:cubicBezTo>
                    <a:pt x="851" y="755"/>
                    <a:pt x="845" y="749"/>
                    <a:pt x="838" y="749"/>
                  </a:cubicBezTo>
                  <a:cubicBezTo>
                    <a:pt x="831" y="749"/>
                    <a:pt x="825" y="755"/>
                    <a:pt x="825" y="762"/>
                  </a:cubicBezTo>
                  <a:cubicBezTo>
                    <a:pt x="825" y="769"/>
                    <a:pt x="831" y="774"/>
                    <a:pt x="838" y="774"/>
                  </a:cubicBezTo>
                  <a:close/>
                  <a:moveTo>
                    <a:pt x="878" y="774"/>
                  </a:moveTo>
                  <a:cubicBezTo>
                    <a:pt x="885" y="774"/>
                    <a:pt x="890" y="769"/>
                    <a:pt x="890" y="762"/>
                  </a:cubicBezTo>
                  <a:cubicBezTo>
                    <a:pt x="890" y="755"/>
                    <a:pt x="885" y="749"/>
                    <a:pt x="878" y="749"/>
                  </a:cubicBezTo>
                  <a:cubicBezTo>
                    <a:pt x="871" y="749"/>
                    <a:pt x="865" y="755"/>
                    <a:pt x="865" y="762"/>
                  </a:cubicBezTo>
                  <a:cubicBezTo>
                    <a:pt x="865" y="769"/>
                    <a:pt x="871" y="774"/>
                    <a:pt x="878" y="774"/>
                  </a:cubicBezTo>
                  <a:close/>
                  <a:moveTo>
                    <a:pt x="930" y="762"/>
                  </a:moveTo>
                  <a:cubicBezTo>
                    <a:pt x="930" y="755"/>
                    <a:pt x="924" y="749"/>
                    <a:pt x="917" y="749"/>
                  </a:cubicBezTo>
                  <a:cubicBezTo>
                    <a:pt x="910" y="749"/>
                    <a:pt x="904" y="755"/>
                    <a:pt x="904" y="762"/>
                  </a:cubicBezTo>
                  <a:cubicBezTo>
                    <a:pt x="904" y="769"/>
                    <a:pt x="910" y="774"/>
                    <a:pt x="917" y="774"/>
                  </a:cubicBezTo>
                  <a:cubicBezTo>
                    <a:pt x="924" y="774"/>
                    <a:pt x="930" y="769"/>
                    <a:pt x="930" y="762"/>
                  </a:cubicBezTo>
                  <a:close/>
                  <a:moveTo>
                    <a:pt x="1666" y="774"/>
                  </a:moveTo>
                  <a:cubicBezTo>
                    <a:pt x="1673" y="774"/>
                    <a:pt x="1679" y="769"/>
                    <a:pt x="1679" y="762"/>
                  </a:cubicBezTo>
                  <a:cubicBezTo>
                    <a:pt x="1679" y="755"/>
                    <a:pt x="1673" y="749"/>
                    <a:pt x="1666" y="749"/>
                  </a:cubicBezTo>
                  <a:cubicBezTo>
                    <a:pt x="1659" y="749"/>
                    <a:pt x="1653" y="755"/>
                    <a:pt x="1653" y="762"/>
                  </a:cubicBezTo>
                  <a:cubicBezTo>
                    <a:pt x="1653" y="769"/>
                    <a:pt x="1659" y="774"/>
                    <a:pt x="1666" y="774"/>
                  </a:cubicBezTo>
                  <a:close/>
                  <a:moveTo>
                    <a:pt x="1705" y="774"/>
                  </a:moveTo>
                  <a:cubicBezTo>
                    <a:pt x="1713" y="774"/>
                    <a:pt x="1718" y="769"/>
                    <a:pt x="1718" y="762"/>
                  </a:cubicBezTo>
                  <a:cubicBezTo>
                    <a:pt x="1718" y="755"/>
                    <a:pt x="1713" y="749"/>
                    <a:pt x="1705" y="749"/>
                  </a:cubicBezTo>
                  <a:cubicBezTo>
                    <a:pt x="1698" y="749"/>
                    <a:pt x="1693" y="755"/>
                    <a:pt x="1693" y="762"/>
                  </a:cubicBezTo>
                  <a:cubicBezTo>
                    <a:pt x="1693" y="769"/>
                    <a:pt x="1698" y="774"/>
                    <a:pt x="1705" y="774"/>
                  </a:cubicBezTo>
                  <a:close/>
                  <a:moveTo>
                    <a:pt x="1745" y="774"/>
                  </a:moveTo>
                  <a:cubicBezTo>
                    <a:pt x="1752" y="774"/>
                    <a:pt x="1758" y="769"/>
                    <a:pt x="1758" y="762"/>
                  </a:cubicBezTo>
                  <a:cubicBezTo>
                    <a:pt x="1758" y="755"/>
                    <a:pt x="1752" y="749"/>
                    <a:pt x="1745" y="749"/>
                  </a:cubicBezTo>
                  <a:cubicBezTo>
                    <a:pt x="1738" y="749"/>
                    <a:pt x="1732" y="755"/>
                    <a:pt x="1732" y="762"/>
                  </a:cubicBezTo>
                  <a:cubicBezTo>
                    <a:pt x="1732" y="769"/>
                    <a:pt x="1738" y="774"/>
                    <a:pt x="1745" y="774"/>
                  </a:cubicBezTo>
                  <a:close/>
                  <a:moveTo>
                    <a:pt x="1784" y="774"/>
                  </a:moveTo>
                  <a:cubicBezTo>
                    <a:pt x="1791" y="774"/>
                    <a:pt x="1797" y="769"/>
                    <a:pt x="1797" y="762"/>
                  </a:cubicBezTo>
                  <a:cubicBezTo>
                    <a:pt x="1797" y="755"/>
                    <a:pt x="1791" y="749"/>
                    <a:pt x="1784" y="749"/>
                  </a:cubicBezTo>
                  <a:cubicBezTo>
                    <a:pt x="1777" y="749"/>
                    <a:pt x="1772" y="755"/>
                    <a:pt x="1772" y="762"/>
                  </a:cubicBezTo>
                  <a:cubicBezTo>
                    <a:pt x="1772" y="769"/>
                    <a:pt x="1777" y="774"/>
                    <a:pt x="1784" y="774"/>
                  </a:cubicBezTo>
                  <a:close/>
                  <a:moveTo>
                    <a:pt x="2060" y="752"/>
                  </a:moveTo>
                  <a:cubicBezTo>
                    <a:pt x="2055" y="752"/>
                    <a:pt x="2051" y="757"/>
                    <a:pt x="2051" y="762"/>
                  </a:cubicBezTo>
                  <a:cubicBezTo>
                    <a:pt x="2051" y="767"/>
                    <a:pt x="2055" y="771"/>
                    <a:pt x="2060" y="771"/>
                  </a:cubicBezTo>
                  <a:cubicBezTo>
                    <a:pt x="2065" y="771"/>
                    <a:pt x="2070" y="767"/>
                    <a:pt x="2070" y="762"/>
                  </a:cubicBezTo>
                  <a:cubicBezTo>
                    <a:pt x="2070" y="757"/>
                    <a:pt x="2065" y="752"/>
                    <a:pt x="2060" y="752"/>
                  </a:cubicBezTo>
                  <a:close/>
                  <a:moveTo>
                    <a:pt x="2100" y="774"/>
                  </a:moveTo>
                  <a:cubicBezTo>
                    <a:pt x="2107" y="774"/>
                    <a:pt x="2112" y="769"/>
                    <a:pt x="2112" y="762"/>
                  </a:cubicBezTo>
                  <a:cubicBezTo>
                    <a:pt x="2112" y="755"/>
                    <a:pt x="2107" y="749"/>
                    <a:pt x="2100" y="749"/>
                  </a:cubicBezTo>
                  <a:cubicBezTo>
                    <a:pt x="2093" y="749"/>
                    <a:pt x="2087" y="755"/>
                    <a:pt x="2087" y="762"/>
                  </a:cubicBezTo>
                  <a:cubicBezTo>
                    <a:pt x="2087" y="769"/>
                    <a:pt x="2093" y="774"/>
                    <a:pt x="2100" y="774"/>
                  </a:cubicBezTo>
                  <a:close/>
                  <a:moveTo>
                    <a:pt x="2139" y="774"/>
                  </a:moveTo>
                  <a:cubicBezTo>
                    <a:pt x="2146" y="774"/>
                    <a:pt x="2152" y="769"/>
                    <a:pt x="2152" y="762"/>
                  </a:cubicBezTo>
                  <a:cubicBezTo>
                    <a:pt x="2152" y="755"/>
                    <a:pt x="2146" y="749"/>
                    <a:pt x="2139" y="749"/>
                  </a:cubicBezTo>
                  <a:cubicBezTo>
                    <a:pt x="2132" y="749"/>
                    <a:pt x="2126" y="755"/>
                    <a:pt x="2126" y="762"/>
                  </a:cubicBezTo>
                  <a:cubicBezTo>
                    <a:pt x="2126" y="769"/>
                    <a:pt x="2132" y="774"/>
                    <a:pt x="2139" y="774"/>
                  </a:cubicBezTo>
                  <a:close/>
                  <a:moveTo>
                    <a:pt x="2179" y="774"/>
                  </a:moveTo>
                  <a:cubicBezTo>
                    <a:pt x="2186" y="774"/>
                    <a:pt x="2191" y="769"/>
                    <a:pt x="2191" y="762"/>
                  </a:cubicBezTo>
                  <a:cubicBezTo>
                    <a:pt x="2191" y="755"/>
                    <a:pt x="2186" y="749"/>
                    <a:pt x="2179" y="749"/>
                  </a:cubicBezTo>
                  <a:cubicBezTo>
                    <a:pt x="2172" y="749"/>
                    <a:pt x="2166" y="755"/>
                    <a:pt x="2166" y="762"/>
                  </a:cubicBezTo>
                  <a:cubicBezTo>
                    <a:pt x="2166" y="769"/>
                    <a:pt x="2172" y="774"/>
                    <a:pt x="2179" y="774"/>
                  </a:cubicBezTo>
                  <a:close/>
                  <a:moveTo>
                    <a:pt x="2218" y="774"/>
                  </a:moveTo>
                  <a:cubicBezTo>
                    <a:pt x="2225" y="774"/>
                    <a:pt x="2231" y="769"/>
                    <a:pt x="2231" y="762"/>
                  </a:cubicBezTo>
                  <a:cubicBezTo>
                    <a:pt x="2231" y="755"/>
                    <a:pt x="2225" y="749"/>
                    <a:pt x="2218" y="749"/>
                  </a:cubicBezTo>
                  <a:cubicBezTo>
                    <a:pt x="2211" y="749"/>
                    <a:pt x="2205" y="755"/>
                    <a:pt x="2205" y="762"/>
                  </a:cubicBezTo>
                  <a:cubicBezTo>
                    <a:pt x="2205" y="769"/>
                    <a:pt x="2211" y="774"/>
                    <a:pt x="2218" y="774"/>
                  </a:cubicBezTo>
                  <a:close/>
                  <a:moveTo>
                    <a:pt x="2257" y="774"/>
                  </a:moveTo>
                  <a:cubicBezTo>
                    <a:pt x="2264" y="774"/>
                    <a:pt x="2270" y="769"/>
                    <a:pt x="2270" y="762"/>
                  </a:cubicBezTo>
                  <a:cubicBezTo>
                    <a:pt x="2270" y="755"/>
                    <a:pt x="2264" y="749"/>
                    <a:pt x="2257" y="749"/>
                  </a:cubicBezTo>
                  <a:cubicBezTo>
                    <a:pt x="2250" y="749"/>
                    <a:pt x="2245" y="755"/>
                    <a:pt x="2245" y="762"/>
                  </a:cubicBezTo>
                  <a:cubicBezTo>
                    <a:pt x="2245" y="769"/>
                    <a:pt x="2250" y="774"/>
                    <a:pt x="2257" y="774"/>
                  </a:cubicBezTo>
                  <a:close/>
                  <a:moveTo>
                    <a:pt x="2297" y="774"/>
                  </a:moveTo>
                  <a:cubicBezTo>
                    <a:pt x="2304" y="774"/>
                    <a:pt x="2310" y="769"/>
                    <a:pt x="2310" y="762"/>
                  </a:cubicBezTo>
                  <a:cubicBezTo>
                    <a:pt x="2310" y="755"/>
                    <a:pt x="2304" y="749"/>
                    <a:pt x="2297" y="749"/>
                  </a:cubicBezTo>
                  <a:cubicBezTo>
                    <a:pt x="2290" y="749"/>
                    <a:pt x="2284" y="755"/>
                    <a:pt x="2284" y="762"/>
                  </a:cubicBezTo>
                  <a:cubicBezTo>
                    <a:pt x="2284" y="769"/>
                    <a:pt x="2290" y="774"/>
                    <a:pt x="2297" y="774"/>
                  </a:cubicBezTo>
                  <a:close/>
                  <a:moveTo>
                    <a:pt x="2336" y="774"/>
                  </a:moveTo>
                  <a:cubicBezTo>
                    <a:pt x="2343" y="774"/>
                    <a:pt x="2349" y="769"/>
                    <a:pt x="2349" y="762"/>
                  </a:cubicBezTo>
                  <a:cubicBezTo>
                    <a:pt x="2349" y="755"/>
                    <a:pt x="2343" y="749"/>
                    <a:pt x="2336" y="749"/>
                  </a:cubicBezTo>
                  <a:cubicBezTo>
                    <a:pt x="2329" y="749"/>
                    <a:pt x="2323" y="755"/>
                    <a:pt x="2323" y="762"/>
                  </a:cubicBezTo>
                  <a:cubicBezTo>
                    <a:pt x="2323" y="769"/>
                    <a:pt x="2329" y="774"/>
                    <a:pt x="2336" y="774"/>
                  </a:cubicBezTo>
                  <a:close/>
                  <a:moveTo>
                    <a:pt x="2376" y="774"/>
                  </a:moveTo>
                  <a:cubicBezTo>
                    <a:pt x="2383" y="774"/>
                    <a:pt x="2388" y="769"/>
                    <a:pt x="2388" y="762"/>
                  </a:cubicBezTo>
                  <a:cubicBezTo>
                    <a:pt x="2388" y="755"/>
                    <a:pt x="2383" y="749"/>
                    <a:pt x="2376" y="749"/>
                  </a:cubicBezTo>
                  <a:cubicBezTo>
                    <a:pt x="2369" y="749"/>
                    <a:pt x="2363" y="755"/>
                    <a:pt x="2363" y="762"/>
                  </a:cubicBezTo>
                  <a:cubicBezTo>
                    <a:pt x="2363" y="769"/>
                    <a:pt x="2369" y="774"/>
                    <a:pt x="2376" y="774"/>
                  </a:cubicBezTo>
                  <a:close/>
                  <a:moveTo>
                    <a:pt x="2415" y="774"/>
                  </a:moveTo>
                  <a:cubicBezTo>
                    <a:pt x="2422" y="774"/>
                    <a:pt x="2428" y="769"/>
                    <a:pt x="2428" y="762"/>
                  </a:cubicBezTo>
                  <a:cubicBezTo>
                    <a:pt x="2428" y="755"/>
                    <a:pt x="2422" y="749"/>
                    <a:pt x="2415" y="749"/>
                  </a:cubicBezTo>
                  <a:cubicBezTo>
                    <a:pt x="2408" y="749"/>
                    <a:pt x="2402" y="755"/>
                    <a:pt x="2402" y="762"/>
                  </a:cubicBezTo>
                  <a:cubicBezTo>
                    <a:pt x="2402" y="769"/>
                    <a:pt x="2408" y="774"/>
                    <a:pt x="2415" y="774"/>
                  </a:cubicBezTo>
                  <a:close/>
                  <a:moveTo>
                    <a:pt x="2455" y="774"/>
                  </a:moveTo>
                  <a:cubicBezTo>
                    <a:pt x="2462" y="774"/>
                    <a:pt x="2467" y="769"/>
                    <a:pt x="2467" y="762"/>
                  </a:cubicBezTo>
                  <a:cubicBezTo>
                    <a:pt x="2467" y="755"/>
                    <a:pt x="2462" y="749"/>
                    <a:pt x="2455" y="749"/>
                  </a:cubicBezTo>
                  <a:cubicBezTo>
                    <a:pt x="2447" y="749"/>
                    <a:pt x="2442" y="755"/>
                    <a:pt x="2442" y="762"/>
                  </a:cubicBezTo>
                  <a:cubicBezTo>
                    <a:pt x="2442" y="769"/>
                    <a:pt x="2447" y="774"/>
                    <a:pt x="2455" y="774"/>
                  </a:cubicBezTo>
                  <a:close/>
                  <a:moveTo>
                    <a:pt x="2494" y="774"/>
                  </a:moveTo>
                  <a:cubicBezTo>
                    <a:pt x="2501" y="774"/>
                    <a:pt x="2507" y="769"/>
                    <a:pt x="2507" y="762"/>
                  </a:cubicBezTo>
                  <a:cubicBezTo>
                    <a:pt x="2507" y="755"/>
                    <a:pt x="2501" y="749"/>
                    <a:pt x="2494" y="749"/>
                  </a:cubicBezTo>
                  <a:cubicBezTo>
                    <a:pt x="2487" y="749"/>
                    <a:pt x="2481" y="755"/>
                    <a:pt x="2481" y="762"/>
                  </a:cubicBezTo>
                  <a:cubicBezTo>
                    <a:pt x="2481" y="769"/>
                    <a:pt x="2487" y="774"/>
                    <a:pt x="2494" y="774"/>
                  </a:cubicBezTo>
                  <a:close/>
                  <a:moveTo>
                    <a:pt x="2533" y="774"/>
                  </a:moveTo>
                  <a:cubicBezTo>
                    <a:pt x="2540" y="774"/>
                    <a:pt x="2546" y="769"/>
                    <a:pt x="2546" y="762"/>
                  </a:cubicBezTo>
                  <a:cubicBezTo>
                    <a:pt x="2546" y="755"/>
                    <a:pt x="2540" y="749"/>
                    <a:pt x="2533" y="749"/>
                  </a:cubicBezTo>
                  <a:cubicBezTo>
                    <a:pt x="2526" y="749"/>
                    <a:pt x="2521" y="755"/>
                    <a:pt x="2521" y="762"/>
                  </a:cubicBezTo>
                  <a:cubicBezTo>
                    <a:pt x="2521" y="769"/>
                    <a:pt x="2526" y="774"/>
                    <a:pt x="2533" y="774"/>
                  </a:cubicBezTo>
                  <a:close/>
                  <a:moveTo>
                    <a:pt x="2573" y="774"/>
                  </a:moveTo>
                  <a:cubicBezTo>
                    <a:pt x="2580" y="774"/>
                    <a:pt x="2586" y="769"/>
                    <a:pt x="2586" y="762"/>
                  </a:cubicBezTo>
                  <a:cubicBezTo>
                    <a:pt x="2586" y="755"/>
                    <a:pt x="2580" y="749"/>
                    <a:pt x="2573" y="749"/>
                  </a:cubicBezTo>
                  <a:cubicBezTo>
                    <a:pt x="2566" y="749"/>
                    <a:pt x="2560" y="755"/>
                    <a:pt x="2560" y="762"/>
                  </a:cubicBezTo>
                  <a:cubicBezTo>
                    <a:pt x="2560" y="769"/>
                    <a:pt x="2566" y="774"/>
                    <a:pt x="2573" y="774"/>
                  </a:cubicBezTo>
                  <a:close/>
                  <a:moveTo>
                    <a:pt x="2612" y="774"/>
                  </a:moveTo>
                  <a:cubicBezTo>
                    <a:pt x="2619" y="774"/>
                    <a:pt x="2625" y="769"/>
                    <a:pt x="2625" y="762"/>
                  </a:cubicBezTo>
                  <a:cubicBezTo>
                    <a:pt x="2625" y="755"/>
                    <a:pt x="2619" y="749"/>
                    <a:pt x="2612" y="749"/>
                  </a:cubicBezTo>
                  <a:cubicBezTo>
                    <a:pt x="2605" y="749"/>
                    <a:pt x="2599" y="755"/>
                    <a:pt x="2599" y="762"/>
                  </a:cubicBezTo>
                  <a:cubicBezTo>
                    <a:pt x="2599" y="769"/>
                    <a:pt x="2605" y="774"/>
                    <a:pt x="2612" y="774"/>
                  </a:cubicBezTo>
                  <a:close/>
                  <a:moveTo>
                    <a:pt x="2652" y="774"/>
                  </a:moveTo>
                  <a:cubicBezTo>
                    <a:pt x="2659" y="774"/>
                    <a:pt x="2664" y="769"/>
                    <a:pt x="2664" y="762"/>
                  </a:cubicBezTo>
                  <a:cubicBezTo>
                    <a:pt x="2664" y="755"/>
                    <a:pt x="2659" y="749"/>
                    <a:pt x="2652" y="749"/>
                  </a:cubicBezTo>
                  <a:cubicBezTo>
                    <a:pt x="2645" y="749"/>
                    <a:pt x="2639" y="755"/>
                    <a:pt x="2639" y="762"/>
                  </a:cubicBezTo>
                  <a:cubicBezTo>
                    <a:pt x="2639" y="769"/>
                    <a:pt x="2645" y="774"/>
                    <a:pt x="2652" y="774"/>
                  </a:cubicBezTo>
                  <a:close/>
                  <a:moveTo>
                    <a:pt x="2691" y="774"/>
                  </a:moveTo>
                  <a:cubicBezTo>
                    <a:pt x="2698" y="774"/>
                    <a:pt x="2704" y="769"/>
                    <a:pt x="2704" y="762"/>
                  </a:cubicBezTo>
                  <a:cubicBezTo>
                    <a:pt x="2704" y="755"/>
                    <a:pt x="2698" y="749"/>
                    <a:pt x="2691" y="749"/>
                  </a:cubicBezTo>
                  <a:cubicBezTo>
                    <a:pt x="2684" y="749"/>
                    <a:pt x="2678" y="755"/>
                    <a:pt x="2678" y="762"/>
                  </a:cubicBezTo>
                  <a:cubicBezTo>
                    <a:pt x="2678" y="769"/>
                    <a:pt x="2684" y="774"/>
                    <a:pt x="2691" y="774"/>
                  </a:cubicBezTo>
                  <a:close/>
                  <a:moveTo>
                    <a:pt x="2730" y="774"/>
                  </a:moveTo>
                  <a:cubicBezTo>
                    <a:pt x="2738" y="774"/>
                    <a:pt x="2743" y="769"/>
                    <a:pt x="2743" y="762"/>
                  </a:cubicBezTo>
                  <a:cubicBezTo>
                    <a:pt x="2743" y="755"/>
                    <a:pt x="2738" y="749"/>
                    <a:pt x="2730" y="749"/>
                  </a:cubicBezTo>
                  <a:cubicBezTo>
                    <a:pt x="2723" y="749"/>
                    <a:pt x="2718" y="755"/>
                    <a:pt x="2718" y="762"/>
                  </a:cubicBezTo>
                  <a:cubicBezTo>
                    <a:pt x="2718" y="769"/>
                    <a:pt x="2723" y="774"/>
                    <a:pt x="2730" y="774"/>
                  </a:cubicBezTo>
                  <a:close/>
                  <a:moveTo>
                    <a:pt x="2770" y="774"/>
                  </a:moveTo>
                  <a:cubicBezTo>
                    <a:pt x="2777" y="774"/>
                    <a:pt x="2783" y="769"/>
                    <a:pt x="2783" y="762"/>
                  </a:cubicBezTo>
                  <a:cubicBezTo>
                    <a:pt x="2783" y="755"/>
                    <a:pt x="2777" y="749"/>
                    <a:pt x="2770" y="749"/>
                  </a:cubicBezTo>
                  <a:cubicBezTo>
                    <a:pt x="2763" y="749"/>
                    <a:pt x="2757" y="755"/>
                    <a:pt x="2757" y="762"/>
                  </a:cubicBezTo>
                  <a:cubicBezTo>
                    <a:pt x="2757" y="769"/>
                    <a:pt x="2763" y="774"/>
                    <a:pt x="2770" y="774"/>
                  </a:cubicBezTo>
                  <a:close/>
                  <a:moveTo>
                    <a:pt x="2809" y="774"/>
                  </a:moveTo>
                  <a:cubicBezTo>
                    <a:pt x="2816" y="774"/>
                    <a:pt x="2822" y="769"/>
                    <a:pt x="2822" y="762"/>
                  </a:cubicBezTo>
                  <a:cubicBezTo>
                    <a:pt x="2822" y="755"/>
                    <a:pt x="2816" y="749"/>
                    <a:pt x="2809" y="749"/>
                  </a:cubicBezTo>
                  <a:cubicBezTo>
                    <a:pt x="2802" y="749"/>
                    <a:pt x="2797" y="755"/>
                    <a:pt x="2797" y="762"/>
                  </a:cubicBezTo>
                  <a:cubicBezTo>
                    <a:pt x="2797" y="769"/>
                    <a:pt x="2802" y="774"/>
                    <a:pt x="2809" y="774"/>
                  </a:cubicBezTo>
                  <a:close/>
                  <a:moveTo>
                    <a:pt x="2849" y="774"/>
                  </a:moveTo>
                  <a:cubicBezTo>
                    <a:pt x="2856" y="774"/>
                    <a:pt x="2862" y="769"/>
                    <a:pt x="2862" y="762"/>
                  </a:cubicBezTo>
                  <a:cubicBezTo>
                    <a:pt x="2862" y="755"/>
                    <a:pt x="2856" y="749"/>
                    <a:pt x="2849" y="749"/>
                  </a:cubicBezTo>
                  <a:cubicBezTo>
                    <a:pt x="2842" y="749"/>
                    <a:pt x="2836" y="755"/>
                    <a:pt x="2836" y="762"/>
                  </a:cubicBezTo>
                  <a:cubicBezTo>
                    <a:pt x="2836" y="769"/>
                    <a:pt x="2842" y="774"/>
                    <a:pt x="2849" y="774"/>
                  </a:cubicBezTo>
                  <a:close/>
                  <a:moveTo>
                    <a:pt x="2888" y="774"/>
                  </a:moveTo>
                  <a:cubicBezTo>
                    <a:pt x="2895" y="774"/>
                    <a:pt x="2901" y="769"/>
                    <a:pt x="2901" y="762"/>
                  </a:cubicBezTo>
                  <a:cubicBezTo>
                    <a:pt x="2901" y="755"/>
                    <a:pt x="2895" y="749"/>
                    <a:pt x="2888" y="749"/>
                  </a:cubicBezTo>
                  <a:cubicBezTo>
                    <a:pt x="2881" y="749"/>
                    <a:pt x="2875" y="755"/>
                    <a:pt x="2875" y="762"/>
                  </a:cubicBezTo>
                  <a:cubicBezTo>
                    <a:pt x="2875" y="769"/>
                    <a:pt x="2881" y="774"/>
                    <a:pt x="2888" y="774"/>
                  </a:cubicBezTo>
                  <a:close/>
                  <a:moveTo>
                    <a:pt x="3046" y="749"/>
                  </a:moveTo>
                  <a:cubicBezTo>
                    <a:pt x="3039" y="749"/>
                    <a:pt x="3033" y="755"/>
                    <a:pt x="3033" y="762"/>
                  </a:cubicBezTo>
                  <a:cubicBezTo>
                    <a:pt x="3033" y="769"/>
                    <a:pt x="3039" y="774"/>
                    <a:pt x="3046" y="774"/>
                  </a:cubicBezTo>
                  <a:cubicBezTo>
                    <a:pt x="3053" y="774"/>
                    <a:pt x="3059" y="769"/>
                    <a:pt x="3059" y="762"/>
                  </a:cubicBezTo>
                  <a:cubicBezTo>
                    <a:pt x="3059" y="755"/>
                    <a:pt x="3053" y="749"/>
                    <a:pt x="3046" y="749"/>
                  </a:cubicBezTo>
                  <a:close/>
                  <a:moveTo>
                    <a:pt x="3077" y="762"/>
                  </a:moveTo>
                  <a:cubicBezTo>
                    <a:pt x="3077" y="766"/>
                    <a:pt x="3081" y="770"/>
                    <a:pt x="3085" y="770"/>
                  </a:cubicBezTo>
                  <a:cubicBezTo>
                    <a:pt x="3090" y="770"/>
                    <a:pt x="3093" y="766"/>
                    <a:pt x="3093" y="762"/>
                  </a:cubicBezTo>
                  <a:cubicBezTo>
                    <a:pt x="3093" y="757"/>
                    <a:pt x="3090" y="754"/>
                    <a:pt x="3085" y="754"/>
                  </a:cubicBezTo>
                  <a:cubicBezTo>
                    <a:pt x="3081" y="754"/>
                    <a:pt x="3077" y="757"/>
                    <a:pt x="3077" y="762"/>
                  </a:cubicBezTo>
                  <a:close/>
                  <a:moveTo>
                    <a:pt x="523" y="788"/>
                  </a:moveTo>
                  <a:cubicBezTo>
                    <a:pt x="516" y="788"/>
                    <a:pt x="510" y="794"/>
                    <a:pt x="510" y="801"/>
                  </a:cubicBezTo>
                  <a:cubicBezTo>
                    <a:pt x="510" y="808"/>
                    <a:pt x="516" y="814"/>
                    <a:pt x="523" y="814"/>
                  </a:cubicBezTo>
                  <a:cubicBezTo>
                    <a:pt x="530" y="814"/>
                    <a:pt x="535" y="808"/>
                    <a:pt x="535" y="801"/>
                  </a:cubicBezTo>
                  <a:cubicBezTo>
                    <a:pt x="535" y="794"/>
                    <a:pt x="530" y="788"/>
                    <a:pt x="523" y="788"/>
                  </a:cubicBezTo>
                  <a:close/>
                  <a:moveTo>
                    <a:pt x="562" y="788"/>
                  </a:moveTo>
                  <a:cubicBezTo>
                    <a:pt x="555" y="788"/>
                    <a:pt x="549" y="794"/>
                    <a:pt x="549" y="801"/>
                  </a:cubicBezTo>
                  <a:cubicBezTo>
                    <a:pt x="549" y="808"/>
                    <a:pt x="555" y="814"/>
                    <a:pt x="562" y="814"/>
                  </a:cubicBezTo>
                  <a:cubicBezTo>
                    <a:pt x="569" y="814"/>
                    <a:pt x="575" y="808"/>
                    <a:pt x="575" y="801"/>
                  </a:cubicBezTo>
                  <a:cubicBezTo>
                    <a:pt x="575" y="794"/>
                    <a:pt x="569" y="788"/>
                    <a:pt x="562" y="788"/>
                  </a:cubicBezTo>
                  <a:close/>
                  <a:moveTo>
                    <a:pt x="602" y="814"/>
                  </a:moveTo>
                  <a:cubicBezTo>
                    <a:pt x="609" y="814"/>
                    <a:pt x="614" y="808"/>
                    <a:pt x="614" y="801"/>
                  </a:cubicBezTo>
                  <a:cubicBezTo>
                    <a:pt x="614" y="794"/>
                    <a:pt x="609" y="788"/>
                    <a:pt x="602" y="788"/>
                  </a:cubicBezTo>
                  <a:cubicBezTo>
                    <a:pt x="595" y="788"/>
                    <a:pt x="589" y="794"/>
                    <a:pt x="589" y="801"/>
                  </a:cubicBezTo>
                  <a:cubicBezTo>
                    <a:pt x="589" y="808"/>
                    <a:pt x="595" y="814"/>
                    <a:pt x="602" y="814"/>
                  </a:cubicBezTo>
                  <a:close/>
                  <a:moveTo>
                    <a:pt x="641" y="814"/>
                  </a:moveTo>
                  <a:cubicBezTo>
                    <a:pt x="648" y="814"/>
                    <a:pt x="654" y="808"/>
                    <a:pt x="654" y="801"/>
                  </a:cubicBezTo>
                  <a:cubicBezTo>
                    <a:pt x="654" y="794"/>
                    <a:pt x="648" y="788"/>
                    <a:pt x="641" y="788"/>
                  </a:cubicBezTo>
                  <a:cubicBezTo>
                    <a:pt x="634" y="788"/>
                    <a:pt x="628" y="794"/>
                    <a:pt x="628" y="801"/>
                  </a:cubicBezTo>
                  <a:cubicBezTo>
                    <a:pt x="628" y="808"/>
                    <a:pt x="634" y="814"/>
                    <a:pt x="641" y="814"/>
                  </a:cubicBezTo>
                  <a:close/>
                  <a:moveTo>
                    <a:pt x="680" y="814"/>
                  </a:moveTo>
                  <a:cubicBezTo>
                    <a:pt x="687" y="814"/>
                    <a:pt x="693" y="808"/>
                    <a:pt x="693" y="801"/>
                  </a:cubicBezTo>
                  <a:cubicBezTo>
                    <a:pt x="693" y="794"/>
                    <a:pt x="687" y="788"/>
                    <a:pt x="680" y="788"/>
                  </a:cubicBezTo>
                  <a:cubicBezTo>
                    <a:pt x="673" y="788"/>
                    <a:pt x="668" y="794"/>
                    <a:pt x="668" y="801"/>
                  </a:cubicBezTo>
                  <a:cubicBezTo>
                    <a:pt x="668" y="808"/>
                    <a:pt x="673" y="814"/>
                    <a:pt x="680" y="814"/>
                  </a:cubicBezTo>
                  <a:close/>
                  <a:moveTo>
                    <a:pt x="720" y="814"/>
                  </a:moveTo>
                  <a:cubicBezTo>
                    <a:pt x="727" y="814"/>
                    <a:pt x="733" y="808"/>
                    <a:pt x="733" y="801"/>
                  </a:cubicBezTo>
                  <a:cubicBezTo>
                    <a:pt x="733" y="794"/>
                    <a:pt x="727" y="788"/>
                    <a:pt x="720" y="788"/>
                  </a:cubicBezTo>
                  <a:cubicBezTo>
                    <a:pt x="713" y="788"/>
                    <a:pt x="707" y="794"/>
                    <a:pt x="707" y="801"/>
                  </a:cubicBezTo>
                  <a:cubicBezTo>
                    <a:pt x="707" y="808"/>
                    <a:pt x="713" y="814"/>
                    <a:pt x="720" y="814"/>
                  </a:cubicBezTo>
                  <a:close/>
                  <a:moveTo>
                    <a:pt x="759" y="814"/>
                  </a:moveTo>
                  <a:cubicBezTo>
                    <a:pt x="766" y="814"/>
                    <a:pt x="772" y="808"/>
                    <a:pt x="772" y="801"/>
                  </a:cubicBezTo>
                  <a:cubicBezTo>
                    <a:pt x="772" y="794"/>
                    <a:pt x="766" y="788"/>
                    <a:pt x="759" y="788"/>
                  </a:cubicBezTo>
                  <a:cubicBezTo>
                    <a:pt x="752" y="788"/>
                    <a:pt x="747" y="794"/>
                    <a:pt x="747" y="801"/>
                  </a:cubicBezTo>
                  <a:cubicBezTo>
                    <a:pt x="747" y="808"/>
                    <a:pt x="752" y="814"/>
                    <a:pt x="759" y="814"/>
                  </a:cubicBezTo>
                  <a:close/>
                  <a:moveTo>
                    <a:pt x="799" y="814"/>
                  </a:moveTo>
                  <a:cubicBezTo>
                    <a:pt x="806" y="814"/>
                    <a:pt x="811" y="808"/>
                    <a:pt x="811" y="801"/>
                  </a:cubicBezTo>
                  <a:cubicBezTo>
                    <a:pt x="811" y="794"/>
                    <a:pt x="806" y="788"/>
                    <a:pt x="799" y="788"/>
                  </a:cubicBezTo>
                  <a:cubicBezTo>
                    <a:pt x="792" y="788"/>
                    <a:pt x="786" y="794"/>
                    <a:pt x="786" y="801"/>
                  </a:cubicBezTo>
                  <a:cubicBezTo>
                    <a:pt x="786" y="808"/>
                    <a:pt x="792" y="814"/>
                    <a:pt x="799" y="814"/>
                  </a:cubicBezTo>
                  <a:close/>
                  <a:moveTo>
                    <a:pt x="838" y="814"/>
                  </a:moveTo>
                  <a:cubicBezTo>
                    <a:pt x="845" y="814"/>
                    <a:pt x="851" y="808"/>
                    <a:pt x="851" y="801"/>
                  </a:cubicBezTo>
                  <a:cubicBezTo>
                    <a:pt x="851" y="794"/>
                    <a:pt x="845" y="788"/>
                    <a:pt x="838" y="788"/>
                  </a:cubicBezTo>
                  <a:cubicBezTo>
                    <a:pt x="831" y="788"/>
                    <a:pt x="825" y="794"/>
                    <a:pt x="825" y="801"/>
                  </a:cubicBezTo>
                  <a:cubicBezTo>
                    <a:pt x="825" y="808"/>
                    <a:pt x="831" y="814"/>
                    <a:pt x="838" y="814"/>
                  </a:cubicBezTo>
                  <a:close/>
                  <a:moveTo>
                    <a:pt x="1627" y="814"/>
                  </a:moveTo>
                  <a:cubicBezTo>
                    <a:pt x="1634" y="814"/>
                    <a:pt x="1639" y="808"/>
                    <a:pt x="1639" y="801"/>
                  </a:cubicBezTo>
                  <a:cubicBezTo>
                    <a:pt x="1639" y="794"/>
                    <a:pt x="1634" y="788"/>
                    <a:pt x="1627" y="788"/>
                  </a:cubicBezTo>
                  <a:cubicBezTo>
                    <a:pt x="1620" y="788"/>
                    <a:pt x="1614" y="794"/>
                    <a:pt x="1614" y="801"/>
                  </a:cubicBezTo>
                  <a:cubicBezTo>
                    <a:pt x="1614" y="808"/>
                    <a:pt x="1620" y="814"/>
                    <a:pt x="1627" y="814"/>
                  </a:cubicBezTo>
                  <a:close/>
                  <a:moveTo>
                    <a:pt x="1666" y="814"/>
                  </a:moveTo>
                  <a:cubicBezTo>
                    <a:pt x="1673" y="814"/>
                    <a:pt x="1679" y="808"/>
                    <a:pt x="1679" y="801"/>
                  </a:cubicBezTo>
                  <a:cubicBezTo>
                    <a:pt x="1679" y="794"/>
                    <a:pt x="1673" y="788"/>
                    <a:pt x="1666" y="788"/>
                  </a:cubicBezTo>
                  <a:cubicBezTo>
                    <a:pt x="1659" y="788"/>
                    <a:pt x="1653" y="794"/>
                    <a:pt x="1653" y="801"/>
                  </a:cubicBezTo>
                  <a:cubicBezTo>
                    <a:pt x="1653" y="808"/>
                    <a:pt x="1659" y="814"/>
                    <a:pt x="1666" y="814"/>
                  </a:cubicBezTo>
                  <a:close/>
                  <a:moveTo>
                    <a:pt x="1705" y="814"/>
                  </a:moveTo>
                  <a:cubicBezTo>
                    <a:pt x="1713" y="814"/>
                    <a:pt x="1718" y="808"/>
                    <a:pt x="1718" y="801"/>
                  </a:cubicBezTo>
                  <a:cubicBezTo>
                    <a:pt x="1718" y="794"/>
                    <a:pt x="1713" y="788"/>
                    <a:pt x="1705" y="788"/>
                  </a:cubicBezTo>
                  <a:cubicBezTo>
                    <a:pt x="1698" y="788"/>
                    <a:pt x="1693" y="794"/>
                    <a:pt x="1693" y="801"/>
                  </a:cubicBezTo>
                  <a:cubicBezTo>
                    <a:pt x="1693" y="808"/>
                    <a:pt x="1698" y="814"/>
                    <a:pt x="1705" y="814"/>
                  </a:cubicBezTo>
                  <a:close/>
                  <a:moveTo>
                    <a:pt x="1745" y="814"/>
                  </a:moveTo>
                  <a:cubicBezTo>
                    <a:pt x="1752" y="814"/>
                    <a:pt x="1758" y="808"/>
                    <a:pt x="1758" y="801"/>
                  </a:cubicBezTo>
                  <a:cubicBezTo>
                    <a:pt x="1758" y="794"/>
                    <a:pt x="1752" y="788"/>
                    <a:pt x="1745" y="788"/>
                  </a:cubicBezTo>
                  <a:cubicBezTo>
                    <a:pt x="1738" y="788"/>
                    <a:pt x="1732" y="794"/>
                    <a:pt x="1732" y="801"/>
                  </a:cubicBezTo>
                  <a:cubicBezTo>
                    <a:pt x="1732" y="808"/>
                    <a:pt x="1738" y="814"/>
                    <a:pt x="1745" y="814"/>
                  </a:cubicBezTo>
                  <a:close/>
                  <a:moveTo>
                    <a:pt x="1784" y="814"/>
                  </a:moveTo>
                  <a:cubicBezTo>
                    <a:pt x="1791" y="814"/>
                    <a:pt x="1797" y="808"/>
                    <a:pt x="1797" y="801"/>
                  </a:cubicBezTo>
                  <a:cubicBezTo>
                    <a:pt x="1797" y="794"/>
                    <a:pt x="1791" y="788"/>
                    <a:pt x="1784" y="788"/>
                  </a:cubicBezTo>
                  <a:cubicBezTo>
                    <a:pt x="1777" y="788"/>
                    <a:pt x="1772" y="794"/>
                    <a:pt x="1772" y="801"/>
                  </a:cubicBezTo>
                  <a:cubicBezTo>
                    <a:pt x="1772" y="808"/>
                    <a:pt x="1777" y="814"/>
                    <a:pt x="1784" y="814"/>
                  </a:cubicBezTo>
                  <a:close/>
                  <a:moveTo>
                    <a:pt x="1824" y="814"/>
                  </a:moveTo>
                  <a:cubicBezTo>
                    <a:pt x="1831" y="814"/>
                    <a:pt x="1836" y="808"/>
                    <a:pt x="1836" y="801"/>
                  </a:cubicBezTo>
                  <a:cubicBezTo>
                    <a:pt x="1836" y="794"/>
                    <a:pt x="1831" y="788"/>
                    <a:pt x="1824" y="788"/>
                  </a:cubicBezTo>
                  <a:cubicBezTo>
                    <a:pt x="1817" y="788"/>
                    <a:pt x="1811" y="794"/>
                    <a:pt x="1811" y="801"/>
                  </a:cubicBezTo>
                  <a:cubicBezTo>
                    <a:pt x="1811" y="808"/>
                    <a:pt x="1817" y="814"/>
                    <a:pt x="1824" y="814"/>
                  </a:cubicBezTo>
                  <a:close/>
                  <a:moveTo>
                    <a:pt x="1890" y="801"/>
                  </a:moveTo>
                  <a:cubicBezTo>
                    <a:pt x="1890" y="808"/>
                    <a:pt x="1896" y="814"/>
                    <a:pt x="1903" y="814"/>
                  </a:cubicBezTo>
                  <a:cubicBezTo>
                    <a:pt x="1910" y="814"/>
                    <a:pt x="1915" y="808"/>
                    <a:pt x="1915" y="801"/>
                  </a:cubicBezTo>
                  <a:cubicBezTo>
                    <a:pt x="1915" y="794"/>
                    <a:pt x="1910" y="788"/>
                    <a:pt x="1903" y="788"/>
                  </a:cubicBezTo>
                  <a:cubicBezTo>
                    <a:pt x="1896" y="788"/>
                    <a:pt x="1890" y="794"/>
                    <a:pt x="1890" y="801"/>
                  </a:cubicBezTo>
                  <a:close/>
                  <a:moveTo>
                    <a:pt x="1942" y="814"/>
                  </a:moveTo>
                  <a:cubicBezTo>
                    <a:pt x="1949" y="814"/>
                    <a:pt x="1955" y="808"/>
                    <a:pt x="1955" y="801"/>
                  </a:cubicBezTo>
                  <a:cubicBezTo>
                    <a:pt x="1955" y="794"/>
                    <a:pt x="1949" y="788"/>
                    <a:pt x="1942" y="788"/>
                  </a:cubicBezTo>
                  <a:cubicBezTo>
                    <a:pt x="1935" y="788"/>
                    <a:pt x="1929" y="794"/>
                    <a:pt x="1929" y="801"/>
                  </a:cubicBezTo>
                  <a:cubicBezTo>
                    <a:pt x="1929" y="808"/>
                    <a:pt x="1935" y="814"/>
                    <a:pt x="1942" y="814"/>
                  </a:cubicBezTo>
                  <a:close/>
                  <a:moveTo>
                    <a:pt x="2021" y="788"/>
                  </a:moveTo>
                  <a:cubicBezTo>
                    <a:pt x="2014" y="788"/>
                    <a:pt x="2008" y="794"/>
                    <a:pt x="2008" y="801"/>
                  </a:cubicBezTo>
                  <a:cubicBezTo>
                    <a:pt x="2008" y="808"/>
                    <a:pt x="2014" y="814"/>
                    <a:pt x="2021" y="814"/>
                  </a:cubicBezTo>
                  <a:cubicBezTo>
                    <a:pt x="2028" y="814"/>
                    <a:pt x="2034" y="808"/>
                    <a:pt x="2034" y="801"/>
                  </a:cubicBezTo>
                  <a:cubicBezTo>
                    <a:pt x="2034" y="794"/>
                    <a:pt x="2028" y="788"/>
                    <a:pt x="2021" y="788"/>
                  </a:cubicBezTo>
                  <a:close/>
                  <a:moveTo>
                    <a:pt x="2060" y="814"/>
                  </a:moveTo>
                  <a:cubicBezTo>
                    <a:pt x="2067" y="814"/>
                    <a:pt x="2073" y="808"/>
                    <a:pt x="2073" y="801"/>
                  </a:cubicBezTo>
                  <a:cubicBezTo>
                    <a:pt x="2073" y="794"/>
                    <a:pt x="2067" y="788"/>
                    <a:pt x="2060" y="788"/>
                  </a:cubicBezTo>
                  <a:cubicBezTo>
                    <a:pt x="2053" y="788"/>
                    <a:pt x="2048" y="794"/>
                    <a:pt x="2048" y="801"/>
                  </a:cubicBezTo>
                  <a:cubicBezTo>
                    <a:pt x="2048" y="808"/>
                    <a:pt x="2053" y="814"/>
                    <a:pt x="2060" y="814"/>
                  </a:cubicBezTo>
                  <a:close/>
                  <a:moveTo>
                    <a:pt x="2100" y="814"/>
                  </a:moveTo>
                  <a:cubicBezTo>
                    <a:pt x="2107" y="814"/>
                    <a:pt x="2112" y="808"/>
                    <a:pt x="2112" y="801"/>
                  </a:cubicBezTo>
                  <a:cubicBezTo>
                    <a:pt x="2112" y="794"/>
                    <a:pt x="2107" y="788"/>
                    <a:pt x="2100" y="788"/>
                  </a:cubicBezTo>
                  <a:cubicBezTo>
                    <a:pt x="2093" y="788"/>
                    <a:pt x="2087" y="794"/>
                    <a:pt x="2087" y="801"/>
                  </a:cubicBezTo>
                  <a:cubicBezTo>
                    <a:pt x="2087" y="808"/>
                    <a:pt x="2093" y="814"/>
                    <a:pt x="2100" y="814"/>
                  </a:cubicBezTo>
                  <a:close/>
                  <a:moveTo>
                    <a:pt x="2139" y="814"/>
                  </a:moveTo>
                  <a:cubicBezTo>
                    <a:pt x="2146" y="814"/>
                    <a:pt x="2152" y="808"/>
                    <a:pt x="2152" y="801"/>
                  </a:cubicBezTo>
                  <a:cubicBezTo>
                    <a:pt x="2152" y="794"/>
                    <a:pt x="2146" y="788"/>
                    <a:pt x="2139" y="788"/>
                  </a:cubicBezTo>
                  <a:cubicBezTo>
                    <a:pt x="2132" y="788"/>
                    <a:pt x="2126" y="794"/>
                    <a:pt x="2126" y="801"/>
                  </a:cubicBezTo>
                  <a:cubicBezTo>
                    <a:pt x="2126" y="808"/>
                    <a:pt x="2132" y="814"/>
                    <a:pt x="2139" y="814"/>
                  </a:cubicBezTo>
                  <a:close/>
                  <a:moveTo>
                    <a:pt x="2179" y="814"/>
                  </a:moveTo>
                  <a:cubicBezTo>
                    <a:pt x="2186" y="814"/>
                    <a:pt x="2191" y="808"/>
                    <a:pt x="2191" y="801"/>
                  </a:cubicBezTo>
                  <a:cubicBezTo>
                    <a:pt x="2191" y="794"/>
                    <a:pt x="2186" y="788"/>
                    <a:pt x="2179" y="788"/>
                  </a:cubicBezTo>
                  <a:cubicBezTo>
                    <a:pt x="2172" y="788"/>
                    <a:pt x="2166" y="794"/>
                    <a:pt x="2166" y="801"/>
                  </a:cubicBezTo>
                  <a:cubicBezTo>
                    <a:pt x="2166" y="808"/>
                    <a:pt x="2172" y="814"/>
                    <a:pt x="2179" y="814"/>
                  </a:cubicBezTo>
                  <a:close/>
                  <a:moveTo>
                    <a:pt x="2218" y="814"/>
                  </a:moveTo>
                  <a:cubicBezTo>
                    <a:pt x="2225" y="814"/>
                    <a:pt x="2231" y="808"/>
                    <a:pt x="2231" y="801"/>
                  </a:cubicBezTo>
                  <a:cubicBezTo>
                    <a:pt x="2231" y="794"/>
                    <a:pt x="2225" y="788"/>
                    <a:pt x="2218" y="788"/>
                  </a:cubicBezTo>
                  <a:cubicBezTo>
                    <a:pt x="2211" y="788"/>
                    <a:pt x="2205" y="794"/>
                    <a:pt x="2205" y="801"/>
                  </a:cubicBezTo>
                  <a:cubicBezTo>
                    <a:pt x="2205" y="808"/>
                    <a:pt x="2211" y="814"/>
                    <a:pt x="2218" y="814"/>
                  </a:cubicBezTo>
                  <a:close/>
                  <a:moveTo>
                    <a:pt x="2257" y="814"/>
                  </a:moveTo>
                  <a:cubicBezTo>
                    <a:pt x="2264" y="814"/>
                    <a:pt x="2270" y="808"/>
                    <a:pt x="2270" y="801"/>
                  </a:cubicBezTo>
                  <a:cubicBezTo>
                    <a:pt x="2270" y="794"/>
                    <a:pt x="2264" y="788"/>
                    <a:pt x="2257" y="788"/>
                  </a:cubicBezTo>
                  <a:cubicBezTo>
                    <a:pt x="2250" y="788"/>
                    <a:pt x="2245" y="794"/>
                    <a:pt x="2245" y="801"/>
                  </a:cubicBezTo>
                  <a:cubicBezTo>
                    <a:pt x="2245" y="808"/>
                    <a:pt x="2250" y="814"/>
                    <a:pt x="2257" y="814"/>
                  </a:cubicBezTo>
                  <a:close/>
                  <a:moveTo>
                    <a:pt x="2297" y="814"/>
                  </a:moveTo>
                  <a:cubicBezTo>
                    <a:pt x="2304" y="814"/>
                    <a:pt x="2310" y="808"/>
                    <a:pt x="2310" y="801"/>
                  </a:cubicBezTo>
                  <a:cubicBezTo>
                    <a:pt x="2310" y="794"/>
                    <a:pt x="2304" y="788"/>
                    <a:pt x="2297" y="788"/>
                  </a:cubicBezTo>
                  <a:cubicBezTo>
                    <a:pt x="2290" y="788"/>
                    <a:pt x="2284" y="794"/>
                    <a:pt x="2284" y="801"/>
                  </a:cubicBezTo>
                  <a:cubicBezTo>
                    <a:pt x="2284" y="808"/>
                    <a:pt x="2290" y="814"/>
                    <a:pt x="2297" y="814"/>
                  </a:cubicBezTo>
                  <a:close/>
                  <a:moveTo>
                    <a:pt x="2336" y="814"/>
                  </a:moveTo>
                  <a:cubicBezTo>
                    <a:pt x="2343" y="814"/>
                    <a:pt x="2349" y="808"/>
                    <a:pt x="2349" y="801"/>
                  </a:cubicBezTo>
                  <a:cubicBezTo>
                    <a:pt x="2349" y="794"/>
                    <a:pt x="2343" y="788"/>
                    <a:pt x="2336" y="788"/>
                  </a:cubicBezTo>
                  <a:cubicBezTo>
                    <a:pt x="2329" y="788"/>
                    <a:pt x="2323" y="794"/>
                    <a:pt x="2323" y="801"/>
                  </a:cubicBezTo>
                  <a:cubicBezTo>
                    <a:pt x="2323" y="808"/>
                    <a:pt x="2329" y="814"/>
                    <a:pt x="2336" y="814"/>
                  </a:cubicBezTo>
                  <a:close/>
                  <a:moveTo>
                    <a:pt x="2376" y="814"/>
                  </a:moveTo>
                  <a:cubicBezTo>
                    <a:pt x="2383" y="814"/>
                    <a:pt x="2388" y="808"/>
                    <a:pt x="2388" y="801"/>
                  </a:cubicBezTo>
                  <a:cubicBezTo>
                    <a:pt x="2388" y="794"/>
                    <a:pt x="2383" y="788"/>
                    <a:pt x="2376" y="788"/>
                  </a:cubicBezTo>
                  <a:cubicBezTo>
                    <a:pt x="2369" y="788"/>
                    <a:pt x="2363" y="794"/>
                    <a:pt x="2363" y="801"/>
                  </a:cubicBezTo>
                  <a:cubicBezTo>
                    <a:pt x="2363" y="808"/>
                    <a:pt x="2369" y="814"/>
                    <a:pt x="2376" y="814"/>
                  </a:cubicBezTo>
                  <a:close/>
                  <a:moveTo>
                    <a:pt x="2415" y="814"/>
                  </a:moveTo>
                  <a:cubicBezTo>
                    <a:pt x="2422" y="814"/>
                    <a:pt x="2428" y="808"/>
                    <a:pt x="2428" y="801"/>
                  </a:cubicBezTo>
                  <a:cubicBezTo>
                    <a:pt x="2428" y="794"/>
                    <a:pt x="2422" y="788"/>
                    <a:pt x="2415" y="788"/>
                  </a:cubicBezTo>
                  <a:cubicBezTo>
                    <a:pt x="2408" y="788"/>
                    <a:pt x="2402" y="794"/>
                    <a:pt x="2402" y="801"/>
                  </a:cubicBezTo>
                  <a:cubicBezTo>
                    <a:pt x="2402" y="808"/>
                    <a:pt x="2408" y="814"/>
                    <a:pt x="2415" y="814"/>
                  </a:cubicBezTo>
                  <a:close/>
                  <a:moveTo>
                    <a:pt x="2455" y="814"/>
                  </a:moveTo>
                  <a:cubicBezTo>
                    <a:pt x="2462" y="814"/>
                    <a:pt x="2467" y="808"/>
                    <a:pt x="2467" y="801"/>
                  </a:cubicBezTo>
                  <a:cubicBezTo>
                    <a:pt x="2467" y="794"/>
                    <a:pt x="2462" y="788"/>
                    <a:pt x="2455" y="788"/>
                  </a:cubicBezTo>
                  <a:cubicBezTo>
                    <a:pt x="2447" y="788"/>
                    <a:pt x="2442" y="794"/>
                    <a:pt x="2442" y="801"/>
                  </a:cubicBezTo>
                  <a:cubicBezTo>
                    <a:pt x="2442" y="808"/>
                    <a:pt x="2447" y="814"/>
                    <a:pt x="2455" y="814"/>
                  </a:cubicBezTo>
                  <a:close/>
                  <a:moveTo>
                    <a:pt x="2494" y="814"/>
                  </a:moveTo>
                  <a:cubicBezTo>
                    <a:pt x="2501" y="814"/>
                    <a:pt x="2507" y="808"/>
                    <a:pt x="2507" y="801"/>
                  </a:cubicBezTo>
                  <a:cubicBezTo>
                    <a:pt x="2507" y="794"/>
                    <a:pt x="2501" y="788"/>
                    <a:pt x="2494" y="788"/>
                  </a:cubicBezTo>
                  <a:cubicBezTo>
                    <a:pt x="2487" y="788"/>
                    <a:pt x="2481" y="794"/>
                    <a:pt x="2481" y="801"/>
                  </a:cubicBezTo>
                  <a:cubicBezTo>
                    <a:pt x="2481" y="808"/>
                    <a:pt x="2487" y="814"/>
                    <a:pt x="2494" y="814"/>
                  </a:cubicBezTo>
                  <a:close/>
                  <a:moveTo>
                    <a:pt x="2533" y="814"/>
                  </a:moveTo>
                  <a:cubicBezTo>
                    <a:pt x="2540" y="814"/>
                    <a:pt x="2546" y="808"/>
                    <a:pt x="2546" y="801"/>
                  </a:cubicBezTo>
                  <a:cubicBezTo>
                    <a:pt x="2546" y="794"/>
                    <a:pt x="2540" y="788"/>
                    <a:pt x="2533" y="788"/>
                  </a:cubicBezTo>
                  <a:cubicBezTo>
                    <a:pt x="2526" y="788"/>
                    <a:pt x="2521" y="794"/>
                    <a:pt x="2521" y="801"/>
                  </a:cubicBezTo>
                  <a:cubicBezTo>
                    <a:pt x="2521" y="808"/>
                    <a:pt x="2526" y="814"/>
                    <a:pt x="2533" y="814"/>
                  </a:cubicBezTo>
                  <a:close/>
                  <a:moveTo>
                    <a:pt x="2573" y="814"/>
                  </a:moveTo>
                  <a:cubicBezTo>
                    <a:pt x="2580" y="814"/>
                    <a:pt x="2586" y="808"/>
                    <a:pt x="2586" y="801"/>
                  </a:cubicBezTo>
                  <a:cubicBezTo>
                    <a:pt x="2586" y="794"/>
                    <a:pt x="2580" y="788"/>
                    <a:pt x="2573" y="788"/>
                  </a:cubicBezTo>
                  <a:cubicBezTo>
                    <a:pt x="2566" y="788"/>
                    <a:pt x="2560" y="794"/>
                    <a:pt x="2560" y="801"/>
                  </a:cubicBezTo>
                  <a:cubicBezTo>
                    <a:pt x="2560" y="808"/>
                    <a:pt x="2566" y="814"/>
                    <a:pt x="2573" y="814"/>
                  </a:cubicBezTo>
                  <a:close/>
                  <a:moveTo>
                    <a:pt x="2612" y="814"/>
                  </a:moveTo>
                  <a:cubicBezTo>
                    <a:pt x="2619" y="814"/>
                    <a:pt x="2625" y="808"/>
                    <a:pt x="2625" y="801"/>
                  </a:cubicBezTo>
                  <a:cubicBezTo>
                    <a:pt x="2625" y="794"/>
                    <a:pt x="2619" y="788"/>
                    <a:pt x="2612" y="788"/>
                  </a:cubicBezTo>
                  <a:cubicBezTo>
                    <a:pt x="2605" y="788"/>
                    <a:pt x="2599" y="794"/>
                    <a:pt x="2599" y="801"/>
                  </a:cubicBezTo>
                  <a:cubicBezTo>
                    <a:pt x="2599" y="808"/>
                    <a:pt x="2605" y="814"/>
                    <a:pt x="2612" y="814"/>
                  </a:cubicBezTo>
                  <a:close/>
                  <a:moveTo>
                    <a:pt x="2652" y="814"/>
                  </a:moveTo>
                  <a:cubicBezTo>
                    <a:pt x="2659" y="814"/>
                    <a:pt x="2664" y="808"/>
                    <a:pt x="2664" y="801"/>
                  </a:cubicBezTo>
                  <a:cubicBezTo>
                    <a:pt x="2664" y="794"/>
                    <a:pt x="2659" y="788"/>
                    <a:pt x="2652" y="788"/>
                  </a:cubicBezTo>
                  <a:cubicBezTo>
                    <a:pt x="2645" y="788"/>
                    <a:pt x="2639" y="794"/>
                    <a:pt x="2639" y="801"/>
                  </a:cubicBezTo>
                  <a:cubicBezTo>
                    <a:pt x="2639" y="808"/>
                    <a:pt x="2645" y="814"/>
                    <a:pt x="2652" y="814"/>
                  </a:cubicBezTo>
                  <a:close/>
                  <a:moveTo>
                    <a:pt x="2691" y="814"/>
                  </a:moveTo>
                  <a:cubicBezTo>
                    <a:pt x="2698" y="814"/>
                    <a:pt x="2704" y="808"/>
                    <a:pt x="2704" y="801"/>
                  </a:cubicBezTo>
                  <a:cubicBezTo>
                    <a:pt x="2704" y="794"/>
                    <a:pt x="2698" y="788"/>
                    <a:pt x="2691" y="788"/>
                  </a:cubicBezTo>
                  <a:cubicBezTo>
                    <a:pt x="2684" y="788"/>
                    <a:pt x="2678" y="794"/>
                    <a:pt x="2678" y="801"/>
                  </a:cubicBezTo>
                  <a:cubicBezTo>
                    <a:pt x="2678" y="808"/>
                    <a:pt x="2684" y="814"/>
                    <a:pt x="2691" y="814"/>
                  </a:cubicBezTo>
                  <a:close/>
                  <a:moveTo>
                    <a:pt x="2730" y="814"/>
                  </a:moveTo>
                  <a:cubicBezTo>
                    <a:pt x="2738" y="814"/>
                    <a:pt x="2743" y="808"/>
                    <a:pt x="2743" y="801"/>
                  </a:cubicBezTo>
                  <a:cubicBezTo>
                    <a:pt x="2743" y="794"/>
                    <a:pt x="2738" y="788"/>
                    <a:pt x="2730" y="788"/>
                  </a:cubicBezTo>
                  <a:cubicBezTo>
                    <a:pt x="2723" y="788"/>
                    <a:pt x="2718" y="794"/>
                    <a:pt x="2718" y="801"/>
                  </a:cubicBezTo>
                  <a:cubicBezTo>
                    <a:pt x="2718" y="808"/>
                    <a:pt x="2723" y="814"/>
                    <a:pt x="2730" y="814"/>
                  </a:cubicBezTo>
                  <a:close/>
                  <a:moveTo>
                    <a:pt x="2770" y="814"/>
                  </a:moveTo>
                  <a:cubicBezTo>
                    <a:pt x="2777" y="814"/>
                    <a:pt x="2783" y="808"/>
                    <a:pt x="2783" y="801"/>
                  </a:cubicBezTo>
                  <a:cubicBezTo>
                    <a:pt x="2783" y="794"/>
                    <a:pt x="2777" y="788"/>
                    <a:pt x="2770" y="788"/>
                  </a:cubicBezTo>
                  <a:cubicBezTo>
                    <a:pt x="2763" y="788"/>
                    <a:pt x="2757" y="794"/>
                    <a:pt x="2757" y="801"/>
                  </a:cubicBezTo>
                  <a:cubicBezTo>
                    <a:pt x="2757" y="808"/>
                    <a:pt x="2763" y="814"/>
                    <a:pt x="2770" y="814"/>
                  </a:cubicBezTo>
                  <a:close/>
                  <a:moveTo>
                    <a:pt x="2809" y="814"/>
                  </a:moveTo>
                  <a:cubicBezTo>
                    <a:pt x="2816" y="814"/>
                    <a:pt x="2822" y="808"/>
                    <a:pt x="2822" y="801"/>
                  </a:cubicBezTo>
                  <a:cubicBezTo>
                    <a:pt x="2822" y="794"/>
                    <a:pt x="2816" y="788"/>
                    <a:pt x="2809" y="788"/>
                  </a:cubicBezTo>
                  <a:cubicBezTo>
                    <a:pt x="2802" y="788"/>
                    <a:pt x="2797" y="794"/>
                    <a:pt x="2797" y="801"/>
                  </a:cubicBezTo>
                  <a:cubicBezTo>
                    <a:pt x="2797" y="808"/>
                    <a:pt x="2802" y="814"/>
                    <a:pt x="2809" y="814"/>
                  </a:cubicBezTo>
                  <a:close/>
                  <a:moveTo>
                    <a:pt x="2849" y="814"/>
                  </a:moveTo>
                  <a:cubicBezTo>
                    <a:pt x="2856" y="814"/>
                    <a:pt x="2862" y="808"/>
                    <a:pt x="2862" y="801"/>
                  </a:cubicBezTo>
                  <a:cubicBezTo>
                    <a:pt x="2862" y="794"/>
                    <a:pt x="2856" y="788"/>
                    <a:pt x="2849" y="788"/>
                  </a:cubicBezTo>
                  <a:cubicBezTo>
                    <a:pt x="2842" y="788"/>
                    <a:pt x="2836" y="794"/>
                    <a:pt x="2836" y="801"/>
                  </a:cubicBezTo>
                  <a:cubicBezTo>
                    <a:pt x="2836" y="808"/>
                    <a:pt x="2842" y="814"/>
                    <a:pt x="2849" y="814"/>
                  </a:cubicBezTo>
                  <a:close/>
                  <a:moveTo>
                    <a:pt x="2888" y="814"/>
                  </a:moveTo>
                  <a:cubicBezTo>
                    <a:pt x="2895" y="814"/>
                    <a:pt x="2901" y="808"/>
                    <a:pt x="2901" y="801"/>
                  </a:cubicBezTo>
                  <a:cubicBezTo>
                    <a:pt x="2901" y="794"/>
                    <a:pt x="2895" y="788"/>
                    <a:pt x="2888" y="788"/>
                  </a:cubicBezTo>
                  <a:cubicBezTo>
                    <a:pt x="2881" y="788"/>
                    <a:pt x="2875" y="794"/>
                    <a:pt x="2875" y="801"/>
                  </a:cubicBezTo>
                  <a:cubicBezTo>
                    <a:pt x="2875" y="808"/>
                    <a:pt x="2881" y="814"/>
                    <a:pt x="2888" y="814"/>
                  </a:cubicBezTo>
                  <a:close/>
                  <a:moveTo>
                    <a:pt x="2928" y="814"/>
                  </a:moveTo>
                  <a:cubicBezTo>
                    <a:pt x="2935" y="814"/>
                    <a:pt x="2940" y="808"/>
                    <a:pt x="2940" y="801"/>
                  </a:cubicBezTo>
                  <a:cubicBezTo>
                    <a:pt x="2940" y="794"/>
                    <a:pt x="2935" y="788"/>
                    <a:pt x="2928" y="788"/>
                  </a:cubicBezTo>
                  <a:cubicBezTo>
                    <a:pt x="2921" y="788"/>
                    <a:pt x="2915" y="794"/>
                    <a:pt x="2915" y="801"/>
                  </a:cubicBezTo>
                  <a:cubicBezTo>
                    <a:pt x="2915" y="808"/>
                    <a:pt x="2921" y="814"/>
                    <a:pt x="2928" y="814"/>
                  </a:cubicBezTo>
                  <a:close/>
                  <a:moveTo>
                    <a:pt x="602" y="828"/>
                  </a:moveTo>
                  <a:cubicBezTo>
                    <a:pt x="595" y="828"/>
                    <a:pt x="589" y="834"/>
                    <a:pt x="589" y="841"/>
                  </a:cubicBezTo>
                  <a:cubicBezTo>
                    <a:pt x="589" y="848"/>
                    <a:pt x="595" y="853"/>
                    <a:pt x="602" y="853"/>
                  </a:cubicBezTo>
                  <a:cubicBezTo>
                    <a:pt x="609" y="853"/>
                    <a:pt x="614" y="848"/>
                    <a:pt x="614" y="841"/>
                  </a:cubicBezTo>
                  <a:cubicBezTo>
                    <a:pt x="614" y="834"/>
                    <a:pt x="609" y="828"/>
                    <a:pt x="602" y="828"/>
                  </a:cubicBezTo>
                  <a:close/>
                  <a:moveTo>
                    <a:pt x="641" y="853"/>
                  </a:moveTo>
                  <a:cubicBezTo>
                    <a:pt x="648" y="853"/>
                    <a:pt x="654" y="848"/>
                    <a:pt x="654" y="841"/>
                  </a:cubicBezTo>
                  <a:cubicBezTo>
                    <a:pt x="654" y="834"/>
                    <a:pt x="648" y="828"/>
                    <a:pt x="641" y="828"/>
                  </a:cubicBezTo>
                  <a:cubicBezTo>
                    <a:pt x="634" y="828"/>
                    <a:pt x="628" y="834"/>
                    <a:pt x="628" y="841"/>
                  </a:cubicBezTo>
                  <a:cubicBezTo>
                    <a:pt x="628" y="848"/>
                    <a:pt x="634" y="853"/>
                    <a:pt x="641" y="853"/>
                  </a:cubicBezTo>
                  <a:close/>
                  <a:moveTo>
                    <a:pt x="680" y="853"/>
                  </a:moveTo>
                  <a:cubicBezTo>
                    <a:pt x="687" y="853"/>
                    <a:pt x="693" y="848"/>
                    <a:pt x="693" y="841"/>
                  </a:cubicBezTo>
                  <a:cubicBezTo>
                    <a:pt x="693" y="834"/>
                    <a:pt x="687" y="828"/>
                    <a:pt x="680" y="828"/>
                  </a:cubicBezTo>
                  <a:cubicBezTo>
                    <a:pt x="673" y="828"/>
                    <a:pt x="668" y="834"/>
                    <a:pt x="668" y="841"/>
                  </a:cubicBezTo>
                  <a:cubicBezTo>
                    <a:pt x="668" y="848"/>
                    <a:pt x="673" y="853"/>
                    <a:pt x="680" y="853"/>
                  </a:cubicBezTo>
                  <a:close/>
                  <a:moveTo>
                    <a:pt x="878" y="828"/>
                  </a:moveTo>
                  <a:cubicBezTo>
                    <a:pt x="871" y="828"/>
                    <a:pt x="865" y="834"/>
                    <a:pt x="865" y="841"/>
                  </a:cubicBezTo>
                  <a:cubicBezTo>
                    <a:pt x="865" y="848"/>
                    <a:pt x="871" y="853"/>
                    <a:pt x="878" y="853"/>
                  </a:cubicBezTo>
                  <a:cubicBezTo>
                    <a:pt x="885" y="853"/>
                    <a:pt x="890" y="848"/>
                    <a:pt x="890" y="841"/>
                  </a:cubicBezTo>
                  <a:cubicBezTo>
                    <a:pt x="890" y="834"/>
                    <a:pt x="885" y="828"/>
                    <a:pt x="878" y="828"/>
                  </a:cubicBezTo>
                  <a:close/>
                  <a:moveTo>
                    <a:pt x="1587" y="853"/>
                  </a:moveTo>
                  <a:cubicBezTo>
                    <a:pt x="1594" y="853"/>
                    <a:pt x="1600" y="848"/>
                    <a:pt x="1600" y="841"/>
                  </a:cubicBezTo>
                  <a:cubicBezTo>
                    <a:pt x="1600" y="834"/>
                    <a:pt x="1594" y="828"/>
                    <a:pt x="1587" y="828"/>
                  </a:cubicBezTo>
                  <a:cubicBezTo>
                    <a:pt x="1580" y="828"/>
                    <a:pt x="1574" y="834"/>
                    <a:pt x="1574" y="841"/>
                  </a:cubicBezTo>
                  <a:cubicBezTo>
                    <a:pt x="1574" y="848"/>
                    <a:pt x="1580" y="853"/>
                    <a:pt x="1587" y="853"/>
                  </a:cubicBezTo>
                  <a:close/>
                  <a:moveTo>
                    <a:pt x="1627" y="853"/>
                  </a:moveTo>
                  <a:cubicBezTo>
                    <a:pt x="1634" y="853"/>
                    <a:pt x="1639" y="848"/>
                    <a:pt x="1639" y="841"/>
                  </a:cubicBezTo>
                  <a:cubicBezTo>
                    <a:pt x="1639" y="834"/>
                    <a:pt x="1634" y="828"/>
                    <a:pt x="1627" y="828"/>
                  </a:cubicBezTo>
                  <a:cubicBezTo>
                    <a:pt x="1620" y="828"/>
                    <a:pt x="1614" y="834"/>
                    <a:pt x="1614" y="841"/>
                  </a:cubicBezTo>
                  <a:cubicBezTo>
                    <a:pt x="1614" y="848"/>
                    <a:pt x="1620" y="853"/>
                    <a:pt x="1627" y="853"/>
                  </a:cubicBezTo>
                  <a:close/>
                  <a:moveTo>
                    <a:pt x="1666" y="853"/>
                  </a:moveTo>
                  <a:cubicBezTo>
                    <a:pt x="1673" y="853"/>
                    <a:pt x="1679" y="848"/>
                    <a:pt x="1679" y="841"/>
                  </a:cubicBezTo>
                  <a:cubicBezTo>
                    <a:pt x="1679" y="834"/>
                    <a:pt x="1673" y="828"/>
                    <a:pt x="1666" y="828"/>
                  </a:cubicBezTo>
                  <a:cubicBezTo>
                    <a:pt x="1659" y="828"/>
                    <a:pt x="1653" y="834"/>
                    <a:pt x="1653" y="841"/>
                  </a:cubicBezTo>
                  <a:cubicBezTo>
                    <a:pt x="1653" y="848"/>
                    <a:pt x="1659" y="853"/>
                    <a:pt x="1666" y="853"/>
                  </a:cubicBezTo>
                  <a:close/>
                  <a:moveTo>
                    <a:pt x="1705" y="853"/>
                  </a:moveTo>
                  <a:cubicBezTo>
                    <a:pt x="1713" y="853"/>
                    <a:pt x="1718" y="848"/>
                    <a:pt x="1718" y="841"/>
                  </a:cubicBezTo>
                  <a:cubicBezTo>
                    <a:pt x="1718" y="834"/>
                    <a:pt x="1713" y="828"/>
                    <a:pt x="1705" y="828"/>
                  </a:cubicBezTo>
                  <a:cubicBezTo>
                    <a:pt x="1698" y="828"/>
                    <a:pt x="1693" y="834"/>
                    <a:pt x="1693" y="841"/>
                  </a:cubicBezTo>
                  <a:cubicBezTo>
                    <a:pt x="1693" y="848"/>
                    <a:pt x="1698" y="853"/>
                    <a:pt x="1705" y="853"/>
                  </a:cubicBezTo>
                  <a:close/>
                  <a:moveTo>
                    <a:pt x="1745" y="853"/>
                  </a:moveTo>
                  <a:cubicBezTo>
                    <a:pt x="1752" y="853"/>
                    <a:pt x="1758" y="848"/>
                    <a:pt x="1758" y="841"/>
                  </a:cubicBezTo>
                  <a:cubicBezTo>
                    <a:pt x="1758" y="834"/>
                    <a:pt x="1752" y="828"/>
                    <a:pt x="1745" y="828"/>
                  </a:cubicBezTo>
                  <a:cubicBezTo>
                    <a:pt x="1738" y="828"/>
                    <a:pt x="1732" y="834"/>
                    <a:pt x="1732" y="841"/>
                  </a:cubicBezTo>
                  <a:cubicBezTo>
                    <a:pt x="1732" y="848"/>
                    <a:pt x="1738" y="853"/>
                    <a:pt x="1745" y="853"/>
                  </a:cubicBezTo>
                  <a:close/>
                  <a:moveTo>
                    <a:pt x="1784" y="853"/>
                  </a:moveTo>
                  <a:cubicBezTo>
                    <a:pt x="1791" y="853"/>
                    <a:pt x="1797" y="848"/>
                    <a:pt x="1797" y="841"/>
                  </a:cubicBezTo>
                  <a:cubicBezTo>
                    <a:pt x="1797" y="834"/>
                    <a:pt x="1791" y="828"/>
                    <a:pt x="1784" y="828"/>
                  </a:cubicBezTo>
                  <a:cubicBezTo>
                    <a:pt x="1777" y="828"/>
                    <a:pt x="1772" y="834"/>
                    <a:pt x="1772" y="841"/>
                  </a:cubicBezTo>
                  <a:cubicBezTo>
                    <a:pt x="1772" y="848"/>
                    <a:pt x="1777" y="853"/>
                    <a:pt x="1784" y="853"/>
                  </a:cubicBezTo>
                  <a:close/>
                  <a:moveTo>
                    <a:pt x="1824" y="853"/>
                  </a:moveTo>
                  <a:cubicBezTo>
                    <a:pt x="1831" y="853"/>
                    <a:pt x="1836" y="848"/>
                    <a:pt x="1836" y="841"/>
                  </a:cubicBezTo>
                  <a:cubicBezTo>
                    <a:pt x="1836" y="834"/>
                    <a:pt x="1831" y="828"/>
                    <a:pt x="1824" y="828"/>
                  </a:cubicBezTo>
                  <a:cubicBezTo>
                    <a:pt x="1817" y="828"/>
                    <a:pt x="1811" y="834"/>
                    <a:pt x="1811" y="841"/>
                  </a:cubicBezTo>
                  <a:cubicBezTo>
                    <a:pt x="1811" y="848"/>
                    <a:pt x="1817" y="853"/>
                    <a:pt x="1824" y="853"/>
                  </a:cubicBezTo>
                  <a:close/>
                  <a:moveTo>
                    <a:pt x="1863" y="853"/>
                  </a:moveTo>
                  <a:cubicBezTo>
                    <a:pt x="1870" y="853"/>
                    <a:pt x="1876" y="848"/>
                    <a:pt x="1876" y="841"/>
                  </a:cubicBezTo>
                  <a:cubicBezTo>
                    <a:pt x="1876" y="834"/>
                    <a:pt x="1870" y="828"/>
                    <a:pt x="1863" y="828"/>
                  </a:cubicBezTo>
                  <a:cubicBezTo>
                    <a:pt x="1856" y="828"/>
                    <a:pt x="1850" y="834"/>
                    <a:pt x="1850" y="841"/>
                  </a:cubicBezTo>
                  <a:cubicBezTo>
                    <a:pt x="1850" y="848"/>
                    <a:pt x="1856" y="853"/>
                    <a:pt x="1863" y="853"/>
                  </a:cubicBezTo>
                  <a:close/>
                  <a:moveTo>
                    <a:pt x="1903" y="853"/>
                  </a:moveTo>
                  <a:cubicBezTo>
                    <a:pt x="1910" y="853"/>
                    <a:pt x="1915" y="848"/>
                    <a:pt x="1915" y="841"/>
                  </a:cubicBezTo>
                  <a:cubicBezTo>
                    <a:pt x="1915" y="834"/>
                    <a:pt x="1910" y="828"/>
                    <a:pt x="1903" y="828"/>
                  </a:cubicBezTo>
                  <a:cubicBezTo>
                    <a:pt x="1896" y="828"/>
                    <a:pt x="1890" y="834"/>
                    <a:pt x="1890" y="841"/>
                  </a:cubicBezTo>
                  <a:cubicBezTo>
                    <a:pt x="1890" y="848"/>
                    <a:pt x="1896" y="853"/>
                    <a:pt x="1903" y="853"/>
                  </a:cubicBezTo>
                  <a:close/>
                  <a:moveTo>
                    <a:pt x="1942" y="853"/>
                  </a:moveTo>
                  <a:cubicBezTo>
                    <a:pt x="1949" y="853"/>
                    <a:pt x="1955" y="848"/>
                    <a:pt x="1955" y="841"/>
                  </a:cubicBezTo>
                  <a:cubicBezTo>
                    <a:pt x="1955" y="834"/>
                    <a:pt x="1949" y="828"/>
                    <a:pt x="1942" y="828"/>
                  </a:cubicBezTo>
                  <a:cubicBezTo>
                    <a:pt x="1935" y="828"/>
                    <a:pt x="1929" y="834"/>
                    <a:pt x="1929" y="841"/>
                  </a:cubicBezTo>
                  <a:cubicBezTo>
                    <a:pt x="1929" y="848"/>
                    <a:pt x="1935" y="853"/>
                    <a:pt x="1942" y="853"/>
                  </a:cubicBezTo>
                  <a:close/>
                  <a:moveTo>
                    <a:pt x="1981" y="853"/>
                  </a:moveTo>
                  <a:cubicBezTo>
                    <a:pt x="1988" y="853"/>
                    <a:pt x="1994" y="848"/>
                    <a:pt x="1994" y="841"/>
                  </a:cubicBezTo>
                  <a:cubicBezTo>
                    <a:pt x="1994" y="834"/>
                    <a:pt x="1988" y="828"/>
                    <a:pt x="1981" y="828"/>
                  </a:cubicBezTo>
                  <a:cubicBezTo>
                    <a:pt x="1974" y="828"/>
                    <a:pt x="1969" y="834"/>
                    <a:pt x="1969" y="841"/>
                  </a:cubicBezTo>
                  <a:cubicBezTo>
                    <a:pt x="1969" y="848"/>
                    <a:pt x="1974" y="853"/>
                    <a:pt x="1981" y="853"/>
                  </a:cubicBezTo>
                  <a:close/>
                  <a:moveTo>
                    <a:pt x="2021" y="853"/>
                  </a:moveTo>
                  <a:cubicBezTo>
                    <a:pt x="2028" y="853"/>
                    <a:pt x="2034" y="848"/>
                    <a:pt x="2034" y="841"/>
                  </a:cubicBezTo>
                  <a:cubicBezTo>
                    <a:pt x="2034" y="834"/>
                    <a:pt x="2028" y="828"/>
                    <a:pt x="2021" y="828"/>
                  </a:cubicBezTo>
                  <a:cubicBezTo>
                    <a:pt x="2014" y="828"/>
                    <a:pt x="2008" y="834"/>
                    <a:pt x="2008" y="841"/>
                  </a:cubicBezTo>
                  <a:cubicBezTo>
                    <a:pt x="2008" y="848"/>
                    <a:pt x="2014" y="853"/>
                    <a:pt x="2021" y="853"/>
                  </a:cubicBezTo>
                  <a:close/>
                  <a:moveTo>
                    <a:pt x="2060" y="853"/>
                  </a:moveTo>
                  <a:cubicBezTo>
                    <a:pt x="2067" y="853"/>
                    <a:pt x="2073" y="848"/>
                    <a:pt x="2073" y="841"/>
                  </a:cubicBezTo>
                  <a:cubicBezTo>
                    <a:pt x="2073" y="834"/>
                    <a:pt x="2067" y="828"/>
                    <a:pt x="2060" y="828"/>
                  </a:cubicBezTo>
                  <a:cubicBezTo>
                    <a:pt x="2053" y="828"/>
                    <a:pt x="2048" y="834"/>
                    <a:pt x="2048" y="841"/>
                  </a:cubicBezTo>
                  <a:cubicBezTo>
                    <a:pt x="2048" y="848"/>
                    <a:pt x="2053" y="853"/>
                    <a:pt x="2060" y="853"/>
                  </a:cubicBezTo>
                  <a:close/>
                  <a:moveTo>
                    <a:pt x="2100" y="853"/>
                  </a:moveTo>
                  <a:cubicBezTo>
                    <a:pt x="2107" y="853"/>
                    <a:pt x="2112" y="848"/>
                    <a:pt x="2112" y="841"/>
                  </a:cubicBezTo>
                  <a:cubicBezTo>
                    <a:pt x="2112" y="834"/>
                    <a:pt x="2107" y="828"/>
                    <a:pt x="2100" y="828"/>
                  </a:cubicBezTo>
                  <a:cubicBezTo>
                    <a:pt x="2093" y="828"/>
                    <a:pt x="2087" y="834"/>
                    <a:pt x="2087" y="841"/>
                  </a:cubicBezTo>
                  <a:cubicBezTo>
                    <a:pt x="2087" y="848"/>
                    <a:pt x="2093" y="853"/>
                    <a:pt x="2100" y="853"/>
                  </a:cubicBezTo>
                  <a:close/>
                  <a:moveTo>
                    <a:pt x="2139" y="853"/>
                  </a:moveTo>
                  <a:cubicBezTo>
                    <a:pt x="2146" y="853"/>
                    <a:pt x="2152" y="848"/>
                    <a:pt x="2152" y="841"/>
                  </a:cubicBezTo>
                  <a:cubicBezTo>
                    <a:pt x="2152" y="834"/>
                    <a:pt x="2146" y="828"/>
                    <a:pt x="2139" y="828"/>
                  </a:cubicBezTo>
                  <a:cubicBezTo>
                    <a:pt x="2132" y="828"/>
                    <a:pt x="2126" y="834"/>
                    <a:pt x="2126" y="841"/>
                  </a:cubicBezTo>
                  <a:cubicBezTo>
                    <a:pt x="2126" y="848"/>
                    <a:pt x="2132" y="853"/>
                    <a:pt x="2139" y="853"/>
                  </a:cubicBezTo>
                  <a:close/>
                  <a:moveTo>
                    <a:pt x="2179" y="853"/>
                  </a:moveTo>
                  <a:cubicBezTo>
                    <a:pt x="2186" y="853"/>
                    <a:pt x="2191" y="848"/>
                    <a:pt x="2191" y="841"/>
                  </a:cubicBezTo>
                  <a:cubicBezTo>
                    <a:pt x="2191" y="834"/>
                    <a:pt x="2186" y="828"/>
                    <a:pt x="2179" y="828"/>
                  </a:cubicBezTo>
                  <a:cubicBezTo>
                    <a:pt x="2172" y="828"/>
                    <a:pt x="2166" y="834"/>
                    <a:pt x="2166" y="841"/>
                  </a:cubicBezTo>
                  <a:cubicBezTo>
                    <a:pt x="2166" y="848"/>
                    <a:pt x="2172" y="853"/>
                    <a:pt x="2179" y="853"/>
                  </a:cubicBezTo>
                  <a:close/>
                  <a:moveTo>
                    <a:pt x="2257" y="853"/>
                  </a:moveTo>
                  <a:cubicBezTo>
                    <a:pt x="2264" y="853"/>
                    <a:pt x="2270" y="848"/>
                    <a:pt x="2270" y="841"/>
                  </a:cubicBezTo>
                  <a:cubicBezTo>
                    <a:pt x="2270" y="834"/>
                    <a:pt x="2264" y="828"/>
                    <a:pt x="2257" y="828"/>
                  </a:cubicBezTo>
                  <a:cubicBezTo>
                    <a:pt x="2250" y="828"/>
                    <a:pt x="2245" y="834"/>
                    <a:pt x="2245" y="841"/>
                  </a:cubicBezTo>
                  <a:cubicBezTo>
                    <a:pt x="2245" y="848"/>
                    <a:pt x="2250" y="853"/>
                    <a:pt x="2257" y="853"/>
                  </a:cubicBezTo>
                  <a:close/>
                  <a:moveTo>
                    <a:pt x="2297" y="828"/>
                  </a:moveTo>
                  <a:cubicBezTo>
                    <a:pt x="2290" y="828"/>
                    <a:pt x="2284" y="834"/>
                    <a:pt x="2284" y="841"/>
                  </a:cubicBezTo>
                  <a:cubicBezTo>
                    <a:pt x="2284" y="848"/>
                    <a:pt x="2290" y="853"/>
                    <a:pt x="2297" y="853"/>
                  </a:cubicBezTo>
                  <a:cubicBezTo>
                    <a:pt x="2304" y="853"/>
                    <a:pt x="2310" y="848"/>
                    <a:pt x="2310" y="841"/>
                  </a:cubicBezTo>
                  <a:cubicBezTo>
                    <a:pt x="2310" y="834"/>
                    <a:pt x="2304" y="828"/>
                    <a:pt x="2297" y="828"/>
                  </a:cubicBezTo>
                  <a:close/>
                  <a:moveTo>
                    <a:pt x="2336" y="828"/>
                  </a:moveTo>
                  <a:cubicBezTo>
                    <a:pt x="2329" y="828"/>
                    <a:pt x="2323" y="834"/>
                    <a:pt x="2323" y="841"/>
                  </a:cubicBezTo>
                  <a:cubicBezTo>
                    <a:pt x="2323" y="848"/>
                    <a:pt x="2329" y="853"/>
                    <a:pt x="2336" y="853"/>
                  </a:cubicBezTo>
                  <a:cubicBezTo>
                    <a:pt x="2343" y="853"/>
                    <a:pt x="2349" y="848"/>
                    <a:pt x="2349" y="841"/>
                  </a:cubicBezTo>
                  <a:cubicBezTo>
                    <a:pt x="2349" y="834"/>
                    <a:pt x="2343" y="828"/>
                    <a:pt x="2336" y="828"/>
                  </a:cubicBezTo>
                  <a:close/>
                  <a:moveTo>
                    <a:pt x="2376" y="828"/>
                  </a:moveTo>
                  <a:cubicBezTo>
                    <a:pt x="2369" y="828"/>
                    <a:pt x="2363" y="834"/>
                    <a:pt x="2363" y="841"/>
                  </a:cubicBezTo>
                  <a:cubicBezTo>
                    <a:pt x="2363" y="848"/>
                    <a:pt x="2369" y="853"/>
                    <a:pt x="2376" y="853"/>
                  </a:cubicBezTo>
                  <a:cubicBezTo>
                    <a:pt x="2383" y="853"/>
                    <a:pt x="2388" y="848"/>
                    <a:pt x="2388" y="841"/>
                  </a:cubicBezTo>
                  <a:cubicBezTo>
                    <a:pt x="2388" y="834"/>
                    <a:pt x="2383" y="828"/>
                    <a:pt x="2376" y="828"/>
                  </a:cubicBezTo>
                  <a:close/>
                  <a:moveTo>
                    <a:pt x="2415" y="853"/>
                  </a:moveTo>
                  <a:cubicBezTo>
                    <a:pt x="2422" y="853"/>
                    <a:pt x="2428" y="848"/>
                    <a:pt x="2428" y="841"/>
                  </a:cubicBezTo>
                  <a:cubicBezTo>
                    <a:pt x="2428" y="834"/>
                    <a:pt x="2422" y="828"/>
                    <a:pt x="2415" y="828"/>
                  </a:cubicBezTo>
                  <a:cubicBezTo>
                    <a:pt x="2408" y="828"/>
                    <a:pt x="2402" y="834"/>
                    <a:pt x="2402" y="841"/>
                  </a:cubicBezTo>
                  <a:cubicBezTo>
                    <a:pt x="2402" y="848"/>
                    <a:pt x="2408" y="853"/>
                    <a:pt x="2415" y="853"/>
                  </a:cubicBezTo>
                  <a:close/>
                  <a:moveTo>
                    <a:pt x="2455" y="853"/>
                  </a:moveTo>
                  <a:cubicBezTo>
                    <a:pt x="2462" y="853"/>
                    <a:pt x="2467" y="848"/>
                    <a:pt x="2467" y="841"/>
                  </a:cubicBezTo>
                  <a:cubicBezTo>
                    <a:pt x="2467" y="834"/>
                    <a:pt x="2462" y="828"/>
                    <a:pt x="2455" y="828"/>
                  </a:cubicBezTo>
                  <a:cubicBezTo>
                    <a:pt x="2447" y="828"/>
                    <a:pt x="2442" y="834"/>
                    <a:pt x="2442" y="841"/>
                  </a:cubicBezTo>
                  <a:cubicBezTo>
                    <a:pt x="2442" y="848"/>
                    <a:pt x="2447" y="853"/>
                    <a:pt x="2455" y="853"/>
                  </a:cubicBezTo>
                  <a:close/>
                  <a:moveTo>
                    <a:pt x="2494" y="853"/>
                  </a:moveTo>
                  <a:cubicBezTo>
                    <a:pt x="2501" y="853"/>
                    <a:pt x="2507" y="848"/>
                    <a:pt x="2507" y="841"/>
                  </a:cubicBezTo>
                  <a:cubicBezTo>
                    <a:pt x="2507" y="834"/>
                    <a:pt x="2501" y="828"/>
                    <a:pt x="2494" y="828"/>
                  </a:cubicBezTo>
                  <a:cubicBezTo>
                    <a:pt x="2487" y="828"/>
                    <a:pt x="2481" y="834"/>
                    <a:pt x="2481" y="841"/>
                  </a:cubicBezTo>
                  <a:cubicBezTo>
                    <a:pt x="2481" y="848"/>
                    <a:pt x="2487" y="853"/>
                    <a:pt x="2494" y="853"/>
                  </a:cubicBezTo>
                  <a:close/>
                  <a:moveTo>
                    <a:pt x="2533" y="853"/>
                  </a:moveTo>
                  <a:cubicBezTo>
                    <a:pt x="2540" y="853"/>
                    <a:pt x="2546" y="848"/>
                    <a:pt x="2546" y="841"/>
                  </a:cubicBezTo>
                  <a:cubicBezTo>
                    <a:pt x="2546" y="834"/>
                    <a:pt x="2540" y="828"/>
                    <a:pt x="2533" y="828"/>
                  </a:cubicBezTo>
                  <a:cubicBezTo>
                    <a:pt x="2526" y="828"/>
                    <a:pt x="2521" y="834"/>
                    <a:pt x="2521" y="841"/>
                  </a:cubicBezTo>
                  <a:cubicBezTo>
                    <a:pt x="2521" y="848"/>
                    <a:pt x="2526" y="853"/>
                    <a:pt x="2533" y="853"/>
                  </a:cubicBezTo>
                  <a:close/>
                  <a:moveTo>
                    <a:pt x="2573" y="853"/>
                  </a:moveTo>
                  <a:cubicBezTo>
                    <a:pt x="2580" y="853"/>
                    <a:pt x="2586" y="848"/>
                    <a:pt x="2586" y="841"/>
                  </a:cubicBezTo>
                  <a:cubicBezTo>
                    <a:pt x="2586" y="834"/>
                    <a:pt x="2580" y="828"/>
                    <a:pt x="2573" y="828"/>
                  </a:cubicBezTo>
                  <a:cubicBezTo>
                    <a:pt x="2566" y="828"/>
                    <a:pt x="2560" y="834"/>
                    <a:pt x="2560" y="841"/>
                  </a:cubicBezTo>
                  <a:cubicBezTo>
                    <a:pt x="2560" y="848"/>
                    <a:pt x="2566" y="853"/>
                    <a:pt x="2573" y="853"/>
                  </a:cubicBezTo>
                  <a:close/>
                  <a:moveTo>
                    <a:pt x="2612" y="853"/>
                  </a:moveTo>
                  <a:cubicBezTo>
                    <a:pt x="2619" y="853"/>
                    <a:pt x="2625" y="848"/>
                    <a:pt x="2625" y="841"/>
                  </a:cubicBezTo>
                  <a:cubicBezTo>
                    <a:pt x="2625" y="834"/>
                    <a:pt x="2619" y="828"/>
                    <a:pt x="2612" y="828"/>
                  </a:cubicBezTo>
                  <a:cubicBezTo>
                    <a:pt x="2605" y="828"/>
                    <a:pt x="2599" y="834"/>
                    <a:pt x="2599" y="841"/>
                  </a:cubicBezTo>
                  <a:cubicBezTo>
                    <a:pt x="2599" y="848"/>
                    <a:pt x="2605" y="853"/>
                    <a:pt x="2612" y="853"/>
                  </a:cubicBezTo>
                  <a:close/>
                  <a:moveTo>
                    <a:pt x="2652" y="853"/>
                  </a:moveTo>
                  <a:cubicBezTo>
                    <a:pt x="2659" y="853"/>
                    <a:pt x="2664" y="848"/>
                    <a:pt x="2664" y="841"/>
                  </a:cubicBezTo>
                  <a:cubicBezTo>
                    <a:pt x="2664" y="834"/>
                    <a:pt x="2659" y="828"/>
                    <a:pt x="2652" y="828"/>
                  </a:cubicBezTo>
                  <a:cubicBezTo>
                    <a:pt x="2645" y="828"/>
                    <a:pt x="2639" y="834"/>
                    <a:pt x="2639" y="841"/>
                  </a:cubicBezTo>
                  <a:cubicBezTo>
                    <a:pt x="2639" y="848"/>
                    <a:pt x="2645" y="853"/>
                    <a:pt x="2652" y="853"/>
                  </a:cubicBezTo>
                  <a:close/>
                  <a:moveTo>
                    <a:pt x="2691" y="853"/>
                  </a:moveTo>
                  <a:cubicBezTo>
                    <a:pt x="2698" y="853"/>
                    <a:pt x="2704" y="848"/>
                    <a:pt x="2704" y="841"/>
                  </a:cubicBezTo>
                  <a:cubicBezTo>
                    <a:pt x="2704" y="834"/>
                    <a:pt x="2698" y="828"/>
                    <a:pt x="2691" y="828"/>
                  </a:cubicBezTo>
                  <a:cubicBezTo>
                    <a:pt x="2684" y="828"/>
                    <a:pt x="2678" y="834"/>
                    <a:pt x="2678" y="841"/>
                  </a:cubicBezTo>
                  <a:cubicBezTo>
                    <a:pt x="2678" y="848"/>
                    <a:pt x="2684" y="853"/>
                    <a:pt x="2691" y="853"/>
                  </a:cubicBezTo>
                  <a:close/>
                  <a:moveTo>
                    <a:pt x="2730" y="853"/>
                  </a:moveTo>
                  <a:cubicBezTo>
                    <a:pt x="2738" y="853"/>
                    <a:pt x="2743" y="848"/>
                    <a:pt x="2743" y="841"/>
                  </a:cubicBezTo>
                  <a:cubicBezTo>
                    <a:pt x="2743" y="834"/>
                    <a:pt x="2738" y="828"/>
                    <a:pt x="2730" y="828"/>
                  </a:cubicBezTo>
                  <a:cubicBezTo>
                    <a:pt x="2723" y="828"/>
                    <a:pt x="2718" y="834"/>
                    <a:pt x="2718" y="841"/>
                  </a:cubicBezTo>
                  <a:cubicBezTo>
                    <a:pt x="2718" y="848"/>
                    <a:pt x="2723" y="853"/>
                    <a:pt x="2730" y="853"/>
                  </a:cubicBezTo>
                  <a:close/>
                  <a:moveTo>
                    <a:pt x="2770" y="853"/>
                  </a:moveTo>
                  <a:cubicBezTo>
                    <a:pt x="2777" y="853"/>
                    <a:pt x="2783" y="848"/>
                    <a:pt x="2783" y="841"/>
                  </a:cubicBezTo>
                  <a:cubicBezTo>
                    <a:pt x="2783" y="834"/>
                    <a:pt x="2777" y="828"/>
                    <a:pt x="2770" y="828"/>
                  </a:cubicBezTo>
                  <a:cubicBezTo>
                    <a:pt x="2763" y="828"/>
                    <a:pt x="2757" y="834"/>
                    <a:pt x="2757" y="841"/>
                  </a:cubicBezTo>
                  <a:cubicBezTo>
                    <a:pt x="2757" y="848"/>
                    <a:pt x="2763" y="853"/>
                    <a:pt x="2770" y="853"/>
                  </a:cubicBezTo>
                  <a:close/>
                  <a:moveTo>
                    <a:pt x="2809" y="853"/>
                  </a:moveTo>
                  <a:cubicBezTo>
                    <a:pt x="2816" y="853"/>
                    <a:pt x="2822" y="848"/>
                    <a:pt x="2822" y="841"/>
                  </a:cubicBezTo>
                  <a:cubicBezTo>
                    <a:pt x="2822" y="834"/>
                    <a:pt x="2816" y="828"/>
                    <a:pt x="2809" y="828"/>
                  </a:cubicBezTo>
                  <a:cubicBezTo>
                    <a:pt x="2802" y="828"/>
                    <a:pt x="2797" y="834"/>
                    <a:pt x="2797" y="841"/>
                  </a:cubicBezTo>
                  <a:cubicBezTo>
                    <a:pt x="2797" y="848"/>
                    <a:pt x="2802" y="853"/>
                    <a:pt x="2809" y="853"/>
                  </a:cubicBezTo>
                  <a:close/>
                  <a:moveTo>
                    <a:pt x="2849" y="853"/>
                  </a:moveTo>
                  <a:cubicBezTo>
                    <a:pt x="2856" y="853"/>
                    <a:pt x="2862" y="848"/>
                    <a:pt x="2862" y="841"/>
                  </a:cubicBezTo>
                  <a:cubicBezTo>
                    <a:pt x="2862" y="834"/>
                    <a:pt x="2856" y="828"/>
                    <a:pt x="2849" y="828"/>
                  </a:cubicBezTo>
                  <a:cubicBezTo>
                    <a:pt x="2842" y="828"/>
                    <a:pt x="2836" y="834"/>
                    <a:pt x="2836" y="841"/>
                  </a:cubicBezTo>
                  <a:cubicBezTo>
                    <a:pt x="2836" y="848"/>
                    <a:pt x="2842" y="853"/>
                    <a:pt x="2849" y="853"/>
                  </a:cubicBezTo>
                  <a:close/>
                  <a:moveTo>
                    <a:pt x="2888" y="853"/>
                  </a:moveTo>
                  <a:cubicBezTo>
                    <a:pt x="2895" y="853"/>
                    <a:pt x="2901" y="848"/>
                    <a:pt x="2901" y="841"/>
                  </a:cubicBezTo>
                  <a:cubicBezTo>
                    <a:pt x="2901" y="834"/>
                    <a:pt x="2895" y="828"/>
                    <a:pt x="2888" y="828"/>
                  </a:cubicBezTo>
                  <a:cubicBezTo>
                    <a:pt x="2881" y="828"/>
                    <a:pt x="2875" y="834"/>
                    <a:pt x="2875" y="841"/>
                  </a:cubicBezTo>
                  <a:cubicBezTo>
                    <a:pt x="2875" y="848"/>
                    <a:pt x="2881" y="853"/>
                    <a:pt x="2888" y="853"/>
                  </a:cubicBezTo>
                  <a:close/>
                  <a:moveTo>
                    <a:pt x="641" y="893"/>
                  </a:moveTo>
                  <a:cubicBezTo>
                    <a:pt x="648" y="893"/>
                    <a:pt x="654" y="887"/>
                    <a:pt x="654" y="880"/>
                  </a:cubicBezTo>
                  <a:cubicBezTo>
                    <a:pt x="654" y="873"/>
                    <a:pt x="648" y="867"/>
                    <a:pt x="641" y="867"/>
                  </a:cubicBezTo>
                  <a:cubicBezTo>
                    <a:pt x="634" y="867"/>
                    <a:pt x="628" y="873"/>
                    <a:pt x="628" y="880"/>
                  </a:cubicBezTo>
                  <a:cubicBezTo>
                    <a:pt x="628" y="887"/>
                    <a:pt x="634" y="893"/>
                    <a:pt x="641" y="893"/>
                  </a:cubicBezTo>
                  <a:close/>
                  <a:moveTo>
                    <a:pt x="680" y="893"/>
                  </a:moveTo>
                  <a:cubicBezTo>
                    <a:pt x="687" y="893"/>
                    <a:pt x="693" y="887"/>
                    <a:pt x="693" y="880"/>
                  </a:cubicBezTo>
                  <a:cubicBezTo>
                    <a:pt x="693" y="873"/>
                    <a:pt x="687" y="867"/>
                    <a:pt x="680" y="867"/>
                  </a:cubicBezTo>
                  <a:cubicBezTo>
                    <a:pt x="673" y="867"/>
                    <a:pt x="668" y="873"/>
                    <a:pt x="668" y="880"/>
                  </a:cubicBezTo>
                  <a:cubicBezTo>
                    <a:pt x="668" y="887"/>
                    <a:pt x="673" y="893"/>
                    <a:pt x="680" y="893"/>
                  </a:cubicBezTo>
                  <a:close/>
                  <a:moveTo>
                    <a:pt x="1548" y="893"/>
                  </a:moveTo>
                  <a:cubicBezTo>
                    <a:pt x="1555" y="893"/>
                    <a:pt x="1561" y="887"/>
                    <a:pt x="1561" y="880"/>
                  </a:cubicBezTo>
                  <a:cubicBezTo>
                    <a:pt x="1561" y="873"/>
                    <a:pt x="1555" y="867"/>
                    <a:pt x="1548" y="867"/>
                  </a:cubicBezTo>
                  <a:cubicBezTo>
                    <a:pt x="1541" y="867"/>
                    <a:pt x="1535" y="873"/>
                    <a:pt x="1535" y="880"/>
                  </a:cubicBezTo>
                  <a:cubicBezTo>
                    <a:pt x="1535" y="887"/>
                    <a:pt x="1541" y="893"/>
                    <a:pt x="1548" y="893"/>
                  </a:cubicBezTo>
                  <a:close/>
                  <a:moveTo>
                    <a:pt x="1587" y="893"/>
                  </a:moveTo>
                  <a:cubicBezTo>
                    <a:pt x="1594" y="893"/>
                    <a:pt x="1600" y="887"/>
                    <a:pt x="1600" y="880"/>
                  </a:cubicBezTo>
                  <a:cubicBezTo>
                    <a:pt x="1600" y="873"/>
                    <a:pt x="1594" y="867"/>
                    <a:pt x="1587" y="867"/>
                  </a:cubicBezTo>
                  <a:cubicBezTo>
                    <a:pt x="1580" y="867"/>
                    <a:pt x="1574" y="873"/>
                    <a:pt x="1574" y="880"/>
                  </a:cubicBezTo>
                  <a:cubicBezTo>
                    <a:pt x="1574" y="887"/>
                    <a:pt x="1580" y="893"/>
                    <a:pt x="1587" y="893"/>
                  </a:cubicBezTo>
                  <a:close/>
                  <a:moveTo>
                    <a:pt x="1627" y="893"/>
                  </a:moveTo>
                  <a:cubicBezTo>
                    <a:pt x="1634" y="893"/>
                    <a:pt x="1639" y="887"/>
                    <a:pt x="1639" y="880"/>
                  </a:cubicBezTo>
                  <a:cubicBezTo>
                    <a:pt x="1639" y="873"/>
                    <a:pt x="1634" y="867"/>
                    <a:pt x="1627" y="867"/>
                  </a:cubicBezTo>
                  <a:cubicBezTo>
                    <a:pt x="1620" y="867"/>
                    <a:pt x="1614" y="873"/>
                    <a:pt x="1614" y="880"/>
                  </a:cubicBezTo>
                  <a:cubicBezTo>
                    <a:pt x="1614" y="887"/>
                    <a:pt x="1620" y="893"/>
                    <a:pt x="1627" y="893"/>
                  </a:cubicBezTo>
                  <a:close/>
                  <a:moveTo>
                    <a:pt x="1666" y="893"/>
                  </a:moveTo>
                  <a:cubicBezTo>
                    <a:pt x="1673" y="893"/>
                    <a:pt x="1679" y="887"/>
                    <a:pt x="1679" y="880"/>
                  </a:cubicBezTo>
                  <a:cubicBezTo>
                    <a:pt x="1679" y="873"/>
                    <a:pt x="1673" y="867"/>
                    <a:pt x="1666" y="867"/>
                  </a:cubicBezTo>
                  <a:cubicBezTo>
                    <a:pt x="1659" y="867"/>
                    <a:pt x="1653" y="873"/>
                    <a:pt x="1653" y="880"/>
                  </a:cubicBezTo>
                  <a:cubicBezTo>
                    <a:pt x="1653" y="887"/>
                    <a:pt x="1659" y="893"/>
                    <a:pt x="1666" y="893"/>
                  </a:cubicBezTo>
                  <a:close/>
                  <a:moveTo>
                    <a:pt x="1705" y="893"/>
                  </a:moveTo>
                  <a:cubicBezTo>
                    <a:pt x="1713" y="893"/>
                    <a:pt x="1718" y="887"/>
                    <a:pt x="1718" y="880"/>
                  </a:cubicBezTo>
                  <a:cubicBezTo>
                    <a:pt x="1718" y="873"/>
                    <a:pt x="1713" y="867"/>
                    <a:pt x="1705" y="867"/>
                  </a:cubicBezTo>
                  <a:cubicBezTo>
                    <a:pt x="1698" y="867"/>
                    <a:pt x="1693" y="873"/>
                    <a:pt x="1693" y="880"/>
                  </a:cubicBezTo>
                  <a:cubicBezTo>
                    <a:pt x="1693" y="887"/>
                    <a:pt x="1698" y="893"/>
                    <a:pt x="1705" y="893"/>
                  </a:cubicBezTo>
                  <a:close/>
                  <a:moveTo>
                    <a:pt x="1745" y="893"/>
                  </a:moveTo>
                  <a:cubicBezTo>
                    <a:pt x="1752" y="893"/>
                    <a:pt x="1758" y="887"/>
                    <a:pt x="1758" y="880"/>
                  </a:cubicBezTo>
                  <a:cubicBezTo>
                    <a:pt x="1758" y="873"/>
                    <a:pt x="1752" y="867"/>
                    <a:pt x="1745" y="867"/>
                  </a:cubicBezTo>
                  <a:cubicBezTo>
                    <a:pt x="1738" y="867"/>
                    <a:pt x="1732" y="873"/>
                    <a:pt x="1732" y="880"/>
                  </a:cubicBezTo>
                  <a:cubicBezTo>
                    <a:pt x="1732" y="887"/>
                    <a:pt x="1738" y="893"/>
                    <a:pt x="1745" y="893"/>
                  </a:cubicBezTo>
                  <a:close/>
                  <a:moveTo>
                    <a:pt x="1784" y="893"/>
                  </a:moveTo>
                  <a:cubicBezTo>
                    <a:pt x="1791" y="893"/>
                    <a:pt x="1797" y="887"/>
                    <a:pt x="1797" y="880"/>
                  </a:cubicBezTo>
                  <a:cubicBezTo>
                    <a:pt x="1797" y="873"/>
                    <a:pt x="1791" y="867"/>
                    <a:pt x="1784" y="867"/>
                  </a:cubicBezTo>
                  <a:cubicBezTo>
                    <a:pt x="1777" y="867"/>
                    <a:pt x="1772" y="873"/>
                    <a:pt x="1772" y="880"/>
                  </a:cubicBezTo>
                  <a:cubicBezTo>
                    <a:pt x="1772" y="887"/>
                    <a:pt x="1777" y="893"/>
                    <a:pt x="1784" y="893"/>
                  </a:cubicBezTo>
                  <a:close/>
                  <a:moveTo>
                    <a:pt x="1824" y="893"/>
                  </a:moveTo>
                  <a:cubicBezTo>
                    <a:pt x="1831" y="893"/>
                    <a:pt x="1836" y="887"/>
                    <a:pt x="1836" y="880"/>
                  </a:cubicBezTo>
                  <a:cubicBezTo>
                    <a:pt x="1836" y="873"/>
                    <a:pt x="1831" y="867"/>
                    <a:pt x="1824" y="867"/>
                  </a:cubicBezTo>
                  <a:cubicBezTo>
                    <a:pt x="1817" y="867"/>
                    <a:pt x="1811" y="873"/>
                    <a:pt x="1811" y="880"/>
                  </a:cubicBezTo>
                  <a:cubicBezTo>
                    <a:pt x="1811" y="887"/>
                    <a:pt x="1817" y="893"/>
                    <a:pt x="1824" y="893"/>
                  </a:cubicBezTo>
                  <a:close/>
                  <a:moveTo>
                    <a:pt x="1863" y="893"/>
                  </a:moveTo>
                  <a:cubicBezTo>
                    <a:pt x="1870" y="893"/>
                    <a:pt x="1876" y="887"/>
                    <a:pt x="1876" y="880"/>
                  </a:cubicBezTo>
                  <a:cubicBezTo>
                    <a:pt x="1876" y="873"/>
                    <a:pt x="1870" y="867"/>
                    <a:pt x="1863" y="867"/>
                  </a:cubicBezTo>
                  <a:cubicBezTo>
                    <a:pt x="1856" y="867"/>
                    <a:pt x="1850" y="873"/>
                    <a:pt x="1850" y="880"/>
                  </a:cubicBezTo>
                  <a:cubicBezTo>
                    <a:pt x="1850" y="887"/>
                    <a:pt x="1856" y="893"/>
                    <a:pt x="1863" y="893"/>
                  </a:cubicBezTo>
                  <a:close/>
                  <a:moveTo>
                    <a:pt x="1903" y="893"/>
                  </a:moveTo>
                  <a:cubicBezTo>
                    <a:pt x="1910" y="893"/>
                    <a:pt x="1915" y="887"/>
                    <a:pt x="1915" y="880"/>
                  </a:cubicBezTo>
                  <a:cubicBezTo>
                    <a:pt x="1915" y="873"/>
                    <a:pt x="1910" y="867"/>
                    <a:pt x="1903" y="867"/>
                  </a:cubicBezTo>
                  <a:cubicBezTo>
                    <a:pt x="1896" y="867"/>
                    <a:pt x="1890" y="873"/>
                    <a:pt x="1890" y="880"/>
                  </a:cubicBezTo>
                  <a:cubicBezTo>
                    <a:pt x="1890" y="887"/>
                    <a:pt x="1896" y="893"/>
                    <a:pt x="1903" y="893"/>
                  </a:cubicBezTo>
                  <a:close/>
                  <a:moveTo>
                    <a:pt x="1942" y="893"/>
                  </a:moveTo>
                  <a:cubicBezTo>
                    <a:pt x="1949" y="893"/>
                    <a:pt x="1955" y="887"/>
                    <a:pt x="1955" y="880"/>
                  </a:cubicBezTo>
                  <a:cubicBezTo>
                    <a:pt x="1955" y="873"/>
                    <a:pt x="1949" y="867"/>
                    <a:pt x="1942" y="867"/>
                  </a:cubicBezTo>
                  <a:cubicBezTo>
                    <a:pt x="1935" y="867"/>
                    <a:pt x="1929" y="873"/>
                    <a:pt x="1929" y="880"/>
                  </a:cubicBezTo>
                  <a:cubicBezTo>
                    <a:pt x="1929" y="887"/>
                    <a:pt x="1935" y="893"/>
                    <a:pt x="1942" y="893"/>
                  </a:cubicBezTo>
                  <a:close/>
                  <a:moveTo>
                    <a:pt x="1981" y="893"/>
                  </a:moveTo>
                  <a:cubicBezTo>
                    <a:pt x="1988" y="893"/>
                    <a:pt x="1994" y="887"/>
                    <a:pt x="1994" y="880"/>
                  </a:cubicBezTo>
                  <a:cubicBezTo>
                    <a:pt x="1994" y="873"/>
                    <a:pt x="1988" y="867"/>
                    <a:pt x="1981" y="867"/>
                  </a:cubicBezTo>
                  <a:cubicBezTo>
                    <a:pt x="1974" y="867"/>
                    <a:pt x="1969" y="873"/>
                    <a:pt x="1969" y="880"/>
                  </a:cubicBezTo>
                  <a:cubicBezTo>
                    <a:pt x="1969" y="887"/>
                    <a:pt x="1974" y="893"/>
                    <a:pt x="1981" y="893"/>
                  </a:cubicBezTo>
                  <a:close/>
                  <a:moveTo>
                    <a:pt x="2021" y="893"/>
                  </a:moveTo>
                  <a:cubicBezTo>
                    <a:pt x="2028" y="893"/>
                    <a:pt x="2034" y="887"/>
                    <a:pt x="2034" y="880"/>
                  </a:cubicBezTo>
                  <a:cubicBezTo>
                    <a:pt x="2034" y="873"/>
                    <a:pt x="2028" y="867"/>
                    <a:pt x="2021" y="867"/>
                  </a:cubicBezTo>
                  <a:cubicBezTo>
                    <a:pt x="2014" y="867"/>
                    <a:pt x="2008" y="873"/>
                    <a:pt x="2008" y="880"/>
                  </a:cubicBezTo>
                  <a:cubicBezTo>
                    <a:pt x="2008" y="887"/>
                    <a:pt x="2014" y="893"/>
                    <a:pt x="2021" y="893"/>
                  </a:cubicBezTo>
                  <a:close/>
                  <a:moveTo>
                    <a:pt x="2100" y="893"/>
                  </a:moveTo>
                  <a:cubicBezTo>
                    <a:pt x="2107" y="893"/>
                    <a:pt x="2112" y="887"/>
                    <a:pt x="2112" y="880"/>
                  </a:cubicBezTo>
                  <a:cubicBezTo>
                    <a:pt x="2112" y="873"/>
                    <a:pt x="2107" y="867"/>
                    <a:pt x="2100" y="867"/>
                  </a:cubicBezTo>
                  <a:cubicBezTo>
                    <a:pt x="2093" y="867"/>
                    <a:pt x="2087" y="873"/>
                    <a:pt x="2087" y="880"/>
                  </a:cubicBezTo>
                  <a:cubicBezTo>
                    <a:pt x="2087" y="887"/>
                    <a:pt x="2093" y="893"/>
                    <a:pt x="2100" y="893"/>
                  </a:cubicBezTo>
                  <a:close/>
                  <a:moveTo>
                    <a:pt x="2139" y="893"/>
                  </a:moveTo>
                  <a:cubicBezTo>
                    <a:pt x="2146" y="893"/>
                    <a:pt x="2152" y="887"/>
                    <a:pt x="2152" y="880"/>
                  </a:cubicBezTo>
                  <a:cubicBezTo>
                    <a:pt x="2152" y="873"/>
                    <a:pt x="2146" y="867"/>
                    <a:pt x="2139" y="867"/>
                  </a:cubicBezTo>
                  <a:cubicBezTo>
                    <a:pt x="2132" y="867"/>
                    <a:pt x="2126" y="873"/>
                    <a:pt x="2126" y="880"/>
                  </a:cubicBezTo>
                  <a:cubicBezTo>
                    <a:pt x="2126" y="887"/>
                    <a:pt x="2132" y="893"/>
                    <a:pt x="2139" y="893"/>
                  </a:cubicBezTo>
                  <a:close/>
                  <a:moveTo>
                    <a:pt x="2179" y="893"/>
                  </a:moveTo>
                  <a:cubicBezTo>
                    <a:pt x="2186" y="893"/>
                    <a:pt x="2191" y="887"/>
                    <a:pt x="2191" y="880"/>
                  </a:cubicBezTo>
                  <a:cubicBezTo>
                    <a:pt x="2191" y="873"/>
                    <a:pt x="2186" y="867"/>
                    <a:pt x="2179" y="867"/>
                  </a:cubicBezTo>
                  <a:cubicBezTo>
                    <a:pt x="2172" y="867"/>
                    <a:pt x="2166" y="873"/>
                    <a:pt x="2166" y="880"/>
                  </a:cubicBezTo>
                  <a:cubicBezTo>
                    <a:pt x="2166" y="887"/>
                    <a:pt x="2172" y="893"/>
                    <a:pt x="2179" y="893"/>
                  </a:cubicBezTo>
                  <a:close/>
                  <a:moveTo>
                    <a:pt x="2218" y="893"/>
                  </a:moveTo>
                  <a:cubicBezTo>
                    <a:pt x="2225" y="893"/>
                    <a:pt x="2231" y="887"/>
                    <a:pt x="2231" y="880"/>
                  </a:cubicBezTo>
                  <a:cubicBezTo>
                    <a:pt x="2231" y="873"/>
                    <a:pt x="2225" y="867"/>
                    <a:pt x="2218" y="867"/>
                  </a:cubicBezTo>
                  <a:cubicBezTo>
                    <a:pt x="2211" y="867"/>
                    <a:pt x="2205" y="873"/>
                    <a:pt x="2205" y="880"/>
                  </a:cubicBezTo>
                  <a:cubicBezTo>
                    <a:pt x="2205" y="887"/>
                    <a:pt x="2211" y="893"/>
                    <a:pt x="2218" y="893"/>
                  </a:cubicBezTo>
                  <a:close/>
                  <a:moveTo>
                    <a:pt x="2257" y="867"/>
                  </a:moveTo>
                  <a:cubicBezTo>
                    <a:pt x="2250" y="867"/>
                    <a:pt x="2245" y="873"/>
                    <a:pt x="2245" y="880"/>
                  </a:cubicBezTo>
                  <a:cubicBezTo>
                    <a:pt x="2245" y="887"/>
                    <a:pt x="2250" y="893"/>
                    <a:pt x="2257" y="893"/>
                  </a:cubicBezTo>
                  <a:cubicBezTo>
                    <a:pt x="2264" y="893"/>
                    <a:pt x="2270" y="887"/>
                    <a:pt x="2270" y="880"/>
                  </a:cubicBezTo>
                  <a:cubicBezTo>
                    <a:pt x="2270" y="873"/>
                    <a:pt x="2264" y="867"/>
                    <a:pt x="2257" y="867"/>
                  </a:cubicBezTo>
                  <a:close/>
                  <a:moveTo>
                    <a:pt x="2415" y="867"/>
                  </a:moveTo>
                  <a:cubicBezTo>
                    <a:pt x="2408" y="867"/>
                    <a:pt x="2402" y="873"/>
                    <a:pt x="2402" y="880"/>
                  </a:cubicBezTo>
                  <a:cubicBezTo>
                    <a:pt x="2402" y="887"/>
                    <a:pt x="2408" y="893"/>
                    <a:pt x="2415" y="893"/>
                  </a:cubicBezTo>
                  <a:cubicBezTo>
                    <a:pt x="2422" y="893"/>
                    <a:pt x="2428" y="887"/>
                    <a:pt x="2428" y="880"/>
                  </a:cubicBezTo>
                  <a:cubicBezTo>
                    <a:pt x="2428" y="873"/>
                    <a:pt x="2422" y="867"/>
                    <a:pt x="2415" y="867"/>
                  </a:cubicBezTo>
                  <a:close/>
                  <a:moveTo>
                    <a:pt x="2455" y="893"/>
                  </a:moveTo>
                  <a:cubicBezTo>
                    <a:pt x="2462" y="893"/>
                    <a:pt x="2467" y="887"/>
                    <a:pt x="2467" y="880"/>
                  </a:cubicBezTo>
                  <a:cubicBezTo>
                    <a:pt x="2467" y="873"/>
                    <a:pt x="2462" y="867"/>
                    <a:pt x="2455" y="867"/>
                  </a:cubicBezTo>
                  <a:cubicBezTo>
                    <a:pt x="2447" y="867"/>
                    <a:pt x="2442" y="873"/>
                    <a:pt x="2442" y="880"/>
                  </a:cubicBezTo>
                  <a:cubicBezTo>
                    <a:pt x="2442" y="887"/>
                    <a:pt x="2447" y="893"/>
                    <a:pt x="2455" y="893"/>
                  </a:cubicBezTo>
                  <a:close/>
                  <a:moveTo>
                    <a:pt x="2494" y="893"/>
                  </a:moveTo>
                  <a:cubicBezTo>
                    <a:pt x="2501" y="893"/>
                    <a:pt x="2507" y="887"/>
                    <a:pt x="2507" y="880"/>
                  </a:cubicBezTo>
                  <a:cubicBezTo>
                    <a:pt x="2507" y="873"/>
                    <a:pt x="2501" y="867"/>
                    <a:pt x="2494" y="867"/>
                  </a:cubicBezTo>
                  <a:cubicBezTo>
                    <a:pt x="2487" y="867"/>
                    <a:pt x="2481" y="873"/>
                    <a:pt x="2481" y="880"/>
                  </a:cubicBezTo>
                  <a:cubicBezTo>
                    <a:pt x="2481" y="887"/>
                    <a:pt x="2487" y="893"/>
                    <a:pt x="2494" y="893"/>
                  </a:cubicBezTo>
                  <a:close/>
                  <a:moveTo>
                    <a:pt x="2533" y="893"/>
                  </a:moveTo>
                  <a:cubicBezTo>
                    <a:pt x="2540" y="893"/>
                    <a:pt x="2546" y="887"/>
                    <a:pt x="2546" y="880"/>
                  </a:cubicBezTo>
                  <a:cubicBezTo>
                    <a:pt x="2546" y="873"/>
                    <a:pt x="2540" y="867"/>
                    <a:pt x="2533" y="867"/>
                  </a:cubicBezTo>
                  <a:cubicBezTo>
                    <a:pt x="2526" y="867"/>
                    <a:pt x="2521" y="873"/>
                    <a:pt x="2521" y="880"/>
                  </a:cubicBezTo>
                  <a:cubicBezTo>
                    <a:pt x="2521" y="887"/>
                    <a:pt x="2526" y="893"/>
                    <a:pt x="2533" y="893"/>
                  </a:cubicBezTo>
                  <a:close/>
                  <a:moveTo>
                    <a:pt x="2573" y="893"/>
                  </a:moveTo>
                  <a:cubicBezTo>
                    <a:pt x="2580" y="893"/>
                    <a:pt x="2586" y="887"/>
                    <a:pt x="2586" y="880"/>
                  </a:cubicBezTo>
                  <a:cubicBezTo>
                    <a:pt x="2586" y="873"/>
                    <a:pt x="2580" y="867"/>
                    <a:pt x="2573" y="867"/>
                  </a:cubicBezTo>
                  <a:cubicBezTo>
                    <a:pt x="2566" y="867"/>
                    <a:pt x="2560" y="873"/>
                    <a:pt x="2560" y="880"/>
                  </a:cubicBezTo>
                  <a:cubicBezTo>
                    <a:pt x="2560" y="887"/>
                    <a:pt x="2566" y="893"/>
                    <a:pt x="2573" y="893"/>
                  </a:cubicBezTo>
                  <a:close/>
                  <a:moveTo>
                    <a:pt x="2612" y="867"/>
                  </a:moveTo>
                  <a:cubicBezTo>
                    <a:pt x="2605" y="867"/>
                    <a:pt x="2599" y="873"/>
                    <a:pt x="2599" y="880"/>
                  </a:cubicBezTo>
                  <a:cubicBezTo>
                    <a:pt x="2599" y="887"/>
                    <a:pt x="2605" y="893"/>
                    <a:pt x="2612" y="893"/>
                  </a:cubicBezTo>
                  <a:cubicBezTo>
                    <a:pt x="2619" y="893"/>
                    <a:pt x="2625" y="887"/>
                    <a:pt x="2625" y="880"/>
                  </a:cubicBezTo>
                  <a:cubicBezTo>
                    <a:pt x="2625" y="873"/>
                    <a:pt x="2619" y="867"/>
                    <a:pt x="2612" y="867"/>
                  </a:cubicBezTo>
                  <a:close/>
                  <a:moveTo>
                    <a:pt x="2652" y="893"/>
                  </a:moveTo>
                  <a:cubicBezTo>
                    <a:pt x="2659" y="893"/>
                    <a:pt x="2664" y="887"/>
                    <a:pt x="2664" y="880"/>
                  </a:cubicBezTo>
                  <a:cubicBezTo>
                    <a:pt x="2664" y="873"/>
                    <a:pt x="2659" y="867"/>
                    <a:pt x="2652" y="867"/>
                  </a:cubicBezTo>
                  <a:cubicBezTo>
                    <a:pt x="2645" y="867"/>
                    <a:pt x="2639" y="873"/>
                    <a:pt x="2639" y="880"/>
                  </a:cubicBezTo>
                  <a:cubicBezTo>
                    <a:pt x="2639" y="887"/>
                    <a:pt x="2645" y="893"/>
                    <a:pt x="2652" y="893"/>
                  </a:cubicBezTo>
                  <a:close/>
                  <a:moveTo>
                    <a:pt x="2691" y="893"/>
                  </a:moveTo>
                  <a:cubicBezTo>
                    <a:pt x="2698" y="893"/>
                    <a:pt x="2704" y="887"/>
                    <a:pt x="2704" y="880"/>
                  </a:cubicBezTo>
                  <a:cubicBezTo>
                    <a:pt x="2704" y="873"/>
                    <a:pt x="2698" y="867"/>
                    <a:pt x="2691" y="867"/>
                  </a:cubicBezTo>
                  <a:cubicBezTo>
                    <a:pt x="2684" y="867"/>
                    <a:pt x="2678" y="873"/>
                    <a:pt x="2678" y="880"/>
                  </a:cubicBezTo>
                  <a:cubicBezTo>
                    <a:pt x="2678" y="887"/>
                    <a:pt x="2684" y="893"/>
                    <a:pt x="2691" y="893"/>
                  </a:cubicBezTo>
                  <a:close/>
                  <a:moveTo>
                    <a:pt x="2730" y="893"/>
                  </a:moveTo>
                  <a:cubicBezTo>
                    <a:pt x="2738" y="893"/>
                    <a:pt x="2743" y="887"/>
                    <a:pt x="2743" y="880"/>
                  </a:cubicBezTo>
                  <a:cubicBezTo>
                    <a:pt x="2743" y="873"/>
                    <a:pt x="2738" y="867"/>
                    <a:pt x="2730" y="867"/>
                  </a:cubicBezTo>
                  <a:cubicBezTo>
                    <a:pt x="2723" y="867"/>
                    <a:pt x="2718" y="873"/>
                    <a:pt x="2718" y="880"/>
                  </a:cubicBezTo>
                  <a:cubicBezTo>
                    <a:pt x="2718" y="887"/>
                    <a:pt x="2723" y="893"/>
                    <a:pt x="2730" y="893"/>
                  </a:cubicBezTo>
                  <a:close/>
                  <a:moveTo>
                    <a:pt x="2770" y="893"/>
                  </a:moveTo>
                  <a:cubicBezTo>
                    <a:pt x="2777" y="893"/>
                    <a:pt x="2783" y="887"/>
                    <a:pt x="2783" y="880"/>
                  </a:cubicBezTo>
                  <a:cubicBezTo>
                    <a:pt x="2783" y="873"/>
                    <a:pt x="2777" y="867"/>
                    <a:pt x="2770" y="867"/>
                  </a:cubicBezTo>
                  <a:cubicBezTo>
                    <a:pt x="2763" y="867"/>
                    <a:pt x="2757" y="873"/>
                    <a:pt x="2757" y="880"/>
                  </a:cubicBezTo>
                  <a:cubicBezTo>
                    <a:pt x="2757" y="887"/>
                    <a:pt x="2763" y="893"/>
                    <a:pt x="2770" y="893"/>
                  </a:cubicBezTo>
                  <a:close/>
                  <a:moveTo>
                    <a:pt x="2809" y="893"/>
                  </a:moveTo>
                  <a:cubicBezTo>
                    <a:pt x="2816" y="893"/>
                    <a:pt x="2822" y="887"/>
                    <a:pt x="2822" y="880"/>
                  </a:cubicBezTo>
                  <a:cubicBezTo>
                    <a:pt x="2822" y="873"/>
                    <a:pt x="2816" y="867"/>
                    <a:pt x="2809" y="867"/>
                  </a:cubicBezTo>
                  <a:cubicBezTo>
                    <a:pt x="2802" y="867"/>
                    <a:pt x="2797" y="873"/>
                    <a:pt x="2797" y="880"/>
                  </a:cubicBezTo>
                  <a:cubicBezTo>
                    <a:pt x="2797" y="887"/>
                    <a:pt x="2802" y="893"/>
                    <a:pt x="2809" y="893"/>
                  </a:cubicBezTo>
                  <a:close/>
                  <a:moveTo>
                    <a:pt x="2849" y="893"/>
                  </a:moveTo>
                  <a:cubicBezTo>
                    <a:pt x="2856" y="893"/>
                    <a:pt x="2862" y="887"/>
                    <a:pt x="2862" y="880"/>
                  </a:cubicBezTo>
                  <a:cubicBezTo>
                    <a:pt x="2862" y="873"/>
                    <a:pt x="2856" y="867"/>
                    <a:pt x="2849" y="867"/>
                  </a:cubicBezTo>
                  <a:cubicBezTo>
                    <a:pt x="2842" y="867"/>
                    <a:pt x="2836" y="873"/>
                    <a:pt x="2836" y="880"/>
                  </a:cubicBezTo>
                  <a:cubicBezTo>
                    <a:pt x="2836" y="887"/>
                    <a:pt x="2842" y="893"/>
                    <a:pt x="2849" y="893"/>
                  </a:cubicBezTo>
                  <a:close/>
                  <a:moveTo>
                    <a:pt x="2888" y="893"/>
                  </a:moveTo>
                  <a:cubicBezTo>
                    <a:pt x="2895" y="893"/>
                    <a:pt x="2901" y="887"/>
                    <a:pt x="2901" y="880"/>
                  </a:cubicBezTo>
                  <a:cubicBezTo>
                    <a:pt x="2901" y="873"/>
                    <a:pt x="2895" y="867"/>
                    <a:pt x="2888" y="867"/>
                  </a:cubicBezTo>
                  <a:cubicBezTo>
                    <a:pt x="2881" y="867"/>
                    <a:pt x="2875" y="873"/>
                    <a:pt x="2875" y="880"/>
                  </a:cubicBezTo>
                  <a:cubicBezTo>
                    <a:pt x="2875" y="887"/>
                    <a:pt x="2881" y="893"/>
                    <a:pt x="2888" y="893"/>
                  </a:cubicBezTo>
                  <a:close/>
                  <a:moveTo>
                    <a:pt x="2928" y="893"/>
                  </a:moveTo>
                  <a:cubicBezTo>
                    <a:pt x="2935" y="893"/>
                    <a:pt x="2940" y="887"/>
                    <a:pt x="2940" y="880"/>
                  </a:cubicBezTo>
                  <a:cubicBezTo>
                    <a:pt x="2940" y="873"/>
                    <a:pt x="2935" y="867"/>
                    <a:pt x="2928" y="867"/>
                  </a:cubicBezTo>
                  <a:cubicBezTo>
                    <a:pt x="2921" y="867"/>
                    <a:pt x="2915" y="873"/>
                    <a:pt x="2915" y="880"/>
                  </a:cubicBezTo>
                  <a:cubicBezTo>
                    <a:pt x="2915" y="887"/>
                    <a:pt x="2921" y="893"/>
                    <a:pt x="2928" y="893"/>
                  </a:cubicBezTo>
                  <a:close/>
                  <a:moveTo>
                    <a:pt x="641" y="907"/>
                  </a:moveTo>
                  <a:cubicBezTo>
                    <a:pt x="634" y="907"/>
                    <a:pt x="628" y="912"/>
                    <a:pt x="628" y="919"/>
                  </a:cubicBezTo>
                  <a:cubicBezTo>
                    <a:pt x="628" y="926"/>
                    <a:pt x="634" y="932"/>
                    <a:pt x="641" y="932"/>
                  </a:cubicBezTo>
                  <a:cubicBezTo>
                    <a:pt x="648" y="932"/>
                    <a:pt x="654" y="926"/>
                    <a:pt x="654" y="919"/>
                  </a:cubicBezTo>
                  <a:cubicBezTo>
                    <a:pt x="654" y="912"/>
                    <a:pt x="648" y="907"/>
                    <a:pt x="641" y="907"/>
                  </a:cubicBezTo>
                  <a:close/>
                  <a:moveTo>
                    <a:pt x="680" y="907"/>
                  </a:moveTo>
                  <a:cubicBezTo>
                    <a:pt x="673" y="907"/>
                    <a:pt x="668" y="912"/>
                    <a:pt x="668" y="919"/>
                  </a:cubicBezTo>
                  <a:cubicBezTo>
                    <a:pt x="668" y="926"/>
                    <a:pt x="673" y="932"/>
                    <a:pt x="680" y="932"/>
                  </a:cubicBezTo>
                  <a:cubicBezTo>
                    <a:pt x="687" y="932"/>
                    <a:pt x="693" y="926"/>
                    <a:pt x="693" y="919"/>
                  </a:cubicBezTo>
                  <a:cubicBezTo>
                    <a:pt x="693" y="912"/>
                    <a:pt x="687" y="907"/>
                    <a:pt x="680" y="907"/>
                  </a:cubicBezTo>
                  <a:close/>
                  <a:moveTo>
                    <a:pt x="799" y="907"/>
                  </a:moveTo>
                  <a:cubicBezTo>
                    <a:pt x="792" y="907"/>
                    <a:pt x="786" y="912"/>
                    <a:pt x="786" y="919"/>
                  </a:cubicBezTo>
                  <a:cubicBezTo>
                    <a:pt x="786" y="926"/>
                    <a:pt x="792" y="932"/>
                    <a:pt x="799" y="932"/>
                  </a:cubicBezTo>
                  <a:cubicBezTo>
                    <a:pt x="806" y="932"/>
                    <a:pt x="811" y="926"/>
                    <a:pt x="811" y="919"/>
                  </a:cubicBezTo>
                  <a:cubicBezTo>
                    <a:pt x="811" y="912"/>
                    <a:pt x="806" y="907"/>
                    <a:pt x="799" y="907"/>
                  </a:cubicBezTo>
                  <a:close/>
                  <a:moveTo>
                    <a:pt x="930" y="919"/>
                  </a:moveTo>
                  <a:cubicBezTo>
                    <a:pt x="930" y="912"/>
                    <a:pt x="924" y="907"/>
                    <a:pt x="917" y="907"/>
                  </a:cubicBezTo>
                  <a:cubicBezTo>
                    <a:pt x="910" y="907"/>
                    <a:pt x="904" y="912"/>
                    <a:pt x="904" y="919"/>
                  </a:cubicBezTo>
                  <a:cubicBezTo>
                    <a:pt x="904" y="926"/>
                    <a:pt x="910" y="932"/>
                    <a:pt x="917" y="932"/>
                  </a:cubicBezTo>
                  <a:cubicBezTo>
                    <a:pt x="924" y="932"/>
                    <a:pt x="930" y="926"/>
                    <a:pt x="930" y="919"/>
                  </a:cubicBezTo>
                  <a:close/>
                  <a:moveTo>
                    <a:pt x="1548" y="932"/>
                  </a:moveTo>
                  <a:cubicBezTo>
                    <a:pt x="1555" y="932"/>
                    <a:pt x="1561" y="926"/>
                    <a:pt x="1561" y="919"/>
                  </a:cubicBezTo>
                  <a:cubicBezTo>
                    <a:pt x="1561" y="912"/>
                    <a:pt x="1555" y="907"/>
                    <a:pt x="1548" y="907"/>
                  </a:cubicBezTo>
                  <a:cubicBezTo>
                    <a:pt x="1541" y="907"/>
                    <a:pt x="1535" y="912"/>
                    <a:pt x="1535" y="919"/>
                  </a:cubicBezTo>
                  <a:cubicBezTo>
                    <a:pt x="1535" y="926"/>
                    <a:pt x="1541" y="932"/>
                    <a:pt x="1548" y="932"/>
                  </a:cubicBezTo>
                  <a:close/>
                  <a:moveTo>
                    <a:pt x="1587" y="932"/>
                  </a:moveTo>
                  <a:cubicBezTo>
                    <a:pt x="1594" y="932"/>
                    <a:pt x="1600" y="926"/>
                    <a:pt x="1600" y="919"/>
                  </a:cubicBezTo>
                  <a:cubicBezTo>
                    <a:pt x="1600" y="912"/>
                    <a:pt x="1594" y="907"/>
                    <a:pt x="1587" y="907"/>
                  </a:cubicBezTo>
                  <a:cubicBezTo>
                    <a:pt x="1580" y="907"/>
                    <a:pt x="1574" y="912"/>
                    <a:pt x="1574" y="919"/>
                  </a:cubicBezTo>
                  <a:cubicBezTo>
                    <a:pt x="1574" y="926"/>
                    <a:pt x="1580" y="932"/>
                    <a:pt x="1587" y="932"/>
                  </a:cubicBezTo>
                  <a:close/>
                  <a:moveTo>
                    <a:pt x="1627" y="932"/>
                  </a:moveTo>
                  <a:cubicBezTo>
                    <a:pt x="1634" y="932"/>
                    <a:pt x="1639" y="926"/>
                    <a:pt x="1639" y="919"/>
                  </a:cubicBezTo>
                  <a:cubicBezTo>
                    <a:pt x="1639" y="912"/>
                    <a:pt x="1634" y="907"/>
                    <a:pt x="1627" y="907"/>
                  </a:cubicBezTo>
                  <a:cubicBezTo>
                    <a:pt x="1620" y="907"/>
                    <a:pt x="1614" y="912"/>
                    <a:pt x="1614" y="919"/>
                  </a:cubicBezTo>
                  <a:cubicBezTo>
                    <a:pt x="1614" y="926"/>
                    <a:pt x="1620" y="932"/>
                    <a:pt x="1627" y="932"/>
                  </a:cubicBezTo>
                  <a:close/>
                  <a:moveTo>
                    <a:pt x="1666" y="932"/>
                  </a:moveTo>
                  <a:cubicBezTo>
                    <a:pt x="1673" y="932"/>
                    <a:pt x="1679" y="926"/>
                    <a:pt x="1679" y="919"/>
                  </a:cubicBezTo>
                  <a:cubicBezTo>
                    <a:pt x="1679" y="912"/>
                    <a:pt x="1673" y="907"/>
                    <a:pt x="1666" y="907"/>
                  </a:cubicBezTo>
                  <a:cubicBezTo>
                    <a:pt x="1659" y="907"/>
                    <a:pt x="1653" y="912"/>
                    <a:pt x="1653" y="919"/>
                  </a:cubicBezTo>
                  <a:cubicBezTo>
                    <a:pt x="1653" y="926"/>
                    <a:pt x="1659" y="932"/>
                    <a:pt x="1666" y="932"/>
                  </a:cubicBezTo>
                  <a:close/>
                  <a:moveTo>
                    <a:pt x="1705" y="932"/>
                  </a:moveTo>
                  <a:cubicBezTo>
                    <a:pt x="1713" y="932"/>
                    <a:pt x="1718" y="926"/>
                    <a:pt x="1718" y="919"/>
                  </a:cubicBezTo>
                  <a:cubicBezTo>
                    <a:pt x="1718" y="912"/>
                    <a:pt x="1713" y="907"/>
                    <a:pt x="1705" y="907"/>
                  </a:cubicBezTo>
                  <a:cubicBezTo>
                    <a:pt x="1698" y="907"/>
                    <a:pt x="1693" y="912"/>
                    <a:pt x="1693" y="919"/>
                  </a:cubicBezTo>
                  <a:cubicBezTo>
                    <a:pt x="1693" y="926"/>
                    <a:pt x="1698" y="932"/>
                    <a:pt x="1705" y="932"/>
                  </a:cubicBezTo>
                  <a:close/>
                  <a:moveTo>
                    <a:pt x="1745" y="932"/>
                  </a:moveTo>
                  <a:cubicBezTo>
                    <a:pt x="1752" y="932"/>
                    <a:pt x="1758" y="926"/>
                    <a:pt x="1758" y="919"/>
                  </a:cubicBezTo>
                  <a:cubicBezTo>
                    <a:pt x="1758" y="912"/>
                    <a:pt x="1752" y="907"/>
                    <a:pt x="1745" y="907"/>
                  </a:cubicBezTo>
                  <a:cubicBezTo>
                    <a:pt x="1738" y="907"/>
                    <a:pt x="1732" y="912"/>
                    <a:pt x="1732" y="919"/>
                  </a:cubicBezTo>
                  <a:cubicBezTo>
                    <a:pt x="1732" y="926"/>
                    <a:pt x="1738" y="932"/>
                    <a:pt x="1745" y="932"/>
                  </a:cubicBezTo>
                  <a:close/>
                  <a:moveTo>
                    <a:pt x="1784" y="932"/>
                  </a:moveTo>
                  <a:cubicBezTo>
                    <a:pt x="1791" y="932"/>
                    <a:pt x="1797" y="926"/>
                    <a:pt x="1797" y="919"/>
                  </a:cubicBezTo>
                  <a:cubicBezTo>
                    <a:pt x="1797" y="912"/>
                    <a:pt x="1791" y="907"/>
                    <a:pt x="1784" y="907"/>
                  </a:cubicBezTo>
                  <a:cubicBezTo>
                    <a:pt x="1777" y="907"/>
                    <a:pt x="1772" y="912"/>
                    <a:pt x="1772" y="919"/>
                  </a:cubicBezTo>
                  <a:cubicBezTo>
                    <a:pt x="1772" y="926"/>
                    <a:pt x="1777" y="932"/>
                    <a:pt x="1784" y="932"/>
                  </a:cubicBezTo>
                  <a:close/>
                  <a:moveTo>
                    <a:pt x="1824" y="932"/>
                  </a:moveTo>
                  <a:cubicBezTo>
                    <a:pt x="1831" y="932"/>
                    <a:pt x="1836" y="926"/>
                    <a:pt x="1836" y="919"/>
                  </a:cubicBezTo>
                  <a:cubicBezTo>
                    <a:pt x="1836" y="912"/>
                    <a:pt x="1831" y="907"/>
                    <a:pt x="1824" y="907"/>
                  </a:cubicBezTo>
                  <a:cubicBezTo>
                    <a:pt x="1817" y="907"/>
                    <a:pt x="1811" y="912"/>
                    <a:pt x="1811" y="919"/>
                  </a:cubicBezTo>
                  <a:cubicBezTo>
                    <a:pt x="1811" y="926"/>
                    <a:pt x="1817" y="932"/>
                    <a:pt x="1824" y="932"/>
                  </a:cubicBezTo>
                  <a:close/>
                  <a:moveTo>
                    <a:pt x="1863" y="932"/>
                  </a:moveTo>
                  <a:cubicBezTo>
                    <a:pt x="1870" y="932"/>
                    <a:pt x="1876" y="926"/>
                    <a:pt x="1876" y="919"/>
                  </a:cubicBezTo>
                  <a:cubicBezTo>
                    <a:pt x="1876" y="912"/>
                    <a:pt x="1870" y="907"/>
                    <a:pt x="1863" y="907"/>
                  </a:cubicBezTo>
                  <a:cubicBezTo>
                    <a:pt x="1856" y="907"/>
                    <a:pt x="1850" y="912"/>
                    <a:pt x="1850" y="919"/>
                  </a:cubicBezTo>
                  <a:cubicBezTo>
                    <a:pt x="1850" y="926"/>
                    <a:pt x="1856" y="932"/>
                    <a:pt x="1863" y="932"/>
                  </a:cubicBezTo>
                  <a:close/>
                  <a:moveTo>
                    <a:pt x="1903" y="932"/>
                  </a:moveTo>
                  <a:cubicBezTo>
                    <a:pt x="1910" y="932"/>
                    <a:pt x="1915" y="926"/>
                    <a:pt x="1915" y="919"/>
                  </a:cubicBezTo>
                  <a:cubicBezTo>
                    <a:pt x="1915" y="912"/>
                    <a:pt x="1910" y="907"/>
                    <a:pt x="1903" y="907"/>
                  </a:cubicBezTo>
                  <a:cubicBezTo>
                    <a:pt x="1896" y="907"/>
                    <a:pt x="1890" y="912"/>
                    <a:pt x="1890" y="919"/>
                  </a:cubicBezTo>
                  <a:cubicBezTo>
                    <a:pt x="1890" y="926"/>
                    <a:pt x="1896" y="932"/>
                    <a:pt x="1903" y="932"/>
                  </a:cubicBezTo>
                  <a:close/>
                  <a:moveTo>
                    <a:pt x="1942" y="932"/>
                  </a:moveTo>
                  <a:cubicBezTo>
                    <a:pt x="1949" y="932"/>
                    <a:pt x="1955" y="926"/>
                    <a:pt x="1955" y="919"/>
                  </a:cubicBezTo>
                  <a:cubicBezTo>
                    <a:pt x="1955" y="912"/>
                    <a:pt x="1949" y="907"/>
                    <a:pt x="1942" y="907"/>
                  </a:cubicBezTo>
                  <a:cubicBezTo>
                    <a:pt x="1935" y="907"/>
                    <a:pt x="1929" y="912"/>
                    <a:pt x="1929" y="919"/>
                  </a:cubicBezTo>
                  <a:cubicBezTo>
                    <a:pt x="1929" y="926"/>
                    <a:pt x="1935" y="932"/>
                    <a:pt x="1942" y="932"/>
                  </a:cubicBezTo>
                  <a:close/>
                  <a:moveTo>
                    <a:pt x="1981" y="932"/>
                  </a:moveTo>
                  <a:cubicBezTo>
                    <a:pt x="1988" y="932"/>
                    <a:pt x="1994" y="926"/>
                    <a:pt x="1994" y="919"/>
                  </a:cubicBezTo>
                  <a:cubicBezTo>
                    <a:pt x="1994" y="912"/>
                    <a:pt x="1988" y="907"/>
                    <a:pt x="1981" y="907"/>
                  </a:cubicBezTo>
                  <a:cubicBezTo>
                    <a:pt x="1974" y="907"/>
                    <a:pt x="1969" y="912"/>
                    <a:pt x="1969" y="919"/>
                  </a:cubicBezTo>
                  <a:cubicBezTo>
                    <a:pt x="1969" y="926"/>
                    <a:pt x="1974" y="932"/>
                    <a:pt x="1981" y="932"/>
                  </a:cubicBezTo>
                  <a:close/>
                  <a:moveTo>
                    <a:pt x="2021" y="932"/>
                  </a:moveTo>
                  <a:cubicBezTo>
                    <a:pt x="2028" y="932"/>
                    <a:pt x="2034" y="926"/>
                    <a:pt x="2034" y="919"/>
                  </a:cubicBezTo>
                  <a:cubicBezTo>
                    <a:pt x="2034" y="912"/>
                    <a:pt x="2028" y="907"/>
                    <a:pt x="2021" y="907"/>
                  </a:cubicBezTo>
                  <a:cubicBezTo>
                    <a:pt x="2014" y="907"/>
                    <a:pt x="2008" y="912"/>
                    <a:pt x="2008" y="919"/>
                  </a:cubicBezTo>
                  <a:cubicBezTo>
                    <a:pt x="2008" y="926"/>
                    <a:pt x="2014" y="932"/>
                    <a:pt x="2021" y="932"/>
                  </a:cubicBezTo>
                  <a:close/>
                  <a:moveTo>
                    <a:pt x="2060" y="932"/>
                  </a:moveTo>
                  <a:cubicBezTo>
                    <a:pt x="2067" y="932"/>
                    <a:pt x="2073" y="926"/>
                    <a:pt x="2073" y="919"/>
                  </a:cubicBezTo>
                  <a:cubicBezTo>
                    <a:pt x="2073" y="912"/>
                    <a:pt x="2067" y="907"/>
                    <a:pt x="2060" y="907"/>
                  </a:cubicBezTo>
                  <a:cubicBezTo>
                    <a:pt x="2053" y="907"/>
                    <a:pt x="2048" y="912"/>
                    <a:pt x="2048" y="919"/>
                  </a:cubicBezTo>
                  <a:cubicBezTo>
                    <a:pt x="2048" y="926"/>
                    <a:pt x="2053" y="932"/>
                    <a:pt x="2060" y="932"/>
                  </a:cubicBezTo>
                  <a:close/>
                  <a:moveTo>
                    <a:pt x="2100" y="932"/>
                  </a:moveTo>
                  <a:cubicBezTo>
                    <a:pt x="2107" y="932"/>
                    <a:pt x="2112" y="926"/>
                    <a:pt x="2112" y="919"/>
                  </a:cubicBezTo>
                  <a:cubicBezTo>
                    <a:pt x="2112" y="912"/>
                    <a:pt x="2107" y="907"/>
                    <a:pt x="2100" y="907"/>
                  </a:cubicBezTo>
                  <a:cubicBezTo>
                    <a:pt x="2093" y="907"/>
                    <a:pt x="2087" y="912"/>
                    <a:pt x="2087" y="919"/>
                  </a:cubicBezTo>
                  <a:cubicBezTo>
                    <a:pt x="2087" y="926"/>
                    <a:pt x="2093" y="932"/>
                    <a:pt x="2100" y="932"/>
                  </a:cubicBezTo>
                  <a:close/>
                  <a:moveTo>
                    <a:pt x="2139" y="932"/>
                  </a:moveTo>
                  <a:cubicBezTo>
                    <a:pt x="2146" y="932"/>
                    <a:pt x="2152" y="926"/>
                    <a:pt x="2152" y="919"/>
                  </a:cubicBezTo>
                  <a:cubicBezTo>
                    <a:pt x="2152" y="912"/>
                    <a:pt x="2146" y="907"/>
                    <a:pt x="2139" y="907"/>
                  </a:cubicBezTo>
                  <a:cubicBezTo>
                    <a:pt x="2132" y="907"/>
                    <a:pt x="2126" y="912"/>
                    <a:pt x="2126" y="919"/>
                  </a:cubicBezTo>
                  <a:cubicBezTo>
                    <a:pt x="2126" y="926"/>
                    <a:pt x="2132" y="932"/>
                    <a:pt x="2139" y="932"/>
                  </a:cubicBezTo>
                  <a:close/>
                  <a:moveTo>
                    <a:pt x="2179" y="932"/>
                  </a:moveTo>
                  <a:cubicBezTo>
                    <a:pt x="2186" y="932"/>
                    <a:pt x="2191" y="926"/>
                    <a:pt x="2191" y="919"/>
                  </a:cubicBezTo>
                  <a:cubicBezTo>
                    <a:pt x="2191" y="912"/>
                    <a:pt x="2186" y="907"/>
                    <a:pt x="2179" y="907"/>
                  </a:cubicBezTo>
                  <a:cubicBezTo>
                    <a:pt x="2172" y="907"/>
                    <a:pt x="2166" y="912"/>
                    <a:pt x="2166" y="919"/>
                  </a:cubicBezTo>
                  <a:cubicBezTo>
                    <a:pt x="2166" y="926"/>
                    <a:pt x="2172" y="932"/>
                    <a:pt x="2179" y="932"/>
                  </a:cubicBezTo>
                  <a:close/>
                  <a:moveTo>
                    <a:pt x="2218" y="932"/>
                  </a:moveTo>
                  <a:cubicBezTo>
                    <a:pt x="2225" y="932"/>
                    <a:pt x="2231" y="926"/>
                    <a:pt x="2231" y="919"/>
                  </a:cubicBezTo>
                  <a:cubicBezTo>
                    <a:pt x="2231" y="912"/>
                    <a:pt x="2225" y="907"/>
                    <a:pt x="2218" y="907"/>
                  </a:cubicBezTo>
                  <a:cubicBezTo>
                    <a:pt x="2211" y="907"/>
                    <a:pt x="2205" y="912"/>
                    <a:pt x="2205" y="919"/>
                  </a:cubicBezTo>
                  <a:cubicBezTo>
                    <a:pt x="2205" y="926"/>
                    <a:pt x="2211" y="932"/>
                    <a:pt x="2218" y="932"/>
                  </a:cubicBezTo>
                  <a:close/>
                  <a:moveTo>
                    <a:pt x="2257" y="907"/>
                  </a:moveTo>
                  <a:cubicBezTo>
                    <a:pt x="2250" y="907"/>
                    <a:pt x="2245" y="912"/>
                    <a:pt x="2245" y="919"/>
                  </a:cubicBezTo>
                  <a:cubicBezTo>
                    <a:pt x="2245" y="926"/>
                    <a:pt x="2250" y="932"/>
                    <a:pt x="2257" y="932"/>
                  </a:cubicBezTo>
                  <a:cubicBezTo>
                    <a:pt x="2264" y="932"/>
                    <a:pt x="2270" y="926"/>
                    <a:pt x="2270" y="919"/>
                  </a:cubicBezTo>
                  <a:cubicBezTo>
                    <a:pt x="2270" y="912"/>
                    <a:pt x="2264" y="907"/>
                    <a:pt x="2257" y="907"/>
                  </a:cubicBezTo>
                  <a:close/>
                  <a:moveTo>
                    <a:pt x="2455" y="932"/>
                  </a:moveTo>
                  <a:cubicBezTo>
                    <a:pt x="2462" y="932"/>
                    <a:pt x="2467" y="926"/>
                    <a:pt x="2467" y="919"/>
                  </a:cubicBezTo>
                  <a:cubicBezTo>
                    <a:pt x="2467" y="912"/>
                    <a:pt x="2462" y="907"/>
                    <a:pt x="2455" y="907"/>
                  </a:cubicBezTo>
                  <a:cubicBezTo>
                    <a:pt x="2447" y="907"/>
                    <a:pt x="2442" y="912"/>
                    <a:pt x="2442" y="919"/>
                  </a:cubicBezTo>
                  <a:cubicBezTo>
                    <a:pt x="2442" y="926"/>
                    <a:pt x="2447" y="932"/>
                    <a:pt x="2455" y="932"/>
                  </a:cubicBezTo>
                  <a:close/>
                  <a:moveTo>
                    <a:pt x="2494" y="932"/>
                  </a:moveTo>
                  <a:cubicBezTo>
                    <a:pt x="2501" y="932"/>
                    <a:pt x="2507" y="926"/>
                    <a:pt x="2507" y="919"/>
                  </a:cubicBezTo>
                  <a:cubicBezTo>
                    <a:pt x="2507" y="912"/>
                    <a:pt x="2501" y="907"/>
                    <a:pt x="2494" y="907"/>
                  </a:cubicBezTo>
                  <a:cubicBezTo>
                    <a:pt x="2487" y="907"/>
                    <a:pt x="2481" y="912"/>
                    <a:pt x="2481" y="919"/>
                  </a:cubicBezTo>
                  <a:cubicBezTo>
                    <a:pt x="2481" y="926"/>
                    <a:pt x="2487" y="932"/>
                    <a:pt x="2494" y="932"/>
                  </a:cubicBezTo>
                  <a:close/>
                  <a:moveTo>
                    <a:pt x="2533" y="907"/>
                  </a:moveTo>
                  <a:cubicBezTo>
                    <a:pt x="2526" y="907"/>
                    <a:pt x="2521" y="912"/>
                    <a:pt x="2521" y="919"/>
                  </a:cubicBezTo>
                  <a:cubicBezTo>
                    <a:pt x="2521" y="926"/>
                    <a:pt x="2526" y="932"/>
                    <a:pt x="2533" y="932"/>
                  </a:cubicBezTo>
                  <a:cubicBezTo>
                    <a:pt x="2540" y="932"/>
                    <a:pt x="2546" y="926"/>
                    <a:pt x="2546" y="919"/>
                  </a:cubicBezTo>
                  <a:cubicBezTo>
                    <a:pt x="2546" y="912"/>
                    <a:pt x="2540" y="907"/>
                    <a:pt x="2533" y="907"/>
                  </a:cubicBezTo>
                  <a:close/>
                  <a:moveTo>
                    <a:pt x="2573" y="907"/>
                  </a:moveTo>
                  <a:cubicBezTo>
                    <a:pt x="2566" y="907"/>
                    <a:pt x="2560" y="912"/>
                    <a:pt x="2560" y="919"/>
                  </a:cubicBezTo>
                  <a:cubicBezTo>
                    <a:pt x="2560" y="926"/>
                    <a:pt x="2566" y="932"/>
                    <a:pt x="2573" y="932"/>
                  </a:cubicBezTo>
                  <a:cubicBezTo>
                    <a:pt x="2580" y="932"/>
                    <a:pt x="2586" y="926"/>
                    <a:pt x="2586" y="919"/>
                  </a:cubicBezTo>
                  <a:cubicBezTo>
                    <a:pt x="2586" y="912"/>
                    <a:pt x="2580" y="907"/>
                    <a:pt x="2573" y="907"/>
                  </a:cubicBezTo>
                  <a:close/>
                  <a:moveTo>
                    <a:pt x="2652" y="907"/>
                  </a:moveTo>
                  <a:cubicBezTo>
                    <a:pt x="2645" y="907"/>
                    <a:pt x="2639" y="912"/>
                    <a:pt x="2639" y="919"/>
                  </a:cubicBezTo>
                  <a:cubicBezTo>
                    <a:pt x="2639" y="926"/>
                    <a:pt x="2645" y="932"/>
                    <a:pt x="2652" y="932"/>
                  </a:cubicBezTo>
                  <a:cubicBezTo>
                    <a:pt x="2659" y="932"/>
                    <a:pt x="2664" y="926"/>
                    <a:pt x="2664" y="919"/>
                  </a:cubicBezTo>
                  <a:cubicBezTo>
                    <a:pt x="2664" y="912"/>
                    <a:pt x="2659" y="907"/>
                    <a:pt x="2652" y="907"/>
                  </a:cubicBezTo>
                  <a:close/>
                  <a:moveTo>
                    <a:pt x="2691" y="932"/>
                  </a:moveTo>
                  <a:cubicBezTo>
                    <a:pt x="2698" y="932"/>
                    <a:pt x="2704" y="926"/>
                    <a:pt x="2704" y="919"/>
                  </a:cubicBezTo>
                  <a:cubicBezTo>
                    <a:pt x="2704" y="912"/>
                    <a:pt x="2698" y="907"/>
                    <a:pt x="2691" y="907"/>
                  </a:cubicBezTo>
                  <a:cubicBezTo>
                    <a:pt x="2684" y="907"/>
                    <a:pt x="2678" y="912"/>
                    <a:pt x="2678" y="919"/>
                  </a:cubicBezTo>
                  <a:cubicBezTo>
                    <a:pt x="2678" y="926"/>
                    <a:pt x="2684" y="932"/>
                    <a:pt x="2691" y="932"/>
                  </a:cubicBezTo>
                  <a:close/>
                  <a:moveTo>
                    <a:pt x="2730" y="907"/>
                  </a:moveTo>
                  <a:cubicBezTo>
                    <a:pt x="2723" y="907"/>
                    <a:pt x="2718" y="912"/>
                    <a:pt x="2718" y="919"/>
                  </a:cubicBezTo>
                  <a:cubicBezTo>
                    <a:pt x="2718" y="926"/>
                    <a:pt x="2723" y="932"/>
                    <a:pt x="2730" y="932"/>
                  </a:cubicBezTo>
                  <a:cubicBezTo>
                    <a:pt x="2738" y="932"/>
                    <a:pt x="2743" y="926"/>
                    <a:pt x="2743" y="919"/>
                  </a:cubicBezTo>
                  <a:cubicBezTo>
                    <a:pt x="2743" y="912"/>
                    <a:pt x="2738" y="907"/>
                    <a:pt x="2730" y="907"/>
                  </a:cubicBezTo>
                  <a:close/>
                  <a:moveTo>
                    <a:pt x="2770" y="932"/>
                  </a:moveTo>
                  <a:cubicBezTo>
                    <a:pt x="2777" y="932"/>
                    <a:pt x="2783" y="926"/>
                    <a:pt x="2783" y="919"/>
                  </a:cubicBezTo>
                  <a:cubicBezTo>
                    <a:pt x="2783" y="912"/>
                    <a:pt x="2777" y="907"/>
                    <a:pt x="2770" y="907"/>
                  </a:cubicBezTo>
                  <a:cubicBezTo>
                    <a:pt x="2763" y="907"/>
                    <a:pt x="2757" y="912"/>
                    <a:pt x="2757" y="919"/>
                  </a:cubicBezTo>
                  <a:cubicBezTo>
                    <a:pt x="2757" y="926"/>
                    <a:pt x="2763" y="932"/>
                    <a:pt x="2770" y="932"/>
                  </a:cubicBezTo>
                  <a:close/>
                  <a:moveTo>
                    <a:pt x="720" y="946"/>
                  </a:moveTo>
                  <a:cubicBezTo>
                    <a:pt x="713" y="946"/>
                    <a:pt x="707" y="952"/>
                    <a:pt x="707" y="959"/>
                  </a:cubicBezTo>
                  <a:cubicBezTo>
                    <a:pt x="707" y="966"/>
                    <a:pt x="713" y="972"/>
                    <a:pt x="720" y="972"/>
                  </a:cubicBezTo>
                  <a:cubicBezTo>
                    <a:pt x="727" y="972"/>
                    <a:pt x="733" y="966"/>
                    <a:pt x="733" y="959"/>
                  </a:cubicBezTo>
                  <a:cubicBezTo>
                    <a:pt x="733" y="952"/>
                    <a:pt x="727" y="946"/>
                    <a:pt x="720" y="946"/>
                  </a:cubicBezTo>
                  <a:close/>
                  <a:moveTo>
                    <a:pt x="759" y="946"/>
                  </a:moveTo>
                  <a:cubicBezTo>
                    <a:pt x="752" y="946"/>
                    <a:pt x="747" y="952"/>
                    <a:pt x="747" y="959"/>
                  </a:cubicBezTo>
                  <a:cubicBezTo>
                    <a:pt x="747" y="966"/>
                    <a:pt x="752" y="972"/>
                    <a:pt x="759" y="972"/>
                  </a:cubicBezTo>
                  <a:cubicBezTo>
                    <a:pt x="766" y="972"/>
                    <a:pt x="772" y="966"/>
                    <a:pt x="772" y="959"/>
                  </a:cubicBezTo>
                  <a:cubicBezTo>
                    <a:pt x="772" y="952"/>
                    <a:pt x="766" y="946"/>
                    <a:pt x="759" y="946"/>
                  </a:cubicBezTo>
                  <a:close/>
                  <a:moveTo>
                    <a:pt x="799" y="952"/>
                  </a:moveTo>
                  <a:cubicBezTo>
                    <a:pt x="795" y="952"/>
                    <a:pt x="791" y="955"/>
                    <a:pt x="791" y="959"/>
                  </a:cubicBezTo>
                  <a:cubicBezTo>
                    <a:pt x="791" y="963"/>
                    <a:pt x="795" y="966"/>
                    <a:pt x="799" y="966"/>
                  </a:cubicBezTo>
                  <a:cubicBezTo>
                    <a:pt x="803" y="966"/>
                    <a:pt x="806" y="963"/>
                    <a:pt x="806" y="959"/>
                  </a:cubicBezTo>
                  <a:cubicBezTo>
                    <a:pt x="806" y="955"/>
                    <a:pt x="803" y="952"/>
                    <a:pt x="799" y="952"/>
                  </a:cubicBezTo>
                  <a:close/>
                  <a:moveTo>
                    <a:pt x="1548" y="972"/>
                  </a:moveTo>
                  <a:cubicBezTo>
                    <a:pt x="1555" y="972"/>
                    <a:pt x="1561" y="966"/>
                    <a:pt x="1561" y="959"/>
                  </a:cubicBezTo>
                  <a:cubicBezTo>
                    <a:pt x="1561" y="952"/>
                    <a:pt x="1555" y="946"/>
                    <a:pt x="1548" y="946"/>
                  </a:cubicBezTo>
                  <a:cubicBezTo>
                    <a:pt x="1541" y="946"/>
                    <a:pt x="1535" y="952"/>
                    <a:pt x="1535" y="959"/>
                  </a:cubicBezTo>
                  <a:cubicBezTo>
                    <a:pt x="1535" y="966"/>
                    <a:pt x="1541" y="972"/>
                    <a:pt x="1548" y="972"/>
                  </a:cubicBezTo>
                  <a:close/>
                  <a:moveTo>
                    <a:pt x="1587" y="946"/>
                  </a:moveTo>
                  <a:cubicBezTo>
                    <a:pt x="1580" y="946"/>
                    <a:pt x="1574" y="952"/>
                    <a:pt x="1574" y="959"/>
                  </a:cubicBezTo>
                  <a:cubicBezTo>
                    <a:pt x="1574" y="966"/>
                    <a:pt x="1580" y="972"/>
                    <a:pt x="1587" y="972"/>
                  </a:cubicBezTo>
                  <a:cubicBezTo>
                    <a:pt x="1594" y="972"/>
                    <a:pt x="1600" y="966"/>
                    <a:pt x="1600" y="959"/>
                  </a:cubicBezTo>
                  <a:cubicBezTo>
                    <a:pt x="1600" y="952"/>
                    <a:pt x="1594" y="946"/>
                    <a:pt x="1587" y="946"/>
                  </a:cubicBezTo>
                  <a:close/>
                  <a:moveTo>
                    <a:pt x="1627" y="946"/>
                  </a:moveTo>
                  <a:cubicBezTo>
                    <a:pt x="1620" y="946"/>
                    <a:pt x="1614" y="952"/>
                    <a:pt x="1614" y="959"/>
                  </a:cubicBezTo>
                  <a:cubicBezTo>
                    <a:pt x="1614" y="966"/>
                    <a:pt x="1620" y="972"/>
                    <a:pt x="1627" y="972"/>
                  </a:cubicBezTo>
                  <a:cubicBezTo>
                    <a:pt x="1634" y="972"/>
                    <a:pt x="1639" y="966"/>
                    <a:pt x="1639" y="959"/>
                  </a:cubicBezTo>
                  <a:cubicBezTo>
                    <a:pt x="1639" y="952"/>
                    <a:pt x="1634" y="946"/>
                    <a:pt x="1627" y="946"/>
                  </a:cubicBezTo>
                  <a:close/>
                  <a:moveTo>
                    <a:pt x="1666" y="972"/>
                  </a:moveTo>
                  <a:cubicBezTo>
                    <a:pt x="1673" y="972"/>
                    <a:pt x="1679" y="966"/>
                    <a:pt x="1679" y="959"/>
                  </a:cubicBezTo>
                  <a:cubicBezTo>
                    <a:pt x="1679" y="952"/>
                    <a:pt x="1673" y="946"/>
                    <a:pt x="1666" y="946"/>
                  </a:cubicBezTo>
                  <a:cubicBezTo>
                    <a:pt x="1659" y="946"/>
                    <a:pt x="1653" y="952"/>
                    <a:pt x="1653" y="959"/>
                  </a:cubicBezTo>
                  <a:cubicBezTo>
                    <a:pt x="1653" y="966"/>
                    <a:pt x="1659" y="972"/>
                    <a:pt x="1666" y="972"/>
                  </a:cubicBezTo>
                  <a:close/>
                  <a:moveTo>
                    <a:pt x="1705" y="972"/>
                  </a:moveTo>
                  <a:cubicBezTo>
                    <a:pt x="1713" y="972"/>
                    <a:pt x="1718" y="966"/>
                    <a:pt x="1718" y="959"/>
                  </a:cubicBezTo>
                  <a:cubicBezTo>
                    <a:pt x="1718" y="952"/>
                    <a:pt x="1713" y="946"/>
                    <a:pt x="1705" y="946"/>
                  </a:cubicBezTo>
                  <a:cubicBezTo>
                    <a:pt x="1698" y="946"/>
                    <a:pt x="1693" y="952"/>
                    <a:pt x="1693" y="959"/>
                  </a:cubicBezTo>
                  <a:cubicBezTo>
                    <a:pt x="1693" y="966"/>
                    <a:pt x="1698" y="972"/>
                    <a:pt x="1705" y="972"/>
                  </a:cubicBezTo>
                  <a:close/>
                  <a:moveTo>
                    <a:pt x="1745" y="972"/>
                  </a:moveTo>
                  <a:cubicBezTo>
                    <a:pt x="1752" y="972"/>
                    <a:pt x="1758" y="966"/>
                    <a:pt x="1758" y="959"/>
                  </a:cubicBezTo>
                  <a:cubicBezTo>
                    <a:pt x="1758" y="952"/>
                    <a:pt x="1752" y="946"/>
                    <a:pt x="1745" y="946"/>
                  </a:cubicBezTo>
                  <a:cubicBezTo>
                    <a:pt x="1738" y="946"/>
                    <a:pt x="1732" y="952"/>
                    <a:pt x="1732" y="959"/>
                  </a:cubicBezTo>
                  <a:cubicBezTo>
                    <a:pt x="1732" y="966"/>
                    <a:pt x="1738" y="972"/>
                    <a:pt x="1745" y="972"/>
                  </a:cubicBezTo>
                  <a:close/>
                  <a:moveTo>
                    <a:pt x="1784" y="972"/>
                  </a:moveTo>
                  <a:cubicBezTo>
                    <a:pt x="1791" y="972"/>
                    <a:pt x="1797" y="966"/>
                    <a:pt x="1797" y="959"/>
                  </a:cubicBezTo>
                  <a:cubicBezTo>
                    <a:pt x="1797" y="952"/>
                    <a:pt x="1791" y="946"/>
                    <a:pt x="1784" y="946"/>
                  </a:cubicBezTo>
                  <a:cubicBezTo>
                    <a:pt x="1777" y="946"/>
                    <a:pt x="1772" y="952"/>
                    <a:pt x="1772" y="959"/>
                  </a:cubicBezTo>
                  <a:cubicBezTo>
                    <a:pt x="1772" y="966"/>
                    <a:pt x="1777" y="972"/>
                    <a:pt x="1784" y="972"/>
                  </a:cubicBezTo>
                  <a:close/>
                  <a:moveTo>
                    <a:pt x="1824" y="972"/>
                  </a:moveTo>
                  <a:cubicBezTo>
                    <a:pt x="1831" y="972"/>
                    <a:pt x="1836" y="966"/>
                    <a:pt x="1836" y="959"/>
                  </a:cubicBezTo>
                  <a:cubicBezTo>
                    <a:pt x="1836" y="952"/>
                    <a:pt x="1831" y="946"/>
                    <a:pt x="1824" y="946"/>
                  </a:cubicBezTo>
                  <a:cubicBezTo>
                    <a:pt x="1817" y="946"/>
                    <a:pt x="1811" y="952"/>
                    <a:pt x="1811" y="959"/>
                  </a:cubicBezTo>
                  <a:cubicBezTo>
                    <a:pt x="1811" y="966"/>
                    <a:pt x="1817" y="972"/>
                    <a:pt x="1824" y="972"/>
                  </a:cubicBezTo>
                  <a:close/>
                  <a:moveTo>
                    <a:pt x="1863" y="946"/>
                  </a:moveTo>
                  <a:cubicBezTo>
                    <a:pt x="1856" y="946"/>
                    <a:pt x="1850" y="952"/>
                    <a:pt x="1850" y="959"/>
                  </a:cubicBezTo>
                  <a:cubicBezTo>
                    <a:pt x="1850" y="966"/>
                    <a:pt x="1856" y="972"/>
                    <a:pt x="1863" y="972"/>
                  </a:cubicBezTo>
                  <a:cubicBezTo>
                    <a:pt x="1870" y="972"/>
                    <a:pt x="1876" y="966"/>
                    <a:pt x="1876" y="959"/>
                  </a:cubicBezTo>
                  <a:cubicBezTo>
                    <a:pt x="1876" y="952"/>
                    <a:pt x="1870" y="946"/>
                    <a:pt x="1863" y="946"/>
                  </a:cubicBezTo>
                  <a:close/>
                  <a:moveTo>
                    <a:pt x="1903" y="972"/>
                  </a:moveTo>
                  <a:cubicBezTo>
                    <a:pt x="1910" y="972"/>
                    <a:pt x="1915" y="966"/>
                    <a:pt x="1915" y="959"/>
                  </a:cubicBezTo>
                  <a:cubicBezTo>
                    <a:pt x="1915" y="952"/>
                    <a:pt x="1910" y="946"/>
                    <a:pt x="1903" y="946"/>
                  </a:cubicBezTo>
                  <a:cubicBezTo>
                    <a:pt x="1896" y="946"/>
                    <a:pt x="1890" y="952"/>
                    <a:pt x="1890" y="959"/>
                  </a:cubicBezTo>
                  <a:cubicBezTo>
                    <a:pt x="1890" y="966"/>
                    <a:pt x="1896" y="972"/>
                    <a:pt x="1903" y="972"/>
                  </a:cubicBezTo>
                  <a:close/>
                  <a:moveTo>
                    <a:pt x="1942" y="972"/>
                  </a:moveTo>
                  <a:cubicBezTo>
                    <a:pt x="1949" y="972"/>
                    <a:pt x="1955" y="966"/>
                    <a:pt x="1955" y="959"/>
                  </a:cubicBezTo>
                  <a:cubicBezTo>
                    <a:pt x="1955" y="952"/>
                    <a:pt x="1949" y="946"/>
                    <a:pt x="1942" y="946"/>
                  </a:cubicBezTo>
                  <a:cubicBezTo>
                    <a:pt x="1935" y="946"/>
                    <a:pt x="1929" y="952"/>
                    <a:pt x="1929" y="959"/>
                  </a:cubicBezTo>
                  <a:cubicBezTo>
                    <a:pt x="1929" y="966"/>
                    <a:pt x="1935" y="972"/>
                    <a:pt x="1942" y="972"/>
                  </a:cubicBezTo>
                  <a:close/>
                  <a:moveTo>
                    <a:pt x="1981" y="972"/>
                  </a:moveTo>
                  <a:cubicBezTo>
                    <a:pt x="1988" y="972"/>
                    <a:pt x="1994" y="966"/>
                    <a:pt x="1994" y="959"/>
                  </a:cubicBezTo>
                  <a:cubicBezTo>
                    <a:pt x="1994" y="952"/>
                    <a:pt x="1988" y="946"/>
                    <a:pt x="1981" y="946"/>
                  </a:cubicBezTo>
                  <a:cubicBezTo>
                    <a:pt x="1974" y="946"/>
                    <a:pt x="1969" y="952"/>
                    <a:pt x="1969" y="959"/>
                  </a:cubicBezTo>
                  <a:cubicBezTo>
                    <a:pt x="1969" y="966"/>
                    <a:pt x="1974" y="972"/>
                    <a:pt x="1981" y="972"/>
                  </a:cubicBezTo>
                  <a:close/>
                  <a:moveTo>
                    <a:pt x="2021" y="972"/>
                  </a:moveTo>
                  <a:cubicBezTo>
                    <a:pt x="2028" y="972"/>
                    <a:pt x="2034" y="966"/>
                    <a:pt x="2034" y="959"/>
                  </a:cubicBezTo>
                  <a:cubicBezTo>
                    <a:pt x="2034" y="952"/>
                    <a:pt x="2028" y="946"/>
                    <a:pt x="2021" y="946"/>
                  </a:cubicBezTo>
                  <a:cubicBezTo>
                    <a:pt x="2014" y="946"/>
                    <a:pt x="2008" y="952"/>
                    <a:pt x="2008" y="959"/>
                  </a:cubicBezTo>
                  <a:cubicBezTo>
                    <a:pt x="2008" y="966"/>
                    <a:pt x="2014" y="972"/>
                    <a:pt x="2021" y="972"/>
                  </a:cubicBezTo>
                  <a:close/>
                  <a:moveTo>
                    <a:pt x="2060" y="972"/>
                  </a:moveTo>
                  <a:cubicBezTo>
                    <a:pt x="2067" y="972"/>
                    <a:pt x="2073" y="966"/>
                    <a:pt x="2073" y="959"/>
                  </a:cubicBezTo>
                  <a:cubicBezTo>
                    <a:pt x="2073" y="952"/>
                    <a:pt x="2067" y="946"/>
                    <a:pt x="2060" y="946"/>
                  </a:cubicBezTo>
                  <a:cubicBezTo>
                    <a:pt x="2053" y="946"/>
                    <a:pt x="2048" y="952"/>
                    <a:pt x="2048" y="959"/>
                  </a:cubicBezTo>
                  <a:cubicBezTo>
                    <a:pt x="2048" y="966"/>
                    <a:pt x="2053" y="972"/>
                    <a:pt x="2060" y="972"/>
                  </a:cubicBezTo>
                  <a:close/>
                  <a:moveTo>
                    <a:pt x="2139" y="972"/>
                  </a:moveTo>
                  <a:cubicBezTo>
                    <a:pt x="2146" y="972"/>
                    <a:pt x="2152" y="966"/>
                    <a:pt x="2152" y="959"/>
                  </a:cubicBezTo>
                  <a:cubicBezTo>
                    <a:pt x="2152" y="952"/>
                    <a:pt x="2146" y="946"/>
                    <a:pt x="2139" y="946"/>
                  </a:cubicBezTo>
                  <a:cubicBezTo>
                    <a:pt x="2132" y="946"/>
                    <a:pt x="2126" y="952"/>
                    <a:pt x="2126" y="959"/>
                  </a:cubicBezTo>
                  <a:cubicBezTo>
                    <a:pt x="2126" y="966"/>
                    <a:pt x="2132" y="972"/>
                    <a:pt x="2139" y="972"/>
                  </a:cubicBezTo>
                  <a:close/>
                  <a:moveTo>
                    <a:pt x="2179" y="972"/>
                  </a:moveTo>
                  <a:cubicBezTo>
                    <a:pt x="2186" y="972"/>
                    <a:pt x="2191" y="966"/>
                    <a:pt x="2191" y="959"/>
                  </a:cubicBezTo>
                  <a:cubicBezTo>
                    <a:pt x="2191" y="952"/>
                    <a:pt x="2186" y="946"/>
                    <a:pt x="2179" y="946"/>
                  </a:cubicBezTo>
                  <a:cubicBezTo>
                    <a:pt x="2172" y="946"/>
                    <a:pt x="2166" y="952"/>
                    <a:pt x="2166" y="959"/>
                  </a:cubicBezTo>
                  <a:cubicBezTo>
                    <a:pt x="2166" y="966"/>
                    <a:pt x="2172" y="972"/>
                    <a:pt x="2179" y="972"/>
                  </a:cubicBezTo>
                  <a:close/>
                  <a:moveTo>
                    <a:pt x="2218" y="946"/>
                  </a:moveTo>
                  <a:cubicBezTo>
                    <a:pt x="2211" y="946"/>
                    <a:pt x="2205" y="952"/>
                    <a:pt x="2205" y="959"/>
                  </a:cubicBezTo>
                  <a:cubicBezTo>
                    <a:pt x="2205" y="966"/>
                    <a:pt x="2211" y="972"/>
                    <a:pt x="2218" y="972"/>
                  </a:cubicBezTo>
                  <a:cubicBezTo>
                    <a:pt x="2225" y="972"/>
                    <a:pt x="2231" y="966"/>
                    <a:pt x="2231" y="959"/>
                  </a:cubicBezTo>
                  <a:cubicBezTo>
                    <a:pt x="2231" y="952"/>
                    <a:pt x="2225" y="946"/>
                    <a:pt x="2218" y="946"/>
                  </a:cubicBezTo>
                  <a:close/>
                  <a:moveTo>
                    <a:pt x="2455" y="946"/>
                  </a:moveTo>
                  <a:cubicBezTo>
                    <a:pt x="2447" y="946"/>
                    <a:pt x="2442" y="952"/>
                    <a:pt x="2442" y="959"/>
                  </a:cubicBezTo>
                  <a:cubicBezTo>
                    <a:pt x="2442" y="966"/>
                    <a:pt x="2447" y="972"/>
                    <a:pt x="2455" y="972"/>
                  </a:cubicBezTo>
                  <a:cubicBezTo>
                    <a:pt x="2462" y="972"/>
                    <a:pt x="2467" y="966"/>
                    <a:pt x="2467" y="959"/>
                  </a:cubicBezTo>
                  <a:cubicBezTo>
                    <a:pt x="2467" y="952"/>
                    <a:pt x="2462" y="946"/>
                    <a:pt x="2455" y="946"/>
                  </a:cubicBezTo>
                  <a:close/>
                  <a:moveTo>
                    <a:pt x="2494" y="946"/>
                  </a:moveTo>
                  <a:cubicBezTo>
                    <a:pt x="2487" y="946"/>
                    <a:pt x="2481" y="952"/>
                    <a:pt x="2481" y="959"/>
                  </a:cubicBezTo>
                  <a:cubicBezTo>
                    <a:pt x="2481" y="966"/>
                    <a:pt x="2487" y="972"/>
                    <a:pt x="2494" y="972"/>
                  </a:cubicBezTo>
                  <a:cubicBezTo>
                    <a:pt x="2501" y="972"/>
                    <a:pt x="2507" y="966"/>
                    <a:pt x="2507" y="959"/>
                  </a:cubicBezTo>
                  <a:cubicBezTo>
                    <a:pt x="2507" y="952"/>
                    <a:pt x="2501" y="946"/>
                    <a:pt x="2494" y="946"/>
                  </a:cubicBezTo>
                  <a:close/>
                  <a:moveTo>
                    <a:pt x="2691" y="946"/>
                  </a:moveTo>
                  <a:cubicBezTo>
                    <a:pt x="2684" y="946"/>
                    <a:pt x="2678" y="952"/>
                    <a:pt x="2678" y="959"/>
                  </a:cubicBezTo>
                  <a:cubicBezTo>
                    <a:pt x="2678" y="966"/>
                    <a:pt x="2684" y="972"/>
                    <a:pt x="2691" y="972"/>
                  </a:cubicBezTo>
                  <a:cubicBezTo>
                    <a:pt x="2698" y="972"/>
                    <a:pt x="2704" y="966"/>
                    <a:pt x="2704" y="959"/>
                  </a:cubicBezTo>
                  <a:cubicBezTo>
                    <a:pt x="2704" y="952"/>
                    <a:pt x="2698" y="946"/>
                    <a:pt x="2691" y="946"/>
                  </a:cubicBezTo>
                  <a:close/>
                  <a:moveTo>
                    <a:pt x="2730" y="972"/>
                  </a:moveTo>
                  <a:cubicBezTo>
                    <a:pt x="2738" y="972"/>
                    <a:pt x="2743" y="966"/>
                    <a:pt x="2743" y="959"/>
                  </a:cubicBezTo>
                  <a:cubicBezTo>
                    <a:pt x="2743" y="952"/>
                    <a:pt x="2738" y="946"/>
                    <a:pt x="2730" y="946"/>
                  </a:cubicBezTo>
                  <a:cubicBezTo>
                    <a:pt x="2723" y="946"/>
                    <a:pt x="2718" y="952"/>
                    <a:pt x="2718" y="959"/>
                  </a:cubicBezTo>
                  <a:cubicBezTo>
                    <a:pt x="2718" y="966"/>
                    <a:pt x="2723" y="972"/>
                    <a:pt x="2730" y="972"/>
                  </a:cubicBezTo>
                  <a:close/>
                  <a:moveTo>
                    <a:pt x="2770" y="972"/>
                  </a:moveTo>
                  <a:cubicBezTo>
                    <a:pt x="2777" y="972"/>
                    <a:pt x="2783" y="966"/>
                    <a:pt x="2783" y="959"/>
                  </a:cubicBezTo>
                  <a:cubicBezTo>
                    <a:pt x="2783" y="952"/>
                    <a:pt x="2777" y="946"/>
                    <a:pt x="2770" y="946"/>
                  </a:cubicBezTo>
                  <a:cubicBezTo>
                    <a:pt x="2763" y="946"/>
                    <a:pt x="2757" y="952"/>
                    <a:pt x="2757" y="959"/>
                  </a:cubicBezTo>
                  <a:cubicBezTo>
                    <a:pt x="2757" y="966"/>
                    <a:pt x="2763" y="972"/>
                    <a:pt x="2770" y="972"/>
                  </a:cubicBezTo>
                  <a:close/>
                  <a:moveTo>
                    <a:pt x="2928" y="972"/>
                  </a:moveTo>
                  <a:cubicBezTo>
                    <a:pt x="2935" y="972"/>
                    <a:pt x="2940" y="966"/>
                    <a:pt x="2940" y="959"/>
                  </a:cubicBezTo>
                  <a:cubicBezTo>
                    <a:pt x="2940" y="952"/>
                    <a:pt x="2935" y="946"/>
                    <a:pt x="2928" y="946"/>
                  </a:cubicBezTo>
                  <a:cubicBezTo>
                    <a:pt x="2921" y="946"/>
                    <a:pt x="2915" y="952"/>
                    <a:pt x="2915" y="959"/>
                  </a:cubicBezTo>
                  <a:cubicBezTo>
                    <a:pt x="2915" y="966"/>
                    <a:pt x="2921" y="972"/>
                    <a:pt x="2928" y="972"/>
                  </a:cubicBezTo>
                  <a:close/>
                  <a:moveTo>
                    <a:pt x="838" y="986"/>
                  </a:moveTo>
                  <a:cubicBezTo>
                    <a:pt x="831" y="986"/>
                    <a:pt x="825" y="991"/>
                    <a:pt x="825" y="998"/>
                  </a:cubicBezTo>
                  <a:cubicBezTo>
                    <a:pt x="825" y="1005"/>
                    <a:pt x="831" y="1011"/>
                    <a:pt x="838" y="1011"/>
                  </a:cubicBezTo>
                  <a:cubicBezTo>
                    <a:pt x="845" y="1011"/>
                    <a:pt x="851" y="1005"/>
                    <a:pt x="851" y="998"/>
                  </a:cubicBezTo>
                  <a:cubicBezTo>
                    <a:pt x="851" y="991"/>
                    <a:pt x="845" y="986"/>
                    <a:pt x="838" y="986"/>
                  </a:cubicBezTo>
                  <a:close/>
                  <a:moveTo>
                    <a:pt x="1548" y="986"/>
                  </a:moveTo>
                  <a:cubicBezTo>
                    <a:pt x="1541" y="986"/>
                    <a:pt x="1535" y="991"/>
                    <a:pt x="1535" y="998"/>
                  </a:cubicBezTo>
                  <a:cubicBezTo>
                    <a:pt x="1535" y="1005"/>
                    <a:pt x="1541" y="1011"/>
                    <a:pt x="1548" y="1011"/>
                  </a:cubicBezTo>
                  <a:cubicBezTo>
                    <a:pt x="1555" y="1011"/>
                    <a:pt x="1561" y="1005"/>
                    <a:pt x="1561" y="998"/>
                  </a:cubicBezTo>
                  <a:cubicBezTo>
                    <a:pt x="1561" y="991"/>
                    <a:pt x="1555" y="986"/>
                    <a:pt x="1548" y="986"/>
                  </a:cubicBezTo>
                  <a:close/>
                  <a:moveTo>
                    <a:pt x="1587" y="1011"/>
                  </a:moveTo>
                  <a:cubicBezTo>
                    <a:pt x="1594" y="1011"/>
                    <a:pt x="1600" y="1005"/>
                    <a:pt x="1600" y="998"/>
                  </a:cubicBezTo>
                  <a:cubicBezTo>
                    <a:pt x="1600" y="991"/>
                    <a:pt x="1594" y="986"/>
                    <a:pt x="1587" y="986"/>
                  </a:cubicBezTo>
                  <a:cubicBezTo>
                    <a:pt x="1580" y="986"/>
                    <a:pt x="1574" y="991"/>
                    <a:pt x="1574" y="998"/>
                  </a:cubicBezTo>
                  <a:cubicBezTo>
                    <a:pt x="1574" y="1005"/>
                    <a:pt x="1580" y="1011"/>
                    <a:pt x="1587" y="1011"/>
                  </a:cubicBezTo>
                  <a:close/>
                  <a:moveTo>
                    <a:pt x="1627" y="1011"/>
                  </a:moveTo>
                  <a:cubicBezTo>
                    <a:pt x="1634" y="1011"/>
                    <a:pt x="1639" y="1005"/>
                    <a:pt x="1639" y="998"/>
                  </a:cubicBezTo>
                  <a:cubicBezTo>
                    <a:pt x="1639" y="991"/>
                    <a:pt x="1634" y="986"/>
                    <a:pt x="1627" y="986"/>
                  </a:cubicBezTo>
                  <a:cubicBezTo>
                    <a:pt x="1620" y="986"/>
                    <a:pt x="1614" y="991"/>
                    <a:pt x="1614" y="998"/>
                  </a:cubicBezTo>
                  <a:cubicBezTo>
                    <a:pt x="1614" y="1005"/>
                    <a:pt x="1620" y="1011"/>
                    <a:pt x="1627" y="1011"/>
                  </a:cubicBezTo>
                  <a:close/>
                  <a:moveTo>
                    <a:pt x="1666" y="1011"/>
                  </a:moveTo>
                  <a:cubicBezTo>
                    <a:pt x="1673" y="1011"/>
                    <a:pt x="1679" y="1005"/>
                    <a:pt x="1679" y="998"/>
                  </a:cubicBezTo>
                  <a:cubicBezTo>
                    <a:pt x="1679" y="991"/>
                    <a:pt x="1673" y="986"/>
                    <a:pt x="1666" y="986"/>
                  </a:cubicBezTo>
                  <a:cubicBezTo>
                    <a:pt x="1659" y="986"/>
                    <a:pt x="1653" y="991"/>
                    <a:pt x="1653" y="998"/>
                  </a:cubicBezTo>
                  <a:cubicBezTo>
                    <a:pt x="1653" y="1005"/>
                    <a:pt x="1659" y="1011"/>
                    <a:pt x="1666" y="1011"/>
                  </a:cubicBezTo>
                  <a:close/>
                  <a:moveTo>
                    <a:pt x="1705" y="1011"/>
                  </a:moveTo>
                  <a:cubicBezTo>
                    <a:pt x="1713" y="1011"/>
                    <a:pt x="1718" y="1005"/>
                    <a:pt x="1718" y="998"/>
                  </a:cubicBezTo>
                  <a:cubicBezTo>
                    <a:pt x="1718" y="991"/>
                    <a:pt x="1713" y="986"/>
                    <a:pt x="1705" y="986"/>
                  </a:cubicBezTo>
                  <a:cubicBezTo>
                    <a:pt x="1698" y="986"/>
                    <a:pt x="1693" y="991"/>
                    <a:pt x="1693" y="998"/>
                  </a:cubicBezTo>
                  <a:cubicBezTo>
                    <a:pt x="1693" y="1005"/>
                    <a:pt x="1698" y="1011"/>
                    <a:pt x="1705" y="1011"/>
                  </a:cubicBezTo>
                  <a:close/>
                  <a:moveTo>
                    <a:pt x="1745" y="1011"/>
                  </a:moveTo>
                  <a:cubicBezTo>
                    <a:pt x="1752" y="1011"/>
                    <a:pt x="1758" y="1005"/>
                    <a:pt x="1758" y="998"/>
                  </a:cubicBezTo>
                  <a:cubicBezTo>
                    <a:pt x="1758" y="991"/>
                    <a:pt x="1752" y="986"/>
                    <a:pt x="1745" y="986"/>
                  </a:cubicBezTo>
                  <a:cubicBezTo>
                    <a:pt x="1738" y="986"/>
                    <a:pt x="1732" y="991"/>
                    <a:pt x="1732" y="998"/>
                  </a:cubicBezTo>
                  <a:cubicBezTo>
                    <a:pt x="1732" y="1005"/>
                    <a:pt x="1738" y="1011"/>
                    <a:pt x="1745" y="1011"/>
                  </a:cubicBezTo>
                  <a:close/>
                  <a:moveTo>
                    <a:pt x="1784" y="1011"/>
                  </a:moveTo>
                  <a:cubicBezTo>
                    <a:pt x="1791" y="1011"/>
                    <a:pt x="1797" y="1005"/>
                    <a:pt x="1797" y="998"/>
                  </a:cubicBezTo>
                  <a:cubicBezTo>
                    <a:pt x="1797" y="991"/>
                    <a:pt x="1791" y="986"/>
                    <a:pt x="1784" y="986"/>
                  </a:cubicBezTo>
                  <a:cubicBezTo>
                    <a:pt x="1777" y="986"/>
                    <a:pt x="1772" y="991"/>
                    <a:pt x="1772" y="998"/>
                  </a:cubicBezTo>
                  <a:cubicBezTo>
                    <a:pt x="1772" y="1005"/>
                    <a:pt x="1777" y="1011"/>
                    <a:pt x="1784" y="1011"/>
                  </a:cubicBezTo>
                  <a:close/>
                  <a:moveTo>
                    <a:pt x="1824" y="1011"/>
                  </a:moveTo>
                  <a:cubicBezTo>
                    <a:pt x="1831" y="1011"/>
                    <a:pt x="1836" y="1005"/>
                    <a:pt x="1836" y="998"/>
                  </a:cubicBezTo>
                  <a:cubicBezTo>
                    <a:pt x="1836" y="991"/>
                    <a:pt x="1831" y="986"/>
                    <a:pt x="1824" y="986"/>
                  </a:cubicBezTo>
                  <a:cubicBezTo>
                    <a:pt x="1817" y="986"/>
                    <a:pt x="1811" y="991"/>
                    <a:pt x="1811" y="998"/>
                  </a:cubicBezTo>
                  <a:cubicBezTo>
                    <a:pt x="1811" y="1005"/>
                    <a:pt x="1817" y="1011"/>
                    <a:pt x="1824" y="1011"/>
                  </a:cubicBezTo>
                  <a:close/>
                  <a:moveTo>
                    <a:pt x="1863" y="1011"/>
                  </a:moveTo>
                  <a:cubicBezTo>
                    <a:pt x="1870" y="1011"/>
                    <a:pt x="1876" y="1005"/>
                    <a:pt x="1876" y="998"/>
                  </a:cubicBezTo>
                  <a:cubicBezTo>
                    <a:pt x="1876" y="991"/>
                    <a:pt x="1870" y="986"/>
                    <a:pt x="1863" y="986"/>
                  </a:cubicBezTo>
                  <a:cubicBezTo>
                    <a:pt x="1856" y="986"/>
                    <a:pt x="1850" y="991"/>
                    <a:pt x="1850" y="998"/>
                  </a:cubicBezTo>
                  <a:cubicBezTo>
                    <a:pt x="1850" y="1005"/>
                    <a:pt x="1856" y="1011"/>
                    <a:pt x="1863" y="1011"/>
                  </a:cubicBezTo>
                  <a:close/>
                  <a:moveTo>
                    <a:pt x="1903" y="986"/>
                  </a:moveTo>
                  <a:cubicBezTo>
                    <a:pt x="1896" y="986"/>
                    <a:pt x="1890" y="991"/>
                    <a:pt x="1890" y="998"/>
                  </a:cubicBezTo>
                  <a:cubicBezTo>
                    <a:pt x="1890" y="1005"/>
                    <a:pt x="1896" y="1011"/>
                    <a:pt x="1903" y="1011"/>
                  </a:cubicBezTo>
                  <a:cubicBezTo>
                    <a:pt x="1910" y="1011"/>
                    <a:pt x="1915" y="1005"/>
                    <a:pt x="1915" y="998"/>
                  </a:cubicBezTo>
                  <a:cubicBezTo>
                    <a:pt x="1915" y="991"/>
                    <a:pt x="1910" y="986"/>
                    <a:pt x="1903" y="986"/>
                  </a:cubicBezTo>
                  <a:close/>
                  <a:moveTo>
                    <a:pt x="1942" y="1011"/>
                  </a:moveTo>
                  <a:cubicBezTo>
                    <a:pt x="1949" y="1011"/>
                    <a:pt x="1955" y="1005"/>
                    <a:pt x="1955" y="998"/>
                  </a:cubicBezTo>
                  <a:cubicBezTo>
                    <a:pt x="1955" y="991"/>
                    <a:pt x="1949" y="986"/>
                    <a:pt x="1942" y="986"/>
                  </a:cubicBezTo>
                  <a:cubicBezTo>
                    <a:pt x="1935" y="986"/>
                    <a:pt x="1929" y="991"/>
                    <a:pt x="1929" y="998"/>
                  </a:cubicBezTo>
                  <a:cubicBezTo>
                    <a:pt x="1929" y="1005"/>
                    <a:pt x="1935" y="1011"/>
                    <a:pt x="1942" y="1011"/>
                  </a:cubicBezTo>
                  <a:close/>
                  <a:moveTo>
                    <a:pt x="1981" y="1011"/>
                  </a:moveTo>
                  <a:cubicBezTo>
                    <a:pt x="1988" y="1011"/>
                    <a:pt x="1994" y="1005"/>
                    <a:pt x="1994" y="998"/>
                  </a:cubicBezTo>
                  <a:cubicBezTo>
                    <a:pt x="1994" y="991"/>
                    <a:pt x="1988" y="986"/>
                    <a:pt x="1981" y="986"/>
                  </a:cubicBezTo>
                  <a:cubicBezTo>
                    <a:pt x="1974" y="986"/>
                    <a:pt x="1969" y="991"/>
                    <a:pt x="1969" y="998"/>
                  </a:cubicBezTo>
                  <a:cubicBezTo>
                    <a:pt x="1969" y="1005"/>
                    <a:pt x="1974" y="1011"/>
                    <a:pt x="1981" y="1011"/>
                  </a:cubicBezTo>
                  <a:close/>
                  <a:moveTo>
                    <a:pt x="2008" y="998"/>
                  </a:moveTo>
                  <a:cubicBezTo>
                    <a:pt x="2008" y="1005"/>
                    <a:pt x="2014" y="1011"/>
                    <a:pt x="2021" y="1011"/>
                  </a:cubicBezTo>
                  <a:cubicBezTo>
                    <a:pt x="2028" y="1011"/>
                    <a:pt x="2034" y="1005"/>
                    <a:pt x="2034" y="998"/>
                  </a:cubicBezTo>
                  <a:cubicBezTo>
                    <a:pt x="2034" y="991"/>
                    <a:pt x="2028" y="986"/>
                    <a:pt x="2021" y="986"/>
                  </a:cubicBezTo>
                  <a:cubicBezTo>
                    <a:pt x="2014" y="986"/>
                    <a:pt x="2008" y="991"/>
                    <a:pt x="2008" y="998"/>
                  </a:cubicBezTo>
                  <a:close/>
                  <a:moveTo>
                    <a:pt x="2060" y="1011"/>
                  </a:moveTo>
                  <a:cubicBezTo>
                    <a:pt x="2067" y="1011"/>
                    <a:pt x="2073" y="1005"/>
                    <a:pt x="2073" y="998"/>
                  </a:cubicBezTo>
                  <a:cubicBezTo>
                    <a:pt x="2073" y="991"/>
                    <a:pt x="2067" y="986"/>
                    <a:pt x="2060" y="986"/>
                  </a:cubicBezTo>
                  <a:cubicBezTo>
                    <a:pt x="2053" y="986"/>
                    <a:pt x="2048" y="991"/>
                    <a:pt x="2048" y="998"/>
                  </a:cubicBezTo>
                  <a:cubicBezTo>
                    <a:pt x="2048" y="1005"/>
                    <a:pt x="2053" y="1011"/>
                    <a:pt x="2060" y="1011"/>
                  </a:cubicBezTo>
                  <a:close/>
                  <a:moveTo>
                    <a:pt x="2100" y="1011"/>
                  </a:moveTo>
                  <a:cubicBezTo>
                    <a:pt x="2107" y="1011"/>
                    <a:pt x="2112" y="1005"/>
                    <a:pt x="2112" y="998"/>
                  </a:cubicBezTo>
                  <a:cubicBezTo>
                    <a:pt x="2112" y="991"/>
                    <a:pt x="2107" y="986"/>
                    <a:pt x="2100" y="986"/>
                  </a:cubicBezTo>
                  <a:cubicBezTo>
                    <a:pt x="2093" y="986"/>
                    <a:pt x="2087" y="991"/>
                    <a:pt x="2087" y="998"/>
                  </a:cubicBezTo>
                  <a:cubicBezTo>
                    <a:pt x="2087" y="1005"/>
                    <a:pt x="2093" y="1011"/>
                    <a:pt x="2100" y="1011"/>
                  </a:cubicBezTo>
                  <a:close/>
                  <a:moveTo>
                    <a:pt x="2139" y="1011"/>
                  </a:moveTo>
                  <a:cubicBezTo>
                    <a:pt x="2146" y="1011"/>
                    <a:pt x="2152" y="1005"/>
                    <a:pt x="2152" y="998"/>
                  </a:cubicBezTo>
                  <a:cubicBezTo>
                    <a:pt x="2152" y="991"/>
                    <a:pt x="2146" y="986"/>
                    <a:pt x="2139" y="986"/>
                  </a:cubicBezTo>
                  <a:cubicBezTo>
                    <a:pt x="2132" y="986"/>
                    <a:pt x="2126" y="991"/>
                    <a:pt x="2126" y="998"/>
                  </a:cubicBezTo>
                  <a:cubicBezTo>
                    <a:pt x="2126" y="1005"/>
                    <a:pt x="2132" y="1011"/>
                    <a:pt x="2139" y="1011"/>
                  </a:cubicBezTo>
                  <a:close/>
                  <a:moveTo>
                    <a:pt x="2455" y="993"/>
                  </a:moveTo>
                  <a:cubicBezTo>
                    <a:pt x="2452" y="993"/>
                    <a:pt x="2449" y="995"/>
                    <a:pt x="2449" y="998"/>
                  </a:cubicBezTo>
                  <a:cubicBezTo>
                    <a:pt x="2449" y="1001"/>
                    <a:pt x="2452" y="1003"/>
                    <a:pt x="2455" y="1003"/>
                  </a:cubicBezTo>
                  <a:cubicBezTo>
                    <a:pt x="2457" y="1003"/>
                    <a:pt x="2460" y="1001"/>
                    <a:pt x="2460" y="998"/>
                  </a:cubicBezTo>
                  <a:cubicBezTo>
                    <a:pt x="2460" y="995"/>
                    <a:pt x="2457" y="993"/>
                    <a:pt x="2455" y="993"/>
                  </a:cubicBezTo>
                  <a:close/>
                  <a:moveTo>
                    <a:pt x="2494" y="986"/>
                  </a:moveTo>
                  <a:cubicBezTo>
                    <a:pt x="2487" y="986"/>
                    <a:pt x="2481" y="991"/>
                    <a:pt x="2481" y="998"/>
                  </a:cubicBezTo>
                  <a:cubicBezTo>
                    <a:pt x="2481" y="1005"/>
                    <a:pt x="2487" y="1011"/>
                    <a:pt x="2494" y="1011"/>
                  </a:cubicBezTo>
                  <a:cubicBezTo>
                    <a:pt x="2501" y="1011"/>
                    <a:pt x="2507" y="1005"/>
                    <a:pt x="2507" y="998"/>
                  </a:cubicBezTo>
                  <a:cubicBezTo>
                    <a:pt x="2507" y="991"/>
                    <a:pt x="2501" y="986"/>
                    <a:pt x="2494" y="986"/>
                  </a:cubicBezTo>
                  <a:close/>
                  <a:moveTo>
                    <a:pt x="2730" y="1011"/>
                  </a:moveTo>
                  <a:cubicBezTo>
                    <a:pt x="2738" y="1011"/>
                    <a:pt x="2743" y="1005"/>
                    <a:pt x="2743" y="998"/>
                  </a:cubicBezTo>
                  <a:cubicBezTo>
                    <a:pt x="2743" y="991"/>
                    <a:pt x="2738" y="986"/>
                    <a:pt x="2730" y="986"/>
                  </a:cubicBezTo>
                  <a:cubicBezTo>
                    <a:pt x="2723" y="986"/>
                    <a:pt x="2718" y="991"/>
                    <a:pt x="2718" y="998"/>
                  </a:cubicBezTo>
                  <a:cubicBezTo>
                    <a:pt x="2718" y="1005"/>
                    <a:pt x="2723" y="1011"/>
                    <a:pt x="2730" y="1011"/>
                  </a:cubicBezTo>
                  <a:close/>
                  <a:moveTo>
                    <a:pt x="2770" y="1011"/>
                  </a:moveTo>
                  <a:cubicBezTo>
                    <a:pt x="2777" y="1011"/>
                    <a:pt x="2783" y="1005"/>
                    <a:pt x="2783" y="998"/>
                  </a:cubicBezTo>
                  <a:cubicBezTo>
                    <a:pt x="2783" y="991"/>
                    <a:pt x="2777" y="986"/>
                    <a:pt x="2770" y="986"/>
                  </a:cubicBezTo>
                  <a:cubicBezTo>
                    <a:pt x="2763" y="986"/>
                    <a:pt x="2757" y="991"/>
                    <a:pt x="2757" y="998"/>
                  </a:cubicBezTo>
                  <a:cubicBezTo>
                    <a:pt x="2757" y="1005"/>
                    <a:pt x="2763" y="1011"/>
                    <a:pt x="2770" y="1011"/>
                  </a:cubicBezTo>
                  <a:close/>
                  <a:moveTo>
                    <a:pt x="2940" y="998"/>
                  </a:moveTo>
                  <a:cubicBezTo>
                    <a:pt x="2940" y="991"/>
                    <a:pt x="2935" y="986"/>
                    <a:pt x="2928" y="986"/>
                  </a:cubicBezTo>
                  <a:cubicBezTo>
                    <a:pt x="2921" y="986"/>
                    <a:pt x="2915" y="991"/>
                    <a:pt x="2915" y="998"/>
                  </a:cubicBezTo>
                  <a:cubicBezTo>
                    <a:pt x="2915" y="1005"/>
                    <a:pt x="2921" y="1011"/>
                    <a:pt x="2928" y="1011"/>
                  </a:cubicBezTo>
                  <a:cubicBezTo>
                    <a:pt x="2935" y="1011"/>
                    <a:pt x="2940" y="1005"/>
                    <a:pt x="2940" y="998"/>
                  </a:cubicBezTo>
                  <a:close/>
                  <a:moveTo>
                    <a:pt x="878" y="1029"/>
                  </a:moveTo>
                  <a:cubicBezTo>
                    <a:pt x="873" y="1029"/>
                    <a:pt x="869" y="1033"/>
                    <a:pt x="869" y="1038"/>
                  </a:cubicBezTo>
                  <a:cubicBezTo>
                    <a:pt x="869" y="1042"/>
                    <a:pt x="873" y="1046"/>
                    <a:pt x="878" y="1046"/>
                  </a:cubicBezTo>
                  <a:cubicBezTo>
                    <a:pt x="882" y="1046"/>
                    <a:pt x="886" y="1042"/>
                    <a:pt x="886" y="1038"/>
                  </a:cubicBezTo>
                  <a:cubicBezTo>
                    <a:pt x="886" y="1033"/>
                    <a:pt x="882" y="1029"/>
                    <a:pt x="878" y="1029"/>
                  </a:cubicBezTo>
                  <a:close/>
                  <a:moveTo>
                    <a:pt x="944" y="1038"/>
                  </a:moveTo>
                  <a:cubicBezTo>
                    <a:pt x="944" y="1045"/>
                    <a:pt x="949" y="1050"/>
                    <a:pt x="956" y="1050"/>
                  </a:cubicBezTo>
                  <a:cubicBezTo>
                    <a:pt x="963" y="1050"/>
                    <a:pt x="969" y="1045"/>
                    <a:pt x="969" y="1038"/>
                  </a:cubicBezTo>
                  <a:cubicBezTo>
                    <a:pt x="969" y="1031"/>
                    <a:pt x="963" y="1025"/>
                    <a:pt x="956" y="1025"/>
                  </a:cubicBezTo>
                  <a:cubicBezTo>
                    <a:pt x="949" y="1025"/>
                    <a:pt x="944" y="1031"/>
                    <a:pt x="944" y="1038"/>
                  </a:cubicBezTo>
                  <a:close/>
                  <a:moveTo>
                    <a:pt x="996" y="1025"/>
                  </a:moveTo>
                  <a:cubicBezTo>
                    <a:pt x="989" y="1025"/>
                    <a:pt x="983" y="1031"/>
                    <a:pt x="983" y="1038"/>
                  </a:cubicBezTo>
                  <a:cubicBezTo>
                    <a:pt x="983" y="1045"/>
                    <a:pt x="989" y="1050"/>
                    <a:pt x="996" y="1050"/>
                  </a:cubicBezTo>
                  <a:cubicBezTo>
                    <a:pt x="1003" y="1050"/>
                    <a:pt x="1009" y="1045"/>
                    <a:pt x="1009" y="1038"/>
                  </a:cubicBezTo>
                  <a:cubicBezTo>
                    <a:pt x="1009" y="1031"/>
                    <a:pt x="1003" y="1025"/>
                    <a:pt x="996" y="1025"/>
                  </a:cubicBezTo>
                  <a:close/>
                  <a:moveTo>
                    <a:pt x="1035" y="1025"/>
                  </a:moveTo>
                  <a:cubicBezTo>
                    <a:pt x="1028" y="1025"/>
                    <a:pt x="1023" y="1031"/>
                    <a:pt x="1023" y="1038"/>
                  </a:cubicBezTo>
                  <a:cubicBezTo>
                    <a:pt x="1023" y="1045"/>
                    <a:pt x="1028" y="1050"/>
                    <a:pt x="1035" y="1050"/>
                  </a:cubicBezTo>
                  <a:cubicBezTo>
                    <a:pt x="1042" y="1050"/>
                    <a:pt x="1048" y="1045"/>
                    <a:pt x="1048" y="1038"/>
                  </a:cubicBezTo>
                  <a:cubicBezTo>
                    <a:pt x="1048" y="1031"/>
                    <a:pt x="1042" y="1025"/>
                    <a:pt x="1035" y="1025"/>
                  </a:cubicBezTo>
                  <a:close/>
                  <a:moveTo>
                    <a:pt x="1075" y="1050"/>
                  </a:moveTo>
                  <a:cubicBezTo>
                    <a:pt x="1082" y="1050"/>
                    <a:pt x="1087" y="1045"/>
                    <a:pt x="1087" y="1038"/>
                  </a:cubicBezTo>
                  <a:cubicBezTo>
                    <a:pt x="1087" y="1031"/>
                    <a:pt x="1082" y="1025"/>
                    <a:pt x="1075" y="1025"/>
                  </a:cubicBezTo>
                  <a:cubicBezTo>
                    <a:pt x="1068" y="1025"/>
                    <a:pt x="1062" y="1031"/>
                    <a:pt x="1062" y="1038"/>
                  </a:cubicBezTo>
                  <a:cubicBezTo>
                    <a:pt x="1062" y="1045"/>
                    <a:pt x="1068" y="1050"/>
                    <a:pt x="1075" y="1050"/>
                  </a:cubicBezTo>
                  <a:close/>
                  <a:moveTo>
                    <a:pt x="1587" y="1025"/>
                  </a:moveTo>
                  <a:cubicBezTo>
                    <a:pt x="1580" y="1025"/>
                    <a:pt x="1574" y="1031"/>
                    <a:pt x="1574" y="1038"/>
                  </a:cubicBezTo>
                  <a:cubicBezTo>
                    <a:pt x="1574" y="1045"/>
                    <a:pt x="1580" y="1050"/>
                    <a:pt x="1587" y="1050"/>
                  </a:cubicBezTo>
                  <a:cubicBezTo>
                    <a:pt x="1594" y="1050"/>
                    <a:pt x="1600" y="1045"/>
                    <a:pt x="1600" y="1038"/>
                  </a:cubicBezTo>
                  <a:cubicBezTo>
                    <a:pt x="1600" y="1031"/>
                    <a:pt x="1594" y="1025"/>
                    <a:pt x="1587" y="1025"/>
                  </a:cubicBezTo>
                  <a:close/>
                  <a:moveTo>
                    <a:pt x="1627" y="1025"/>
                  </a:moveTo>
                  <a:cubicBezTo>
                    <a:pt x="1620" y="1025"/>
                    <a:pt x="1614" y="1031"/>
                    <a:pt x="1614" y="1038"/>
                  </a:cubicBezTo>
                  <a:cubicBezTo>
                    <a:pt x="1614" y="1045"/>
                    <a:pt x="1620" y="1050"/>
                    <a:pt x="1627" y="1050"/>
                  </a:cubicBezTo>
                  <a:cubicBezTo>
                    <a:pt x="1634" y="1050"/>
                    <a:pt x="1639" y="1045"/>
                    <a:pt x="1639" y="1038"/>
                  </a:cubicBezTo>
                  <a:cubicBezTo>
                    <a:pt x="1639" y="1031"/>
                    <a:pt x="1634" y="1025"/>
                    <a:pt x="1627" y="1025"/>
                  </a:cubicBezTo>
                  <a:close/>
                  <a:moveTo>
                    <a:pt x="1666" y="1025"/>
                  </a:moveTo>
                  <a:cubicBezTo>
                    <a:pt x="1659" y="1025"/>
                    <a:pt x="1653" y="1031"/>
                    <a:pt x="1653" y="1038"/>
                  </a:cubicBezTo>
                  <a:cubicBezTo>
                    <a:pt x="1653" y="1045"/>
                    <a:pt x="1659" y="1050"/>
                    <a:pt x="1666" y="1050"/>
                  </a:cubicBezTo>
                  <a:cubicBezTo>
                    <a:pt x="1673" y="1050"/>
                    <a:pt x="1679" y="1045"/>
                    <a:pt x="1679" y="1038"/>
                  </a:cubicBezTo>
                  <a:cubicBezTo>
                    <a:pt x="1679" y="1031"/>
                    <a:pt x="1673" y="1025"/>
                    <a:pt x="1666" y="1025"/>
                  </a:cubicBezTo>
                  <a:close/>
                  <a:moveTo>
                    <a:pt x="1705" y="1025"/>
                  </a:moveTo>
                  <a:cubicBezTo>
                    <a:pt x="1698" y="1025"/>
                    <a:pt x="1693" y="1031"/>
                    <a:pt x="1693" y="1038"/>
                  </a:cubicBezTo>
                  <a:cubicBezTo>
                    <a:pt x="1693" y="1045"/>
                    <a:pt x="1698" y="1050"/>
                    <a:pt x="1705" y="1050"/>
                  </a:cubicBezTo>
                  <a:cubicBezTo>
                    <a:pt x="1713" y="1050"/>
                    <a:pt x="1718" y="1045"/>
                    <a:pt x="1718" y="1038"/>
                  </a:cubicBezTo>
                  <a:cubicBezTo>
                    <a:pt x="1718" y="1031"/>
                    <a:pt x="1713" y="1025"/>
                    <a:pt x="1705" y="1025"/>
                  </a:cubicBezTo>
                  <a:close/>
                  <a:moveTo>
                    <a:pt x="1745" y="1025"/>
                  </a:moveTo>
                  <a:cubicBezTo>
                    <a:pt x="1738" y="1025"/>
                    <a:pt x="1732" y="1031"/>
                    <a:pt x="1732" y="1038"/>
                  </a:cubicBezTo>
                  <a:cubicBezTo>
                    <a:pt x="1732" y="1045"/>
                    <a:pt x="1738" y="1050"/>
                    <a:pt x="1745" y="1050"/>
                  </a:cubicBezTo>
                  <a:cubicBezTo>
                    <a:pt x="1752" y="1050"/>
                    <a:pt x="1758" y="1045"/>
                    <a:pt x="1758" y="1038"/>
                  </a:cubicBezTo>
                  <a:cubicBezTo>
                    <a:pt x="1758" y="1031"/>
                    <a:pt x="1752" y="1025"/>
                    <a:pt x="1745" y="1025"/>
                  </a:cubicBezTo>
                  <a:close/>
                  <a:moveTo>
                    <a:pt x="1784" y="1025"/>
                  </a:moveTo>
                  <a:cubicBezTo>
                    <a:pt x="1777" y="1025"/>
                    <a:pt x="1772" y="1031"/>
                    <a:pt x="1772" y="1038"/>
                  </a:cubicBezTo>
                  <a:cubicBezTo>
                    <a:pt x="1772" y="1045"/>
                    <a:pt x="1777" y="1050"/>
                    <a:pt x="1784" y="1050"/>
                  </a:cubicBezTo>
                  <a:cubicBezTo>
                    <a:pt x="1791" y="1050"/>
                    <a:pt x="1797" y="1045"/>
                    <a:pt x="1797" y="1038"/>
                  </a:cubicBezTo>
                  <a:cubicBezTo>
                    <a:pt x="1797" y="1031"/>
                    <a:pt x="1791" y="1025"/>
                    <a:pt x="1784" y="1025"/>
                  </a:cubicBezTo>
                  <a:close/>
                  <a:moveTo>
                    <a:pt x="1824" y="1050"/>
                  </a:moveTo>
                  <a:cubicBezTo>
                    <a:pt x="1831" y="1050"/>
                    <a:pt x="1836" y="1045"/>
                    <a:pt x="1836" y="1038"/>
                  </a:cubicBezTo>
                  <a:cubicBezTo>
                    <a:pt x="1836" y="1031"/>
                    <a:pt x="1831" y="1025"/>
                    <a:pt x="1824" y="1025"/>
                  </a:cubicBezTo>
                  <a:cubicBezTo>
                    <a:pt x="1817" y="1025"/>
                    <a:pt x="1811" y="1031"/>
                    <a:pt x="1811" y="1038"/>
                  </a:cubicBezTo>
                  <a:cubicBezTo>
                    <a:pt x="1811" y="1045"/>
                    <a:pt x="1817" y="1050"/>
                    <a:pt x="1824" y="1050"/>
                  </a:cubicBezTo>
                  <a:close/>
                  <a:moveTo>
                    <a:pt x="1863" y="1025"/>
                  </a:moveTo>
                  <a:cubicBezTo>
                    <a:pt x="1856" y="1025"/>
                    <a:pt x="1850" y="1031"/>
                    <a:pt x="1850" y="1038"/>
                  </a:cubicBezTo>
                  <a:cubicBezTo>
                    <a:pt x="1850" y="1045"/>
                    <a:pt x="1856" y="1050"/>
                    <a:pt x="1863" y="1050"/>
                  </a:cubicBezTo>
                  <a:cubicBezTo>
                    <a:pt x="1870" y="1050"/>
                    <a:pt x="1876" y="1045"/>
                    <a:pt x="1876" y="1038"/>
                  </a:cubicBezTo>
                  <a:cubicBezTo>
                    <a:pt x="1876" y="1031"/>
                    <a:pt x="1870" y="1025"/>
                    <a:pt x="1863" y="1025"/>
                  </a:cubicBezTo>
                  <a:close/>
                  <a:moveTo>
                    <a:pt x="1903" y="1025"/>
                  </a:moveTo>
                  <a:cubicBezTo>
                    <a:pt x="1896" y="1025"/>
                    <a:pt x="1890" y="1031"/>
                    <a:pt x="1890" y="1038"/>
                  </a:cubicBezTo>
                  <a:cubicBezTo>
                    <a:pt x="1890" y="1045"/>
                    <a:pt x="1896" y="1050"/>
                    <a:pt x="1903" y="1050"/>
                  </a:cubicBezTo>
                  <a:cubicBezTo>
                    <a:pt x="1910" y="1050"/>
                    <a:pt x="1915" y="1045"/>
                    <a:pt x="1915" y="1038"/>
                  </a:cubicBezTo>
                  <a:cubicBezTo>
                    <a:pt x="1915" y="1031"/>
                    <a:pt x="1910" y="1025"/>
                    <a:pt x="1903" y="1025"/>
                  </a:cubicBezTo>
                  <a:close/>
                  <a:moveTo>
                    <a:pt x="1942" y="1050"/>
                  </a:moveTo>
                  <a:cubicBezTo>
                    <a:pt x="1949" y="1050"/>
                    <a:pt x="1955" y="1045"/>
                    <a:pt x="1955" y="1038"/>
                  </a:cubicBezTo>
                  <a:cubicBezTo>
                    <a:pt x="1955" y="1031"/>
                    <a:pt x="1949" y="1025"/>
                    <a:pt x="1942" y="1025"/>
                  </a:cubicBezTo>
                  <a:cubicBezTo>
                    <a:pt x="1935" y="1025"/>
                    <a:pt x="1929" y="1031"/>
                    <a:pt x="1929" y="1038"/>
                  </a:cubicBezTo>
                  <a:cubicBezTo>
                    <a:pt x="1929" y="1045"/>
                    <a:pt x="1935" y="1050"/>
                    <a:pt x="1942" y="1050"/>
                  </a:cubicBezTo>
                  <a:close/>
                  <a:moveTo>
                    <a:pt x="1981" y="1025"/>
                  </a:moveTo>
                  <a:cubicBezTo>
                    <a:pt x="1974" y="1025"/>
                    <a:pt x="1969" y="1031"/>
                    <a:pt x="1969" y="1038"/>
                  </a:cubicBezTo>
                  <a:cubicBezTo>
                    <a:pt x="1969" y="1045"/>
                    <a:pt x="1974" y="1050"/>
                    <a:pt x="1981" y="1050"/>
                  </a:cubicBezTo>
                  <a:cubicBezTo>
                    <a:pt x="1988" y="1050"/>
                    <a:pt x="1994" y="1045"/>
                    <a:pt x="1994" y="1038"/>
                  </a:cubicBezTo>
                  <a:cubicBezTo>
                    <a:pt x="1994" y="1031"/>
                    <a:pt x="1988" y="1025"/>
                    <a:pt x="1981" y="1025"/>
                  </a:cubicBezTo>
                  <a:close/>
                  <a:moveTo>
                    <a:pt x="2021" y="1050"/>
                  </a:moveTo>
                  <a:cubicBezTo>
                    <a:pt x="2028" y="1050"/>
                    <a:pt x="2034" y="1045"/>
                    <a:pt x="2034" y="1038"/>
                  </a:cubicBezTo>
                  <a:cubicBezTo>
                    <a:pt x="2034" y="1031"/>
                    <a:pt x="2028" y="1025"/>
                    <a:pt x="2021" y="1025"/>
                  </a:cubicBezTo>
                  <a:cubicBezTo>
                    <a:pt x="2014" y="1025"/>
                    <a:pt x="2008" y="1031"/>
                    <a:pt x="2008" y="1038"/>
                  </a:cubicBezTo>
                  <a:cubicBezTo>
                    <a:pt x="2008" y="1045"/>
                    <a:pt x="2014" y="1050"/>
                    <a:pt x="2021" y="1050"/>
                  </a:cubicBezTo>
                  <a:close/>
                  <a:moveTo>
                    <a:pt x="2060" y="1050"/>
                  </a:moveTo>
                  <a:cubicBezTo>
                    <a:pt x="2067" y="1050"/>
                    <a:pt x="2073" y="1045"/>
                    <a:pt x="2073" y="1038"/>
                  </a:cubicBezTo>
                  <a:cubicBezTo>
                    <a:pt x="2073" y="1031"/>
                    <a:pt x="2067" y="1025"/>
                    <a:pt x="2060" y="1025"/>
                  </a:cubicBezTo>
                  <a:cubicBezTo>
                    <a:pt x="2053" y="1025"/>
                    <a:pt x="2048" y="1031"/>
                    <a:pt x="2048" y="1038"/>
                  </a:cubicBezTo>
                  <a:cubicBezTo>
                    <a:pt x="2048" y="1045"/>
                    <a:pt x="2053" y="1050"/>
                    <a:pt x="2060" y="1050"/>
                  </a:cubicBezTo>
                  <a:close/>
                  <a:moveTo>
                    <a:pt x="2100" y="1025"/>
                  </a:moveTo>
                  <a:cubicBezTo>
                    <a:pt x="2093" y="1025"/>
                    <a:pt x="2087" y="1031"/>
                    <a:pt x="2087" y="1038"/>
                  </a:cubicBezTo>
                  <a:cubicBezTo>
                    <a:pt x="2087" y="1045"/>
                    <a:pt x="2093" y="1050"/>
                    <a:pt x="2100" y="1050"/>
                  </a:cubicBezTo>
                  <a:cubicBezTo>
                    <a:pt x="2107" y="1050"/>
                    <a:pt x="2112" y="1045"/>
                    <a:pt x="2112" y="1038"/>
                  </a:cubicBezTo>
                  <a:cubicBezTo>
                    <a:pt x="2112" y="1031"/>
                    <a:pt x="2107" y="1025"/>
                    <a:pt x="2100" y="1025"/>
                  </a:cubicBezTo>
                  <a:close/>
                  <a:moveTo>
                    <a:pt x="2139" y="1050"/>
                  </a:moveTo>
                  <a:cubicBezTo>
                    <a:pt x="2146" y="1050"/>
                    <a:pt x="2152" y="1045"/>
                    <a:pt x="2152" y="1038"/>
                  </a:cubicBezTo>
                  <a:cubicBezTo>
                    <a:pt x="2152" y="1031"/>
                    <a:pt x="2146" y="1025"/>
                    <a:pt x="2139" y="1025"/>
                  </a:cubicBezTo>
                  <a:cubicBezTo>
                    <a:pt x="2132" y="1025"/>
                    <a:pt x="2126" y="1031"/>
                    <a:pt x="2126" y="1038"/>
                  </a:cubicBezTo>
                  <a:cubicBezTo>
                    <a:pt x="2126" y="1045"/>
                    <a:pt x="2132" y="1050"/>
                    <a:pt x="2139" y="1050"/>
                  </a:cubicBezTo>
                  <a:close/>
                  <a:moveTo>
                    <a:pt x="2179" y="1050"/>
                  </a:moveTo>
                  <a:cubicBezTo>
                    <a:pt x="2186" y="1050"/>
                    <a:pt x="2191" y="1045"/>
                    <a:pt x="2191" y="1038"/>
                  </a:cubicBezTo>
                  <a:cubicBezTo>
                    <a:pt x="2191" y="1031"/>
                    <a:pt x="2186" y="1025"/>
                    <a:pt x="2179" y="1025"/>
                  </a:cubicBezTo>
                  <a:cubicBezTo>
                    <a:pt x="2172" y="1025"/>
                    <a:pt x="2166" y="1031"/>
                    <a:pt x="2166" y="1038"/>
                  </a:cubicBezTo>
                  <a:cubicBezTo>
                    <a:pt x="2166" y="1045"/>
                    <a:pt x="2172" y="1050"/>
                    <a:pt x="2179" y="1050"/>
                  </a:cubicBezTo>
                  <a:close/>
                  <a:moveTo>
                    <a:pt x="2977" y="1038"/>
                  </a:moveTo>
                  <a:cubicBezTo>
                    <a:pt x="2977" y="1032"/>
                    <a:pt x="2973" y="1028"/>
                    <a:pt x="2967" y="1028"/>
                  </a:cubicBezTo>
                  <a:cubicBezTo>
                    <a:pt x="2962" y="1028"/>
                    <a:pt x="2957" y="1032"/>
                    <a:pt x="2957" y="1038"/>
                  </a:cubicBezTo>
                  <a:cubicBezTo>
                    <a:pt x="2957" y="1043"/>
                    <a:pt x="2962" y="1048"/>
                    <a:pt x="2967" y="1048"/>
                  </a:cubicBezTo>
                  <a:cubicBezTo>
                    <a:pt x="2973" y="1048"/>
                    <a:pt x="2977" y="1043"/>
                    <a:pt x="2977" y="1038"/>
                  </a:cubicBezTo>
                  <a:close/>
                  <a:moveTo>
                    <a:pt x="917" y="1090"/>
                  </a:moveTo>
                  <a:cubicBezTo>
                    <a:pt x="924" y="1090"/>
                    <a:pt x="930" y="1084"/>
                    <a:pt x="930" y="1077"/>
                  </a:cubicBezTo>
                  <a:cubicBezTo>
                    <a:pt x="930" y="1070"/>
                    <a:pt x="924" y="1064"/>
                    <a:pt x="917" y="1064"/>
                  </a:cubicBezTo>
                  <a:cubicBezTo>
                    <a:pt x="910" y="1064"/>
                    <a:pt x="904" y="1070"/>
                    <a:pt x="904" y="1077"/>
                  </a:cubicBezTo>
                  <a:cubicBezTo>
                    <a:pt x="904" y="1084"/>
                    <a:pt x="910" y="1090"/>
                    <a:pt x="917" y="1090"/>
                  </a:cubicBezTo>
                  <a:close/>
                  <a:moveTo>
                    <a:pt x="956" y="1090"/>
                  </a:moveTo>
                  <a:cubicBezTo>
                    <a:pt x="963" y="1090"/>
                    <a:pt x="969" y="1084"/>
                    <a:pt x="969" y="1077"/>
                  </a:cubicBezTo>
                  <a:cubicBezTo>
                    <a:pt x="969" y="1070"/>
                    <a:pt x="963" y="1064"/>
                    <a:pt x="956" y="1064"/>
                  </a:cubicBezTo>
                  <a:cubicBezTo>
                    <a:pt x="949" y="1064"/>
                    <a:pt x="944" y="1070"/>
                    <a:pt x="944" y="1077"/>
                  </a:cubicBezTo>
                  <a:cubicBezTo>
                    <a:pt x="944" y="1084"/>
                    <a:pt x="949" y="1090"/>
                    <a:pt x="956" y="1090"/>
                  </a:cubicBezTo>
                  <a:close/>
                  <a:moveTo>
                    <a:pt x="996" y="1090"/>
                  </a:moveTo>
                  <a:cubicBezTo>
                    <a:pt x="1003" y="1090"/>
                    <a:pt x="1009" y="1084"/>
                    <a:pt x="1009" y="1077"/>
                  </a:cubicBezTo>
                  <a:cubicBezTo>
                    <a:pt x="1009" y="1070"/>
                    <a:pt x="1003" y="1064"/>
                    <a:pt x="996" y="1064"/>
                  </a:cubicBezTo>
                  <a:cubicBezTo>
                    <a:pt x="989" y="1064"/>
                    <a:pt x="983" y="1070"/>
                    <a:pt x="983" y="1077"/>
                  </a:cubicBezTo>
                  <a:cubicBezTo>
                    <a:pt x="983" y="1084"/>
                    <a:pt x="989" y="1090"/>
                    <a:pt x="996" y="1090"/>
                  </a:cubicBezTo>
                  <a:close/>
                  <a:moveTo>
                    <a:pt x="1035" y="1090"/>
                  </a:moveTo>
                  <a:cubicBezTo>
                    <a:pt x="1042" y="1090"/>
                    <a:pt x="1048" y="1084"/>
                    <a:pt x="1048" y="1077"/>
                  </a:cubicBezTo>
                  <a:cubicBezTo>
                    <a:pt x="1048" y="1070"/>
                    <a:pt x="1042" y="1064"/>
                    <a:pt x="1035" y="1064"/>
                  </a:cubicBezTo>
                  <a:cubicBezTo>
                    <a:pt x="1028" y="1064"/>
                    <a:pt x="1023" y="1070"/>
                    <a:pt x="1023" y="1077"/>
                  </a:cubicBezTo>
                  <a:cubicBezTo>
                    <a:pt x="1023" y="1084"/>
                    <a:pt x="1028" y="1090"/>
                    <a:pt x="1035" y="1090"/>
                  </a:cubicBezTo>
                  <a:close/>
                  <a:moveTo>
                    <a:pt x="1075" y="1090"/>
                  </a:moveTo>
                  <a:cubicBezTo>
                    <a:pt x="1082" y="1090"/>
                    <a:pt x="1087" y="1084"/>
                    <a:pt x="1087" y="1077"/>
                  </a:cubicBezTo>
                  <a:cubicBezTo>
                    <a:pt x="1087" y="1070"/>
                    <a:pt x="1082" y="1064"/>
                    <a:pt x="1075" y="1064"/>
                  </a:cubicBezTo>
                  <a:cubicBezTo>
                    <a:pt x="1068" y="1064"/>
                    <a:pt x="1062" y="1070"/>
                    <a:pt x="1062" y="1077"/>
                  </a:cubicBezTo>
                  <a:cubicBezTo>
                    <a:pt x="1062" y="1084"/>
                    <a:pt x="1068" y="1090"/>
                    <a:pt x="1075" y="1090"/>
                  </a:cubicBezTo>
                  <a:close/>
                  <a:moveTo>
                    <a:pt x="1114" y="1090"/>
                  </a:moveTo>
                  <a:cubicBezTo>
                    <a:pt x="1121" y="1090"/>
                    <a:pt x="1127" y="1084"/>
                    <a:pt x="1127" y="1077"/>
                  </a:cubicBezTo>
                  <a:cubicBezTo>
                    <a:pt x="1127" y="1070"/>
                    <a:pt x="1121" y="1064"/>
                    <a:pt x="1114" y="1064"/>
                  </a:cubicBezTo>
                  <a:cubicBezTo>
                    <a:pt x="1107" y="1064"/>
                    <a:pt x="1101" y="1070"/>
                    <a:pt x="1101" y="1077"/>
                  </a:cubicBezTo>
                  <a:cubicBezTo>
                    <a:pt x="1101" y="1084"/>
                    <a:pt x="1107" y="1090"/>
                    <a:pt x="1114" y="1090"/>
                  </a:cubicBezTo>
                  <a:close/>
                  <a:moveTo>
                    <a:pt x="1154" y="1090"/>
                  </a:moveTo>
                  <a:cubicBezTo>
                    <a:pt x="1161" y="1090"/>
                    <a:pt x="1166" y="1084"/>
                    <a:pt x="1166" y="1077"/>
                  </a:cubicBezTo>
                  <a:cubicBezTo>
                    <a:pt x="1166" y="1070"/>
                    <a:pt x="1161" y="1064"/>
                    <a:pt x="1154" y="1064"/>
                  </a:cubicBezTo>
                  <a:cubicBezTo>
                    <a:pt x="1147" y="1064"/>
                    <a:pt x="1141" y="1070"/>
                    <a:pt x="1141" y="1077"/>
                  </a:cubicBezTo>
                  <a:cubicBezTo>
                    <a:pt x="1141" y="1084"/>
                    <a:pt x="1147" y="1090"/>
                    <a:pt x="1154" y="1090"/>
                  </a:cubicBezTo>
                  <a:close/>
                  <a:moveTo>
                    <a:pt x="1627" y="1064"/>
                  </a:moveTo>
                  <a:cubicBezTo>
                    <a:pt x="1620" y="1064"/>
                    <a:pt x="1614" y="1070"/>
                    <a:pt x="1614" y="1077"/>
                  </a:cubicBezTo>
                  <a:cubicBezTo>
                    <a:pt x="1614" y="1084"/>
                    <a:pt x="1620" y="1090"/>
                    <a:pt x="1627" y="1090"/>
                  </a:cubicBezTo>
                  <a:cubicBezTo>
                    <a:pt x="1634" y="1090"/>
                    <a:pt x="1639" y="1084"/>
                    <a:pt x="1639" y="1077"/>
                  </a:cubicBezTo>
                  <a:cubicBezTo>
                    <a:pt x="1639" y="1070"/>
                    <a:pt x="1634" y="1064"/>
                    <a:pt x="1627" y="1064"/>
                  </a:cubicBezTo>
                  <a:close/>
                  <a:moveTo>
                    <a:pt x="1666" y="1064"/>
                  </a:moveTo>
                  <a:cubicBezTo>
                    <a:pt x="1659" y="1064"/>
                    <a:pt x="1653" y="1070"/>
                    <a:pt x="1653" y="1077"/>
                  </a:cubicBezTo>
                  <a:cubicBezTo>
                    <a:pt x="1653" y="1084"/>
                    <a:pt x="1659" y="1090"/>
                    <a:pt x="1666" y="1090"/>
                  </a:cubicBezTo>
                  <a:cubicBezTo>
                    <a:pt x="1673" y="1090"/>
                    <a:pt x="1679" y="1084"/>
                    <a:pt x="1679" y="1077"/>
                  </a:cubicBezTo>
                  <a:cubicBezTo>
                    <a:pt x="1679" y="1070"/>
                    <a:pt x="1673" y="1064"/>
                    <a:pt x="1666" y="1064"/>
                  </a:cubicBezTo>
                  <a:close/>
                  <a:moveTo>
                    <a:pt x="1784" y="1064"/>
                  </a:moveTo>
                  <a:cubicBezTo>
                    <a:pt x="1777" y="1064"/>
                    <a:pt x="1772" y="1070"/>
                    <a:pt x="1772" y="1077"/>
                  </a:cubicBezTo>
                  <a:cubicBezTo>
                    <a:pt x="1772" y="1084"/>
                    <a:pt x="1777" y="1090"/>
                    <a:pt x="1784" y="1090"/>
                  </a:cubicBezTo>
                  <a:cubicBezTo>
                    <a:pt x="1791" y="1090"/>
                    <a:pt x="1797" y="1084"/>
                    <a:pt x="1797" y="1077"/>
                  </a:cubicBezTo>
                  <a:cubicBezTo>
                    <a:pt x="1797" y="1070"/>
                    <a:pt x="1791" y="1064"/>
                    <a:pt x="1784" y="1064"/>
                  </a:cubicBezTo>
                  <a:close/>
                  <a:moveTo>
                    <a:pt x="1824" y="1090"/>
                  </a:moveTo>
                  <a:cubicBezTo>
                    <a:pt x="1831" y="1090"/>
                    <a:pt x="1836" y="1084"/>
                    <a:pt x="1836" y="1077"/>
                  </a:cubicBezTo>
                  <a:cubicBezTo>
                    <a:pt x="1836" y="1070"/>
                    <a:pt x="1831" y="1064"/>
                    <a:pt x="1824" y="1064"/>
                  </a:cubicBezTo>
                  <a:cubicBezTo>
                    <a:pt x="1817" y="1064"/>
                    <a:pt x="1811" y="1070"/>
                    <a:pt x="1811" y="1077"/>
                  </a:cubicBezTo>
                  <a:cubicBezTo>
                    <a:pt x="1811" y="1084"/>
                    <a:pt x="1817" y="1090"/>
                    <a:pt x="1824" y="1090"/>
                  </a:cubicBezTo>
                  <a:close/>
                  <a:moveTo>
                    <a:pt x="1863" y="1090"/>
                  </a:moveTo>
                  <a:cubicBezTo>
                    <a:pt x="1870" y="1090"/>
                    <a:pt x="1876" y="1084"/>
                    <a:pt x="1876" y="1077"/>
                  </a:cubicBezTo>
                  <a:cubicBezTo>
                    <a:pt x="1876" y="1070"/>
                    <a:pt x="1870" y="1064"/>
                    <a:pt x="1863" y="1064"/>
                  </a:cubicBezTo>
                  <a:cubicBezTo>
                    <a:pt x="1856" y="1064"/>
                    <a:pt x="1850" y="1070"/>
                    <a:pt x="1850" y="1077"/>
                  </a:cubicBezTo>
                  <a:cubicBezTo>
                    <a:pt x="1850" y="1084"/>
                    <a:pt x="1856" y="1090"/>
                    <a:pt x="1863" y="1090"/>
                  </a:cubicBezTo>
                  <a:close/>
                  <a:moveTo>
                    <a:pt x="1903" y="1090"/>
                  </a:moveTo>
                  <a:cubicBezTo>
                    <a:pt x="1910" y="1090"/>
                    <a:pt x="1915" y="1084"/>
                    <a:pt x="1915" y="1077"/>
                  </a:cubicBezTo>
                  <a:cubicBezTo>
                    <a:pt x="1915" y="1070"/>
                    <a:pt x="1910" y="1064"/>
                    <a:pt x="1903" y="1064"/>
                  </a:cubicBezTo>
                  <a:cubicBezTo>
                    <a:pt x="1896" y="1064"/>
                    <a:pt x="1890" y="1070"/>
                    <a:pt x="1890" y="1077"/>
                  </a:cubicBezTo>
                  <a:cubicBezTo>
                    <a:pt x="1890" y="1084"/>
                    <a:pt x="1896" y="1090"/>
                    <a:pt x="1903" y="1090"/>
                  </a:cubicBezTo>
                  <a:close/>
                  <a:moveTo>
                    <a:pt x="1942" y="1090"/>
                  </a:moveTo>
                  <a:cubicBezTo>
                    <a:pt x="1949" y="1090"/>
                    <a:pt x="1955" y="1084"/>
                    <a:pt x="1955" y="1077"/>
                  </a:cubicBezTo>
                  <a:cubicBezTo>
                    <a:pt x="1955" y="1070"/>
                    <a:pt x="1949" y="1064"/>
                    <a:pt x="1942" y="1064"/>
                  </a:cubicBezTo>
                  <a:cubicBezTo>
                    <a:pt x="1935" y="1064"/>
                    <a:pt x="1929" y="1070"/>
                    <a:pt x="1929" y="1077"/>
                  </a:cubicBezTo>
                  <a:cubicBezTo>
                    <a:pt x="1929" y="1084"/>
                    <a:pt x="1935" y="1090"/>
                    <a:pt x="1942" y="1090"/>
                  </a:cubicBezTo>
                  <a:close/>
                  <a:moveTo>
                    <a:pt x="1981" y="1090"/>
                  </a:moveTo>
                  <a:cubicBezTo>
                    <a:pt x="1988" y="1090"/>
                    <a:pt x="1994" y="1084"/>
                    <a:pt x="1994" y="1077"/>
                  </a:cubicBezTo>
                  <a:cubicBezTo>
                    <a:pt x="1994" y="1070"/>
                    <a:pt x="1988" y="1064"/>
                    <a:pt x="1981" y="1064"/>
                  </a:cubicBezTo>
                  <a:cubicBezTo>
                    <a:pt x="1974" y="1064"/>
                    <a:pt x="1969" y="1070"/>
                    <a:pt x="1969" y="1077"/>
                  </a:cubicBezTo>
                  <a:cubicBezTo>
                    <a:pt x="1969" y="1084"/>
                    <a:pt x="1974" y="1090"/>
                    <a:pt x="1981" y="1090"/>
                  </a:cubicBezTo>
                  <a:close/>
                  <a:moveTo>
                    <a:pt x="2008" y="1077"/>
                  </a:moveTo>
                  <a:cubicBezTo>
                    <a:pt x="2008" y="1084"/>
                    <a:pt x="2014" y="1090"/>
                    <a:pt x="2021" y="1090"/>
                  </a:cubicBezTo>
                  <a:cubicBezTo>
                    <a:pt x="2028" y="1090"/>
                    <a:pt x="2034" y="1084"/>
                    <a:pt x="2034" y="1077"/>
                  </a:cubicBezTo>
                  <a:cubicBezTo>
                    <a:pt x="2034" y="1070"/>
                    <a:pt x="2028" y="1064"/>
                    <a:pt x="2021" y="1064"/>
                  </a:cubicBezTo>
                  <a:cubicBezTo>
                    <a:pt x="2014" y="1064"/>
                    <a:pt x="2008" y="1070"/>
                    <a:pt x="2008" y="1077"/>
                  </a:cubicBezTo>
                  <a:close/>
                  <a:moveTo>
                    <a:pt x="2060" y="1090"/>
                  </a:moveTo>
                  <a:cubicBezTo>
                    <a:pt x="2067" y="1090"/>
                    <a:pt x="2073" y="1084"/>
                    <a:pt x="2073" y="1077"/>
                  </a:cubicBezTo>
                  <a:cubicBezTo>
                    <a:pt x="2073" y="1070"/>
                    <a:pt x="2067" y="1064"/>
                    <a:pt x="2060" y="1064"/>
                  </a:cubicBezTo>
                  <a:cubicBezTo>
                    <a:pt x="2053" y="1064"/>
                    <a:pt x="2048" y="1070"/>
                    <a:pt x="2048" y="1077"/>
                  </a:cubicBezTo>
                  <a:cubicBezTo>
                    <a:pt x="2048" y="1084"/>
                    <a:pt x="2053" y="1090"/>
                    <a:pt x="2060" y="1090"/>
                  </a:cubicBezTo>
                  <a:close/>
                  <a:moveTo>
                    <a:pt x="2100" y="1090"/>
                  </a:moveTo>
                  <a:cubicBezTo>
                    <a:pt x="2107" y="1090"/>
                    <a:pt x="2112" y="1084"/>
                    <a:pt x="2112" y="1077"/>
                  </a:cubicBezTo>
                  <a:cubicBezTo>
                    <a:pt x="2112" y="1070"/>
                    <a:pt x="2107" y="1064"/>
                    <a:pt x="2100" y="1064"/>
                  </a:cubicBezTo>
                  <a:cubicBezTo>
                    <a:pt x="2093" y="1064"/>
                    <a:pt x="2087" y="1070"/>
                    <a:pt x="2087" y="1077"/>
                  </a:cubicBezTo>
                  <a:cubicBezTo>
                    <a:pt x="2087" y="1084"/>
                    <a:pt x="2093" y="1090"/>
                    <a:pt x="2100" y="1090"/>
                  </a:cubicBezTo>
                  <a:close/>
                  <a:moveTo>
                    <a:pt x="2139" y="1090"/>
                  </a:moveTo>
                  <a:cubicBezTo>
                    <a:pt x="2146" y="1090"/>
                    <a:pt x="2152" y="1084"/>
                    <a:pt x="2152" y="1077"/>
                  </a:cubicBezTo>
                  <a:cubicBezTo>
                    <a:pt x="2152" y="1070"/>
                    <a:pt x="2146" y="1064"/>
                    <a:pt x="2139" y="1064"/>
                  </a:cubicBezTo>
                  <a:cubicBezTo>
                    <a:pt x="2132" y="1064"/>
                    <a:pt x="2126" y="1070"/>
                    <a:pt x="2126" y="1077"/>
                  </a:cubicBezTo>
                  <a:cubicBezTo>
                    <a:pt x="2126" y="1084"/>
                    <a:pt x="2132" y="1090"/>
                    <a:pt x="2139" y="1090"/>
                  </a:cubicBezTo>
                  <a:close/>
                  <a:moveTo>
                    <a:pt x="2179" y="1064"/>
                  </a:moveTo>
                  <a:cubicBezTo>
                    <a:pt x="2172" y="1064"/>
                    <a:pt x="2166" y="1070"/>
                    <a:pt x="2166" y="1077"/>
                  </a:cubicBezTo>
                  <a:cubicBezTo>
                    <a:pt x="2166" y="1084"/>
                    <a:pt x="2172" y="1090"/>
                    <a:pt x="2179" y="1090"/>
                  </a:cubicBezTo>
                  <a:cubicBezTo>
                    <a:pt x="2186" y="1090"/>
                    <a:pt x="2191" y="1084"/>
                    <a:pt x="2191" y="1077"/>
                  </a:cubicBezTo>
                  <a:cubicBezTo>
                    <a:pt x="2191" y="1070"/>
                    <a:pt x="2186" y="1064"/>
                    <a:pt x="2179" y="1064"/>
                  </a:cubicBezTo>
                  <a:close/>
                  <a:moveTo>
                    <a:pt x="2730" y="1064"/>
                  </a:moveTo>
                  <a:cubicBezTo>
                    <a:pt x="2723" y="1064"/>
                    <a:pt x="2718" y="1070"/>
                    <a:pt x="2718" y="1077"/>
                  </a:cubicBezTo>
                  <a:cubicBezTo>
                    <a:pt x="2718" y="1084"/>
                    <a:pt x="2723" y="1090"/>
                    <a:pt x="2730" y="1090"/>
                  </a:cubicBezTo>
                  <a:cubicBezTo>
                    <a:pt x="2738" y="1090"/>
                    <a:pt x="2743" y="1084"/>
                    <a:pt x="2743" y="1077"/>
                  </a:cubicBezTo>
                  <a:cubicBezTo>
                    <a:pt x="2743" y="1070"/>
                    <a:pt x="2738" y="1064"/>
                    <a:pt x="2730" y="1064"/>
                  </a:cubicBezTo>
                  <a:close/>
                  <a:moveTo>
                    <a:pt x="2888" y="1090"/>
                  </a:moveTo>
                  <a:cubicBezTo>
                    <a:pt x="2895" y="1090"/>
                    <a:pt x="2901" y="1084"/>
                    <a:pt x="2901" y="1077"/>
                  </a:cubicBezTo>
                  <a:cubicBezTo>
                    <a:pt x="2901" y="1070"/>
                    <a:pt x="2895" y="1064"/>
                    <a:pt x="2888" y="1064"/>
                  </a:cubicBezTo>
                  <a:cubicBezTo>
                    <a:pt x="2881" y="1064"/>
                    <a:pt x="2875" y="1070"/>
                    <a:pt x="2875" y="1077"/>
                  </a:cubicBezTo>
                  <a:cubicBezTo>
                    <a:pt x="2875" y="1084"/>
                    <a:pt x="2881" y="1090"/>
                    <a:pt x="2888" y="1090"/>
                  </a:cubicBezTo>
                  <a:close/>
                  <a:moveTo>
                    <a:pt x="917" y="1129"/>
                  </a:moveTo>
                  <a:cubicBezTo>
                    <a:pt x="924" y="1129"/>
                    <a:pt x="930" y="1124"/>
                    <a:pt x="930" y="1117"/>
                  </a:cubicBezTo>
                  <a:cubicBezTo>
                    <a:pt x="930" y="1110"/>
                    <a:pt x="924" y="1104"/>
                    <a:pt x="917" y="1104"/>
                  </a:cubicBezTo>
                  <a:cubicBezTo>
                    <a:pt x="910" y="1104"/>
                    <a:pt x="904" y="1110"/>
                    <a:pt x="904" y="1117"/>
                  </a:cubicBezTo>
                  <a:cubicBezTo>
                    <a:pt x="904" y="1124"/>
                    <a:pt x="910" y="1129"/>
                    <a:pt x="917" y="1129"/>
                  </a:cubicBezTo>
                  <a:close/>
                  <a:moveTo>
                    <a:pt x="956" y="1129"/>
                  </a:moveTo>
                  <a:cubicBezTo>
                    <a:pt x="963" y="1129"/>
                    <a:pt x="969" y="1124"/>
                    <a:pt x="969" y="1117"/>
                  </a:cubicBezTo>
                  <a:cubicBezTo>
                    <a:pt x="969" y="1110"/>
                    <a:pt x="963" y="1104"/>
                    <a:pt x="956" y="1104"/>
                  </a:cubicBezTo>
                  <a:cubicBezTo>
                    <a:pt x="949" y="1104"/>
                    <a:pt x="944" y="1110"/>
                    <a:pt x="944" y="1117"/>
                  </a:cubicBezTo>
                  <a:cubicBezTo>
                    <a:pt x="944" y="1124"/>
                    <a:pt x="949" y="1129"/>
                    <a:pt x="956" y="1129"/>
                  </a:cubicBezTo>
                  <a:close/>
                  <a:moveTo>
                    <a:pt x="996" y="1129"/>
                  </a:moveTo>
                  <a:cubicBezTo>
                    <a:pt x="1003" y="1129"/>
                    <a:pt x="1009" y="1124"/>
                    <a:pt x="1009" y="1117"/>
                  </a:cubicBezTo>
                  <a:cubicBezTo>
                    <a:pt x="1009" y="1110"/>
                    <a:pt x="1003" y="1104"/>
                    <a:pt x="996" y="1104"/>
                  </a:cubicBezTo>
                  <a:cubicBezTo>
                    <a:pt x="989" y="1104"/>
                    <a:pt x="983" y="1110"/>
                    <a:pt x="983" y="1117"/>
                  </a:cubicBezTo>
                  <a:cubicBezTo>
                    <a:pt x="983" y="1124"/>
                    <a:pt x="989" y="1129"/>
                    <a:pt x="996" y="1129"/>
                  </a:cubicBezTo>
                  <a:close/>
                  <a:moveTo>
                    <a:pt x="1035" y="1129"/>
                  </a:moveTo>
                  <a:cubicBezTo>
                    <a:pt x="1042" y="1129"/>
                    <a:pt x="1048" y="1124"/>
                    <a:pt x="1048" y="1117"/>
                  </a:cubicBezTo>
                  <a:cubicBezTo>
                    <a:pt x="1048" y="1110"/>
                    <a:pt x="1042" y="1104"/>
                    <a:pt x="1035" y="1104"/>
                  </a:cubicBezTo>
                  <a:cubicBezTo>
                    <a:pt x="1028" y="1104"/>
                    <a:pt x="1023" y="1110"/>
                    <a:pt x="1023" y="1117"/>
                  </a:cubicBezTo>
                  <a:cubicBezTo>
                    <a:pt x="1023" y="1124"/>
                    <a:pt x="1028" y="1129"/>
                    <a:pt x="1035" y="1129"/>
                  </a:cubicBezTo>
                  <a:close/>
                  <a:moveTo>
                    <a:pt x="1075" y="1129"/>
                  </a:moveTo>
                  <a:cubicBezTo>
                    <a:pt x="1082" y="1129"/>
                    <a:pt x="1087" y="1124"/>
                    <a:pt x="1087" y="1117"/>
                  </a:cubicBezTo>
                  <a:cubicBezTo>
                    <a:pt x="1087" y="1110"/>
                    <a:pt x="1082" y="1104"/>
                    <a:pt x="1075" y="1104"/>
                  </a:cubicBezTo>
                  <a:cubicBezTo>
                    <a:pt x="1068" y="1104"/>
                    <a:pt x="1062" y="1110"/>
                    <a:pt x="1062" y="1117"/>
                  </a:cubicBezTo>
                  <a:cubicBezTo>
                    <a:pt x="1062" y="1124"/>
                    <a:pt x="1068" y="1129"/>
                    <a:pt x="1075" y="1129"/>
                  </a:cubicBezTo>
                  <a:close/>
                  <a:moveTo>
                    <a:pt x="1114" y="1129"/>
                  </a:moveTo>
                  <a:cubicBezTo>
                    <a:pt x="1121" y="1129"/>
                    <a:pt x="1127" y="1124"/>
                    <a:pt x="1127" y="1117"/>
                  </a:cubicBezTo>
                  <a:cubicBezTo>
                    <a:pt x="1127" y="1110"/>
                    <a:pt x="1121" y="1104"/>
                    <a:pt x="1114" y="1104"/>
                  </a:cubicBezTo>
                  <a:cubicBezTo>
                    <a:pt x="1107" y="1104"/>
                    <a:pt x="1101" y="1110"/>
                    <a:pt x="1101" y="1117"/>
                  </a:cubicBezTo>
                  <a:cubicBezTo>
                    <a:pt x="1101" y="1124"/>
                    <a:pt x="1107" y="1129"/>
                    <a:pt x="1114" y="1129"/>
                  </a:cubicBezTo>
                  <a:close/>
                  <a:moveTo>
                    <a:pt x="1154" y="1129"/>
                  </a:moveTo>
                  <a:cubicBezTo>
                    <a:pt x="1161" y="1129"/>
                    <a:pt x="1166" y="1124"/>
                    <a:pt x="1166" y="1117"/>
                  </a:cubicBezTo>
                  <a:cubicBezTo>
                    <a:pt x="1166" y="1110"/>
                    <a:pt x="1161" y="1104"/>
                    <a:pt x="1154" y="1104"/>
                  </a:cubicBezTo>
                  <a:cubicBezTo>
                    <a:pt x="1146" y="1104"/>
                    <a:pt x="1141" y="1110"/>
                    <a:pt x="1141" y="1117"/>
                  </a:cubicBezTo>
                  <a:cubicBezTo>
                    <a:pt x="1141" y="1124"/>
                    <a:pt x="1146" y="1129"/>
                    <a:pt x="1154" y="1129"/>
                  </a:cubicBezTo>
                  <a:close/>
                  <a:moveTo>
                    <a:pt x="1824" y="1104"/>
                  </a:moveTo>
                  <a:cubicBezTo>
                    <a:pt x="1817" y="1104"/>
                    <a:pt x="1811" y="1110"/>
                    <a:pt x="1811" y="1117"/>
                  </a:cubicBezTo>
                  <a:cubicBezTo>
                    <a:pt x="1811" y="1124"/>
                    <a:pt x="1817" y="1129"/>
                    <a:pt x="1824" y="1129"/>
                  </a:cubicBezTo>
                  <a:cubicBezTo>
                    <a:pt x="1831" y="1129"/>
                    <a:pt x="1836" y="1124"/>
                    <a:pt x="1836" y="1117"/>
                  </a:cubicBezTo>
                  <a:cubicBezTo>
                    <a:pt x="1836" y="1110"/>
                    <a:pt x="1831" y="1104"/>
                    <a:pt x="1824" y="1104"/>
                  </a:cubicBezTo>
                  <a:close/>
                  <a:moveTo>
                    <a:pt x="1863" y="1104"/>
                  </a:moveTo>
                  <a:cubicBezTo>
                    <a:pt x="1856" y="1104"/>
                    <a:pt x="1850" y="1110"/>
                    <a:pt x="1850" y="1117"/>
                  </a:cubicBezTo>
                  <a:cubicBezTo>
                    <a:pt x="1850" y="1124"/>
                    <a:pt x="1856" y="1129"/>
                    <a:pt x="1863" y="1129"/>
                  </a:cubicBezTo>
                  <a:cubicBezTo>
                    <a:pt x="1870" y="1129"/>
                    <a:pt x="1876" y="1124"/>
                    <a:pt x="1876" y="1117"/>
                  </a:cubicBezTo>
                  <a:cubicBezTo>
                    <a:pt x="1876" y="1110"/>
                    <a:pt x="1870" y="1104"/>
                    <a:pt x="1863" y="1104"/>
                  </a:cubicBezTo>
                  <a:close/>
                  <a:moveTo>
                    <a:pt x="1903" y="1104"/>
                  </a:moveTo>
                  <a:cubicBezTo>
                    <a:pt x="1896" y="1104"/>
                    <a:pt x="1890" y="1110"/>
                    <a:pt x="1890" y="1117"/>
                  </a:cubicBezTo>
                  <a:cubicBezTo>
                    <a:pt x="1890" y="1124"/>
                    <a:pt x="1896" y="1129"/>
                    <a:pt x="1903" y="1129"/>
                  </a:cubicBezTo>
                  <a:cubicBezTo>
                    <a:pt x="1910" y="1129"/>
                    <a:pt x="1915" y="1124"/>
                    <a:pt x="1915" y="1117"/>
                  </a:cubicBezTo>
                  <a:cubicBezTo>
                    <a:pt x="1915" y="1110"/>
                    <a:pt x="1910" y="1104"/>
                    <a:pt x="1903" y="1104"/>
                  </a:cubicBezTo>
                  <a:close/>
                  <a:moveTo>
                    <a:pt x="1942" y="1129"/>
                  </a:moveTo>
                  <a:cubicBezTo>
                    <a:pt x="1949" y="1129"/>
                    <a:pt x="1955" y="1124"/>
                    <a:pt x="1955" y="1117"/>
                  </a:cubicBezTo>
                  <a:cubicBezTo>
                    <a:pt x="1955" y="1110"/>
                    <a:pt x="1949" y="1104"/>
                    <a:pt x="1942" y="1104"/>
                  </a:cubicBezTo>
                  <a:cubicBezTo>
                    <a:pt x="1935" y="1104"/>
                    <a:pt x="1929" y="1110"/>
                    <a:pt x="1929" y="1117"/>
                  </a:cubicBezTo>
                  <a:cubicBezTo>
                    <a:pt x="1929" y="1124"/>
                    <a:pt x="1935" y="1129"/>
                    <a:pt x="1942" y="1129"/>
                  </a:cubicBezTo>
                  <a:close/>
                  <a:moveTo>
                    <a:pt x="1981" y="1104"/>
                  </a:moveTo>
                  <a:cubicBezTo>
                    <a:pt x="1974" y="1104"/>
                    <a:pt x="1969" y="1110"/>
                    <a:pt x="1969" y="1117"/>
                  </a:cubicBezTo>
                  <a:cubicBezTo>
                    <a:pt x="1969" y="1124"/>
                    <a:pt x="1974" y="1129"/>
                    <a:pt x="1981" y="1129"/>
                  </a:cubicBezTo>
                  <a:cubicBezTo>
                    <a:pt x="1988" y="1129"/>
                    <a:pt x="1994" y="1124"/>
                    <a:pt x="1994" y="1117"/>
                  </a:cubicBezTo>
                  <a:cubicBezTo>
                    <a:pt x="1994" y="1110"/>
                    <a:pt x="1988" y="1104"/>
                    <a:pt x="1981" y="1104"/>
                  </a:cubicBezTo>
                  <a:close/>
                  <a:moveTo>
                    <a:pt x="2021" y="1129"/>
                  </a:moveTo>
                  <a:cubicBezTo>
                    <a:pt x="2028" y="1129"/>
                    <a:pt x="2034" y="1124"/>
                    <a:pt x="2034" y="1117"/>
                  </a:cubicBezTo>
                  <a:cubicBezTo>
                    <a:pt x="2034" y="1110"/>
                    <a:pt x="2028" y="1104"/>
                    <a:pt x="2021" y="1104"/>
                  </a:cubicBezTo>
                  <a:cubicBezTo>
                    <a:pt x="2014" y="1104"/>
                    <a:pt x="2008" y="1110"/>
                    <a:pt x="2008" y="1117"/>
                  </a:cubicBezTo>
                  <a:cubicBezTo>
                    <a:pt x="2008" y="1124"/>
                    <a:pt x="2014" y="1129"/>
                    <a:pt x="2021" y="1129"/>
                  </a:cubicBezTo>
                  <a:close/>
                  <a:moveTo>
                    <a:pt x="2060" y="1129"/>
                  </a:moveTo>
                  <a:cubicBezTo>
                    <a:pt x="2067" y="1129"/>
                    <a:pt x="2073" y="1124"/>
                    <a:pt x="2073" y="1117"/>
                  </a:cubicBezTo>
                  <a:cubicBezTo>
                    <a:pt x="2073" y="1110"/>
                    <a:pt x="2067" y="1104"/>
                    <a:pt x="2060" y="1104"/>
                  </a:cubicBezTo>
                  <a:cubicBezTo>
                    <a:pt x="2053" y="1104"/>
                    <a:pt x="2048" y="1110"/>
                    <a:pt x="2048" y="1117"/>
                  </a:cubicBezTo>
                  <a:cubicBezTo>
                    <a:pt x="2048" y="1124"/>
                    <a:pt x="2053" y="1129"/>
                    <a:pt x="2060" y="1129"/>
                  </a:cubicBezTo>
                  <a:close/>
                  <a:moveTo>
                    <a:pt x="2100" y="1129"/>
                  </a:moveTo>
                  <a:cubicBezTo>
                    <a:pt x="2107" y="1129"/>
                    <a:pt x="2112" y="1124"/>
                    <a:pt x="2112" y="1117"/>
                  </a:cubicBezTo>
                  <a:cubicBezTo>
                    <a:pt x="2112" y="1110"/>
                    <a:pt x="2107" y="1104"/>
                    <a:pt x="2100" y="1104"/>
                  </a:cubicBezTo>
                  <a:cubicBezTo>
                    <a:pt x="2093" y="1104"/>
                    <a:pt x="2087" y="1110"/>
                    <a:pt x="2087" y="1117"/>
                  </a:cubicBezTo>
                  <a:cubicBezTo>
                    <a:pt x="2087" y="1124"/>
                    <a:pt x="2093" y="1129"/>
                    <a:pt x="2100" y="1129"/>
                  </a:cubicBezTo>
                  <a:close/>
                  <a:moveTo>
                    <a:pt x="2139" y="1129"/>
                  </a:moveTo>
                  <a:cubicBezTo>
                    <a:pt x="2146" y="1129"/>
                    <a:pt x="2152" y="1124"/>
                    <a:pt x="2152" y="1117"/>
                  </a:cubicBezTo>
                  <a:cubicBezTo>
                    <a:pt x="2152" y="1110"/>
                    <a:pt x="2146" y="1104"/>
                    <a:pt x="2139" y="1104"/>
                  </a:cubicBezTo>
                  <a:cubicBezTo>
                    <a:pt x="2132" y="1104"/>
                    <a:pt x="2126" y="1110"/>
                    <a:pt x="2126" y="1117"/>
                  </a:cubicBezTo>
                  <a:cubicBezTo>
                    <a:pt x="2126" y="1124"/>
                    <a:pt x="2132" y="1129"/>
                    <a:pt x="2139" y="1129"/>
                  </a:cubicBezTo>
                  <a:close/>
                  <a:moveTo>
                    <a:pt x="2730" y="1104"/>
                  </a:moveTo>
                  <a:cubicBezTo>
                    <a:pt x="2723" y="1104"/>
                    <a:pt x="2718" y="1110"/>
                    <a:pt x="2718" y="1117"/>
                  </a:cubicBezTo>
                  <a:cubicBezTo>
                    <a:pt x="2718" y="1124"/>
                    <a:pt x="2723" y="1129"/>
                    <a:pt x="2730" y="1129"/>
                  </a:cubicBezTo>
                  <a:cubicBezTo>
                    <a:pt x="2738" y="1129"/>
                    <a:pt x="2743" y="1124"/>
                    <a:pt x="2743" y="1117"/>
                  </a:cubicBezTo>
                  <a:cubicBezTo>
                    <a:pt x="2743" y="1110"/>
                    <a:pt x="2738" y="1104"/>
                    <a:pt x="2730" y="1104"/>
                  </a:cubicBezTo>
                  <a:close/>
                  <a:moveTo>
                    <a:pt x="2809" y="1104"/>
                  </a:moveTo>
                  <a:cubicBezTo>
                    <a:pt x="2802" y="1104"/>
                    <a:pt x="2797" y="1110"/>
                    <a:pt x="2797" y="1117"/>
                  </a:cubicBezTo>
                  <a:cubicBezTo>
                    <a:pt x="2797" y="1124"/>
                    <a:pt x="2802" y="1129"/>
                    <a:pt x="2809" y="1129"/>
                  </a:cubicBezTo>
                  <a:cubicBezTo>
                    <a:pt x="2816" y="1129"/>
                    <a:pt x="2822" y="1124"/>
                    <a:pt x="2822" y="1117"/>
                  </a:cubicBezTo>
                  <a:cubicBezTo>
                    <a:pt x="2822" y="1110"/>
                    <a:pt x="2816" y="1104"/>
                    <a:pt x="2809" y="1104"/>
                  </a:cubicBezTo>
                  <a:close/>
                  <a:moveTo>
                    <a:pt x="2849" y="1104"/>
                  </a:moveTo>
                  <a:cubicBezTo>
                    <a:pt x="2842" y="1104"/>
                    <a:pt x="2836" y="1110"/>
                    <a:pt x="2836" y="1117"/>
                  </a:cubicBezTo>
                  <a:cubicBezTo>
                    <a:pt x="2836" y="1124"/>
                    <a:pt x="2842" y="1129"/>
                    <a:pt x="2849" y="1129"/>
                  </a:cubicBezTo>
                  <a:cubicBezTo>
                    <a:pt x="2856" y="1129"/>
                    <a:pt x="2862" y="1124"/>
                    <a:pt x="2862" y="1117"/>
                  </a:cubicBezTo>
                  <a:cubicBezTo>
                    <a:pt x="2862" y="1110"/>
                    <a:pt x="2856" y="1104"/>
                    <a:pt x="2849" y="1104"/>
                  </a:cubicBezTo>
                  <a:close/>
                  <a:moveTo>
                    <a:pt x="2888" y="1129"/>
                  </a:moveTo>
                  <a:cubicBezTo>
                    <a:pt x="2895" y="1129"/>
                    <a:pt x="2901" y="1124"/>
                    <a:pt x="2901" y="1117"/>
                  </a:cubicBezTo>
                  <a:cubicBezTo>
                    <a:pt x="2901" y="1110"/>
                    <a:pt x="2895" y="1104"/>
                    <a:pt x="2888" y="1104"/>
                  </a:cubicBezTo>
                  <a:cubicBezTo>
                    <a:pt x="2881" y="1104"/>
                    <a:pt x="2875" y="1110"/>
                    <a:pt x="2875" y="1117"/>
                  </a:cubicBezTo>
                  <a:cubicBezTo>
                    <a:pt x="2875" y="1124"/>
                    <a:pt x="2881" y="1129"/>
                    <a:pt x="2888" y="1129"/>
                  </a:cubicBezTo>
                  <a:close/>
                  <a:moveTo>
                    <a:pt x="2919" y="1117"/>
                  </a:moveTo>
                  <a:cubicBezTo>
                    <a:pt x="2919" y="1121"/>
                    <a:pt x="2923" y="1125"/>
                    <a:pt x="2928" y="1125"/>
                  </a:cubicBezTo>
                  <a:cubicBezTo>
                    <a:pt x="2932" y="1125"/>
                    <a:pt x="2936" y="1121"/>
                    <a:pt x="2936" y="1117"/>
                  </a:cubicBezTo>
                  <a:cubicBezTo>
                    <a:pt x="2936" y="1112"/>
                    <a:pt x="2932" y="1108"/>
                    <a:pt x="2928" y="1108"/>
                  </a:cubicBezTo>
                  <a:cubicBezTo>
                    <a:pt x="2923" y="1108"/>
                    <a:pt x="2919" y="1112"/>
                    <a:pt x="2919" y="1117"/>
                  </a:cubicBezTo>
                  <a:close/>
                  <a:moveTo>
                    <a:pt x="882" y="1156"/>
                  </a:moveTo>
                  <a:cubicBezTo>
                    <a:pt x="882" y="1154"/>
                    <a:pt x="880" y="1152"/>
                    <a:pt x="878" y="1152"/>
                  </a:cubicBezTo>
                  <a:cubicBezTo>
                    <a:pt x="875" y="1152"/>
                    <a:pt x="873" y="1154"/>
                    <a:pt x="873" y="1156"/>
                  </a:cubicBezTo>
                  <a:cubicBezTo>
                    <a:pt x="873" y="1158"/>
                    <a:pt x="875" y="1160"/>
                    <a:pt x="878" y="1160"/>
                  </a:cubicBezTo>
                  <a:cubicBezTo>
                    <a:pt x="880" y="1160"/>
                    <a:pt x="882" y="1158"/>
                    <a:pt x="882" y="1156"/>
                  </a:cubicBezTo>
                  <a:close/>
                  <a:moveTo>
                    <a:pt x="917" y="1169"/>
                  </a:moveTo>
                  <a:cubicBezTo>
                    <a:pt x="924" y="1169"/>
                    <a:pt x="930" y="1163"/>
                    <a:pt x="930" y="1156"/>
                  </a:cubicBezTo>
                  <a:cubicBezTo>
                    <a:pt x="930" y="1149"/>
                    <a:pt x="924" y="1143"/>
                    <a:pt x="917" y="1143"/>
                  </a:cubicBezTo>
                  <a:cubicBezTo>
                    <a:pt x="910" y="1143"/>
                    <a:pt x="904" y="1149"/>
                    <a:pt x="904" y="1156"/>
                  </a:cubicBezTo>
                  <a:cubicBezTo>
                    <a:pt x="904" y="1163"/>
                    <a:pt x="910" y="1169"/>
                    <a:pt x="917" y="1169"/>
                  </a:cubicBezTo>
                  <a:close/>
                  <a:moveTo>
                    <a:pt x="956" y="1169"/>
                  </a:moveTo>
                  <a:cubicBezTo>
                    <a:pt x="963" y="1169"/>
                    <a:pt x="969" y="1163"/>
                    <a:pt x="969" y="1156"/>
                  </a:cubicBezTo>
                  <a:cubicBezTo>
                    <a:pt x="969" y="1149"/>
                    <a:pt x="963" y="1143"/>
                    <a:pt x="956" y="1143"/>
                  </a:cubicBezTo>
                  <a:cubicBezTo>
                    <a:pt x="949" y="1143"/>
                    <a:pt x="944" y="1149"/>
                    <a:pt x="944" y="1156"/>
                  </a:cubicBezTo>
                  <a:cubicBezTo>
                    <a:pt x="944" y="1163"/>
                    <a:pt x="949" y="1169"/>
                    <a:pt x="956" y="1169"/>
                  </a:cubicBezTo>
                  <a:close/>
                  <a:moveTo>
                    <a:pt x="996" y="1169"/>
                  </a:moveTo>
                  <a:cubicBezTo>
                    <a:pt x="1003" y="1169"/>
                    <a:pt x="1009" y="1163"/>
                    <a:pt x="1009" y="1156"/>
                  </a:cubicBezTo>
                  <a:cubicBezTo>
                    <a:pt x="1009" y="1149"/>
                    <a:pt x="1003" y="1143"/>
                    <a:pt x="996" y="1143"/>
                  </a:cubicBezTo>
                  <a:cubicBezTo>
                    <a:pt x="989" y="1143"/>
                    <a:pt x="983" y="1149"/>
                    <a:pt x="983" y="1156"/>
                  </a:cubicBezTo>
                  <a:cubicBezTo>
                    <a:pt x="983" y="1163"/>
                    <a:pt x="989" y="1169"/>
                    <a:pt x="996" y="1169"/>
                  </a:cubicBezTo>
                  <a:close/>
                  <a:moveTo>
                    <a:pt x="1035" y="1169"/>
                  </a:moveTo>
                  <a:cubicBezTo>
                    <a:pt x="1042" y="1169"/>
                    <a:pt x="1048" y="1163"/>
                    <a:pt x="1048" y="1156"/>
                  </a:cubicBezTo>
                  <a:cubicBezTo>
                    <a:pt x="1048" y="1149"/>
                    <a:pt x="1042" y="1143"/>
                    <a:pt x="1035" y="1143"/>
                  </a:cubicBezTo>
                  <a:cubicBezTo>
                    <a:pt x="1028" y="1143"/>
                    <a:pt x="1023" y="1149"/>
                    <a:pt x="1023" y="1156"/>
                  </a:cubicBezTo>
                  <a:cubicBezTo>
                    <a:pt x="1023" y="1163"/>
                    <a:pt x="1028" y="1169"/>
                    <a:pt x="1035" y="1169"/>
                  </a:cubicBezTo>
                  <a:close/>
                  <a:moveTo>
                    <a:pt x="1075" y="1169"/>
                  </a:moveTo>
                  <a:cubicBezTo>
                    <a:pt x="1082" y="1169"/>
                    <a:pt x="1087" y="1163"/>
                    <a:pt x="1087" y="1156"/>
                  </a:cubicBezTo>
                  <a:cubicBezTo>
                    <a:pt x="1087" y="1149"/>
                    <a:pt x="1082" y="1143"/>
                    <a:pt x="1075" y="1143"/>
                  </a:cubicBezTo>
                  <a:cubicBezTo>
                    <a:pt x="1068" y="1143"/>
                    <a:pt x="1062" y="1149"/>
                    <a:pt x="1062" y="1156"/>
                  </a:cubicBezTo>
                  <a:cubicBezTo>
                    <a:pt x="1062" y="1163"/>
                    <a:pt x="1068" y="1169"/>
                    <a:pt x="1075" y="1169"/>
                  </a:cubicBezTo>
                  <a:close/>
                  <a:moveTo>
                    <a:pt x="1114" y="1169"/>
                  </a:moveTo>
                  <a:cubicBezTo>
                    <a:pt x="1121" y="1169"/>
                    <a:pt x="1127" y="1163"/>
                    <a:pt x="1127" y="1156"/>
                  </a:cubicBezTo>
                  <a:cubicBezTo>
                    <a:pt x="1127" y="1149"/>
                    <a:pt x="1121" y="1143"/>
                    <a:pt x="1114" y="1143"/>
                  </a:cubicBezTo>
                  <a:cubicBezTo>
                    <a:pt x="1107" y="1143"/>
                    <a:pt x="1101" y="1149"/>
                    <a:pt x="1101" y="1156"/>
                  </a:cubicBezTo>
                  <a:cubicBezTo>
                    <a:pt x="1101" y="1163"/>
                    <a:pt x="1107" y="1169"/>
                    <a:pt x="1114" y="1169"/>
                  </a:cubicBezTo>
                  <a:close/>
                  <a:moveTo>
                    <a:pt x="1154" y="1169"/>
                  </a:moveTo>
                  <a:cubicBezTo>
                    <a:pt x="1161" y="1169"/>
                    <a:pt x="1166" y="1163"/>
                    <a:pt x="1166" y="1156"/>
                  </a:cubicBezTo>
                  <a:cubicBezTo>
                    <a:pt x="1166" y="1149"/>
                    <a:pt x="1161" y="1143"/>
                    <a:pt x="1154" y="1143"/>
                  </a:cubicBezTo>
                  <a:cubicBezTo>
                    <a:pt x="1146" y="1143"/>
                    <a:pt x="1141" y="1149"/>
                    <a:pt x="1141" y="1156"/>
                  </a:cubicBezTo>
                  <a:cubicBezTo>
                    <a:pt x="1141" y="1163"/>
                    <a:pt x="1146" y="1169"/>
                    <a:pt x="1154" y="1169"/>
                  </a:cubicBezTo>
                  <a:close/>
                  <a:moveTo>
                    <a:pt x="1193" y="1169"/>
                  </a:moveTo>
                  <a:cubicBezTo>
                    <a:pt x="1200" y="1169"/>
                    <a:pt x="1206" y="1163"/>
                    <a:pt x="1206" y="1156"/>
                  </a:cubicBezTo>
                  <a:cubicBezTo>
                    <a:pt x="1206" y="1149"/>
                    <a:pt x="1200" y="1143"/>
                    <a:pt x="1193" y="1143"/>
                  </a:cubicBezTo>
                  <a:cubicBezTo>
                    <a:pt x="1186" y="1143"/>
                    <a:pt x="1180" y="1149"/>
                    <a:pt x="1180" y="1156"/>
                  </a:cubicBezTo>
                  <a:cubicBezTo>
                    <a:pt x="1180" y="1163"/>
                    <a:pt x="1186" y="1169"/>
                    <a:pt x="1193" y="1169"/>
                  </a:cubicBezTo>
                  <a:close/>
                  <a:moveTo>
                    <a:pt x="1232" y="1169"/>
                  </a:moveTo>
                  <a:cubicBezTo>
                    <a:pt x="1239" y="1169"/>
                    <a:pt x="1245" y="1163"/>
                    <a:pt x="1245" y="1156"/>
                  </a:cubicBezTo>
                  <a:cubicBezTo>
                    <a:pt x="1245" y="1149"/>
                    <a:pt x="1239" y="1143"/>
                    <a:pt x="1232" y="1143"/>
                  </a:cubicBezTo>
                  <a:cubicBezTo>
                    <a:pt x="1225" y="1143"/>
                    <a:pt x="1220" y="1149"/>
                    <a:pt x="1220" y="1156"/>
                  </a:cubicBezTo>
                  <a:cubicBezTo>
                    <a:pt x="1220" y="1163"/>
                    <a:pt x="1225" y="1169"/>
                    <a:pt x="1232" y="1169"/>
                  </a:cubicBezTo>
                  <a:close/>
                  <a:moveTo>
                    <a:pt x="1824" y="1169"/>
                  </a:moveTo>
                  <a:cubicBezTo>
                    <a:pt x="1831" y="1169"/>
                    <a:pt x="1836" y="1163"/>
                    <a:pt x="1836" y="1156"/>
                  </a:cubicBezTo>
                  <a:cubicBezTo>
                    <a:pt x="1836" y="1149"/>
                    <a:pt x="1831" y="1143"/>
                    <a:pt x="1824" y="1143"/>
                  </a:cubicBezTo>
                  <a:cubicBezTo>
                    <a:pt x="1817" y="1143"/>
                    <a:pt x="1811" y="1149"/>
                    <a:pt x="1811" y="1156"/>
                  </a:cubicBezTo>
                  <a:cubicBezTo>
                    <a:pt x="1811" y="1163"/>
                    <a:pt x="1817" y="1169"/>
                    <a:pt x="1824" y="1169"/>
                  </a:cubicBezTo>
                  <a:close/>
                  <a:moveTo>
                    <a:pt x="1863" y="1169"/>
                  </a:moveTo>
                  <a:cubicBezTo>
                    <a:pt x="1870" y="1169"/>
                    <a:pt x="1876" y="1163"/>
                    <a:pt x="1876" y="1156"/>
                  </a:cubicBezTo>
                  <a:cubicBezTo>
                    <a:pt x="1876" y="1149"/>
                    <a:pt x="1870" y="1143"/>
                    <a:pt x="1863" y="1143"/>
                  </a:cubicBezTo>
                  <a:cubicBezTo>
                    <a:pt x="1856" y="1143"/>
                    <a:pt x="1850" y="1149"/>
                    <a:pt x="1850" y="1156"/>
                  </a:cubicBezTo>
                  <a:cubicBezTo>
                    <a:pt x="1850" y="1163"/>
                    <a:pt x="1856" y="1169"/>
                    <a:pt x="1863" y="1169"/>
                  </a:cubicBezTo>
                  <a:close/>
                  <a:moveTo>
                    <a:pt x="1903" y="1169"/>
                  </a:moveTo>
                  <a:cubicBezTo>
                    <a:pt x="1910" y="1169"/>
                    <a:pt x="1915" y="1163"/>
                    <a:pt x="1915" y="1156"/>
                  </a:cubicBezTo>
                  <a:cubicBezTo>
                    <a:pt x="1915" y="1149"/>
                    <a:pt x="1910" y="1143"/>
                    <a:pt x="1903" y="1143"/>
                  </a:cubicBezTo>
                  <a:cubicBezTo>
                    <a:pt x="1896" y="1143"/>
                    <a:pt x="1890" y="1149"/>
                    <a:pt x="1890" y="1156"/>
                  </a:cubicBezTo>
                  <a:cubicBezTo>
                    <a:pt x="1890" y="1163"/>
                    <a:pt x="1896" y="1169"/>
                    <a:pt x="1903" y="1169"/>
                  </a:cubicBezTo>
                  <a:close/>
                  <a:moveTo>
                    <a:pt x="1942" y="1169"/>
                  </a:moveTo>
                  <a:cubicBezTo>
                    <a:pt x="1949" y="1169"/>
                    <a:pt x="1955" y="1163"/>
                    <a:pt x="1955" y="1156"/>
                  </a:cubicBezTo>
                  <a:cubicBezTo>
                    <a:pt x="1955" y="1149"/>
                    <a:pt x="1949" y="1143"/>
                    <a:pt x="1942" y="1143"/>
                  </a:cubicBezTo>
                  <a:cubicBezTo>
                    <a:pt x="1935" y="1143"/>
                    <a:pt x="1929" y="1149"/>
                    <a:pt x="1929" y="1156"/>
                  </a:cubicBezTo>
                  <a:cubicBezTo>
                    <a:pt x="1929" y="1163"/>
                    <a:pt x="1935" y="1169"/>
                    <a:pt x="1942" y="1169"/>
                  </a:cubicBezTo>
                  <a:close/>
                  <a:moveTo>
                    <a:pt x="1981" y="1169"/>
                  </a:moveTo>
                  <a:cubicBezTo>
                    <a:pt x="1988" y="1169"/>
                    <a:pt x="1994" y="1163"/>
                    <a:pt x="1994" y="1156"/>
                  </a:cubicBezTo>
                  <a:cubicBezTo>
                    <a:pt x="1994" y="1149"/>
                    <a:pt x="1988" y="1143"/>
                    <a:pt x="1981" y="1143"/>
                  </a:cubicBezTo>
                  <a:cubicBezTo>
                    <a:pt x="1974" y="1143"/>
                    <a:pt x="1969" y="1149"/>
                    <a:pt x="1969" y="1156"/>
                  </a:cubicBezTo>
                  <a:cubicBezTo>
                    <a:pt x="1969" y="1163"/>
                    <a:pt x="1974" y="1169"/>
                    <a:pt x="1981" y="1169"/>
                  </a:cubicBezTo>
                  <a:close/>
                  <a:moveTo>
                    <a:pt x="2021" y="1169"/>
                  </a:moveTo>
                  <a:cubicBezTo>
                    <a:pt x="2028" y="1169"/>
                    <a:pt x="2034" y="1163"/>
                    <a:pt x="2034" y="1156"/>
                  </a:cubicBezTo>
                  <a:cubicBezTo>
                    <a:pt x="2034" y="1149"/>
                    <a:pt x="2028" y="1143"/>
                    <a:pt x="2021" y="1143"/>
                  </a:cubicBezTo>
                  <a:cubicBezTo>
                    <a:pt x="2014" y="1143"/>
                    <a:pt x="2008" y="1149"/>
                    <a:pt x="2008" y="1156"/>
                  </a:cubicBezTo>
                  <a:cubicBezTo>
                    <a:pt x="2008" y="1163"/>
                    <a:pt x="2014" y="1169"/>
                    <a:pt x="2021" y="1169"/>
                  </a:cubicBezTo>
                  <a:close/>
                  <a:moveTo>
                    <a:pt x="2060" y="1169"/>
                  </a:moveTo>
                  <a:cubicBezTo>
                    <a:pt x="2067" y="1169"/>
                    <a:pt x="2073" y="1163"/>
                    <a:pt x="2073" y="1156"/>
                  </a:cubicBezTo>
                  <a:cubicBezTo>
                    <a:pt x="2073" y="1149"/>
                    <a:pt x="2067" y="1143"/>
                    <a:pt x="2060" y="1143"/>
                  </a:cubicBezTo>
                  <a:cubicBezTo>
                    <a:pt x="2053" y="1143"/>
                    <a:pt x="2048" y="1149"/>
                    <a:pt x="2048" y="1156"/>
                  </a:cubicBezTo>
                  <a:cubicBezTo>
                    <a:pt x="2048" y="1163"/>
                    <a:pt x="2053" y="1169"/>
                    <a:pt x="2060" y="1169"/>
                  </a:cubicBezTo>
                  <a:close/>
                  <a:moveTo>
                    <a:pt x="2100" y="1143"/>
                  </a:moveTo>
                  <a:cubicBezTo>
                    <a:pt x="2093" y="1143"/>
                    <a:pt x="2087" y="1149"/>
                    <a:pt x="2087" y="1156"/>
                  </a:cubicBezTo>
                  <a:cubicBezTo>
                    <a:pt x="2087" y="1163"/>
                    <a:pt x="2093" y="1169"/>
                    <a:pt x="2100" y="1169"/>
                  </a:cubicBezTo>
                  <a:cubicBezTo>
                    <a:pt x="2107" y="1169"/>
                    <a:pt x="2112" y="1163"/>
                    <a:pt x="2112" y="1156"/>
                  </a:cubicBezTo>
                  <a:cubicBezTo>
                    <a:pt x="2112" y="1149"/>
                    <a:pt x="2107" y="1143"/>
                    <a:pt x="2100" y="1143"/>
                  </a:cubicBezTo>
                  <a:close/>
                  <a:moveTo>
                    <a:pt x="2730" y="1143"/>
                  </a:moveTo>
                  <a:cubicBezTo>
                    <a:pt x="2723" y="1143"/>
                    <a:pt x="2718" y="1149"/>
                    <a:pt x="2718" y="1156"/>
                  </a:cubicBezTo>
                  <a:cubicBezTo>
                    <a:pt x="2718" y="1163"/>
                    <a:pt x="2723" y="1169"/>
                    <a:pt x="2730" y="1169"/>
                  </a:cubicBezTo>
                  <a:cubicBezTo>
                    <a:pt x="2738" y="1169"/>
                    <a:pt x="2743" y="1163"/>
                    <a:pt x="2743" y="1156"/>
                  </a:cubicBezTo>
                  <a:cubicBezTo>
                    <a:pt x="2743" y="1149"/>
                    <a:pt x="2738" y="1143"/>
                    <a:pt x="2730" y="1143"/>
                  </a:cubicBezTo>
                  <a:close/>
                  <a:moveTo>
                    <a:pt x="2849" y="1143"/>
                  </a:moveTo>
                  <a:cubicBezTo>
                    <a:pt x="2842" y="1143"/>
                    <a:pt x="2836" y="1149"/>
                    <a:pt x="2836" y="1156"/>
                  </a:cubicBezTo>
                  <a:cubicBezTo>
                    <a:pt x="2836" y="1163"/>
                    <a:pt x="2842" y="1169"/>
                    <a:pt x="2849" y="1169"/>
                  </a:cubicBezTo>
                  <a:cubicBezTo>
                    <a:pt x="2856" y="1169"/>
                    <a:pt x="2862" y="1163"/>
                    <a:pt x="2862" y="1156"/>
                  </a:cubicBezTo>
                  <a:cubicBezTo>
                    <a:pt x="2862" y="1149"/>
                    <a:pt x="2856" y="1143"/>
                    <a:pt x="2849" y="1143"/>
                  </a:cubicBezTo>
                  <a:close/>
                  <a:moveTo>
                    <a:pt x="2928" y="1169"/>
                  </a:moveTo>
                  <a:cubicBezTo>
                    <a:pt x="2935" y="1169"/>
                    <a:pt x="2940" y="1163"/>
                    <a:pt x="2940" y="1156"/>
                  </a:cubicBezTo>
                  <a:cubicBezTo>
                    <a:pt x="2940" y="1149"/>
                    <a:pt x="2935" y="1143"/>
                    <a:pt x="2928" y="1143"/>
                  </a:cubicBezTo>
                  <a:cubicBezTo>
                    <a:pt x="2921" y="1143"/>
                    <a:pt x="2915" y="1149"/>
                    <a:pt x="2915" y="1156"/>
                  </a:cubicBezTo>
                  <a:cubicBezTo>
                    <a:pt x="2915" y="1163"/>
                    <a:pt x="2921" y="1169"/>
                    <a:pt x="2928" y="1169"/>
                  </a:cubicBezTo>
                  <a:close/>
                  <a:moveTo>
                    <a:pt x="3046" y="1144"/>
                  </a:moveTo>
                  <a:cubicBezTo>
                    <a:pt x="3039" y="1144"/>
                    <a:pt x="3034" y="1149"/>
                    <a:pt x="3034" y="1156"/>
                  </a:cubicBezTo>
                  <a:cubicBezTo>
                    <a:pt x="3034" y="1163"/>
                    <a:pt x="3039" y="1168"/>
                    <a:pt x="3046" y="1168"/>
                  </a:cubicBezTo>
                  <a:cubicBezTo>
                    <a:pt x="3053" y="1168"/>
                    <a:pt x="3058" y="1163"/>
                    <a:pt x="3058" y="1156"/>
                  </a:cubicBezTo>
                  <a:cubicBezTo>
                    <a:pt x="3058" y="1149"/>
                    <a:pt x="3053" y="1144"/>
                    <a:pt x="3046" y="1144"/>
                  </a:cubicBezTo>
                  <a:close/>
                  <a:moveTo>
                    <a:pt x="3085" y="1169"/>
                  </a:moveTo>
                  <a:cubicBezTo>
                    <a:pt x="3092" y="1169"/>
                    <a:pt x="3098" y="1163"/>
                    <a:pt x="3098" y="1156"/>
                  </a:cubicBezTo>
                  <a:cubicBezTo>
                    <a:pt x="3098" y="1149"/>
                    <a:pt x="3092" y="1143"/>
                    <a:pt x="3085" y="1143"/>
                  </a:cubicBezTo>
                  <a:cubicBezTo>
                    <a:pt x="3078" y="1143"/>
                    <a:pt x="3073" y="1149"/>
                    <a:pt x="3073" y="1156"/>
                  </a:cubicBezTo>
                  <a:cubicBezTo>
                    <a:pt x="3073" y="1163"/>
                    <a:pt x="3078" y="1169"/>
                    <a:pt x="3085" y="1169"/>
                  </a:cubicBezTo>
                  <a:close/>
                  <a:moveTo>
                    <a:pt x="3125" y="1167"/>
                  </a:moveTo>
                  <a:cubicBezTo>
                    <a:pt x="3131" y="1167"/>
                    <a:pt x="3136" y="1162"/>
                    <a:pt x="3136" y="1156"/>
                  </a:cubicBezTo>
                  <a:cubicBezTo>
                    <a:pt x="3136" y="1150"/>
                    <a:pt x="3131" y="1145"/>
                    <a:pt x="3125" y="1145"/>
                  </a:cubicBezTo>
                  <a:cubicBezTo>
                    <a:pt x="3118" y="1145"/>
                    <a:pt x="3113" y="1150"/>
                    <a:pt x="3113" y="1156"/>
                  </a:cubicBezTo>
                  <a:cubicBezTo>
                    <a:pt x="3113" y="1162"/>
                    <a:pt x="3118" y="1167"/>
                    <a:pt x="3125" y="1167"/>
                  </a:cubicBezTo>
                  <a:close/>
                  <a:moveTo>
                    <a:pt x="878" y="1188"/>
                  </a:moveTo>
                  <a:cubicBezTo>
                    <a:pt x="873" y="1188"/>
                    <a:pt x="870" y="1191"/>
                    <a:pt x="870" y="1195"/>
                  </a:cubicBezTo>
                  <a:cubicBezTo>
                    <a:pt x="870" y="1199"/>
                    <a:pt x="873" y="1203"/>
                    <a:pt x="878" y="1203"/>
                  </a:cubicBezTo>
                  <a:cubicBezTo>
                    <a:pt x="882" y="1203"/>
                    <a:pt x="885" y="1199"/>
                    <a:pt x="885" y="1195"/>
                  </a:cubicBezTo>
                  <a:cubicBezTo>
                    <a:pt x="885" y="1191"/>
                    <a:pt x="882" y="1188"/>
                    <a:pt x="878" y="1188"/>
                  </a:cubicBezTo>
                  <a:close/>
                  <a:moveTo>
                    <a:pt x="917" y="1183"/>
                  </a:moveTo>
                  <a:cubicBezTo>
                    <a:pt x="910" y="1183"/>
                    <a:pt x="904" y="1188"/>
                    <a:pt x="904" y="1195"/>
                  </a:cubicBezTo>
                  <a:cubicBezTo>
                    <a:pt x="904" y="1202"/>
                    <a:pt x="910" y="1208"/>
                    <a:pt x="917" y="1208"/>
                  </a:cubicBezTo>
                  <a:cubicBezTo>
                    <a:pt x="924" y="1208"/>
                    <a:pt x="930" y="1202"/>
                    <a:pt x="930" y="1195"/>
                  </a:cubicBezTo>
                  <a:cubicBezTo>
                    <a:pt x="930" y="1188"/>
                    <a:pt x="924" y="1183"/>
                    <a:pt x="917" y="1183"/>
                  </a:cubicBezTo>
                  <a:close/>
                  <a:moveTo>
                    <a:pt x="956" y="1183"/>
                  </a:moveTo>
                  <a:cubicBezTo>
                    <a:pt x="949" y="1183"/>
                    <a:pt x="944" y="1188"/>
                    <a:pt x="944" y="1195"/>
                  </a:cubicBezTo>
                  <a:cubicBezTo>
                    <a:pt x="944" y="1202"/>
                    <a:pt x="949" y="1208"/>
                    <a:pt x="956" y="1208"/>
                  </a:cubicBezTo>
                  <a:cubicBezTo>
                    <a:pt x="963" y="1208"/>
                    <a:pt x="969" y="1202"/>
                    <a:pt x="969" y="1195"/>
                  </a:cubicBezTo>
                  <a:cubicBezTo>
                    <a:pt x="969" y="1188"/>
                    <a:pt x="963" y="1183"/>
                    <a:pt x="956" y="1183"/>
                  </a:cubicBezTo>
                  <a:close/>
                  <a:moveTo>
                    <a:pt x="996" y="1208"/>
                  </a:moveTo>
                  <a:cubicBezTo>
                    <a:pt x="1003" y="1208"/>
                    <a:pt x="1009" y="1202"/>
                    <a:pt x="1009" y="1195"/>
                  </a:cubicBezTo>
                  <a:cubicBezTo>
                    <a:pt x="1009" y="1188"/>
                    <a:pt x="1003" y="1183"/>
                    <a:pt x="996" y="1183"/>
                  </a:cubicBezTo>
                  <a:cubicBezTo>
                    <a:pt x="989" y="1183"/>
                    <a:pt x="983" y="1188"/>
                    <a:pt x="983" y="1195"/>
                  </a:cubicBezTo>
                  <a:cubicBezTo>
                    <a:pt x="983" y="1202"/>
                    <a:pt x="989" y="1208"/>
                    <a:pt x="996" y="1208"/>
                  </a:cubicBezTo>
                  <a:close/>
                  <a:moveTo>
                    <a:pt x="1035" y="1208"/>
                  </a:moveTo>
                  <a:cubicBezTo>
                    <a:pt x="1042" y="1208"/>
                    <a:pt x="1048" y="1202"/>
                    <a:pt x="1048" y="1195"/>
                  </a:cubicBezTo>
                  <a:cubicBezTo>
                    <a:pt x="1048" y="1188"/>
                    <a:pt x="1042" y="1183"/>
                    <a:pt x="1035" y="1183"/>
                  </a:cubicBezTo>
                  <a:cubicBezTo>
                    <a:pt x="1028" y="1183"/>
                    <a:pt x="1023" y="1188"/>
                    <a:pt x="1023" y="1195"/>
                  </a:cubicBezTo>
                  <a:cubicBezTo>
                    <a:pt x="1023" y="1202"/>
                    <a:pt x="1028" y="1208"/>
                    <a:pt x="1035" y="1208"/>
                  </a:cubicBezTo>
                  <a:close/>
                  <a:moveTo>
                    <a:pt x="1075" y="1208"/>
                  </a:moveTo>
                  <a:cubicBezTo>
                    <a:pt x="1082" y="1208"/>
                    <a:pt x="1087" y="1202"/>
                    <a:pt x="1087" y="1195"/>
                  </a:cubicBezTo>
                  <a:cubicBezTo>
                    <a:pt x="1087" y="1188"/>
                    <a:pt x="1082" y="1183"/>
                    <a:pt x="1075" y="1183"/>
                  </a:cubicBezTo>
                  <a:cubicBezTo>
                    <a:pt x="1068" y="1183"/>
                    <a:pt x="1062" y="1188"/>
                    <a:pt x="1062" y="1195"/>
                  </a:cubicBezTo>
                  <a:cubicBezTo>
                    <a:pt x="1062" y="1202"/>
                    <a:pt x="1068" y="1208"/>
                    <a:pt x="1075" y="1208"/>
                  </a:cubicBezTo>
                  <a:close/>
                  <a:moveTo>
                    <a:pt x="1114" y="1183"/>
                  </a:moveTo>
                  <a:cubicBezTo>
                    <a:pt x="1107" y="1183"/>
                    <a:pt x="1101" y="1188"/>
                    <a:pt x="1101" y="1195"/>
                  </a:cubicBezTo>
                  <a:cubicBezTo>
                    <a:pt x="1101" y="1202"/>
                    <a:pt x="1107" y="1208"/>
                    <a:pt x="1114" y="1208"/>
                  </a:cubicBezTo>
                  <a:cubicBezTo>
                    <a:pt x="1121" y="1208"/>
                    <a:pt x="1127" y="1202"/>
                    <a:pt x="1127" y="1195"/>
                  </a:cubicBezTo>
                  <a:cubicBezTo>
                    <a:pt x="1127" y="1188"/>
                    <a:pt x="1121" y="1183"/>
                    <a:pt x="1114" y="1183"/>
                  </a:cubicBezTo>
                  <a:close/>
                  <a:moveTo>
                    <a:pt x="1154" y="1183"/>
                  </a:moveTo>
                  <a:cubicBezTo>
                    <a:pt x="1146" y="1183"/>
                    <a:pt x="1141" y="1188"/>
                    <a:pt x="1141" y="1195"/>
                  </a:cubicBezTo>
                  <a:cubicBezTo>
                    <a:pt x="1141" y="1202"/>
                    <a:pt x="1146" y="1208"/>
                    <a:pt x="1154" y="1208"/>
                  </a:cubicBezTo>
                  <a:cubicBezTo>
                    <a:pt x="1161" y="1208"/>
                    <a:pt x="1166" y="1202"/>
                    <a:pt x="1166" y="1195"/>
                  </a:cubicBezTo>
                  <a:cubicBezTo>
                    <a:pt x="1166" y="1188"/>
                    <a:pt x="1161" y="1183"/>
                    <a:pt x="1154" y="1183"/>
                  </a:cubicBezTo>
                  <a:close/>
                  <a:moveTo>
                    <a:pt x="1193" y="1183"/>
                  </a:moveTo>
                  <a:cubicBezTo>
                    <a:pt x="1186" y="1183"/>
                    <a:pt x="1180" y="1188"/>
                    <a:pt x="1180" y="1195"/>
                  </a:cubicBezTo>
                  <a:cubicBezTo>
                    <a:pt x="1180" y="1202"/>
                    <a:pt x="1186" y="1208"/>
                    <a:pt x="1193" y="1208"/>
                  </a:cubicBezTo>
                  <a:cubicBezTo>
                    <a:pt x="1200" y="1208"/>
                    <a:pt x="1206" y="1202"/>
                    <a:pt x="1206" y="1195"/>
                  </a:cubicBezTo>
                  <a:cubicBezTo>
                    <a:pt x="1206" y="1188"/>
                    <a:pt x="1200" y="1183"/>
                    <a:pt x="1193" y="1183"/>
                  </a:cubicBezTo>
                  <a:close/>
                  <a:moveTo>
                    <a:pt x="1232" y="1183"/>
                  </a:moveTo>
                  <a:cubicBezTo>
                    <a:pt x="1225" y="1183"/>
                    <a:pt x="1220" y="1188"/>
                    <a:pt x="1220" y="1195"/>
                  </a:cubicBezTo>
                  <a:cubicBezTo>
                    <a:pt x="1220" y="1202"/>
                    <a:pt x="1225" y="1208"/>
                    <a:pt x="1232" y="1208"/>
                  </a:cubicBezTo>
                  <a:cubicBezTo>
                    <a:pt x="1239" y="1208"/>
                    <a:pt x="1245" y="1202"/>
                    <a:pt x="1245" y="1195"/>
                  </a:cubicBezTo>
                  <a:cubicBezTo>
                    <a:pt x="1245" y="1188"/>
                    <a:pt x="1239" y="1183"/>
                    <a:pt x="1232" y="1183"/>
                  </a:cubicBezTo>
                  <a:close/>
                  <a:moveTo>
                    <a:pt x="1272" y="1208"/>
                  </a:moveTo>
                  <a:cubicBezTo>
                    <a:pt x="1279" y="1208"/>
                    <a:pt x="1285" y="1202"/>
                    <a:pt x="1285" y="1195"/>
                  </a:cubicBezTo>
                  <a:cubicBezTo>
                    <a:pt x="1285" y="1188"/>
                    <a:pt x="1279" y="1183"/>
                    <a:pt x="1272" y="1183"/>
                  </a:cubicBezTo>
                  <a:cubicBezTo>
                    <a:pt x="1265" y="1183"/>
                    <a:pt x="1259" y="1188"/>
                    <a:pt x="1259" y="1195"/>
                  </a:cubicBezTo>
                  <a:cubicBezTo>
                    <a:pt x="1259" y="1202"/>
                    <a:pt x="1265" y="1208"/>
                    <a:pt x="1272" y="1208"/>
                  </a:cubicBezTo>
                  <a:close/>
                  <a:moveTo>
                    <a:pt x="1311" y="1183"/>
                  </a:moveTo>
                  <a:cubicBezTo>
                    <a:pt x="1304" y="1183"/>
                    <a:pt x="1298" y="1188"/>
                    <a:pt x="1298" y="1195"/>
                  </a:cubicBezTo>
                  <a:cubicBezTo>
                    <a:pt x="1298" y="1202"/>
                    <a:pt x="1304" y="1208"/>
                    <a:pt x="1311" y="1208"/>
                  </a:cubicBezTo>
                  <a:cubicBezTo>
                    <a:pt x="1318" y="1208"/>
                    <a:pt x="1324" y="1202"/>
                    <a:pt x="1324" y="1195"/>
                  </a:cubicBezTo>
                  <a:cubicBezTo>
                    <a:pt x="1324" y="1188"/>
                    <a:pt x="1318" y="1183"/>
                    <a:pt x="1311" y="1183"/>
                  </a:cubicBezTo>
                  <a:close/>
                  <a:moveTo>
                    <a:pt x="1824" y="1183"/>
                  </a:moveTo>
                  <a:cubicBezTo>
                    <a:pt x="1817" y="1183"/>
                    <a:pt x="1811" y="1188"/>
                    <a:pt x="1811" y="1195"/>
                  </a:cubicBezTo>
                  <a:cubicBezTo>
                    <a:pt x="1811" y="1202"/>
                    <a:pt x="1817" y="1208"/>
                    <a:pt x="1824" y="1208"/>
                  </a:cubicBezTo>
                  <a:cubicBezTo>
                    <a:pt x="1831" y="1208"/>
                    <a:pt x="1836" y="1202"/>
                    <a:pt x="1836" y="1195"/>
                  </a:cubicBezTo>
                  <a:cubicBezTo>
                    <a:pt x="1836" y="1188"/>
                    <a:pt x="1831" y="1183"/>
                    <a:pt x="1824" y="1183"/>
                  </a:cubicBezTo>
                  <a:close/>
                  <a:moveTo>
                    <a:pt x="1863" y="1208"/>
                  </a:moveTo>
                  <a:cubicBezTo>
                    <a:pt x="1870" y="1208"/>
                    <a:pt x="1876" y="1202"/>
                    <a:pt x="1876" y="1195"/>
                  </a:cubicBezTo>
                  <a:cubicBezTo>
                    <a:pt x="1876" y="1188"/>
                    <a:pt x="1870" y="1183"/>
                    <a:pt x="1863" y="1183"/>
                  </a:cubicBezTo>
                  <a:cubicBezTo>
                    <a:pt x="1856" y="1183"/>
                    <a:pt x="1850" y="1188"/>
                    <a:pt x="1850" y="1195"/>
                  </a:cubicBezTo>
                  <a:cubicBezTo>
                    <a:pt x="1850" y="1202"/>
                    <a:pt x="1856" y="1208"/>
                    <a:pt x="1863" y="1208"/>
                  </a:cubicBezTo>
                  <a:close/>
                  <a:moveTo>
                    <a:pt x="1903" y="1183"/>
                  </a:moveTo>
                  <a:cubicBezTo>
                    <a:pt x="1896" y="1183"/>
                    <a:pt x="1890" y="1188"/>
                    <a:pt x="1890" y="1195"/>
                  </a:cubicBezTo>
                  <a:cubicBezTo>
                    <a:pt x="1890" y="1202"/>
                    <a:pt x="1896" y="1208"/>
                    <a:pt x="1903" y="1208"/>
                  </a:cubicBezTo>
                  <a:cubicBezTo>
                    <a:pt x="1910" y="1208"/>
                    <a:pt x="1915" y="1202"/>
                    <a:pt x="1915" y="1195"/>
                  </a:cubicBezTo>
                  <a:cubicBezTo>
                    <a:pt x="1915" y="1188"/>
                    <a:pt x="1910" y="1183"/>
                    <a:pt x="1903" y="1183"/>
                  </a:cubicBezTo>
                  <a:close/>
                  <a:moveTo>
                    <a:pt x="1942" y="1183"/>
                  </a:moveTo>
                  <a:cubicBezTo>
                    <a:pt x="1935" y="1183"/>
                    <a:pt x="1929" y="1188"/>
                    <a:pt x="1929" y="1195"/>
                  </a:cubicBezTo>
                  <a:cubicBezTo>
                    <a:pt x="1929" y="1202"/>
                    <a:pt x="1935" y="1208"/>
                    <a:pt x="1942" y="1208"/>
                  </a:cubicBezTo>
                  <a:cubicBezTo>
                    <a:pt x="1949" y="1208"/>
                    <a:pt x="1955" y="1202"/>
                    <a:pt x="1955" y="1195"/>
                  </a:cubicBezTo>
                  <a:cubicBezTo>
                    <a:pt x="1955" y="1188"/>
                    <a:pt x="1949" y="1183"/>
                    <a:pt x="1942" y="1183"/>
                  </a:cubicBezTo>
                  <a:close/>
                  <a:moveTo>
                    <a:pt x="1981" y="1183"/>
                  </a:moveTo>
                  <a:cubicBezTo>
                    <a:pt x="1974" y="1183"/>
                    <a:pt x="1969" y="1188"/>
                    <a:pt x="1969" y="1195"/>
                  </a:cubicBezTo>
                  <a:cubicBezTo>
                    <a:pt x="1969" y="1202"/>
                    <a:pt x="1974" y="1208"/>
                    <a:pt x="1981" y="1208"/>
                  </a:cubicBezTo>
                  <a:cubicBezTo>
                    <a:pt x="1988" y="1208"/>
                    <a:pt x="1994" y="1202"/>
                    <a:pt x="1994" y="1195"/>
                  </a:cubicBezTo>
                  <a:cubicBezTo>
                    <a:pt x="1994" y="1188"/>
                    <a:pt x="1988" y="1183"/>
                    <a:pt x="1981" y="1183"/>
                  </a:cubicBezTo>
                  <a:close/>
                  <a:moveTo>
                    <a:pt x="2021" y="1183"/>
                  </a:moveTo>
                  <a:cubicBezTo>
                    <a:pt x="2014" y="1183"/>
                    <a:pt x="2008" y="1188"/>
                    <a:pt x="2008" y="1195"/>
                  </a:cubicBezTo>
                  <a:cubicBezTo>
                    <a:pt x="2008" y="1202"/>
                    <a:pt x="2014" y="1208"/>
                    <a:pt x="2021" y="1208"/>
                  </a:cubicBezTo>
                  <a:cubicBezTo>
                    <a:pt x="2028" y="1208"/>
                    <a:pt x="2034" y="1202"/>
                    <a:pt x="2034" y="1195"/>
                  </a:cubicBezTo>
                  <a:cubicBezTo>
                    <a:pt x="2034" y="1188"/>
                    <a:pt x="2028" y="1183"/>
                    <a:pt x="2021" y="1183"/>
                  </a:cubicBezTo>
                  <a:close/>
                  <a:moveTo>
                    <a:pt x="2060" y="1183"/>
                  </a:moveTo>
                  <a:cubicBezTo>
                    <a:pt x="2053" y="1183"/>
                    <a:pt x="2048" y="1188"/>
                    <a:pt x="2048" y="1195"/>
                  </a:cubicBezTo>
                  <a:cubicBezTo>
                    <a:pt x="2048" y="1202"/>
                    <a:pt x="2053" y="1208"/>
                    <a:pt x="2060" y="1208"/>
                  </a:cubicBezTo>
                  <a:cubicBezTo>
                    <a:pt x="2067" y="1208"/>
                    <a:pt x="2073" y="1202"/>
                    <a:pt x="2073" y="1195"/>
                  </a:cubicBezTo>
                  <a:cubicBezTo>
                    <a:pt x="2073" y="1188"/>
                    <a:pt x="2067" y="1183"/>
                    <a:pt x="2060" y="1183"/>
                  </a:cubicBezTo>
                  <a:close/>
                  <a:moveTo>
                    <a:pt x="2770" y="1183"/>
                  </a:moveTo>
                  <a:cubicBezTo>
                    <a:pt x="2763" y="1183"/>
                    <a:pt x="2757" y="1188"/>
                    <a:pt x="2757" y="1195"/>
                  </a:cubicBezTo>
                  <a:cubicBezTo>
                    <a:pt x="2757" y="1202"/>
                    <a:pt x="2763" y="1208"/>
                    <a:pt x="2770" y="1208"/>
                  </a:cubicBezTo>
                  <a:cubicBezTo>
                    <a:pt x="2777" y="1208"/>
                    <a:pt x="2783" y="1202"/>
                    <a:pt x="2783" y="1195"/>
                  </a:cubicBezTo>
                  <a:cubicBezTo>
                    <a:pt x="2783" y="1188"/>
                    <a:pt x="2777" y="1183"/>
                    <a:pt x="2770" y="1183"/>
                  </a:cubicBezTo>
                  <a:close/>
                  <a:moveTo>
                    <a:pt x="3125" y="1208"/>
                  </a:moveTo>
                  <a:cubicBezTo>
                    <a:pt x="3132" y="1208"/>
                    <a:pt x="3137" y="1202"/>
                    <a:pt x="3137" y="1195"/>
                  </a:cubicBezTo>
                  <a:cubicBezTo>
                    <a:pt x="3137" y="1188"/>
                    <a:pt x="3132" y="1183"/>
                    <a:pt x="3125" y="1183"/>
                  </a:cubicBezTo>
                  <a:cubicBezTo>
                    <a:pt x="3118" y="1183"/>
                    <a:pt x="3112" y="1188"/>
                    <a:pt x="3112" y="1195"/>
                  </a:cubicBezTo>
                  <a:cubicBezTo>
                    <a:pt x="3112" y="1202"/>
                    <a:pt x="3118" y="1208"/>
                    <a:pt x="3125" y="1208"/>
                  </a:cubicBezTo>
                  <a:close/>
                  <a:moveTo>
                    <a:pt x="3164" y="1208"/>
                  </a:moveTo>
                  <a:cubicBezTo>
                    <a:pt x="3171" y="1208"/>
                    <a:pt x="3177" y="1202"/>
                    <a:pt x="3177" y="1195"/>
                  </a:cubicBezTo>
                  <a:cubicBezTo>
                    <a:pt x="3177" y="1188"/>
                    <a:pt x="3171" y="1183"/>
                    <a:pt x="3164" y="1183"/>
                  </a:cubicBezTo>
                  <a:cubicBezTo>
                    <a:pt x="3157" y="1183"/>
                    <a:pt x="3151" y="1188"/>
                    <a:pt x="3151" y="1195"/>
                  </a:cubicBezTo>
                  <a:cubicBezTo>
                    <a:pt x="3151" y="1202"/>
                    <a:pt x="3157" y="1208"/>
                    <a:pt x="3164" y="1208"/>
                  </a:cubicBezTo>
                  <a:close/>
                  <a:moveTo>
                    <a:pt x="917" y="1222"/>
                  </a:moveTo>
                  <a:cubicBezTo>
                    <a:pt x="910" y="1222"/>
                    <a:pt x="904" y="1228"/>
                    <a:pt x="904" y="1235"/>
                  </a:cubicBezTo>
                  <a:cubicBezTo>
                    <a:pt x="904" y="1242"/>
                    <a:pt x="910" y="1248"/>
                    <a:pt x="917" y="1248"/>
                  </a:cubicBezTo>
                  <a:cubicBezTo>
                    <a:pt x="924" y="1248"/>
                    <a:pt x="930" y="1242"/>
                    <a:pt x="930" y="1235"/>
                  </a:cubicBezTo>
                  <a:cubicBezTo>
                    <a:pt x="930" y="1228"/>
                    <a:pt x="924" y="1222"/>
                    <a:pt x="917" y="1222"/>
                  </a:cubicBezTo>
                  <a:close/>
                  <a:moveTo>
                    <a:pt x="956" y="1222"/>
                  </a:moveTo>
                  <a:cubicBezTo>
                    <a:pt x="949" y="1222"/>
                    <a:pt x="944" y="1228"/>
                    <a:pt x="944" y="1235"/>
                  </a:cubicBezTo>
                  <a:cubicBezTo>
                    <a:pt x="944" y="1242"/>
                    <a:pt x="949" y="1248"/>
                    <a:pt x="956" y="1248"/>
                  </a:cubicBezTo>
                  <a:cubicBezTo>
                    <a:pt x="963" y="1248"/>
                    <a:pt x="969" y="1242"/>
                    <a:pt x="969" y="1235"/>
                  </a:cubicBezTo>
                  <a:cubicBezTo>
                    <a:pt x="969" y="1228"/>
                    <a:pt x="963" y="1222"/>
                    <a:pt x="956" y="1222"/>
                  </a:cubicBezTo>
                  <a:close/>
                  <a:moveTo>
                    <a:pt x="996" y="1222"/>
                  </a:moveTo>
                  <a:cubicBezTo>
                    <a:pt x="989" y="1222"/>
                    <a:pt x="983" y="1228"/>
                    <a:pt x="983" y="1235"/>
                  </a:cubicBezTo>
                  <a:cubicBezTo>
                    <a:pt x="983" y="1242"/>
                    <a:pt x="989" y="1248"/>
                    <a:pt x="996" y="1248"/>
                  </a:cubicBezTo>
                  <a:cubicBezTo>
                    <a:pt x="1003" y="1248"/>
                    <a:pt x="1009" y="1242"/>
                    <a:pt x="1009" y="1235"/>
                  </a:cubicBezTo>
                  <a:cubicBezTo>
                    <a:pt x="1009" y="1228"/>
                    <a:pt x="1003" y="1222"/>
                    <a:pt x="996" y="1222"/>
                  </a:cubicBezTo>
                  <a:close/>
                  <a:moveTo>
                    <a:pt x="1035" y="1222"/>
                  </a:moveTo>
                  <a:cubicBezTo>
                    <a:pt x="1028" y="1222"/>
                    <a:pt x="1023" y="1228"/>
                    <a:pt x="1023" y="1235"/>
                  </a:cubicBezTo>
                  <a:cubicBezTo>
                    <a:pt x="1023" y="1242"/>
                    <a:pt x="1028" y="1248"/>
                    <a:pt x="1035" y="1248"/>
                  </a:cubicBezTo>
                  <a:cubicBezTo>
                    <a:pt x="1042" y="1248"/>
                    <a:pt x="1048" y="1242"/>
                    <a:pt x="1048" y="1235"/>
                  </a:cubicBezTo>
                  <a:cubicBezTo>
                    <a:pt x="1048" y="1228"/>
                    <a:pt x="1042" y="1222"/>
                    <a:pt x="1035" y="1222"/>
                  </a:cubicBezTo>
                  <a:close/>
                  <a:moveTo>
                    <a:pt x="1075" y="1222"/>
                  </a:moveTo>
                  <a:cubicBezTo>
                    <a:pt x="1068" y="1222"/>
                    <a:pt x="1062" y="1228"/>
                    <a:pt x="1062" y="1235"/>
                  </a:cubicBezTo>
                  <a:cubicBezTo>
                    <a:pt x="1062" y="1242"/>
                    <a:pt x="1068" y="1248"/>
                    <a:pt x="1075" y="1248"/>
                  </a:cubicBezTo>
                  <a:cubicBezTo>
                    <a:pt x="1082" y="1248"/>
                    <a:pt x="1087" y="1242"/>
                    <a:pt x="1087" y="1235"/>
                  </a:cubicBezTo>
                  <a:cubicBezTo>
                    <a:pt x="1087" y="1228"/>
                    <a:pt x="1082" y="1222"/>
                    <a:pt x="1075" y="1222"/>
                  </a:cubicBezTo>
                  <a:close/>
                  <a:moveTo>
                    <a:pt x="1114" y="1248"/>
                  </a:moveTo>
                  <a:cubicBezTo>
                    <a:pt x="1121" y="1248"/>
                    <a:pt x="1127" y="1242"/>
                    <a:pt x="1127" y="1235"/>
                  </a:cubicBezTo>
                  <a:cubicBezTo>
                    <a:pt x="1127" y="1228"/>
                    <a:pt x="1121" y="1222"/>
                    <a:pt x="1114" y="1222"/>
                  </a:cubicBezTo>
                  <a:cubicBezTo>
                    <a:pt x="1107" y="1222"/>
                    <a:pt x="1101" y="1228"/>
                    <a:pt x="1101" y="1235"/>
                  </a:cubicBezTo>
                  <a:cubicBezTo>
                    <a:pt x="1101" y="1242"/>
                    <a:pt x="1107" y="1248"/>
                    <a:pt x="1114" y="1248"/>
                  </a:cubicBezTo>
                  <a:close/>
                  <a:moveTo>
                    <a:pt x="1154" y="1248"/>
                  </a:moveTo>
                  <a:cubicBezTo>
                    <a:pt x="1161" y="1248"/>
                    <a:pt x="1166" y="1242"/>
                    <a:pt x="1166" y="1235"/>
                  </a:cubicBezTo>
                  <a:cubicBezTo>
                    <a:pt x="1166" y="1228"/>
                    <a:pt x="1161" y="1222"/>
                    <a:pt x="1154" y="1222"/>
                  </a:cubicBezTo>
                  <a:cubicBezTo>
                    <a:pt x="1146" y="1222"/>
                    <a:pt x="1141" y="1228"/>
                    <a:pt x="1141" y="1235"/>
                  </a:cubicBezTo>
                  <a:cubicBezTo>
                    <a:pt x="1141" y="1242"/>
                    <a:pt x="1146" y="1248"/>
                    <a:pt x="1154" y="1248"/>
                  </a:cubicBezTo>
                  <a:close/>
                  <a:moveTo>
                    <a:pt x="1193" y="1222"/>
                  </a:moveTo>
                  <a:cubicBezTo>
                    <a:pt x="1186" y="1222"/>
                    <a:pt x="1180" y="1228"/>
                    <a:pt x="1180" y="1235"/>
                  </a:cubicBezTo>
                  <a:cubicBezTo>
                    <a:pt x="1180" y="1242"/>
                    <a:pt x="1186" y="1248"/>
                    <a:pt x="1193" y="1248"/>
                  </a:cubicBezTo>
                  <a:cubicBezTo>
                    <a:pt x="1200" y="1248"/>
                    <a:pt x="1206" y="1242"/>
                    <a:pt x="1206" y="1235"/>
                  </a:cubicBezTo>
                  <a:cubicBezTo>
                    <a:pt x="1206" y="1228"/>
                    <a:pt x="1200" y="1222"/>
                    <a:pt x="1193" y="1222"/>
                  </a:cubicBezTo>
                  <a:close/>
                  <a:moveTo>
                    <a:pt x="1232" y="1248"/>
                  </a:moveTo>
                  <a:cubicBezTo>
                    <a:pt x="1239" y="1248"/>
                    <a:pt x="1245" y="1242"/>
                    <a:pt x="1245" y="1235"/>
                  </a:cubicBezTo>
                  <a:cubicBezTo>
                    <a:pt x="1245" y="1228"/>
                    <a:pt x="1239" y="1222"/>
                    <a:pt x="1232" y="1222"/>
                  </a:cubicBezTo>
                  <a:cubicBezTo>
                    <a:pt x="1225" y="1222"/>
                    <a:pt x="1220" y="1228"/>
                    <a:pt x="1220" y="1235"/>
                  </a:cubicBezTo>
                  <a:cubicBezTo>
                    <a:pt x="1220" y="1242"/>
                    <a:pt x="1225" y="1248"/>
                    <a:pt x="1232" y="1248"/>
                  </a:cubicBezTo>
                  <a:close/>
                  <a:moveTo>
                    <a:pt x="1272" y="1222"/>
                  </a:moveTo>
                  <a:cubicBezTo>
                    <a:pt x="1265" y="1222"/>
                    <a:pt x="1259" y="1228"/>
                    <a:pt x="1259" y="1235"/>
                  </a:cubicBezTo>
                  <a:cubicBezTo>
                    <a:pt x="1259" y="1242"/>
                    <a:pt x="1265" y="1248"/>
                    <a:pt x="1272" y="1248"/>
                  </a:cubicBezTo>
                  <a:cubicBezTo>
                    <a:pt x="1279" y="1248"/>
                    <a:pt x="1285" y="1242"/>
                    <a:pt x="1285" y="1235"/>
                  </a:cubicBezTo>
                  <a:cubicBezTo>
                    <a:pt x="1285" y="1228"/>
                    <a:pt x="1279" y="1222"/>
                    <a:pt x="1272" y="1222"/>
                  </a:cubicBezTo>
                  <a:close/>
                  <a:moveTo>
                    <a:pt x="1311" y="1222"/>
                  </a:moveTo>
                  <a:cubicBezTo>
                    <a:pt x="1304" y="1222"/>
                    <a:pt x="1298" y="1228"/>
                    <a:pt x="1298" y="1235"/>
                  </a:cubicBezTo>
                  <a:cubicBezTo>
                    <a:pt x="1298" y="1242"/>
                    <a:pt x="1304" y="1248"/>
                    <a:pt x="1311" y="1248"/>
                  </a:cubicBezTo>
                  <a:cubicBezTo>
                    <a:pt x="1318" y="1248"/>
                    <a:pt x="1324" y="1242"/>
                    <a:pt x="1324" y="1235"/>
                  </a:cubicBezTo>
                  <a:cubicBezTo>
                    <a:pt x="1324" y="1228"/>
                    <a:pt x="1318" y="1222"/>
                    <a:pt x="1311" y="1222"/>
                  </a:cubicBezTo>
                  <a:close/>
                  <a:moveTo>
                    <a:pt x="1863" y="1248"/>
                  </a:moveTo>
                  <a:cubicBezTo>
                    <a:pt x="1870" y="1248"/>
                    <a:pt x="1876" y="1242"/>
                    <a:pt x="1876" y="1235"/>
                  </a:cubicBezTo>
                  <a:cubicBezTo>
                    <a:pt x="1876" y="1228"/>
                    <a:pt x="1870" y="1222"/>
                    <a:pt x="1863" y="1222"/>
                  </a:cubicBezTo>
                  <a:cubicBezTo>
                    <a:pt x="1856" y="1222"/>
                    <a:pt x="1850" y="1228"/>
                    <a:pt x="1850" y="1235"/>
                  </a:cubicBezTo>
                  <a:cubicBezTo>
                    <a:pt x="1850" y="1242"/>
                    <a:pt x="1856" y="1248"/>
                    <a:pt x="1863" y="1248"/>
                  </a:cubicBezTo>
                  <a:close/>
                  <a:moveTo>
                    <a:pt x="1903" y="1222"/>
                  </a:moveTo>
                  <a:cubicBezTo>
                    <a:pt x="1896" y="1222"/>
                    <a:pt x="1890" y="1228"/>
                    <a:pt x="1890" y="1235"/>
                  </a:cubicBezTo>
                  <a:cubicBezTo>
                    <a:pt x="1890" y="1242"/>
                    <a:pt x="1896" y="1248"/>
                    <a:pt x="1903" y="1248"/>
                  </a:cubicBezTo>
                  <a:cubicBezTo>
                    <a:pt x="1910" y="1248"/>
                    <a:pt x="1915" y="1242"/>
                    <a:pt x="1915" y="1235"/>
                  </a:cubicBezTo>
                  <a:cubicBezTo>
                    <a:pt x="1915" y="1228"/>
                    <a:pt x="1910" y="1222"/>
                    <a:pt x="1903" y="1222"/>
                  </a:cubicBezTo>
                  <a:close/>
                  <a:moveTo>
                    <a:pt x="1942" y="1222"/>
                  </a:moveTo>
                  <a:cubicBezTo>
                    <a:pt x="1935" y="1222"/>
                    <a:pt x="1929" y="1228"/>
                    <a:pt x="1929" y="1235"/>
                  </a:cubicBezTo>
                  <a:cubicBezTo>
                    <a:pt x="1929" y="1242"/>
                    <a:pt x="1935" y="1248"/>
                    <a:pt x="1942" y="1248"/>
                  </a:cubicBezTo>
                  <a:cubicBezTo>
                    <a:pt x="1949" y="1248"/>
                    <a:pt x="1955" y="1242"/>
                    <a:pt x="1955" y="1235"/>
                  </a:cubicBezTo>
                  <a:cubicBezTo>
                    <a:pt x="1955" y="1228"/>
                    <a:pt x="1949" y="1222"/>
                    <a:pt x="1942" y="1222"/>
                  </a:cubicBezTo>
                  <a:close/>
                  <a:moveTo>
                    <a:pt x="1981" y="1222"/>
                  </a:moveTo>
                  <a:cubicBezTo>
                    <a:pt x="1974" y="1222"/>
                    <a:pt x="1969" y="1228"/>
                    <a:pt x="1969" y="1235"/>
                  </a:cubicBezTo>
                  <a:cubicBezTo>
                    <a:pt x="1969" y="1242"/>
                    <a:pt x="1974" y="1248"/>
                    <a:pt x="1981" y="1248"/>
                  </a:cubicBezTo>
                  <a:cubicBezTo>
                    <a:pt x="1988" y="1248"/>
                    <a:pt x="1994" y="1242"/>
                    <a:pt x="1994" y="1235"/>
                  </a:cubicBezTo>
                  <a:cubicBezTo>
                    <a:pt x="1994" y="1228"/>
                    <a:pt x="1988" y="1222"/>
                    <a:pt x="1981" y="1222"/>
                  </a:cubicBezTo>
                  <a:close/>
                  <a:moveTo>
                    <a:pt x="2021" y="1222"/>
                  </a:moveTo>
                  <a:cubicBezTo>
                    <a:pt x="2014" y="1222"/>
                    <a:pt x="2008" y="1228"/>
                    <a:pt x="2008" y="1235"/>
                  </a:cubicBezTo>
                  <a:cubicBezTo>
                    <a:pt x="2008" y="1242"/>
                    <a:pt x="2014" y="1248"/>
                    <a:pt x="2021" y="1248"/>
                  </a:cubicBezTo>
                  <a:cubicBezTo>
                    <a:pt x="2028" y="1248"/>
                    <a:pt x="2034" y="1242"/>
                    <a:pt x="2034" y="1235"/>
                  </a:cubicBezTo>
                  <a:cubicBezTo>
                    <a:pt x="2034" y="1228"/>
                    <a:pt x="2028" y="1222"/>
                    <a:pt x="2021" y="1222"/>
                  </a:cubicBezTo>
                  <a:close/>
                  <a:moveTo>
                    <a:pt x="2060" y="1222"/>
                  </a:moveTo>
                  <a:cubicBezTo>
                    <a:pt x="2053" y="1222"/>
                    <a:pt x="2048" y="1228"/>
                    <a:pt x="2048" y="1235"/>
                  </a:cubicBezTo>
                  <a:cubicBezTo>
                    <a:pt x="2048" y="1242"/>
                    <a:pt x="2053" y="1248"/>
                    <a:pt x="2060" y="1248"/>
                  </a:cubicBezTo>
                  <a:cubicBezTo>
                    <a:pt x="2067" y="1248"/>
                    <a:pt x="2073" y="1242"/>
                    <a:pt x="2073" y="1235"/>
                  </a:cubicBezTo>
                  <a:cubicBezTo>
                    <a:pt x="2073" y="1228"/>
                    <a:pt x="2067" y="1222"/>
                    <a:pt x="2060" y="1222"/>
                  </a:cubicBezTo>
                  <a:close/>
                  <a:moveTo>
                    <a:pt x="2100" y="1222"/>
                  </a:moveTo>
                  <a:cubicBezTo>
                    <a:pt x="2093" y="1222"/>
                    <a:pt x="2087" y="1228"/>
                    <a:pt x="2087" y="1235"/>
                  </a:cubicBezTo>
                  <a:cubicBezTo>
                    <a:pt x="2087" y="1242"/>
                    <a:pt x="2093" y="1248"/>
                    <a:pt x="2100" y="1248"/>
                  </a:cubicBezTo>
                  <a:cubicBezTo>
                    <a:pt x="2107" y="1248"/>
                    <a:pt x="2112" y="1242"/>
                    <a:pt x="2112" y="1235"/>
                  </a:cubicBezTo>
                  <a:cubicBezTo>
                    <a:pt x="2112" y="1228"/>
                    <a:pt x="2107" y="1222"/>
                    <a:pt x="2100" y="1222"/>
                  </a:cubicBezTo>
                  <a:close/>
                  <a:moveTo>
                    <a:pt x="956" y="1287"/>
                  </a:moveTo>
                  <a:cubicBezTo>
                    <a:pt x="963" y="1287"/>
                    <a:pt x="969" y="1281"/>
                    <a:pt x="969" y="1274"/>
                  </a:cubicBezTo>
                  <a:cubicBezTo>
                    <a:pt x="969" y="1267"/>
                    <a:pt x="963" y="1261"/>
                    <a:pt x="956" y="1261"/>
                  </a:cubicBezTo>
                  <a:cubicBezTo>
                    <a:pt x="949" y="1261"/>
                    <a:pt x="944" y="1267"/>
                    <a:pt x="944" y="1274"/>
                  </a:cubicBezTo>
                  <a:cubicBezTo>
                    <a:pt x="944" y="1281"/>
                    <a:pt x="949" y="1287"/>
                    <a:pt x="956" y="1287"/>
                  </a:cubicBezTo>
                  <a:close/>
                  <a:moveTo>
                    <a:pt x="996" y="1261"/>
                  </a:moveTo>
                  <a:cubicBezTo>
                    <a:pt x="989" y="1261"/>
                    <a:pt x="983" y="1267"/>
                    <a:pt x="983" y="1274"/>
                  </a:cubicBezTo>
                  <a:cubicBezTo>
                    <a:pt x="983" y="1281"/>
                    <a:pt x="989" y="1287"/>
                    <a:pt x="996" y="1287"/>
                  </a:cubicBezTo>
                  <a:cubicBezTo>
                    <a:pt x="1003" y="1287"/>
                    <a:pt x="1009" y="1281"/>
                    <a:pt x="1009" y="1274"/>
                  </a:cubicBezTo>
                  <a:cubicBezTo>
                    <a:pt x="1009" y="1267"/>
                    <a:pt x="1003" y="1261"/>
                    <a:pt x="996" y="1261"/>
                  </a:cubicBezTo>
                  <a:close/>
                  <a:moveTo>
                    <a:pt x="1035" y="1261"/>
                  </a:moveTo>
                  <a:cubicBezTo>
                    <a:pt x="1028" y="1261"/>
                    <a:pt x="1023" y="1267"/>
                    <a:pt x="1023" y="1274"/>
                  </a:cubicBezTo>
                  <a:cubicBezTo>
                    <a:pt x="1023" y="1281"/>
                    <a:pt x="1028" y="1287"/>
                    <a:pt x="1035" y="1287"/>
                  </a:cubicBezTo>
                  <a:cubicBezTo>
                    <a:pt x="1042" y="1287"/>
                    <a:pt x="1048" y="1281"/>
                    <a:pt x="1048" y="1274"/>
                  </a:cubicBezTo>
                  <a:cubicBezTo>
                    <a:pt x="1048" y="1267"/>
                    <a:pt x="1042" y="1261"/>
                    <a:pt x="1035" y="1261"/>
                  </a:cubicBezTo>
                  <a:close/>
                  <a:moveTo>
                    <a:pt x="1075" y="1261"/>
                  </a:moveTo>
                  <a:cubicBezTo>
                    <a:pt x="1068" y="1261"/>
                    <a:pt x="1062" y="1267"/>
                    <a:pt x="1062" y="1274"/>
                  </a:cubicBezTo>
                  <a:cubicBezTo>
                    <a:pt x="1062" y="1281"/>
                    <a:pt x="1068" y="1287"/>
                    <a:pt x="1075" y="1287"/>
                  </a:cubicBezTo>
                  <a:cubicBezTo>
                    <a:pt x="1082" y="1287"/>
                    <a:pt x="1087" y="1281"/>
                    <a:pt x="1087" y="1274"/>
                  </a:cubicBezTo>
                  <a:cubicBezTo>
                    <a:pt x="1087" y="1267"/>
                    <a:pt x="1082" y="1261"/>
                    <a:pt x="1075" y="1261"/>
                  </a:cubicBezTo>
                  <a:close/>
                  <a:moveTo>
                    <a:pt x="1114" y="1261"/>
                  </a:moveTo>
                  <a:cubicBezTo>
                    <a:pt x="1107" y="1261"/>
                    <a:pt x="1101" y="1267"/>
                    <a:pt x="1101" y="1274"/>
                  </a:cubicBezTo>
                  <a:cubicBezTo>
                    <a:pt x="1101" y="1281"/>
                    <a:pt x="1107" y="1287"/>
                    <a:pt x="1114" y="1287"/>
                  </a:cubicBezTo>
                  <a:cubicBezTo>
                    <a:pt x="1121" y="1287"/>
                    <a:pt x="1127" y="1281"/>
                    <a:pt x="1127" y="1274"/>
                  </a:cubicBezTo>
                  <a:cubicBezTo>
                    <a:pt x="1127" y="1267"/>
                    <a:pt x="1121" y="1261"/>
                    <a:pt x="1114" y="1261"/>
                  </a:cubicBezTo>
                  <a:close/>
                  <a:moveTo>
                    <a:pt x="1141" y="1274"/>
                  </a:moveTo>
                  <a:cubicBezTo>
                    <a:pt x="1141" y="1281"/>
                    <a:pt x="1146" y="1287"/>
                    <a:pt x="1154" y="1287"/>
                  </a:cubicBezTo>
                  <a:cubicBezTo>
                    <a:pt x="1161" y="1287"/>
                    <a:pt x="1166" y="1281"/>
                    <a:pt x="1166" y="1274"/>
                  </a:cubicBezTo>
                  <a:cubicBezTo>
                    <a:pt x="1166" y="1267"/>
                    <a:pt x="1161" y="1261"/>
                    <a:pt x="1154" y="1261"/>
                  </a:cubicBezTo>
                  <a:cubicBezTo>
                    <a:pt x="1146" y="1261"/>
                    <a:pt x="1141" y="1267"/>
                    <a:pt x="1141" y="1274"/>
                  </a:cubicBezTo>
                  <a:close/>
                  <a:moveTo>
                    <a:pt x="1180" y="1274"/>
                  </a:moveTo>
                  <a:cubicBezTo>
                    <a:pt x="1180" y="1281"/>
                    <a:pt x="1186" y="1287"/>
                    <a:pt x="1193" y="1287"/>
                  </a:cubicBezTo>
                  <a:cubicBezTo>
                    <a:pt x="1200" y="1287"/>
                    <a:pt x="1206" y="1281"/>
                    <a:pt x="1206" y="1274"/>
                  </a:cubicBezTo>
                  <a:cubicBezTo>
                    <a:pt x="1206" y="1267"/>
                    <a:pt x="1200" y="1261"/>
                    <a:pt x="1193" y="1261"/>
                  </a:cubicBezTo>
                  <a:cubicBezTo>
                    <a:pt x="1186" y="1261"/>
                    <a:pt x="1180" y="1267"/>
                    <a:pt x="1180" y="1274"/>
                  </a:cubicBezTo>
                  <a:close/>
                  <a:moveTo>
                    <a:pt x="1232" y="1287"/>
                  </a:moveTo>
                  <a:cubicBezTo>
                    <a:pt x="1239" y="1287"/>
                    <a:pt x="1245" y="1281"/>
                    <a:pt x="1245" y="1274"/>
                  </a:cubicBezTo>
                  <a:cubicBezTo>
                    <a:pt x="1245" y="1267"/>
                    <a:pt x="1239" y="1261"/>
                    <a:pt x="1232" y="1261"/>
                  </a:cubicBezTo>
                  <a:cubicBezTo>
                    <a:pt x="1225" y="1261"/>
                    <a:pt x="1220" y="1267"/>
                    <a:pt x="1220" y="1274"/>
                  </a:cubicBezTo>
                  <a:cubicBezTo>
                    <a:pt x="1220" y="1281"/>
                    <a:pt x="1225" y="1287"/>
                    <a:pt x="1232" y="1287"/>
                  </a:cubicBezTo>
                  <a:close/>
                  <a:moveTo>
                    <a:pt x="1272" y="1261"/>
                  </a:moveTo>
                  <a:cubicBezTo>
                    <a:pt x="1265" y="1261"/>
                    <a:pt x="1259" y="1267"/>
                    <a:pt x="1259" y="1274"/>
                  </a:cubicBezTo>
                  <a:cubicBezTo>
                    <a:pt x="1259" y="1281"/>
                    <a:pt x="1265" y="1287"/>
                    <a:pt x="1272" y="1287"/>
                  </a:cubicBezTo>
                  <a:cubicBezTo>
                    <a:pt x="1279" y="1287"/>
                    <a:pt x="1285" y="1281"/>
                    <a:pt x="1285" y="1274"/>
                  </a:cubicBezTo>
                  <a:cubicBezTo>
                    <a:pt x="1285" y="1267"/>
                    <a:pt x="1279" y="1261"/>
                    <a:pt x="1272" y="1261"/>
                  </a:cubicBezTo>
                  <a:close/>
                  <a:moveTo>
                    <a:pt x="1824" y="1261"/>
                  </a:moveTo>
                  <a:cubicBezTo>
                    <a:pt x="1817" y="1261"/>
                    <a:pt x="1811" y="1267"/>
                    <a:pt x="1811" y="1274"/>
                  </a:cubicBezTo>
                  <a:cubicBezTo>
                    <a:pt x="1811" y="1281"/>
                    <a:pt x="1817" y="1287"/>
                    <a:pt x="1824" y="1287"/>
                  </a:cubicBezTo>
                  <a:cubicBezTo>
                    <a:pt x="1831" y="1287"/>
                    <a:pt x="1837" y="1281"/>
                    <a:pt x="1837" y="1274"/>
                  </a:cubicBezTo>
                  <a:cubicBezTo>
                    <a:pt x="1837" y="1267"/>
                    <a:pt x="1831" y="1261"/>
                    <a:pt x="1824" y="1261"/>
                  </a:cubicBezTo>
                  <a:close/>
                  <a:moveTo>
                    <a:pt x="1863" y="1287"/>
                  </a:moveTo>
                  <a:cubicBezTo>
                    <a:pt x="1870" y="1287"/>
                    <a:pt x="1876" y="1281"/>
                    <a:pt x="1876" y="1274"/>
                  </a:cubicBezTo>
                  <a:cubicBezTo>
                    <a:pt x="1876" y="1267"/>
                    <a:pt x="1870" y="1261"/>
                    <a:pt x="1863" y="1261"/>
                  </a:cubicBezTo>
                  <a:cubicBezTo>
                    <a:pt x="1856" y="1261"/>
                    <a:pt x="1850" y="1267"/>
                    <a:pt x="1850" y="1274"/>
                  </a:cubicBezTo>
                  <a:cubicBezTo>
                    <a:pt x="1850" y="1281"/>
                    <a:pt x="1856" y="1287"/>
                    <a:pt x="1863" y="1287"/>
                  </a:cubicBezTo>
                  <a:close/>
                  <a:moveTo>
                    <a:pt x="1903" y="1261"/>
                  </a:moveTo>
                  <a:cubicBezTo>
                    <a:pt x="1896" y="1261"/>
                    <a:pt x="1890" y="1267"/>
                    <a:pt x="1890" y="1274"/>
                  </a:cubicBezTo>
                  <a:cubicBezTo>
                    <a:pt x="1890" y="1281"/>
                    <a:pt x="1896" y="1287"/>
                    <a:pt x="1903" y="1287"/>
                  </a:cubicBezTo>
                  <a:cubicBezTo>
                    <a:pt x="1910" y="1287"/>
                    <a:pt x="1915" y="1281"/>
                    <a:pt x="1915" y="1274"/>
                  </a:cubicBezTo>
                  <a:cubicBezTo>
                    <a:pt x="1915" y="1267"/>
                    <a:pt x="1910" y="1261"/>
                    <a:pt x="1903" y="1261"/>
                  </a:cubicBezTo>
                  <a:close/>
                  <a:moveTo>
                    <a:pt x="1942" y="1261"/>
                  </a:moveTo>
                  <a:cubicBezTo>
                    <a:pt x="1935" y="1261"/>
                    <a:pt x="1929" y="1267"/>
                    <a:pt x="1929" y="1274"/>
                  </a:cubicBezTo>
                  <a:cubicBezTo>
                    <a:pt x="1929" y="1281"/>
                    <a:pt x="1935" y="1287"/>
                    <a:pt x="1942" y="1287"/>
                  </a:cubicBezTo>
                  <a:cubicBezTo>
                    <a:pt x="1949" y="1287"/>
                    <a:pt x="1955" y="1281"/>
                    <a:pt x="1955" y="1274"/>
                  </a:cubicBezTo>
                  <a:cubicBezTo>
                    <a:pt x="1955" y="1267"/>
                    <a:pt x="1949" y="1261"/>
                    <a:pt x="1942" y="1261"/>
                  </a:cubicBezTo>
                  <a:close/>
                  <a:moveTo>
                    <a:pt x="1981" y="1261"/>
                  </a:moveTo>
                  <a:cubicBezTo>
                    <a:pt x="1974" y="1261"/>
                    <a:pt x="1969" y="1267"/>
                    <a:pt x="1969" y="1274"/>
                  </a:cubicBezTo>
                  <a:cubicBezTo>
                    <a:pt x="1969" y="1281"/>
                    <a:pt x="1974" y="1287"/>
                    <a:pt x="1981" y="1287"/>
                  </a:cubicBezTo>
                  <a:cubicBezTo>
                    <a:pt x="1988" y="1287"/>
                    <a:pt x="1994" y="1281"/>
                    <a:pt x="1994" y="1274"/>
                  </a:cubicBezTo>
                  <a:cubicBezTo>
                    <a:pt x="1994" y="1267"/>
                    <a:pt x="1988" y="1261"/>
                    <a:pt x="1981" y="1261"/>
                  </a:cubicBezTo>
                  <a:close/>
                  <a:moveTo>
                    <a:pt x="2021" y="1261"/>
                  </a:moveTo>
                  <a:cubicBezTo>
                    <a:pt x="2014" y="1261"/>
                    <a:pt x="2008" y="1267"/>
                    <a:pt x="2008" y="1274"/>
                  </a:cubicBezTo>
                  <a:cubicBezTo>
                    <a:pt x="2008" y="1281"/>
                    <a:pt x="2014" y="1287"/>
                    <a:pt x="2021" y="1287"/>
                  </a:cubicBezTo>
                  <a:cubicBezTo>
                    <a:pt x="2028" y="1287"/>
                    <a:pt x="2034" y="1281"/>
                    <a:pt x="2034" y="1274"/>
                  </a:cubicBezTo>
                  <a:cubicBezTo>
                    <a:pt x="2034" y="1267"/>
                    <a:pt x="2028" y="1261"/>
                    <a:pt x="2021" y="1261"/>
                  </a:cubicBezTo>
                  <a:close/>
                  <a:moveTo>
                    <a:pt x="2060" y="1287"/>
                  </a:moveTo>
                  <a:cubicBezTo>
                    <a:pt x="2067" y="1287"/>
                    <a:pt x="2073" y="1281"/>
                    <a:pt x="2073" y="1274"/>
                  </a:cubicBezTo>
                  <a:cubicBezTo>
                    <a:pt x="2073" y="1267"/>
                    <a:pt x="2067" y="1262"/>
                    <a:pt x="2060" y="1262"/>
                  </a:cubicBezTo>
                  <a:cubicBezTo>
                    <a:pt x="2053" y="1262"/>
                    <a:pt x="2048" y="1267"/>
                    <a:pt x="2048" y="1274"/>
                  </a:cubicBezTo>
                  <a:cubicBezTo>
                    <a:pt x="2048" y="1281"/>
                    <a:pt x="2053" y="1287"/>
                    <a:pt x="2060" y="1287"/>
                  </a:cubicBezTo>
                  <a:close/>
                  <a:moveTo>
                    <a:pt x="2100" y="1261"/>
                  </a:moveTo>
                  <a:cubicBezTo>
                    <a:pt x="2093" y="1261"/>
                    <a:pt x="2087" y="1267"/>
                    <a:pt x="2087" y="1274"/>
                  </a:cubicBezTo>
                  <a:cubicBezTo>
                    <a:pt x="2087" y="1281"/>
                    <a:pt x="2093" y="1287"/>
                    <a:pt x="2100" y="1287"/>
                  </a:cubicBezTo>
                  <a:cubicBezTo>
                    <a:pt x="2107" y="1287"/>
                    <a:pt x="2112" y="1281"/>
                    <a:pt x="2112" y="1274"/>
                  </a:cubicBezTo>
                  <a:cubicBezTo>
                    <a:pt x="2112" y="1267"/>
                    <a:pt x="2107" y="1261"/>
                    <a:pt x="2100" y="1261"/>
                  </a:cubicBezTo>
                  <a:close/>
                  <a:moveTo>
                    <a:pt x="3046" y="1287"/>
                  </a:moveTo>
                  <a:cubicBezTo>
                    <a:pt x="3053" y="1287"/>
                    <a:pt x="3059" y="1281"/>
                    <a:pt x="3059" y="1274"/>
                  </a:cubicBezTo>
                  <a:cubicBezTo>
                    <a:pt x="3059" y="1267"/>
                    <a:pt x="3053" y="1261"/>
                    <a:pt x="3046" y="1261"/>
                  </a:cubicBezTo>
                  <a:cubicBezTo>
                    <a:pt x="3039" y="1261"/>
                    <a:pt x="3033" y="1267"/>
                    <a:pt x="3033" y="1274"/>
                  </a:cubicBezTo>
                  <a:cubicBezTo>
                    <a:pt x="3033" y="1281"/>
                    <a:pt x="3039" y="1287"/>
                    <a:pt x="3046" y="1287"/>
                  </a:cubicBezTo>
                  <a:close/>
                  <a:moveTo>
                    <a:pt x="996" y="1326"/>
                  </a:moveTo>
                  <a:cubicBezTo>
                    <a:pt x="1003" y="1326"/>
                    <a:pt x="1009" y="1321"/>
                    <a:pt x="1009" y="1314"/>
                  </a:cubicBezTo>
                  <a:cubicBezTo>
                    <a:pt x="1009" y="1307"/>
                    <a:pt x="1003" y="1301"/>
                    <a:pt x="996" y="1301"/>
                  </a:cubicBezTo>
                  <a:cubicBezTo>
                    <a:pt x="989" y="1301"/>
                    <a:pt x="983" y="1307"/>
                    <a:pt x="983" y="1314"/>
                  </a:cubicBezTo>
                  <a:cubicBezTo>
                    <a:pt x="983" y="1321"/>
                    <a:pt x="989" y="1326"/>
                    <a:pt x="996" y="1326"/>
                  </a:cubicBezTo>
                  <a:close/>
                  <a:moveTo>
                    <a:pt x="1035" y="1326"/>
                  </a:moveTo>
                  <a:cubicBezTo>
                    <a:pt x="1042" y="1326"/>
                    <a:pt x="1048" y="1321"/>
                    <a:pt x="1048" y="1314"/>
                  </a:cubicBezTo>
                  <a:cubicBezTo>
                    <a:pt x="1048" y="1307"/>
                    <a:pt x="1042" y="1301"/>
                    <a:pt x="1035" y="1301"/>
                  </a:cubicBezTo>
                  <a:cubicBezTo>
                    <a:pt x="1028" y="1301"/>
                    <a:pt x="1023" y="1307"/>
                    <a:pt x="1023" y="1314"/>
                  </a:cubicBezTo>
                  <a:cubicBezTo>
                    <a:pt x="1023" y="1321"/>
                    <a:pt x="1028" y="1326"/>
                    <a:pt x="1035" y="1326"/>
                  </a:cubicBezTo>
                  <a:close/>
                  <a:moveTo>
                    <a:pt x="1075" y="1326"/>
                  </a:moveTo>
                  <a:cubicBezTo>
                    <a:pt x="1082" y="1326"/>
                    <a:pt x="1087" y="1321"/>
                    <a:pt x="1087" y="1314"/>
                  </a:cubicBezTo>
                  <a:cubicBezTo>
                    <a:pt x="1087" y="1307"/>
                    <a:pt x="1082" y="1301"/>
                    <a:pt x="1075" y="1301"/>
                  </a:cubicBezTo>
                  <a:cubicBezTo>
                    <a:pt x="1068" y="1301"/>
                    <a:pt x="1062" y="1307"/>
                    <a:pt x="1062" y="1314"/>
                  </a:cubicBezTo>
                  <a:cubicBezTo>
                    <a:pt x="1062" y="1321"/>
                    <a:pt x="1068" y="1326"/>
                    <a:pt x="1075" y="1326"/>
                  </a:cubicBezTo>
                  <a:close/>
                  <a:moveTo>
                    <a:pt x="1114" y="1326"/>
                  </a:moveTo>
                  <a:cubicBezTo>
                    <a:pt x="1121" y="1326"/>
                    <a:pt x="1127" y="1321"/>
                    <a:pt x="1127" y="1314"/>
                  </a:cubicBezTo>
                  <a:cubicBezTo>
                    <a:pt x="1127" y="1307"/>
                    <a:pt x="1121" y="1301"/>
                    <a:pt x="1114" y="1301"/>
                  </a:cubicBezTo>
                  <a:cubicBezTo>
                    <a:pt x="1107" y="1301"/>
                    <a:pt x="1101" y="1307"/>
                    <a:pt x="1101" y="1314"/>
                  </a:cubicBezTo>
                  <a:cubicBezTo>
                    <a:pt x="1101" y="1321"/>
                    <a:pt x="1107" y="1326"/>
                    <a:pt x="1114" y="1326"/>
                  </a:cubicBezTo>
                  <a:close/>
                  <a:moveTo>
                    <a:pt x="1154" y="1326"/>
                  </a:moveTo>
                  <a:cubicBezTo>
                    <a:pt x="1161" y="1326"/>
                    <a:pt x="1166" y="1321"/>
                    <a:pt x="1166" y="1314"/>
                  </a:cubicBezTo>
                  <a:cubicBezTo>
                    <a:pt x="1166" y="1307"/>
                    <a:pt x="1161" y="1301"/>
                    <a:pt x="1154" y="1301"/>
                  </a:cubicBezTo>
                  <a:cubicBezTo>
                    <a:pt x="1146" y="1301"/>
                    <a:pt x="1141" y="1307"/>
                    <a:pt x="1141" y="1314"/>
                  </a:cubicBezTo>
                  <a:cubicBezTo>
                    <a:pt x="1141" y="1321"/>
                    <a:pt x="1146" y="1326"/>
                    <a:pt x="1154" y="1326"/>
                  </a:cubicBezTo>
                  <a:close/>
                  <a:moveTo>
                    <a:pt x="1193" y="1326"/>
                  </a:moveTo>
                  <a:cubicBezTo>
                    <a:pt x="1200" y="1326"/>
                    <a:pt x="1206" y="1321"/>
                    <a:pt x="1206" y="1314"/>
                  </a:cubicBezTo>
                  <a:cubicBezTo>
                    <a:pt x="1206" y="1307"/>
                    <a:pt x="1200" y="1301"/>
                    <a:pt x="1193" y="1301"/>
                  </a:cubicBezTo>
                  <a:cubicBezTo>
                    <a:pt x="1186" y="1301"/>
                    <a:pt x="1180" y="1307"/>
                    <a:pt x="1180" y="1314"/>
                  </a:cubicBezTo>
                  <a:cubicBezTo>
                    <a:pt x="1180" y="1321"/>
                    <a:pt x="1186" y="1326"/>
                    <a:pt x="1193" y="1326"/>
                  </a:cubicBezTo>
                  <a:close/>
                  <a:moveTo>
                    <a:pt x="1232" y="1326"/>
                  </a:moveTo>
                  <a:cubicBezTo>
                    <a:pt x="1239" y="1326"/>
                    <a:pt x="1245" y="1321"/>
                    <a:pt x="1245" y="1314"/>
                  </a:cubicBezTo>
                  <a:cubicBezTo>
                    <a:pt x="1245" y="1307"/>
                    <a:pt x="1239" y="1301"/>
                    <a:pt x="1232" y="1301"/>
                  </a:cubicBezTo>
                  <a:cubicBezTo>
                    <a:pt x="1225" y="1301"/>
                    <a:pt x="1220" y="1307"/>
                    <a:pt x="1220" y="1314"/>
                  </a:cubicBezTo>
                  <a:cubicBezTo>
                    <a:pt x="1220" y="1321"/>
                    <a:pt x="1225" y="1326"/>
                    <a:pt x="1232" y="1326"/>
                  </a:cubicBezTo>
                  <a:close/>
                  <a:moveTo>
                    <a:pt x="1272" y="1301"/>
                  </a:moveTo>
                  <a:cubicBezTo>
                    <a:pt x="1265" y="1301"/>
                    <a:pt x="1259" y="1307"/>
                    <a:pt x="1259" y="1314"/>
                  </a:cubicBezTo>
                  <a:cubicBezTo>
                    <a:pt x="1259" y="1321"/>
                    <a:pt x="1265" y="1326"/>
                    <a:pt x="1272" y="1326"/>
                  </a:cubicBezTo>
                  <a:cubicBezTo>
                    <a:pt x="1279" y="1326"/>
                    <a:pt x="1285" y="1321"/>
                    <a:pt x="1285" y="1314"/>
                  </a:cubicBezTo>
                  <a:cubicBezTo>
                    <a:pt x="1285" y="1307"/>
                    <a:pt x="1279" y="1301"/>
                    <a:pt x="1272" y="1301"/>
                  </a:cubicBezTo>
                  <a:close/>
                  <a:moveTo>
                    <a:pt x="1824" y="1301"/>
                  </a:moveTo>
                  <a:cubicBezTo>
                    <a:pt x="1817" y="1301"/>
                    <a:pt x="1811" y="1307"/>
                    <a:pt x="1811" y="1314"/>
                  </a:cubicBezTo>
                  <a:cubicBezTo>
                    <a:pt x="1811" y="1321"/>
                    <a:pt x="1817" y="1326"/>
                    <a:pt x="1824" y="1326"/>
                  </a:cubicBezTo>
                  <a:cubicBezTo>
                    <a:pt x="1831" y="1326"/>
                    <a:pt x="1837" y="1321"/>
                    <a:pt x="1837" y="1314"/>
                  </a:cubicBezTo>
                  <a:cubicBezTo>
                    <a:pt x="1837" y="1307"/>
                    <a:pt x="1831" y="1301"/>
                    <a:pt x="1824" y="1301"/>
                  </a:cubicBezTo>
                  <a:close/>
                  <a:moveTo>
                    <a:pt x="1863" y="1326"/>
                  </a:moveTo>
                  <a:cubicBezTo>
                    <a:pt x="1870" y="1326"/>
                    <a:pt x="1876" y="1321"/>
                    <a:pt x="1876" y="1314"/>
                  </a:cubicBezTo>
                  <a:cubicBezTo>
                    <a:pt x="1876" y="1307"/>
                    <a:pt x="1870" y="1301"/>
                    <a:pt x="1863" y="1301"/>
                  </a:cubicBezTo>
                  <a:cubicBezTo>
                    <a:pt x="1856" y="1301"/>
                    <a:pt x="1850" y="1307"/>
                    <a:pt x="1850" y="1314"/>
                  </a:cubicBezTo>
                  <a:cubicBezTo>
                    <a:pt x="1850" y="1321"/>
                    <a:pt x="1856" y="1326"/>
                    <a:pt x="1863" y="1326"/>
                  </a:cubicBezTo>
                  <a:close/>
                  <a:moveTo>
                    <a:pt x="1903" y="1326"/>
                  </a:moveTo>
                  <a:cubicBezTo>
                    <a:pt x="1910" y="1326"/>
                    <a:pt x="1915" y="1321"/>
                    <a:pt x="1915" y="1314"/>
                  </a:cubicBezTo>
                  <a:cubicBezTo>
                    <a:pt x="1915" y="1307"/>
                    <a:pt x="1910" y="1301"/>
                    <a:pt x="1903" y="1301"/>
                  </a:cubicBezTo>
                  <a:cubicBezTo>
                    <a:pt x="1896" y="1301"/>
                    <a:pt x="1890" y="1307"/>
                    <a:pt x="1890" y="1314"/>
                  </a:cubicBezTo>
                  <a:cubicBezTo>
                    <a:pt x="1890" y="1321"/>
                    <a:pt x="1896" y="1326"/>
                    <a:pt x="1903" y="1326"/>
                  </a:cubicBezTo>
                  <a:close/>
                  <a:moveTo>
                    <a:pt x="1942" y="1326"/>
                  </a:moveTo>
                  <a:cubicBezTo>
                    <a:pt x="1949" y="1326"/>
                    <a:pt x="1955" y="1321"/>
                    <a:pt x="1955" y="1314"/>
                  </a:cubicBezTo>
                  <a:cubicBezTo>
                    <a:pt x="1955" y="1307"/>
                    <a:pt x="1949" y="1301"/>
                    <a:pt x="1942" y="1301"/>
                  </a:cubicBezTo>
                  <a:cubicBezTo>
                    <a:pt x="1935" y="1301"/>
                    <a:pt x="1929" y="1307"/>
                    <a:pt x="1929" y="1314"/>
                  </a:cubicBezTo>
                  <a:cubicBezTo>
                    <a:pt x="1929" y="1321"/>
                    <a:pt x="1935" y="1326"/>
                    <a:pt x="1942" y="1326"/>
                  </a:cubicBezTo>
                  <a:close/>
                  <a:moveTo>
                    <a:pt x="1981" y="1301"/>
                  </a:moveTo>
                  <a:cubicBezTo>
                    <a:pt x="1974" y="1301"/>
                    <a:pt x="1969" y="1307"/>
                    <a:pt x="1969" y="1314"/>
                  </a:cubicBezTo>
                  <a:cubicBezTo>
                    <a:pt x="1969" y="1321"/>
                    <a:pt x="1974" y="1326"/>
                    <a:pt x="1981" y="1326"/>
                  </a:cubicBezTo>
                  <a:cubicBezTo>
                    <a:pt x="1988" y="1326"/>
                    <a:pt x="1994" y="1321"/>
                    <a:pt x="1994" y="1314"/>
                  </a:cubicBezTo>
                  <a:cubicBezTo>
                    <a:pt x="1994" y="1307"/>
                    <a:pt x="1988" y="1301"/>
                    <a:pt x="1981" y="1301"/>
                  </a:cubicBezTo>
                  <a:close/>
                  <a:moveTo>
                    <a:pt x="2021" y="1326"/>
                  </a:moveTo>
                  <a:cubicBezTo>
                    <a:pt x="2028" y="1326"/>
                    <a:pt x="2034" y="1321"/>
                    <a:pt x="2034" y="1314"/>
                  </a:cubicBezTo>
                  <a:cubicBezTo>
                    <a:pt x="2034" y="1307"/>
                    <a:pt x="2028" y="1301"/>
                    <a:pt x="2021" y="1301"/>
                  </a:cubicBezTo>
                  <a:cubicBezTo>
                    <a:pt x="2014" y="1301"/>
                    <a:pt x="2008" y="1307"/>
                    <a:pt x="2008" y="1314"/>
                  </a:cubicBezTo>
                  <a:cubicBezTo>
                    <a:pt x="2008" y="1321"/>
                    <a:pt x="2014" y="1326"/>
                    <a:pt x="2021" y="1326"/>
                  </a:cubicBezTo>
                  <a:close/>
                  <a:moveTo>
                    <a:pt x="2060" y="1301"/>
                  </a:moveTo>
                  <a:cubicBezTo>
                    <a:pt x="2053" y="1301"/>
                    <a:pt x="2048" y="1307"/>
                    <a:pt x="2048" y="1314"/>
                  </a:cubicBezTo>
                  <a:cubicBezTo>
                    <a:pt x="2048" y="1321"/>
                    <a:pt x="2053" y="1326"/>
                    <a:pt x="2060" y="1326"/>
                  </a:cubicBezTo>
                  <a:cubicBezTo>
                    <a:pt x="2067" y="1326"/>
                    <a:pt x="2073" y="1321"/>
                    <a:pt x="2073" y="1314"/>
                  </a:cubicBezTo>
                  <a:cubicBezTo>
                    <a:pt x="2073" y="1307"/>
                    <a:pt x="2067" y="1301"/>
                    <a:pt x="2060" y="1301"/>
                  </a:cubicBezTo>
                  <a:close/>
                  <a:moveTo>
                    <a:pt x="2179" y="1301"/>
                  </a:moveTo>
                  <a:cubicBezTo>
                    <a:pt x="2172" y="1301"/>
                    <a:pt x="2166" y="1307"/>
                    <a:pt x="2166" y="1314"/>
                  </a:cubicBezTo>
                  <a:cubicBezTo>
                    <a:pt x="2166" y="1321"/>
                    <a:pt x="2172" y="1326"/>
                    <a:pt x="2179" y="1326"/>
                  </a:cubicBezTo>
                  <a:cubicBezTo>
                    <a:pt x="2186" y="1326"/>
                    <a:pt x="2191" y="1321"/>
                    <a:pt x="2191" y="1314"/>
                  </a:cubicBezTo>
                  <a:cubicBezTo>
                    <a:pt x="2191" y="1307"/>
                    <a:pt x="2186" y="1301"/>
                    <a:pt x="2179" y="1301"/>
                  </a:cubicBezTo>
                  <a:close/>
                  <a:moveTo>
                    <a:pt x="2967" y="1326"/>
                  </a:moveTo>
                  <a:cubicBezTo>
                    <a:pt x="2974" y="1326"/>
                    <a:pt x="2980" y="1321"/>
                    <a:pt x="2980" y="1314"/>
                  </a:cubicBezTo>
                  <a:cubicBezTo>
                    <a:pt x="2980" y="1307"/>
                    <a:pt x="2974" y="1301"/>
                    <a:pt x="2967" y="1301"/>
                  </a:cubicBezTo>
                  <a:cubicBezTo>
                    <a:pt x="2960" y="1301"/>
                    <a:pt x="2954" y="1307"/>
                    <a:pt x="2954" y="1314"/>
                  </a:cubicBezTo>
                  <a:cubicBezTo>
                    <a:pt x="2954" y="1321"/>
                    <a:pt x="2960" y="1326"/>
                    <a:pt x="2967" y="1326"/>
                  </a:cubicBezTo>
                  <a:close/>
                  <a:moveTo>
                    <a:pt x="3006" y="1326"/>
                  </a:moveTo>
                  <a:cubicBezTo>
                    <a:pt x="3014" y="1326"/>
                    <a:pt x="3019" y="1321"/>
                    <a:pt x="3019" y="1314"/>
                  </a:cubicBezTo>
                  <a:cubicBezTo>
                    <a:pt x="3019" y="1307"/>
                    <a:pt x="3014" y="1301"/>
                    <a:pt x="3006" y="1301"/>
                  </a:cubicBezTo>
                  <a:cubicBezTo>
                    <a:pt x="2999" y="1301"/>
                    <a:pt x="2994" y="1307"/>
                    <a:pt x="2994" y="1314"/>
                  </a:cubicBezTo>
                  <a:cubicBezTo>
                    <a:pt x="2994" y="1321"/>
                    <a:pt x="2999" y="1326"/>
                    <a:pt x="3006" y="1326"/>
                  </a:cubicBezTo>
                  <a:close/>
                  <a:moveTo>
                    <a:pt x="3046" y="1326"/>
                  </a:moveTo>
                  <a:cubicBezTo>
                    <a:pt x="3053" y="1326"/>
                    <a:pt x="3059" y="1321"/>
                    <a:pt x="3059" y="1314"/>
                  </a:cubicBezTo>
                  <a:cubicBezTo>
                    <a:pt x="3059" y="1307"/>
                    <a:pt x="3053" y="1301"/>
                    <a:pt x="3046" y="1301"/>
                  </a:cubicBezTo>
                  <a:cubicBezTo>
                    <a:pt x="3039" y="1301"/>
                    <a:pt x="3033" y="1307"/>
                    <a:pt x="3033" y="1314"/>
                  </a:cubicBezTo>
                  <a:cubicBezTo>
                    <a:pt x="3033" y="1321"/>
                    <a:pt x="3039" y="1326"/>
                    <a:pt x="3046" y="1326"/>
                  </a:cubicBezTo>
                  <a:close/>
                  <a:moveTo>
                    <a:pt x="3085" y="1326"/>
                  </a:moveTo>
                  <a:cubicBezTo>
                    <a:pt x="3092" y="1326"/>
                    <a:pt x="3098" y="1321"/>
                    <a:pt x="3098" y="1314"/>
                  </a:cubicBezTo>
                  <a:cubicBezTo>
                    <a:pt x="3098" y="1307"/>
                    <a:pt x="3092" y="1301"/>
                    <a:pt x="3085" y="1301"/>
                  </a:cubicBezTo>
                  <a:cubicBezTo>
                    <a:pt x="3078" y="1301"/>
                    <a:pt x="3073" y="1307"/>
                    <a:pt x="3073" y="1314"/>
                  </a:cubicBezTo>
                  <a:cubicBezTo>
                    <a:pt x="3073" y="1321"/>
                    <a:pt x="3078" y="1326"/>
                    <a:pt x="3085" y="1326"/>
                  </a:cubicBezTo>
                  <a:close/>
                  <a:moveTo>
                    <a:pt x="3125" y="1326"/>
                  </a:moveTo>
                  <a:cubicBezTo>
                    <a:pt x="3132" y="1326"/>
                    <a:pt x="3137" y="1321"/>
                    <a:pt x="3137" y="1314"/>
                  </a:cubicBezTo>
                  <a:cubicBezTo>
                    <a:pt x="3137" y="1307"/>
                    <a:pt x="3132" y="1301"/>
                    <a:pt x="3125" y="1301"/>
                  </a:cubicBezTo>
                  <a:cubicBezTo>
                    <a:pt x="3118" y="1301"/>
                    <a:pt x="3112" y="1307"/>
                    <a:pt x="3112" y="1314"/>
                  </a:cubicBezTo>
                  <a:cubicBezTo>
                    <a:pt x="3112" y="1321"/>
                    <a:pt x="3118" y="1326"/>
                    <a:pt x="3125" y="1326"/>
                  </a:cubicBezTo>
                  <a:close/>
                  <a:moveTo>
                    <a:pt x="3164" y="1326"/>
                  </a:moveTo>
                  <a:cubicBezTo>
                    <a:pt x="3171" y="1326"/>
                    <a:pt x="3177" y="1321"/>
                    <a:pt x="3177" y="1314"/>
                  </a:cubicBezTo>
                  <a:cubicBezTo>
                    <a:pt x="3177" y="1307"/>
                    <a:pt x="3171" y="1301"/>
                    <a:pt x="3164" y="1301"/>
                  </a:cubicBezTo>
                  <a:cubicBezTo>
                    <a:pt x="3157" y="1301"/>
                    <a:pt x="3151" y="1307"/>
                    <a:pt x="3151" y="1314"/>
                  </a:cubicBezTo>
                  <a:cubicBezTo>
                    <a:pt x="3151" y="1321"/>
                    <a:pt x="3157" y="1326"/>
                    <a:pt x="3164" y="1326"/>
                  </a:cubicBezTo>
                  <a:close/>
                  <a:moveTo>
                    <a:pt x="996" y="1366"/>
                  </a:moveTo>
                  <a:cubicBezTo>
                    <a:pt x="1003" y="1366"/>
                    <a:pt x="1009" y="1360"/>
                    <a:pt x="1009" y="1353"/>
                  </a:cubicBezTo>
                  <a:cubicBezTo>
                    <a:pt x="1009" y="1346"/>
                    <a:pt x="1003" y="1340"/>
                    <a:pt x="996" y="1340"/>
                  </a:cubicBezTo>
                  <a:cubicBezTo>
                    <a:pt x="989" y="1340"/>
                    <a:pt x="983" y="1346"/>
                    <a:pt x="983" y="1353"/>
                  </a:cubicBezTo>
                  <a:cubicBezTo>
                    <a:pt x="983" y="1360"/>
                    <a:pt x="989" y="1366"/>
                    <a:pt x="996" y="1366"/>
                  </a:cubicBezTo>
                  <a:close/>
                  <a:moveTo>
                    <a:pt x="1035" y="1366"/>
                  </a:moveTo>
                  <a:cubicBezTo>
                    <a:pt x="1042" y="1366"/>
                    <a:pt x="1048" y="1360"/>
                    <a:pt x="1048" y="1353"/>
                  </a:cubicBezTo>
                  <a:cubicBezTo>
                    <a:pt x="1048" y="1346"/>
                    <a:pt x="1042" y="1340"/>
                    <a:pt x="1035" y="1340"/>
                  </a:cubicBezTo>
                  <a:cubicBezTo>
                    <a:pt x="1028" y="1340"/>
                    <a:pt x="1023" y="1346"/>
                    <a:pt x="1023" y="1353"/>
                  </a:cubicBezTo>
                  <a:cubicBezTo>
                    <a:pt x="1023" y="1360"/>
                    <a:pt x="1028" y="1366"/>
                    <a:pt x="1035" y="1366"/>
                  </a:cubicBezTo>
                  <a:close/>
                  <a:moveTo>
                    <a:pt x="1075" y="1366"/>
                  </a:moveTo>
                  <a:cubicBezTo>
                    <a:pt x="1082" y="1366"/>
                    <a:pt x="1087" y="1360"/>
                    <a:pt x="1087" y="1353"/>
                  </a:cubicBezTo>
                  <a:cubicBezTo>
                    <a:pt x="1087" y="1346"/>
                    <a:pt x="1082" y="1340"/>
                    <a:pt x="1075" y="1340"/>
                  </a:cubicBezTo>
                  <a:cubicBezTo>
                    <a:pt x="1068" y="1340"/>
                    <a:pt x="1062" y="1346"/>
                    <a:pt x="1062" y="1353"/>
                  </a:cubicBezTo>
                  <a:cubicBezTo>
                    <a:pt x="1062" y="1360"/>
                    <a:pt x="1068" y="1366"/>
                    <a:pt x="1075" y="1366"/>
                  </a:cubicBezTo>
                  <a:close/>
                  <a:moveTo>
                    <a:pt x="1114" y="1366"/>
                  </a:moveTo>
                  <a:cubicBezTo>
                    <a:pt x="1121" y="1366"/>
                    <a:pt x="1127" y="1360"/>
                    <a:pt x="1127" y="1353"/>
                  </a:cubicBezTo>
                  <a:cubicBezTo>
                    <a:pt x="1127" y="1346"/>
                    <a:pt x="1121" y="1340"/>
                    <a:pt x="1114" y="1340"/>
                  </a:cubicBezTo>
                  <a:cubicBezTo>
                    <a:pt x="1107" y="1340"/>
                    <a:pt x="1101" y="1346"/>
                    <a:pt x="1101" y="1353"/>
                  </a:cubicBezTo>
                  <a:cubicBezTo>
                    <a:pt x="1101" y="1360"/>
                    <a:pt x="1107" y="1366"/>
                    <a:pt x="1114" y="1366"/>
                  </a:cubicBezTo>
                  <a:close/>
                  <a:moveTo>
                    <a:pt x="1154" y="1366"/>
                  </a:moveTo>
                  <a:cubicBezTo>
                    <a:pt x="1161" y="1366"/>
                    <a:pt x="1166" y="1360"/>
                    <a:pt x="1166" y="1353"/>
                  </a:cubicBezTo>
                  <a:cubicBezTo>
                    <a:pt x="1166" y="1346"/>
                    <a:pt x="1161" y="1340"/>
                    <a:pt x="1154" y="1340"/>
                  </a:cubicBezTo>
                  <a:cubicBezTo>
                    <a:pt x="1146" y="1340"/>
                    <a:pt x="1141" y="1346"/>
                    <a:pt x="1141" y="1353"/>
                  </a:cubicBezTo>
                  <a:cubicBezTo>
                    <a:pt x="1141" y="1360"/>
                    <a:pt x="1146" y="1366"/>
                    <a:pt x="1154" y="1366"/>
                  </a:cubicBezTo>
                  <a:close/>
                  <a:moveTo>
                    <a:pt x="1193" y="1366"/>
                  </a:moveTo>
                  <a:cubicBezTo>
                    <a:pt x="1200" y="1366"/>
                    <a:pt x="1206" y="1360"/>
                    <a:pt x="1206" y="1353"/>
                  </a:cubicBezTo>
                  <a:cubicBezTo>
                    <a:pt x="1206" y="1346"/>
                    <a:pt x="1200" y="1340"/>
                    <a:pt x="1193" y="1340"/>
                  </a:cubicBezTo>
                  <a:cubicBezTo>
                    <a:pt x="1186" y="1340"/>
                    <a:pt x="1180" y="1346"/>
                    <a:pt x="1180" y="1353"/>
                  </a:cubicBezTo>
                  <a:cubicBezTo>
                    <a:pt x="1180" y="1360"/>
                    <a:pt x="1186" y="1366"/>
                    <a:pt x="1193" y="1366"/>
                  </a:cubicBezTo>
                  <a:close/>
                  <a:moveTo>
                    <a:pt x="1232" y="1340"/>
                  </a:moveTo>
                  <a:cubicBezTo>
                    <a:pt x="1225" y="1340"/>
                    <a:pt x="1220" y="1346"/>
                    <a:pt x="1220" y="1353"/>
                  </a:cubicBezTo>
                  <a:cubicBezTo>
                    <a:pt x="1220" y="1360"/>
                    <a:pt x="1225" y="1366"/>
                    <a:pt x="1232" y="1366"/>
                  </a:cubicBezTo>
                  <a:cubicBezTo>
                    <a:pt x="1239" y="1366"/>
                    <a:pt x="1245" y="1360"/>
                    <a:pt x="1245" y="1353"/>
                  </a:cubicBezTo>
                  <a:cubicBezTo>
                    <a:pt x="1245" y="1346"/>
                    <a:pt x="1239" y="1340"/>
                    <a:pt x="1232" y="1340"/>
                  </a:cubicBezTo>
                  <a:close/>
                  <a:moveTo>
                    <a:pt x="1272" y="1340"/>
                  </a:moveTo>
                  <a:cubicBezTo>
                    <a:pt x="1265" y="1340"/>
                    <a:pt x="1259" y="1346"/>
                    <a:pt x="1259" y="1353"/>
                  </a:cubicBezTo>
                  <a:cubicBezTo>
                    <a:pt x="1259" y="1360"/>
                    <a:pt x="1265" y="1366"/>
                    <a:pt x="1272" y="1366"/>
                  </a:cubicBezTo>
                  <a:cubicBezTo>
                    <a:pt x="1279" y="1366"/>
                    <a:pt x="1285" y="1360"/>
                    <a:pt x="1285" y="1353"/>
                  </a:cubicBezTo>
                  <a:cubicBezTo>
                    <a:pt x="1285" y="1346"/>
                    <a:pt x="1279" y="1340"/>
                    <a:pt x="1272" y="1340"/>
                  </a:cubicBezTo>
                  <a:close/>
                  <a:moveTo>
                    <a:pt x="1863" y="1366"/>
                  </a:moveTo>
                  <a:cubicBezTo>
                    <a:pt x="1870" y="1366"/>
                    <a:pt x="1876" y="1360"/>
                    <a:pt x="1876" y="1353"/>
                  </a:cubicBezTo>
                  <a:cubicBezTo>
                    <a:pt x="1876" y="1346"/>
                    <a:pt x="1870" y="1340"/>
                    <a:pt x="1863" y="1340"/>
                  </a:cubicBezTo>
                  <a:cubicBezTo>
                    <a:pt x="1856" y="1340"/>
                    <a:pt x="1850" y="1346"/>
                    <a:pt x="1850" y="1353"/>
                  </a:cubicBezTo>
                  <a:cubicBezTo>
                    <a:pt x="1850" y="1360"/>
                    <a:pt x="1856" y="1366"/>
                    <a:pt x="1863" y="1366"/>
                  </a:cubicBezTo>
                  <a:close/>
                  <a:moveTo>
                    <a:pt x="1903" y="1366"/>
                  </a:moveTo>
                  <a:cubicBezTo>
                    <a:pt x="1910" y="1366"/>
                    <a:pt x="1915" y="1360"/>
                    <a:pt x="1915" y="1353"/>
                  </a:cubicBezTo>
                  <a:cubicBezTo>
                    <a:pt x="1915" y="1346"/>
                    <a:pt x="1910" y="1340"/>
                    <a:pt x="1903" y="1340"/>
                  </a:cubicBezTo>
                  <a:cubicBezTo>
                    <a:pt x="1896" y="1340"/>
                    <a:pt x="1890" y="1346"/>
                    <a:pt x="1890" y="1353"/>
                  </a:cubicBezTo>
                  <a:cubicBezTo>
                    <a:pt x="1890" y="1360"/>
                    <a:pt x="1896" y="1366"/>
                    <a:pt x="1903" y="1366"/>
                  </a:cubicBezTo>
                  <a:close/>
                  <a:moveTo>
                    <a:pt x="1942" y="1366"/>
                  </a:moveTo>
                  <a:cubicBezTo>
                    <a:pt x="1949" y="1366"/>
                    <a:pt x="1955" y="1360"/>
                    <a:pt x="1955" y="1353"/>
                  </a:cubicBezTo>
                  <a:cubicBezTo>
                    <a:pt x="1955" y="1346"/>
                    <a:pt x="1949" y="1340"/>
                    <a:pt x="1942" y="1340"/>
                  </a:cubicBezTo>
                  <a:cubicBezTo>
                    <a:pt x="1935" y="1340"/>
                    <a:pt x="1929" y="1346"/>
                    <a:pt x="1929" y="1353"/>
                  </a:cubicBezTo>
                  <a:cubicBezTo>
                    <a:pt x="1929" y="1360"/>
                    <a:pt x="1935" y="1366"/>
                    <a:pt x="1942" y="1366"/>
                  </a:cubicBezTo>
                  <a:close/>
                  <a:moveTo>
                    <a:pt x="1981" y="1366"/>
                  </a:moveTo>
                  <a:cubicBezTo>
                    <a:pt x="1988" y="1366"/>
                    <a:pt x="1994" y="1360"/>
                    <a:pt x="1994" y="1353"/>
                  </a:cubicBezTo>
                  <a:cubicBezTo>
                    <a:pt x="1994" y="1346"/>
                    <a:pt x="1988" y="1340"/>
                    <a:pt x="1981" y="1340"/>
                  </a:cubicBezTo>
                  <a:cubicBezTo>
                    <a:pt x="1974" y="1340"/>
                    <a:pt x="1969" y="1346"/>
                    <a:pt x="1969" y="1353"/>
                  </a:cubicBezTo>
                  <a:cubicBezTo>
                    <a:pt x="1969" y="1360"/>
                    <a:pt x="1974" y="1366"/>
                    <a:pt x="1981" y="1366"/>
                  </a:cubicBezTo>
                  <a:close/>
                  <a:moveTo>
                    <a:pt x="2021" y="1366"/>
                  </a:moveTo>
                  <a:cubicBezTo>
                    <a:pt x="2028" y="1366"/>
                    <a:pt x="2034" y="1360"/>
                    <a:pt x="2034" y="1353"/>
                  </a:cubicBezTo>
                  <a:cubicBezTo>
                    <a:pt x="2034" y="1346"/>
                    <a:pt x="2028" y="1340"/>
                    <a:pt x="2021" y="1340"/>
                  </a:cubicBezTo>
                  <a:cubicBezTo>
                    <a:pt x="2014" y="1340"/>
                    <a:pt x="2008" y="1346"/>
                    <a:pt x="2008" y="1353"/>
                  </a:cubicBezTo>
                  <a:cubicBezTo>
                    <a:pt x="2008" y="1360"/>
                    <a:pt x="2014" y="1366"/>
                    <a:pt x="2021" y="1366"/>
                  </a:cubicBezTo>
                  <a:close/>
                  <a:moveTo>
                    <a:pt x="2139" y="1340"/>
                  </a:moveTo>
                  <a:cubicBezTo>
                    <a:pt x="2132" y="1340"/>
                    <a:pt x="2126" y="1346"/>
                    <a:pt x="2126" y="1353"/>
                  </a:cubicBezTo>
                  <a:cubicBezTo>
                    <a:pt x="2126" y="1360"/>
                    <a:pt x="2132" y="1366"/>
                    <a:pt x="2139" y="1366"/>
                  </a:cubicBezTo>
                  <a:cubicBezTo>
                    <a:pt x="2146" y="1366"/>
                    <a:pt x="2152" y="1360"/>
                    <a:pt x="2152" y="1353"/>
                  </a:cubicBezTo>
                  <a:cubicBezTo>
                    <a:pt x="2152" y="1346"/>
                    <a:pt x="2146" y="1340"/>
                    <a:pt x="2139" y="1340"/>
                  </a:cubicBezTo>
                  <a:close/>
                  <a:moveTo>
                    <a:pt x="2179" y="1340"/>
                  </a:moveTo>
                  <a:cubicBezTo>
                    <a:pt x="2172" y="1340"/>
                    <a:pt x="2166" y="1346"/>
                    <a:pt x="2166" y="1353"/>
                  </a:cubicBezTo>
                  <a:cubicBezTo>
                    <a:pt x="2166" y="1360"/>
                    <a:pt x="2172" y="1366"/>
                    <a:pt x="2179" y="1366"/>
                  </a:cubicBezTo>
                  <a:cubicBezTo>
                    <a:pt x="2186" y="1366"/>
                    <a:pt x="2191" y="1360"/>
                    <a:pt x="2191" y="1353"/>
                  </a:cubicBezTo>
                  <a:cubicBezTo>
                    <a:pt x="2191" y="1346"/>
                    <a:pt x="2186" y="1340"/>
                    <a:pt x="2179" y="1340"/>
                  </a:cubicBezTo>
                  <a:close/>
                  <a:moveTo>
                    <a:pt x="2888" y="1366"/>
                  </a:moveTo>
                  <a:cubicBezTo>
                    <a:pt x="2895" y="1366"/>
                    <a:pt x="2901" y="1360"/>
                    <a:pt x="2901" y="1353"/>
                  </a:cubicBezTo>
                  <a:cubicBezTo>
                    <a:pt x="2901" y="1346"/>
                    <a:pt x="2895" y="1340"/>
                    <a:pt x="2888" y="1340"/>
                  </a:cubicBezTo>
                  <a:cubicBezTo>
                    <a:pt x="2881" y="1340"/>
                    <a:pt x="2875" y="1346"/>
                    <a:pt x="2875" y="1353"/>
                  </a:cubicBezTo>
                  <a:cubicBezTo>
                    <a:pt x="2875" y="1360"/>
                    <a:pt x="2881" y="1366"/>
                    <a:pt x="2888" y="1366"/>
                  </a:cubicBezTo>
                  <a:close/>
                  <a:moveTo>
                    <a:pt x="2928" y="1366"/>
                  </a:moveTo>
                  <a:cubicBezTo>
                    <a:pt x="2935" y="1366"/>
                    <a:pt x="2940" y="1360"/>
                    <a:pt x="2940" y="1353"/>
                  </a:cubicBezTo>
                  <a:cubicBezTo>
                    <a:pt x="2940" y="1346"/>
                    <a:pt x="2935" y="1340"/>
                    <a:pt x="2928" y="1340"/>
                  </a:cubicBezTo>
                  <a:cubicBezTo>
                    <a:pt x="2921" y="1340"/>
                    <a:pt x="2915" y="1346"/>
                    <a:pt x="2915" y="1353"/>
                  </a:cubicBezTo>
                  <a:cubicBezTo>
                    <a:pt x="2915" y="1360"/>
                    <a:pt x="2921" y="1366"/>
                    <a:pt x="2928" y="1366"/>
                  </a:cubicBezTo>
                  <a:close/>
                  <a:moveTo>
                    <a:pt x="2967" y="1366"/>
                  </a:moveTo>
                  <a:cubicBezTo>
                    <a:pt x="2974" y="1366"/>
                    <a:pt x="2980" y="1360"/>
                    <a:pt x="2980" y="1353"/>
                  </a:cubicBezTo>
                  <a:cubicBezTo>
                    <a:pt x="2980" y="1346"/>
                    <a:pt x="2974" y="1340"/>
                    <a:pt x="2967" y="1340"/>
                  </a:cubicBezTo>
                  <a:cubicBezTo>
                    <a:pt x="2960" y="1340"/>
                    <a:pt x="2954" y="1346"/>
                    <a:pt x="2954" y="1353"/>
                  </a:cubicBezTo>
                  <a:cubicBezTo>
                    <a:pt x="2954" y="1360"/>
                    <a:pt x="2960" y="1366"/>
                    <a:pt x="2967" y="1366"/>
                  </a:cubicBezTo>
                  <a:close/>
                  <a:moveTo>
                    <a:pt x="3006" y="1366"/>
                  </a:moveTo>
                  <a:cubicBezTo>
                    <a:pt x="3014" y="1366"/>
                    <a:pt x="3019" y="1360"/>
                    <a:pt x="3019" y="1353"/>
                  </a:cubicBezTo>
                  <a:cubicBezTo>
                    <a:pt x="3019" y="1346"/>
                    <a:pt x="3014" y="1340"/>
                    <a:pt x="3006" y="1340"/>
                  </a:cubicBezTo>
                  <a:cubicBezTo>
                    <a:pt x="2999" y="1340"/>
                    <a:pt x="2994" y="1346"/>
                    <a:pt x="2994" y="1353"/>
                  </a:cubicBezTo>
                  <a:cubicBezTo>
                    <a:pt x="2994" y="1360"/>
                    <a:pt x="2999" y="1366"/>
                    <a:pt x="3006" y="1366"/>
                  </a:cubicBezTo>
                  <a:close/>
                  <a:moveTo>
                    <a:pt x="3046" y="1366"/>
                  </a:moveTo>
                  <a:cubicBezTo>
                    <a:pt x="3053" y="1366"/>
                    <a:pt x="3059" y="1360"/>
                    <a:pt x="3059" y="1353"/>
                  </a:cubicBezTo>
                  <a:cubicBezTo>
                    <a:pt x="3059" y="1346"/>
                    <a:pt x="3053" y="1340"/>
                    <a:pt x="3046" y="1340"/>
                  </a:cubicBezTo>
                  <a:cubicBezTo>
                    <a:pt x="3039" y="1340"/>
                    <a:pt x="3033" y="1346"/>
                    <a:pt x="3033" y="1353"/>
                  </a:cubicBezTo>
                  <a:cubicBezTo>
                    <a:pt x="3033" y="1360"/>
                    <a:pt x="3039" y="1366"/>
                    <a:pt x="3046" y="1366"/>
                  </a:cubicBezTo>
                  <a:close/>
                  <a:moveTo>
                    <a:pt x="3085" y="1366"/>
                  </a:moveTo>
                  <a:cubicBezTo>
                    <a:pt x="3092" y="1366"/>
                    <a:pt x="3098" y="1360"/>
                    <a:pt x="3098" y="1353"/>
                  </a:cubicBezTo>
                  <a:cubicBezTo>
                    <a:pt x="3098" y="1346"/>
                    <a:pt x="3092" y="1340"/>
                    <a:pt x="3085" y="1340"/>
                  </a:cubicBezTo>
                  <a:cubicBezTo>
                    <a:pt x="3078" y="1340"/>
                    <a:pt x="3073" y="1346"/>
                    <a:pt x="3073" y="1353"/>
                  </a:cubicBezTo>
                  <a:cubicBezTo>
                    <a:pt x="3073" y="1360"/>
                    <a:pt x="3078" y="1366"/>
                    <a:pt x="3085" y="1366"/>
                  </a:cubicBezTo>
                  <a:close/>
                  <a:moveTo>
                    <a:pt x="3125" y="1366"/>
                  </a:moveTo>
                  <a:cubicBezTo>
                    <a:pt x="3132" y="1366"/>
                    <a:pt x="3137" y="1360"/>
                    <a:pt x="3137" y="1353"/>
                  </a:cubicBezTo>
                  <a:cubicBezTo>
                    <a:pt x="3137" y="1346"/>
                    <a:pt x="3132" y="1340"/>
                    <a:pt x="3125" y="1340"/>
                  </a:cubicBezTo>
                  <a:cubicBezTo>
                    <a:pt x="3118" y="1340"/>
                    <a:pt x="3112" y="1346"/>
                    <a:pt x="3112" y="1353"/>
                  </a:cubicBezTo>
                  <a:cubicBezTo>
                    <a:pt x="3112" y="1360"/>
                    <a:pt x="3118" y="1366"/>
                    <a:pt x="3125" y="1366"/>
                  </a:cubicBezTo>
                  <a:close/>
                  <a:moveTo>
                    <a:pt x="3164" y="1366"/>
                  </a:moveTo>
                  <a:cubicBezTo>
                    <a:pt x="3171" y="1366"/>
                    <a:pt x="3177" y="1360"/>
                    <a:pt x="3177" y="1353"/>
                  </a:cubicBezTo>
                  <a:cubicBezTo>
                    <a:pt x="3177" y="1346"/>
                    <a:pt x="3171" y="1340"/>
                    <a:pt x="3164" y="1340"/>
                  </a:cubicBezTo>
                  <a:cubicBezTo>
                    <a:pt x="3157" y="1340"/>
                    <a:pt x="3151" y="1346"/>
                    <a:pt x="3151" y="1353"/>
                  </a:cubicBezTo>
                  <a:cubicBezTo>
                    <a:pt x="3151" y="1360"/>
                    <a:pt x="3157" y="1366"/>
                    <a:pt x="3164" y="1366"/>
                  </a:cubicBezTo>
                  <a:close/>
                  <a:moveTo>
                    <a:pt x="3204" y="1366"/>
                  </a:moveTo>
                  <a:cubicBezTo>
                    <a:pt x="3211" y="1366"/>
                    <a:pt x="3216" y="1360"/>
                    <a:pt x="3216" y="1353"/>
                  </a:cubicBezTo>
                  <a:cubicBezTo>
                    <a:pt x="3216" y="1346"/>
                    <a:pt x="3211" y="1340"/>
                    <a:pt x="3204" y="1340"/>
                  </a:cubicBezTo>
                  <a:cubicBezTo>
                    <a:pt x="3197" y="1340"/>
                    <a:pt x="3191" y="1346"/>
                    <a:pt x="3191" y="1353"/>
                  </a:cubicBezTo>
                  <a:cubicBezTo>
                    <a:pt x="3191" y="1360"/>
                    <a:pt x="3197" y="1366"/>
                    <a:pt x="3204" y="1366"/>
                  </a:cubicBezTo>
                  <a:close/>
                  <a:moveTo>
                    <a:pt x="996" y="1405"/>
                  </a:moveTo>
                  <a:cubicBezTo>
                    <a:pt x="1003" y="1405"/>
                    <a:pt x="1009" y="1400"/>
                    <a:pt x="1009" y="1393"/>
                  </a:cubicBezTo>
                  <a:cubicBezTo>
                    <a:pt x="1009" y="1385"/>
                    <a:pt x="1003" y="1380"/>
                    <a:pt x="996" y="1380"/>
                  </a:cubicBezTo>
                  <a:cubicBezTo>
                    <a:pt x="989" y="1380"/>
                    <a:pt x="983" y="1385"/>
                    <a:pt x="983" y="1393"/>
                  </a:cubicBezTo>
                  <a:cubicBezTo>
                    <a:pt x="983" y="1400"/>
                    <a:pt x="989" y="1405"/>
                    <a:pt x="996" y="1405"/>
                  </a:cubicBezTo>
                  <a:close/>
                  <a:moveTo>
                    <a:pt x="1035" y="1405"/>
                  </a:moveTo>
                  <a:cubicBezTo>
                    <a:pt x="1042" y="1405"/>
                    <a:pt x="1048" y="1400"/>
                    <a:pt x="1048" y="1393"/>
                  </a:cubicBezTo>
                  <a:cubicBezTo>
                    <a:pt x="1048" y="1385"/>
                    <a:pt x="1042" y="1380"/>
                    <a:pt x="1035" y="1380"/>
                  </a:cubicBezTo>
                  <a:cubicBezTo>
                    <a:pt x="1028" y="1380"/>
                    <a:pt x="1023" y="1385"/>
                    <a:pt x="1023" y="1393"/>
                  </a:cubicBezTo>
                  <a:cubicBezTo>
                    <a:pt x="1023" y="1400"/>
                    <a:pt x="1028" y="1405"/>
                    <a:pt x="1035" y="1405"/>
                  </a:cubicBezTo>
                  <a:close/>
                  <a:moveTo>
                    <a:pt x="1075" y="1405"/>
                  </a:moveTo>
                  <a:cubicBezTo>
                    <a:pt x="1082" y="1405"/>
                    <a:pt x="1087" y="1400"/>
                    <a:pt x="1087" y="1393"/>
                  </a:cubicBezTo>
                  <a:cubicBezTo>
                    <a:pt x="1087" y="1385"/>
                    <a:pt x="1082" y="1380"/>
                    <a:pt x="1075" y="1380"/>
                  </a:cubicBezTo>
                  <a:cubicBezTo>
                    <a:pt x="1068" y="1380"/>
                    <a:pt x="1062" y="1385"/>
                    <a:pt x="1062" y="1393"/>
                  </a:cubicBezTo>
                  <a:cubicBezTo>
                    <a:pt x="1062" y="1400"/>
                    <a:pt x="1068" y="1405"/>
                    <a:pt x="1075" y="1405"/>
                  </a:cubicBezTo>
                  <a:close/>
                  <a:moveTo>
                    <a:pt x="1114" y="1405"/>
                  </a:moveTo>
                  <a:cubicBezTo>
                    <a:pt x="1121" y="1405"/>
                    <a:pt x="1127" y="1400"/>
                    <a:pt x="1127" y="1393"/>
                  </a:cubicBezTo>
                  <a:cubicBezTo>
                    <a:pt x="1127" y="1385"/>
                    <a:pt x="1121" y="1380"/>
                    <a:pt x="1114" y="1380"/>
                  </a:cubicBezTo>
                  <a:cubicBezTo>
                    <a:pt x="1107" y="1380"/>
                    <a:pt x="1101" y="1385"/>
                    <a:pt x="1101" y="1393"/>
                  </a:cubicBezTo>
                  <a:cubicBezTo>
                    <a:pt x="1101" y="1400"/>
                    <a:pt x="1107" y="1405"/>
                    <a:pt x="1114" y="1405"/>
                  </a:cubicBezTo>
                  <a:close/>
                  <a:moveTo>
                    <a:pt x="1154" y="1405"/>
                  </a:moveTo>
                  <a:cubicBezTo>
                    <a:pt x="1161" y="1405"/>
                    <a:pt x="1166" y="1400"/>
                    <a:pt x="1166" y="1393"/>
                  </a:cubicBezTo>
                  <a:cubicBezTo>
                    <a:pt x="1166" y="1385"/>
                    <a:pt x="1161" y="1380"/>
                    <a:pt x="1154" y="1380"/>
                  </a:cubicBezTo>
                  <a:cubicBezTo>
                    <a:pt x="1146" y="1380"/>
                    <a:pt x="1141" y="1385"/>
                    <a:pt x="1141" y="1393"/>
                  </a:cubicBezTo>
                  <a:cubicBezTo>
                    <a:pt x="1141" y="1400"/>
                    <a:pt x="1146" y="1405"/>
                    <a:pt x="1154" y="1405"/>
                  </a:cubicBezTo>
                  <a:close/>
                  <a:moveTo>
                    <a:pt x="1193" y="1380"/>
                  </a:moveTo>
                  <a:cubicBezTo>
                    <a:pt x="1186" y="1380"/>
                    <a:pt x="1180" y="1385"/>
                    <a:pt x="1180" y="1393"/>
                  </a:cubicBezTo>
                  <a:cubicBezTo>
                    <a:pt x="1180" y="1400"/>
                    <a:pt x="1186" y="1405"/>
                    <a:pt x="1193" y="1405"/>
                  </a:cubicBezTo>
                  <a:cubicBezTo>
                    <a:pt x="1200" y="1405"/>
                    <a:pt x="1206" y="1400"/>
                    <a:pt x="1206" y="1393"/>
                  </a:cubicBezTo>
                  <a:cubicBezTo>
                    <a:pt x="1206" y="1385"/>
                    <a:pt x="1200" y="1380"/>
                    <a:pt x="1193" y="1380"/>
                  </a:cubicBezTo>
                  <a:close/>
                  <a:moveTo>
                    <a:pt x="1863" y="1380"/>
                  </a:moveTo>
                  <a:cubicBezTo>
                    <a:pt x="1856" y="1380"/>
                    <a:pt x="1850" y="1385"/>
                    <a:pt x="1850" y="1393"/>
                  </a:cubicBezTo>
                  <a:cubicBezTo>
                    <a:pt x="1850" y="1400"/>
                    <a:pt x="1856" y="1405"/>
                    <a:pt x="1863" y="1405"/>
                  </a:cubicBezTo>
                  <a:cubicBezTo>
                    <a:pt x="1870" y="1405"/>
                    <a:pt x="1876" y="1400"/>
                    <a:pt x="1876" y="1393"/>
                  </a:cubicBezTo>
                  <a:cubicBezTo>
                    <a:pt x="1876" y="1385"/>
                    <a:pt x="1870" y="1380"/>
                    <a:pt x="1863" y="1380"/>
                  </a:cubicBezTo>
                  <a:close/>
                  <a:moveTo>
                    <a:pt x="1903" y="1405"/>
                  </a:moveTo>
                  <a:cubicBezTo>
                    <a:pt x="1910" y="1405"/>
                    <a:pt x="1915" y="1400"/>
                    <a:pt x="1915" y="1393"/>
                  </a:cubicBezTo>
                  <a:cubicBezTo>
                    <a:pt x="1915" y="1385"/>
                    <a:pt x="1910" y="1380"/>
                    <a:pt x="1903" y="1380"/>
                  </a:cubicBezTo>
                  <a:cubicBezTo>
                    <a:pt x="1896" y="1380"/>
                    <a:pt x="1890" y="1385"/>
                    <a:pt x="1890" y="1393"/>
                  </a:cubicBezTo>
                  <a:cubicBezTo>
                    <a:pt x="1890" y="1400"/>
                    <a:pt x="1896" y="1405"/>
                    <a:pt x="1903" y="1405"/>
                  </a:cubicBezTo>
                  <a:close/>
                  <a:moveTo>
                    <a:pt x="1942" y="1405"/>
                  </a:moveTo>
                  <a:cubicBezTo>
                    <a:pt x="1949" y="1405"/>
                    <a:pt x="1955" y="1400"/>
                    <a:pt x="1955" y="1393"/>
                  </a:cubicBezTo>
                  <a:cubicBezTo>
                    <a:pt x="1955" y="1385"/>
                    <a:pt x="1949" y="1380"/>
                    <a:pt x="1942" y="1380"/>
                  </a:cubicBezTo>
                  <a:cubicBezTo>
                    <a:pt x="1935" y="1380"/>
                    <a:pt x="1929" y="1385"/>
                    <a:pt x="1929" y="1393"/>
                  </a:cubicBezTo>
                  <a:cubicBezTo>
                    <a:pt x="1929" y="1400"/>
                    <a:pt x="1935" y="1405"/>
                    <a:pt x="1942" y="1405"/>
                  </a:cubicBezTo>
                  <a:close/>
                  <a:moveTo>
                    <a:pt x="1981" y="1405"/>
                  </a:moveTo>
                  <a:cubicBezTo>
                    <a:pt x="1988" y="1405"/>
                    <a:pt x="1994" y="1400"/>
                    <a:pt x="1994" y="1393"/>
                  </a:cubicBezTo>
                  <a:cubicBezTo>
                    <a:pt x="1994" y="1385"/>
                    <a:pt x="1988" y="1380"/>
                    <a:pt x="1981" y="1380"/>
                  </a:cubicBezTo>
                  <a:cubicBezTo>
                    <a:pt x="1974" y="1380"/>
                    <a:pt x="1969" y="1385"/>
                    <a:pt x="1969" y="1393"/>
                  </a:cubicBezTo>
                  <a:cubicBezTo>
                    <a:pt x="1969" y="1400"/>
                    <a:pt x="1974" y="1405"/>
                    <a:pt x="1981" y="1405"/>
                  </a:cubicBezTo>
                  <a:close/>
                  <a:moveTo>
                    <a:pt x="2021" y="1380"/>
                  </a:moveTo>
                  <a:cubicBezTo>
                    <a:pt x="2014" y="1380"/>
                    <a:pt x="2008" y="1385"/>
                    <a:pt x="2008" y="1393"/>
                  </a:cubicBezTo>
                  <a:cubicBezTo>
                    <a:pt x="2008" y="1400"/>
                    <a:pt x="2014" y="1405"/>
                    <a:pt x="2021" y="1405"/>
                  </a:cubicBezTo>
                  <a:cubicBezTo>
                    <a:pt x="2028" y="1405"/>
                    <a:pt x="2034" y="1400"/>
                    <a:pt x="2034" y="1393"/>
                  </a:cubicBezTo>
                  <a:cubicBezTo>
                    <a:pt x="2034" y="1385"/>
                    <a:pt x="2028" y="1380"/>
                    <a:pt x="2021" y="1380"/>
                  </a:cubicBezTo>
                  <a:close/>
                  <a:moveTo>
                    <a:pt x="2888" y="1405"/>
                  </a:moveTo>
                  <a:cubicBezTo>
                    <a:pt x="2895" y="1405"/>
                    <a:pt x="2901" y="1400"/>
                    <a:pt x="2901" y="1393"/>
                  </a:cubicBezTo>
                  <a:cubicBezTo>
                    <a:pt x="2901" y="1385"/>
                    <a:pt x="2895" y="1380"/>
                    <a:pt x="2888" y="1380"/>
                  </a:cubicBezTo>
                  <a:cubicBezTo>
                    <a:pt x="2881" y="1380"/>
                    <a:pt x="2875" y="1385"/>
                    <a:pt x="2875" y="1393"/>
                  </a:cubicBezTo>
                  <a:cubicBezTo>
                    <a:pt x="2875" y="1400"/>
                    <a:pt x="2881" y="1405"/>
                    <a:pt x="2888" y="1405"/>
                  </a:cubicBezTo>
                  <a:close/>
                  <a:moveTo>
                    <a:pt x="2928" y="1405"/>
                  </a:moveTo>
                  <a:cubicBezTo>
                    <a:pt x="2935" y="1405"/>
                    <a:pt x="2940" y="1400"/>
                    <a:pt x="2940" y="1393"/>
                  </a:cubicBezTo>
                  <a:cubicBezTo>
                    <a:pt x="2940" y="1385"/>
                    <a:pt x="2935" y="1380"/>
                    <a:pt x="2928" y="1380"/>
                  </a:cubicBezTo>
                  <a:cubicBezTo>
                    <a:pt x="2921" y="1380"/>
                    <a:pt x="2915" y="1385"/>
                    <a:pt x="2915" y="1393"/>
                  </a:cubicBezTo>
                  <a:cubicBezTo>
                    <a:pt x="2915" y="1400"/>
                    <a:pt x="2921" y="1405"/>
                    <a:pt x="2928" y="1405"/>
                  </a:cubicBezTo>
                  <a:close/>
                  <a:moveTo>
                    <a:pt x="2967" y="1405"/>
                  </a:moveTo>
                  <a:cubicBezTo>
                    <a:pt x="2974" y="1405"/>
                    <a:pt x="2980" y="1400"/>
                    <a:pt x="2980" y="1393"/>
                  </a:cubicBezTo>
                  <a:cubicBezTo>
                    <a:pt x="2980" y="1385"/>
                    <a:pt x="2974" y="1380"/>
                    <a:pt x="2967" y="1380"/>
                  </a:cubicBezTo>
                  <a:cubicBezTo>
                    <a:pt x="2960" y="1380"/>
                    <a:pt x="2954" y="1385"/>
                    <a:pt x="2954" y="1393"/>
                  </a:cubicBezTo>
                  <a:cubicBezTo>
                    <a:pt x="2954" y="1400"/>
                    <a:pt x="2960" y="1405"/>
                    <a:pt x="2967" y="1405"/>
                  </a:cubicBezTo>
                  <a:close/>
                  <a:moveTo>
                    <a:pt x="3006" y="1380"/>
                  </a:moveTo>
                  <a:cubicBezTo>
                    <a:pt x="2999" y="1380"/>
                    <a:pt x="2994" y="1385"/>
                    <a:pt x="2994" y="1393"/>
                  </a:cubicBezTo>
                  <a:cubicBezTo>
                    <a:pt x="2994" y="1400"/>
                    <a:pt x="2999" y="1405"/>
                    <a:pt x="3006" y="1405"/>
                  </a:cubicBezTo>
                  <a:cubicBezTo>
                    <a:pt x="3014" y="1405"/>
                    <a:pt x="3019" y="1400"/>
                    <a:pt x="3019" y="1393"/>
                  </a:cubicBezTo>
                  <a:cubicBezTo>
                    <a:pt x="3019" y="1385"/>
                    <a:pt x="3014" y="1380"/>
                    <a:pt x="3006" y="1380"/>
                  </a:cubicBezTo>
                  <a:close/>
                  <a:moveTo>
                    <a:pt x="3046" y="1405"/>
                  </a:moveTo>
                  <a:cubicBezTo>
                    <a:pt x="3053" y="1405"/>
                    <a:pt x="3059" y="1400"/>
                    <a:pt x="3059" y="1393"/>
                  </a:cubicBezTo>
                  <a:cubicBezTo>
                    <a:pt x="3059" y="1385"/>
                    <a:pt x="3053" y="1380"/>
                    <a:pt x="3046" y="1380"/>
                  </a:cubicBezTo>
                  <a:cubicBezTo>
                    <a:pt x="3039" y="1380"/>
                    <a:pt x="3033" y="1385"/>
                    <a:pt x="3033" y="1393"/>
                  </a:cubicBezTo>
                  <a:cubicBezTo>
                    <a:pt x="3033" y="1400"/>
                    <a:pt x="3039" y="1405"/>
                    <a:pt x="3046" y="1405"/>
                  </a:cubicBezTo>
                  <a:close/>
                  <a:moveTo>
                    <a:pt x="3085" y="1380"/>
                  </a:moveTo>
                  <a:cubicBezTo>
                    <a:pt x="3078" y="1380"/>
                    <a:pt x="3073" y="1385"/>
                    <a:pt x="3073" y="1393"/>
                  </a:cubicBezTo>
                  <a:cubicBezTo>
                    <a:pt x="3073" y="1400"/>
                    <a:pt x="3078" y="1405"/>
                    <a:pt x="3085" y="1405"/>
                  </a:cubicBezTo>
                  <a:cubicBezTo>
                    <a:pt x="3092" y="1405"/>
                    <a:pt x="3098" y="1400"/>
                    <a:pt x="3098" y="1393"/>
                  </a:cubicBezTo>
                  <a:cubicBezTo>
                    <a:pt x="3098" y="1385"/>
                    <a:pt x="3092" y="1380"/>
                    <a:pt x="3085" y="1380"/>
                  </a:cubicBezTo>
                  <a:close/>
                  <a:moveTo>
                    <a:pt x="3125" y="1405"/>
                  </a:moveTo>
                  <a:cubicBezTo>
                    <a:pt x="3132" y="1405"/>
                    <a:pt x="3137" y="1400"/>
                    <a:pt x="3137" y="1393"/>
                  </a:cubicBezTo>
                  <a:cubicBezTo>
                    <a:pt x="3137" y="1385"/>
                    <a:pt x="3132" y="1380"/>
                    <a:pt x="3125" y="1380"/>
                  </a:cubicBezTo>
                  <a:cubicBezTo>
                    <a:pt x="3118" y="1380"/>
                    <a:pt x="3112" y="1385"/>
                    <a:pt x="3112" y="1393"/>
                  </a:cubicBezTo>
                  <a:cubicBezTo>
                    <a:pt x="3112" y="1400"/>
                    <a:pt x="3118" y="1405"/>
                    <a:pt x="3125" y="1405"/>
                  </a:cubicBezTo>
                  <a:close/>
                  <a:moveTo>
                    <a:pt x="3164" y="1405"/>
                  </a:moveTo>
                  <a:cubicBezTo>
                    <a:pt x="3171" y="1405"/>
                    <a:pt x="3177" y="1400"/>
                    <a:pt x="3177" y="1393"/>
                  </a:cubicBezTo>
                  <a:cubicBezTo>
                    <a:pt x="3177" y="1385"/>
                    <a:pt x="3171" y="1380"/>
                    <a:pt x="3164" y="1380"/>
                  </a:cubicBezTo>
                  <a:cubicBezTo>
                    <a:pt x="3157" y="1380"/>
                    <a:pt x="3151" y="1385"/>
                    <a:pt x="3151" y="1393"/>
                  </a:cubicBezTo>
                  <a:cubicBezTo>
                    <a:pt x="3151" y="1400"/>
                    <a:pt x="3157" y="1405"/>
                    <a:pt x="3164" y="1405"/>
                  </a:cubicBezTo>
                  <a:close/>
                  <a:moveTo>
                    <a:pt x="3204" y="1380"/>
                  </a:moveTo>
                  <a:cubicBezTo>
                    <a:pt x="3197" y="1380"/>
                    <a:pt x="3191" y="1385"/>
                    <a:pt x="3191" y="1393"/>
                  </a:cubicBezTo>
                  <a:cubicBezTo>
                    <a:pt x="3191" y="1400"/>
                    <a:pt x="3197" y="1405"/>
                    <a:pt x="3204" y="1405"/>
                  </a:cubicBezTo>
                  <a:cubicBezTo>
                    <a:pt x="3211" y="1405"/>
                    <a:pt x="3216" y="1400"/>
                    <a:pt x="3216" y="1393"/>
                  </a:cubicBezTo>
                  <a:cubicBezTo>
                    <a:pt x="3216" y="1385"/>
                    <a:pt x="3211" y="1380"/>
                    <a:pt x="3204" y="1380"/>
                  </a:cubicBezTo>
                  <a:close/>
                  <a:moveTo>
                    <a:pt x="3243" y="1405"/>
                  </a:moveTo>
                  <a:cubicBezTo>
                    <a:pt x="3250" y="1405"/>
                    <a:pt x="3256" y="1400"/>
                    <a:pt x="3256" y="1393"/>
                  </a:cubicBezTo>
                  <a:cubicBezTo>
                    <a:pt x="3256" y="1385"/>
                    <a:pt x="3250" y="1380"/>
                    <a:pt x="3243" y="1380"/>
                  </a:cubicBezTo>
                  <a:cubicBezTo>
                    <a:pt x="3236" y="1380"/>
                    <a:pt x="3230" y="1385"/>
                    <a:pt x="3230" y="1393"/>
                  </a:cubicBezTo>
                  <a:cubicBezTo>
                    <a:pt x="3230" y="1400"/>
                    <a:pt x="3236" y="1405"/>
                    <a:pt x="3243" y="1405"/>
                  </a:cubicBezTo>
                  <a:close/>
                  <a:moveTo>
                    <a:pt x="996" y="1445"/>
                  </a:moveTo>
                  <a:cubicBezTo>
                    <a:pt x="1003" y="1445"/>
                    <a:pt x="1009" y="1439"/>
                    <a:pt x="1009" y="1432"/>
                  </a:cubicBezTo>
                  <a:cubicBezTo>
                    <a:pt x="1009" y="1425"/>
                    <a:pt x="1003" y="1419"/>
                    <a:pt x="996" y="1419"/>
                  </a:cubicBezTo>
                  <a:cubicBezTo>
                    <a:pt x="989" y="1419"/>
                    <a:pt x="983" y="1425"/>
                    <a:pt x="983" y="1432"/>
                  </a:cubicBezTo>
                  <a:cubicBezTo>
                    <a:pt x="983" y="1439"/>
                    <a:pt x="989" y="1445"/>
                    <a:pt x="996" y="1445"/>
                  </a:cubicBezTo>
                  <a:close/>
                  <a:moveTo>
                    <a:pt x="1035" y="1445"/>
                  </a:moveTo>
                  <a:cubicBezTo>
                    <a:pt x="1042" y="1445"/>
                    <a:pt x="1048" y="1439"/>
                    <a:pt x="1048" y="1432"/>
                  </a:cubicBezTo>
                  <a:cubicBezTo>
                    <a:pt x="1048" y="1425"/>
                    <a:pt x="1042" y="1419"/>
                    <a:pt x="1035" y="1419"/>
                  </a:cubicBezTo>
                  <a:cubicBezTo>
                    <a:pt x="1028" y="1419"/>
                    <a:pt x="1023" y="1425"/>
                    <a:pt x="1023" y="1432"/>
                  </a:cubicBezTo>
                  <a:cubicBezTo>
                    <a:pt x="1023" y="1439"/>
                    <a:pt x="1028" y="1445"/>
                    <a:pt x="1035" y="1445"/>
                  </a:cubicBezTo>
                  <a:close/>
                  <a:moveTo>
                    <a:pt x="1075" y="1445"/>
                  </a:moveTo>
                  <a:cubicBezTo>
                    <a:pt x="1082" y="1445"/>
                    <a:pt x="1087" y="1439"/>
                    <a:pt x="1087" y="1432"/>
                  </a:cubicBezTo>
                  <a:cubicBezTo>
                    <a:pt x="1087" y="1425"/>
                    <a:pt x="1082" y="1419"/>
                    <a:pt x="1075" y="1419"/>
                  </a:cubicBezTo>
                  <a:cubicBezTo>
                    <a:pt x="1068" y="1419"/>
                    <a:pt x="1062" y="1425"/>
                    <a:pt x="1062" y="1432"/>
                  </a:cubicBezTo>
                  <a:cubicBezTo>
                    <a:pt x="1062" y="1439"/>
                    <a:pt x="1068" y="1445"/>
                    <a:pt x="1075" y="1445"/>
                  </a:cubicBezTo>
                  <a:close/>
                  <a:moveTo>
                    <a:pt x="1114" y="1445"/>
                  </a:moveTo>
                  <a:cubicBezTo>
                    <a:pt x="1121" y="1445"/>
                    <a:pt x="1127" y="1439"/>
                    <a:pt x="1127" y="1432"/>
                  </a:cubicBezTo>
                  <a:cubicBezTo>
                    <a:pt x="1127" y="1425"/>
                    <a:pt x="1121" y="1419"/>
                    <a:pt x="1114" y="1419"/>
                  </a:cubicBezTo>
                  <a:cubicBezTo>
                    <a:pt x="1107" y="1419"/>
                    <a:pt x="1101" y="1425"/>
                    <a:pt x="1101" y="1432"/>
                  </a:cubicBezTo>
                  <a:cubicBezTo>
                    <a:pt x="1101" y="1439"/>
                    <a:pt x="1107" y="1445"/>
                    <a:pt x="1114" y="1445"/>
                  </a:cubicBezTo>
                  <a:close/>
                  <a:moveTo>
                    <a:pt x="1154" y="1445"/>
                  </a:moveTo>
                  <a:cubicBezTo>
                    <a:pt x="1161" y="1445"/>
                    <a:pt x="1166" y="1439"/>
                    <a:pt x="1166" y="1432"/>
                  </a:cubicBezTo>
                  <a:cubicBezTo>
                    <a:pt x="1166" y="1425"/>
                    <a:pt x="1161" y="1419"/>
                    <a:pt x="1154" y="1419"/>
                  </a:cubicBezTo>
                  <a:cubicBezTo>
                    <a:pt x="1146" y="1419"/>
                    <a:pt x="1141" y="1425"/>
                    <a:pt x="1141" y="1432"/>
                  </a:cubicBezTo>
                  <a:cubicBezTo>
                    <a:pt x="1141" y="1439"/>
                    <a:pt x="1146" y="1445"/>
                    <a:pt x="1154" y="1445"/>
                  </a:cubicBezTo>
                  <a:close/>
                  <a:moveTo>
                    <a:pt x="1193" y="1419"/>
                  </a:moveTo>
                  <a:cubicBezTo>
                    <a:pt x="1186" y="1419"/>
                    <a:pt x="1180" y="1425"/>
                    <a:pt x="1180" y="1432"/>
                  </a:cubicBezTo>
                  <a:cubicBezTo>
                    <a:pt x="1180" y="1439"/>
                    <a:pt x="1186" y="1445"/>
                    <a:pt x="1193" y="1445"/>
                  </a:cubicBezTo>
                  <a:cubicBezTo>
                    <a:pt x="1200" y="1445"/>
                    <a:pt x="1206" y="1439"/>
                    <a:pt x="1206" y="1432"/>
                  </a:cubicBezTo>
                  <a:cubicBezTo>
                    <a:pt x="1206" y="1425"/>
                    <a:pt x="1200" y="1419"/>
                    <a:pt x="1193" y="1419"/>
                  </a:cubicBezTo>
                  <a:close/>
                  <a:moveTo>
                    <a:pt x="1903" y="1419"/>
                  </a:moveTo>
                  <a:cubicBezTo>
                    <a:pt x="1896" y="1419"/>
                    <a:pt x="1890" y="1425"/>
                    <a:pt x="1890" y="1432"/>
                  </a:cubicBezTo>
                  <a:cubicBezTo>
                    <a:pt x="1890" y="1439"/>
                    <a:pt x="1896" y="1445"/>
                    <a:pt x="1903" y="1445"/>
                  </a:cubicBezTo>
                  <a:cubicBezTo>
                    <a:pt x="1910" y="1445"/>
                    <a:pt x="1915" y="1439"/>
                    <a:pt x="1915" y="1432"/>
                  </a:cubicBezTo>
                  <a:cubicBezTo>
                    <a:pt x="1915" y="1425"/>
                    <a:pt x="1910" y="1419"/>
                    <a:pt x="1903" y="1419"/>
                  </a:cubicBezTo>
                  <a:close/>
                  <a:moveTo>
                    <a:pt x="1942" y="1445"/>
                  </a:moveTo>
                  <a:cubicBezTo>
                    <a:pt x="1949" y="1445"/>
                    <a:pt x="1955" y="1439"/>
                    <a:pt x="1955" y="1432"/>
                  </a:cubicBezTo>
                  <a:cubicBezTo>
                    <a:pt x="1955" y="1425"/>
                    <a:pt x="1949" y="1419"/>
                    <a:pt x="1942" y="1419"/>
                  </a:cubicBezTo>
                  <a:cubicBezTo>
                    <a:pt x="1935" y="1419"/>
                    <a:pt x="1929" y="1425"/>
                    <a:pt x="1929" y="1432"/>
                  </a:cubicBezTo>
                  <a:cubicBezTo>
                    <a:pt x="1929" y="1439"/>
                    <a:pt x="1935" y="1445"/>
                    <a:pt x="1942" y="1445"/>
                  </a:cubicBezTo>
                  <a:close/>
                  <a:moveTo>
                    <a:pt x="1981" y="1445"/>
                  </a:moveTo>
                  <a:cubicBezTo>
                    <a:pt x="1988" y="1445"/>
                    <a:pt x="1994" y="1439"/>
                    <a:pt x="1994" y="1432"/>
                  </a:cubicBezTo>
                  <a:cubicBezTo>
                    <a:pt x="1994" y="1425"/>
                    <a:pt x="1988" y="1419"/>
                    <a:pt x="1981" y="1419"/>
                  </a:cubicBezTo>
                  <a:cubicBezTo>
                    <a:pt x="1974" y="1419"/>
                    <a:pt x="1969" y="1425"/>
                    <a:pt x="1969" y="1432"/>
                  </a:cubicBezTo>
                  <a:cubicBezTo>
                    <a:pt x="1969" y="1439"/>
                    <a:pt x="1974" y="1445"/>
                    <a:pt x="1981" y="1445"/>
                  </a:cubicBezTo>
                  <a:close/>
                  <a:moveTo>
                    <a:pt x="2888" y="1419"/>
                  </a:moveTo>
                  <a:cubicBezTo>
                    <a:pt x="2881" y="1419"/>
                    <a:pt x="2875" y="1425"/>
                    <a:pt x="2875" y="1432"/>
                  </a:cubicBezTo>
                  <a:cubicBezTo>
                    <a:pt x="2875" y="1439"/>
                    <a:pt x="2881" y="1445"/>
                    <a:pt x="2888" y="1445"/>
                  </a:cubicBezTo>
                  <a:cubicBezTo>
                    <a:pt x="2895" y="1445"/>
                    <a:pt x="2901" y="1439"/>
                    <a:pt x="2901" y="1432"/>
                  </a:cubicBezTo>
                  <a:cubicBezTo>
                    <a:pt x="2901" y="1425"/>
                    <a:pt x="2895" y="1419"/>
                    <a:pt x="2888" y="1419"/>
                  </a:cubicBezTo>
                  <a:close/>
                  <a:moveTo>
                    <a:pt x="2928" y="1419"/>
                  </a:moveTo>
                  <a:cubicBezTo>
                    <a:pt x="2921" y="1419"/>
                    <a:pt x="2915" y="1425"/>
                    <a:pt x="2915" y="1432"/>
                  </a:cubicBezTo>
                  <a:cubicBezTo>
                    <a:pt x="2915" y="1439"/>
                    <a:pt x="2921" y="1445"/>
                    <a:pt x="2928" y="1445"/>
                  </a:cubicBezTo>
                  <a:cubicBezTo>
                    <a:pt x="2935" y="1445"/>
                    <a:pt x="2940" y="1439"/>
                    <a:pt x="2940" y="1432"/>
                  </a:cubicBezTo>
                  <a:cubicBezTo>
                    <a:pt x="2940" y="1425"/>
                    <a:pt x="2935" y="1419"/>
                    <a:pt x="2928" y="1419"/>
                  </a:cubicBezTo>
                  <a:close/>
                  <a:moveTo>
                    <a:pt x="2967" y="1445"/>
                  </a:moveTo>
                  <a:cubicBezTo>
                    <a:pt x="2974" y="1445"/>
                    <a:pt x="2980" y="1439"/>
                    <a:pt x="2980" y="1432"/>
                  </a:cubicBezTo>
                  <a:cubicBezTo>
                    <a:pt x="2980" y="1425"/>
                    <a:pt x="2974" y="1419"/>
                    <a:pt x="2967" y="1419"/>
                  </a:cubicBezTo>
                  <a:cubicBezTo>
                    <a:pt x="2960" y="1419"/>
                    <a:pt x="2954" y="1425"/>
                    <a:pt x="2954" y="1432"/>
                  </a:cubicBezTo>
                  <a:cubicBezTo>
                    <a:pt x="2954" y="1439"/>
                    <a:pt x="2960" y="1445"/>
                    <a:pt x="2967" y="1445"/>
                  </a:cubicBezTo>
                  <a:close/>
                  <a:moveTo>
                    <a:pt x="3006" y="1419"/>
                  </a:moveTo>
                  <a:cubicBezTo>
                    <a:pt x="2999" y="1419"/>
                    <a:pt x="2994" y="1425"/>
                    <a:pt x="2994" y="1432"/>
                  </a:cubicBezTo>
                  <a:cubicBezTo>
                    <a:pt x="2994" y="1439"/>
                    <a:pt x="2999" y="1445"/>
                    <a:pt x="3006" y="1445"/>
                  </a:cubicBezTo>
                  <a:cubicBezTo>
                    <a:pt x="3014" y="1445"/>
                    <a:pt x="3019" y="1439"/>
                    <a:pt x="3019" y="1432"/>
                  </a:cubicBezTo>
                  <a:cubicBezTo>
                    <a:pt x="3019" y="1425"/>
                    <a:pt x="3014" y="1419"/>
                    <a:pt x="3006" y="1419"/>
                  </a:cubicBezTo>
                  <a:close/>
                  <a:moveTo>
                    <a:pt x="3046" y="1419"/>
                  </a:moveTo>
                  <a:cubicBezTo>
                    <a:pt x="3039" y="1419"/>
                    <a:pt x="3033" y="1425"/>
                    <a:pt x="3033" y="1432"/>
                  </a:cubicBezTo>
                  <a:cubicBezTo>
                    <a:pt x="3033" y="1439"/>
                    <a:pt x="3039" y="1445"/>
                    <a:pt x="3046" y="1445"/>
                  </a:cubicBezTo>
                  <a:cubicBezTo>
                    <a:pt x="3053" y="1445"/>
                    <a:pt x="3059" y="1439"/>
                    <a:pt x="3059" y="1432"/>
                  </a:cubicBezTo>
                  <a:cubicBezTo>
                    <a:pt x="3059" y="1425"/>
                    <a:pt x="3053" y="1419"/>
                    <a:pt x="3046" y="1419"/>
                  </a:cubicBezTo>
                  <a:close/>
                  <a:moveTo>
                    <a:pt x="3085" y="1445"/>
                  </a:moveTo>
                  <a:cubicBezTo>
                    <a:pt x="3092" y="1445"/>
                    <a:pt x="3098" y="1439"/>
                    <a:pt x="3098" y="1432"/>
                  </a:cubicBezTo>
                  <a:cubicBezTo>
                    <a:pt x="3098" y="1425"/>
                    <a:pt x="3092" y="1419"/>
                    <a:pt x="3085" y="1419"/>
                  </a:cubicBezTo>
                  <a:cubicBezTo>
                    <a:pt x="3078" y="1419"/>
                    <a:pt x="3073" y="1425"/>
                    <a:pt x="3073" y="1432"/>
                  </a:cubicBezTo>
                  <a:cubicBezTo>
                    <a:pt x="3073" y="1439"/>
                    <a:pt x="3078" y="1445"/>
                    <a:pt x="3085" y="1445"/>
                  </a:cubicBezTo>
                  <a:close/>
                  <a:moveTo>
                    <a:pt x="3125" y="1419"/>
                  </a:moveTo>
                  <a:cubicBezTo>
                    <a:pt x="3118" y="1419"/>
                    <a:pt x="3112" y="1425"/>
                    <a:pt x="3112" y="1432"/>
                  </a:cubicBezTo>
                  <a:cubicBezTo>
                    <a:pt x="3112" y="1439"/>
                    <a:pt x="3118" y="1445"/>
                    <a:pt x="3125" y="1445"/>
                  </a:cubicBezTo>
                  <a:cubicBezTo>
                    <a:pt x="3132" y="1445"/>
                    <a:pt x="3137" y="1439"/>
                    <a:pt x="3137" y="1432"/>
                  </a:cubicBezTo>
                  <a:cubicBezTo>
                    <a:pt x="3137" y="1425"/>
                    <a:pt x="3132" y="1419"/>
                    <a:pt x="3125" y="1419"/>
                  </a:cubicBezTo>
                  <a:close/>
                  <a:moveTo>
                    <a:pt x="3164" y="1445"/>
                  </a:moveTo>
                  <a:cubicBezTo>
                    <a:pt x="3171" y="1445"/>
                    <a:pt x="3177" y="1439"/>
                    <a:pt x="3177" y="1432"/>
                  </a:cubicBezTo>
                  <a:cubicBezTo>
                    <a:pt x="3177" y="1425"/>
                    <a:pt x="3171" y="1419"/>
                    <a:pt x="3164" y="1419"/>
                  </a:cubicBezTo>
                  <a:cubicBezTo>
                    <a:pt x="3157" y="1419"/>
                    <a:pt x="3151" y="1425"/>
                    <a:pt x="3151" y="1432"/>
                  </a:cubicBezTo>
                  <a:cubicBezTo>
                    <a:pt x="3151" y="1439"/>
                    <a:pt x="3157" y="1445"/>
                    <a:pt x="3164" y="1445"/>
                  </a:cubicBezTo>
                  <a:close/>
                  <a:moveTo>
                    <a:pt x="3204" y="1445"/>
                  </a:moveTo>
                  <a:cubicBezTo>
                    <a:pt x="3211" y="1445"/>
                    <a:pt x="3216" y="1439"/>
                    <a:pt x="3216" y="1432"/>
                  </a:cubicBezTo>
                  <a:cubicBezTo>
                    <a:pt x="3216" y="1425"/>
                    <a:pt x="3211" y="1419"/>
                    <a:pt x="3204" y="1419"/>
                  </a:cubicBezTo>
                  <a:cubicBezTo>
                    <a:pt x="3197" y="1419"/>
                    <a:pt x="3191" y="1425"/>
                    <a:pt x="3191" y="1432"/>
                  </a:cubicBezTo>
                  <a:cubicBezTo>
                    <a:pt x="3191" y="1439"/>
                    <a:pt x="3197" y="1445"/>
                    <a:pt x="3204" y="1445"/>
                  </a:cubicBezTo>
                  <a:close/>
                  <a:moveTo>
                    <a:pt x="3243" y="1419"/>
                  </a:moveTo>
                  <a:cubicBezTo>
                    <a:pt x="3236" y="1419"/>
                    <a:pt x="3230" y="1425"/>
                    <a:pt x="3230" y="1432"/>
                  </a:cubicBezTo>
                  <a:cubicBezTo>
                    <a:pt x="3230" y="1439"/>
                    <a:pt x="3236" y="1445"/>
                    <a:pt x="3243" y="1445"/>
                  </a:cubicBezTo>
                  <a:cubicBezTo>
                    <a:pt x="3250" y="1445"/>
                    <a:pt x="3256" y="1439"/>
                    <a:pt x="3256" y="1432"/>
                  </a:cubicBezTo>
                  <a:cubicBezTo>
                    <a:pt x="3256" y="1425"/>
                    <a:pt x="3250" y="1419"/>
                    <a:pt x="3243" y="1419"/>
                  </a:cubicBezTo>
                  <a:close/>
                  <a:moveTo>
                    <a:pt x="996" y="1484"/>
                  </a:moveTo>
                  <a:cubicBezTo>
                    <a:pt x="1003" y="1484"/>
                    <a:pt x="1009" y="1478"/>
                    <a:pt x="1009" y="1471"/>
                  </a:cubicBezTo>
                  <a:cubicBezTo>
                    <a:pt x="1009" y="1464"/>
                    <a:pt x="1003" y="1459"/>
                    <a:pt x="996" y="1459"/>
                  </a:cubicBezTo>
                  <a:cubicBezTo>
                    <a:pt x="989" y="1459"/>
                    <a:pt x="983" y="1464"/>
                    <a:pt x="983" y="1471"/>
                  </a:cubicBezTo>
                  <a:cubicBezTo>
                    <a:pt x="983" y="1478"/>
                    <a:pt x="989" y="1484"/>
                    <a:pt x="996" y="1484"/>
                  </a:cubicBezTo>
                  <a:close/>
                  <a:moveTo>
                    <a:pt x="1035" y="1484"/>
                  </a:moveTo>
                  <a:cubicBezTo>
                    <a:pt x="1042" y="1484"/>
                    <a:pt x="1048" y="1478"/>
                    <a:pt x="1048" y="1471"/>
                  </a:cubicBezTo>
                  <a:cubicBezTo>
                    <a:pt x="1048" y="1464"/>
                    <a:pt x="1042" y="1459"/>
                    <a:pt x="1035" y="1459"/>
                  </a:cubicBezTo>
                  <a:cubicBezTo>
                    <a:pt x="1028" y="1459"/>
                    <a:pt x="1023" y="1464"/>
                    <a:pt x="1023" y="1471"/>
                  </a:cubicBezTo>
                  <a:cubicBezTo>
                    <a:pt x="1023" y="1478"/>
                    <a:pt x="1028" y="1484"/>
                    <a:pt x="1035" y="1484"/>
                  </a:cubicBezTo>
                  <a:close/>
                  <a:moveTo>
                    <a:pt x="1075" y="1484"/>
                  </a:moveTo>
                  <a:cubicBezTo>
                    <a:pt x="1082" y="1484"/>
                    <a:pt x="1087" y="1478"/>
                    <a:pt x="1087" y="1471"/>
                  </a:cubicBezTo>
                  <a:cubicBezTo>
                    <a:pt x="1087" y="1464"/>
                    <a:pt x="1082" y="1459"/>
                    <a:pt x="1075" y="1459"/>
                  </a:cubicBezTo>
                  <a:cubicBezTo>
                    <a:pt x="1068" y="1459"/>
                    <a:pt x="1062" y="1464"/>
                    <a:pt x="1062" y="1471"/>
                  </a:cubicBezTo>
                  <a:cubicBezTo>
                    <a:pt x="1062" y="1478"/>
                    <a:pt x="1068" y="1484"/>
                    <a:pt x="1075" y="1484"/>
                  </a:cubicBezTo>
                  <a:close/>
                  <a:moveTo>
                    <a:pt x="1114" y="1459"/>
                  </a:moveTo>
                  <a:cubicBezTo>
                    <a:pt x="1107" y="1459"/>
                    <a:pt x="1101" y="1464"/>
                    <a:pt x="1101" y="1471"/>
                  </a:cubicBezTo>
                  <a:cubicBezTo>
                    <a:pt x="1101" y="1478"/>
                    <a:pt x="1107" y="1484"/>
                    <a:pt x="1114" y="1484"/>
                  </a:cubicBezTo>
                  <a:cubicBezTo>
                    <a:pt x="1121" y="1484"/>
                    <a:pt x="1127" y="1478"/>
                    <a:pt x="1127" y="1471"/>
                  </a:cubicBezTo>
                  <a:cubicBezTo>
                    <a:pt x="1127" y="1464"/>
                    <a:pt x="1121" y="1459"/>
                    <a:pt x="1114" y="1459"/>
                  </a:cubicBezTo>
                  <a:close/>
                  <a:moveTo>
                    <a:pt x="1154" y="1459"/>
                  </a:moveTo>
                  <a:cubicBezTo>
                    <a:pt x="1146" y="1459"/>
                    <a:pt x="1141" y="1464"/>
                    <a:pt x="1141" y="1471"/>
                  </a:cubicBezTo>
                  <a:cubicBezTo>
                    <a:pt x="1141" y="1478"/>
                    <a:pt x="1146" y="1484"/>
                    <a:pt x="1154" y="1484"/>
                  </a:cubicBezTo>
                  <a:cubicBezTo>
                    <a:pt x="1161" y="1484"/>
                    <a:pt x="1166" y="1478"/>
                    <a:pt x="1166" y="1471"/>
                  </a:cubicBezTo>
                  <a:cubicBezTo>
                    <a:pt x="1166" y="1464"/>
                    <a:pt x="1161" y="1459"/>
                    <a:pt x="1154" y="1459"/>
                  </a:cubicBezTo>
                  <a:close/>
                  <a:moveTo>
                    <a:pt x="1903" y="1459"/>
                  </a:moveTo>
                  <a:cubicBezTo>
                    <a:pt x="1896" y="1459"/>
                    <a:pt x="1890" y="1464"/>
                    <a:pt x="1890" y="1471"/>
                  </a:cubicBezTo>
                  <a:cubicBezTo>
                    <a:pt x="1890" y="1478"/>
                    <a:pt x="1896" y="1484"/>
                    <a:pt x="1903" y="1484"/>
                  </a:cubicBezTo>
                  <a:cubicBezTo>
                    <a:pt x="1910" y="1484"/>
                    <a:pt x="1915" y="1478"/>
                    <a:pt x="1915" y="1471"/>
                  </a:cubicBezTo>
                  <a:cubicBezTo>
                    <a:pt x="1915" y="1464"/>
                    <a:pt x="1910" y="1459"/>
                    <a:pt x="1903" y="1459"/>
                  </a:cubicBezTo>
                  <a:close/>
                  <a:moveTo>
                    <a:pt x="1942" y="1459"/>
                  </a:moveTo>
                  <a:cubicBezTo>
                    <a:pt x="1935" y="1459"/>
                    <a:pt x="1929" y="1464"/>
                    <a:pt x="1929" y="1471"/>
                  </a:cubicBezTo>
                  <a:cubicBezTo>
                    <a:pt x="1929" y="1478"/>
                    <a:pt x="1935" y="1484"/>
                    <a:pt x="1942" y="1484"/>
                  </a:cubicBezTo>
                  <a:cubicBezTo>
                    <a:pt x="1949" y="1484"/>
                    <a:pt x="1955" y="1478"/>
                    <a:pt x="1955" y="1471"/>
                  </a:cubicBezTo>
                  <a:cubicBezTo>
                    <a:pt x="1955" y="1464"/>
                    <a:pt x="1949" y="1459"/>
                    <a:pt x="1942" y="1459"/>
                  </a:cubicBezTo>
                  <a:close/>
                  <a:moveTo>
                    <a:pt x="1981" y="1459"/>
                  </a:moveTo>
                  <a:cubicBezTo>
                    <a:pt x="1974" y="1459"/>
                    <a:pt x="1969" y="1464"/>
                    <a:pt x="1969" y="1471"/>
                  </a:cubicBezTo>
                  <a:cubicBezTo>
                    <a:pt x="1969" y="1478"/>
                    <a:pt x="1974" y="1484"/>
                    <a:pt x="1981" y="1484"/>
                  </a:cubicBezTo>
                  <a:cubicBezTo>
                    <a:pt x="1988" y="1484"/>
                    <a:pt x="1994" y="1478"/>
                    <a:pt x="1994" y="1471"/>
                  </a:cubicBezTo>
                  <a:cubicBezTo>
                    <a:pt x="1994" y="1464"/>
                    <a:pt x="1988" y="1459"/>
                    <a:pt x="1981" y="1459"/>
                  </a:cubicBezTo>
                  <a:close/>
                  <a:moveTo>
                    <a:pt x="2888" y="1459"/>
                  </a:moveTo>
                  <a:cubicBezTo>
                    <a:pt x="2881" y="1459"/>
                    <a:pt x="2875" y="1464"/>
                    <a:pt x="2875" y="1471"/>
                  </a:cubicBezTo>
                  <a:cubicBezTo>
                    <a:pt x="2875" y="1478"/>
                    <a:pt x="2881" y="1484"/>
                    <a:pt x="2888" y="1484"/>
                  </a:cubicBezTo>
                  <a:cubicBezTo>
                    <a:pt x="2895" y="1484"/>
                    <a:pt x="2901" y="1478"/>
                    <a:pt x="2901" y="1471"/>
                  </a:cubicBezTo>
                  <a:cubicBezTo>
                    <a:pt x="2901" y="1464"/>
                    <a:pt x="2895" y="1459"/>
                    <a:pt x="2888" y="1459"/>
                  </a:cubicBezTo>
                  <a:close/>
                  <a:moveTo>
                    <a:pt x="2928" y="1459"/>
                  </a:moveTo>
                  <a:cubicBezTo>
                    <a:pt x="2921" y="1459"/>
                    <a:pt x="2915" y="1464"/>
                    <a:pt x="2915" y="1471"/>
                  </a:cubicBezTo>
                  <a:cubicBezTo>
                    <a:pt x="2915" y="1478"/>
                    <a:pt x="2921" y="1484"/>
                    <a:pt x="2928" y="1484"/>
                  </a:cubicBezTo>
                  <a:cubicBezTo>
                    <a:pt x="2935" y="1484"/>
                    <a:pt x="2940" y="1478"/>
                    <a:pt x="2940" y="1471"/>
                  </a:cubicBezTo>
                  <a:cubicBezTo>
                    <a:pt x="2940" y="1464"/>
                    <a:pt x="2935" y="1459"/>
                    <a:pt x="2928" y="1459"/>
                  </a:cubicBezTo>
                  <a:close/>
                  <a:moveTo>
                    <a:pt x="2967" y="1459"/>
                  </a:moveTo>
                  <a:cubicBezTo>
                    <a:pt x="2960" y="1459"/>
                    <a:pt x="2954" y="1464"/>
                    <a:pt x="2954" y="1471"/>
                  </a:cubicBezTo>
                  <a:cubicBezTo>
                    <a:pt x="2954" y="1478"/>
                    <a:pt x="2960" y="1484"/>
                    <a:pt x="2967" y="1484"/>
                  </a:cubicBezTo>
                  <a:cubicBezTo>
                    <a:pt x="2974" y="1484"/>
                    <a:pt x="2980" y="1478"/>
                    <a:pt x="2980" y="1471"/>
                  </a:cubicBezTo>
                  <a:cubicBezTo>
                    <a:pt x="2980" y="1464"/>
                    <a:pt x="2974" y="1459"/>
                    <a:pt x="2967" y="1459"/>
                  </a:cubicBezTo>
                  <a:close/>
                  <a:moveTo>
                    <a:pt x="3085" y="1459"/>
                  </a:moveTo>
                  <a:cubicBezTo>
                    <a:pt x="3078" y="1459"/>
                    <a:pt x="3073" y="1464"/>
                    <a:pt x="3073" y="1471"/>
                  </a:cubicBezTo>
                  <a:cubicBezTo>
                    <a:pt x="3073" y="1478"/>
                    <a:pt x="3078" y="1484"/>
                    <a:pt x="3085" y="1484"/>
                  </a:cubicBezTo>
                  <a:cubicBezTo>
                    <a:pt x="3092" y="1484"/>
                    <a:pt x="3098" y="1478"/>
                    <a:pt x="3098" y="1471"/>
                  </a:cubicBezTo>
                  <a:cubicBezTo>
                    <a:pt x="3098" y="1464"/>
                    <a:pt x="3092" y="1459"/>
                    <a:pt x="3085" y="1459"/>
                  </a:cubicBezTo>
                  <a:close/>
                  <a:moveTo>
                    <a:pt x="3125" y="1459"/>
                  </a:moveTo>
                  <a:cubicBezTo>
                    <a:pt x="3118" y="1459"/>
                    <a:pt x="3112" y="1464"/>
                    <a:pt x="3112" y="1471"/>
                  </a:cubicBezTo>
                  <a:cubicBezTo>
                    <a:pt x="3112" y="1478"/>
                    <a:pt x="3118" y="1484"/>
                    <a:pt x="3125" y="1484"/>
                  </a:cubicBezTo>
                  <a:cubicBezTo>
                    <a:pt x="3132" y="1484"/>
                    <a:pt x="3137" y="1478"/>
                    <a:pt x="3137" y="1471"/>
                  </a:cubicBezTo>
                  <a:cubicBezTo>
                    <a:pt x="3137" y="1464"/>
                    <a:pt x="3132" y="1459"/>
                    <a:pt x="3125" y="1459"/>
                  </a:cubicBezTo>
                  <a:close/>
                  <a:moveTo>
                    <a:pt x="3164" y="1459"/>
                  </a:moveTo>
                  <a:cubicBezTo>
                    <a:pt x="3157" y="1459"/>
                    <a:pt x="3151" y="1464"/>
                    <a:pt x="3151" y="1471"/>
                  </a:cubicBezTo>
                  <a:cubicBezTo>
                    <a:pt x="3151" y="1478"/>
                    <a:pt x="3157" y="1484"/>
                    <a:pt x="3164" y="1484"/>
                  </a:cubicBezTo>
                  <a:cubicBezTo>
                    <a:pt x="3171" y="1484"/>
                    <a:pt x="3177" y="1478"/>
                    <a:pt x="3177" y="1471"/>
                  </a:cubicBezTo>
                  <a:cubicBezTo>
                    <a:pt x="3177" y="1464"/>
                    <a:pt x="3171" y="1459"/>
                    <a:pt x="3164" y="1459"/>
                  </a:cubicBezTo>
                  <a:close/>
                  <a:moveTo>
                    <a:pt x="3204" y="1459"/>
                  </a:moveTo>
                  <a:cubicBezTo>
                    <a:pt x="3197" y="1459"/>
                    <a:pt x="3191" y="1464"/>
                    <a:pt x="3191" y="1471"/>
                  </a:cubicBezTo>
                  <a:cubicBezTo>
                    <a:pt x="3191" y="1478"/>
                    <a:pt x="3197" y="1484"/>
                    <a:pt x="3204" y="1484"/>
                  </a:cubicBezTo>
                  <a:cubicBezTo>
                    <a:pt x="3211" y="1484"/>
                    <a:pt x="3216" y="1478"/>
                    <a:pt x="3216" y="1471"/>
                  </a:cubicBezTo>
                  <a:cubicBezTo>
                    <a:pt x="3216" y="1464"/>
                    <a:pt x="3211" y="1459"/>
                    <a:pt x="3204" y="1459"/>
                  </a:cubicBezTo>
                  <a:close/>
                  <a:moveTo>
                    <a:pt x="3243" y="1466"/>
                  </a:moveTo>
                  <a:cubicBezTo>
                    <a:pt x="3240" y="1466"/>
                    <a:pt x="3238" y="1469"/>
                    <a:pt x="3238" y="1471"/>
                  </a:cubicBezTo>
                  <a:cubicBezTo>
                    <a:pt x="3238" y="1474"/>
                    <a:pt x="3240" y="1476"/>
                    <a:pt x="3243" y="1476"/>
                  </a:cubicBezTo>
                  <a:cubicBezTo>
                    <a:pt x="3246" y="1476"/>
                    <a:pt x="3248" y="1474"/>
                    <a:pt x="3248" y="1471"/>
                  </a:cubicBezTo>
                  <a:cubicBezTo>
                    <a:pt x="3248" y="1469"/>
                    <a:pt x="3246" y="1466"/>
                    <a:pt x="3243" y="1466"/>
                  </a:cubicBezTo>
                  <a:close/>
                  <a:moveTo>
                    <a:pt x="996" y="1498"/>
                  </a:moveTo>
                  <a:cubicBezTo>
                    <a:pt x="989" y="1498"/>
                    <a:pt x="983" y="1504"/>
                    <a:pt x="983" y="1511"/>
                  </a:cubicBezTo>
                  <a:cubicBezTo>
                    <a:pt x="983" y="1518"/>
                    <a:pt x="989" y="1524"/>
                    <a:pt x="996" y="1524"/>
                  </a:cubicBezTo>
                  <a:cubicBezTo>
                    <a:pt x="1003" y="1524"/>
                    <a:pt x="1009" y="1518"/>
                    <a:pt x="1009" y="1511"/>
                  </a:cubicBezTo>
                  <a:cubicBezTo>
                    <a:pt x="1009" y="1504"/>
                    <a:pt x="1003" y="1498"/>
                    <a:pt x="996" y="1498"/>
                  </a:cubicBezTo>
                  <a:close/>
                  <a:moveTo>
                    <a:pt x="1035" y="1498"/>
                  </a:moveTo>
                  <a:cubicBezTo>
                    <a:pt x="1028" y="1498"/>
                    <a:pt x="1023" y="1504"/>
                    <a:pt x="1023" y="1511"/>
                  </a:cubicBezTo>
                  <a:cubicBezTo>
                    <a:pt x="1023" y="1518"/>
                    <a:pt x="1028" y="1524"/>
                    <a:pt x="1035" y="1524"/>
                  </a:cubicBezTo>
                  <a:cubicBezTo>
                    <a:pt x="1042" y="1524"/>
                    <a:pt x="1048" y="1518"/>
                    <a:pt x="1048" y="1511"/>
                  </a:cubicBezTo>
                  <a:cubicBezTo>
                    <a:pt x="1048" y="1504"/>
                    <a:pt x="1042" y="1498"/>
                    <a:pt x="1035" y="1498"/>
                  </a:cubicBezTo>
                  <a:close/>
                  <a:moveTo>
                    <a:pt x="1075" y="1498"/>
                  </a:moveTo>
                  <a:cubicBezTo>
                    <a:pt x="1068" y="1498"/>
                    <a:pt x="1062" y="1504"/>
                    <a:pt x="1062" y="1511"/>
                  </a:cubicBezTo>
                  <a:cubicBezTo>
                    <a:pt x="1062" y="1518"/>
                    <a:pt x="1068" y="1524"/>
                    <a:pt x="1075" y="1524"/>
                  </a:cubicBezTo>
                  <a:cubicBezTo>
                    <a:pt x="1082" y="1524"/>
                    <a:pt x="1087" y="1518"/>
                    <a:pt x="1087" y="1511"/>
                  </a:cubicBezTo>
                  <a:cubicBezTo>
                    <a:pt x="1087" y="1504"/>
                    <a:pt x="1082" y="1498"/>
                    <a:pt x="1075" y="1498"/>
                  </a:cubicBezTo>
                  <a:close/>
                  <a:moveTo>
                    <a:pt x="3085" y="1498"/>
                  </a:moveTo>
                  <a:cubicBezTo>
                    <a:pt x="3078" y="1498"/>
                    <a:pt x="3073" y="1504"/>
                    <a:pt x="3073" y="1511"/>
                  </a:cubicBezTo>
                  <a:cubicBezTo>
                    <a:pt x="3073" y="1518"/>
                    <a:pt x="3078" y="1524"/>
                    <a:pt x="3085" y="1524"/>
                  </a:cubicBezTo>
                  <a:cubicBezTo>
                    <a:pt x="3092" y="1524"/>
                    <a:pt x="3098" y="1518"/>
                    <a:pt x="3098" y="1511"/>
                  </a:cubicBezTo>
                  <a:cubicBezTo>
                    <a:pt x="3098" y="1504"/>
                    <a:pt x="3092" y="1498"/>
                    <a:pt x="3085" y="1498"/>
                  </a:cubicBezTo>
                  <a:close/>
                  <a:moveTo>
                    <a:pt x="3125" y="1498"/>
                  </a:moveTo>
                  <a:cubicBezTo>
                    <a:pt x="3118" y="1498"/>
                    <a:pt x="3112" y="1504"/>
                    <a:pt x="3112" y="1511"/>
                  </a:cubicBezTo>
                  <a:cubicBezTo>
                    <a:pt x="3112" y="1518"/>
                    <a:pt x="3118" y="1524"/>
                    <a:pt x="3125" y="1524"/>
                  </a:cubicBezTo>
                  <a:cubicBezTo>
                    <a:pt x="3132" y="1524"/>
                    <a:pt x="3137" y="1518"/>
                    <a:pt x="3137" y="1511"/>
                  </a:cubicBezTo>
                  <a:cubicBezTo>
                    <a:pt x="3137" y="1504"/>
                    <a:pt x="3132" y="1498"/>
                    <a:pt x="3125" y="1498"/>
                  </a:cubicBezTo>
                  <a:close/>
                  <a:moveTo>
                    <a:pt x="3164" y="1498"/>
                  </a:moveTo>
                  <a:cubicBezTo>
                    <a:pt x="3157" y="1498"/>
                    <a:pt x="3151" y="1504"/>
                    <a:pt x="3151" y="1511"/>
                  </a:cubicBezTo>
                  <a:cubicBezTo>
                    <a:pt x="3151" y="1518"/>
                    <a:pt x="3157" y="1524"/>
                    <a:pt x="3164" y="1524"/>
                  </a:cubicBezTo>
                  <a:cubicBezTo>
                    <a:pt x="3171" y="1524"/>
                    <a:pt x="3177" y="1518"/>
                    <a:pt x="3177" y="1511"/>
                  </a:cubicBezTo>
                  <a:cubicBezTo>
                    <a:pt x="3177" y="1504"/>
                    <a:pt x="3171" y="1498"/>
                    <a:pt x="3164" y="1498"/>
                  </a:cubicBezTo>
                  <a:close/>
                  <a:moveTo>
                    <a:pt x="3204" y="1498"/>
                  </a:moveTo>
                  <a:cubicBezTo>
                    <a:pt x="3197" y="1498"/>
                    <a:pt x="3191" y="1504"/>
                    <a:pt x="3191" y="1511"/>
                  </a:cubicBezTo>
                  <a:cubicBezTo>
                    <a:pt x="3191" y="1518"/>
                    <a:pt x="3197" y="1524"/>
                    <a:pt x="3204" y="1524"/>
                  </a:cubicBezTo>
                  <a:cubicBezTo>
                    <a:pt x="3211" y="1524"/>
                    <a:pt x="3216" y="1518"/>
                    <a:pt x="3216" y="1511"/>
                  </a:cubicBezTo>
                  <a:cubicBezTo>
                    <a:pt x="3216" y="1504"/>
                    <a:pt x="3211" y="1498"/>
                    <a:pt x="3204" y="1498"/>
                  </a:cubicBezTo>
                  <a:close/>
                  <a:moveTo>
                    <a:pt x="956" y="1537"/>
                  </a:moveTo>
                  <a:cubicBezTo>
                    <a:pt x="949" y="1537"/>
                    <a:pt x="944" y="1543"/>
                    <a:pt x="944" y="1550"/>
                  </a:cubicBezTo>
                  <a:cubicBezTo>
                    <a:pt x="944" y="1557"/>
                    <a:pt x="949" y="1563"/>
                    <a:pt x="956" y="1563"/>
                  </a:cubicBezTo>
                  <a:cubicBezTo>
                    <a:pt x="963" y="1563"/>
                    <a:pt x="969" y="1557"/>
                    <a:pt x="969" y="1550"/>
                  </a:cubicBezTo>
                  <a:cubicBezTo>
                    <a:pt x="969" y="1543"/>
                    <a:pt x="963" y="1537"/>
                    <a:pt x="956" y="1537"/>
                  </a:cubicBezTo>
                  <a:close/>
                  <a:moveTo>
                    <a:pt x="996" y="1537"/>
                  </a:moveTo>
                  <a:cubicBezTo>
                    <a:pt x="989" y="1537"/>
                    <a:pt x="983" y="1543"/>
                    <a:pt x="983" y="1550"/>
                  </a:cubicBezTo>
                  <a:cubicBezTo>
                    <a:pt x="983" y="1557"/>
                    <a:pt x="989" y="1563"/>
                    <a:pt x="996" y="1563"/>
                  </a:cubicBezTo>
                  <a:cubicBezTo>
                    <a:pt x="1003" y="1563"/>
                    <a:pt x="1009" y="1557"/>
                    <a:pt x="1009" y="1550"/>
                  </a:cubicBezTo>
                  <a:cubicBezTo>
                    <a:pt x="1009" y="1543"/>
                    <a:pt x="1003" y="1537"/>
                    <a:pt x="996" y="1537"/>
                  </a:cubicBezTo>
                  <a:close/>
                  <a:moveTo>
                    <a:pt x="1035" y="1537"/>
                  </a:moveTo>
                  <a:cubicBezTo>
                    <a:pt x="1028" y="1537"/>
                    <a:pt x="1023" y="1543"/>
                    <a:pt x="1023" y="1550"/>
                  </a:cubicBezTo>
                  <a:cubicBezTo>
                    <a:pt x="1023" y="1557"/>
                    <a:pt x="1028" y="1563"/>
                    <a:pt x="1035" y="1563"/>
                  </a:cubicBezTo>
                  <a:cubicBezTo>
                    <a:pt x="1042" y="1563"/>
                    <a:pt x="1048" y="1557"/>
                    <a:pt x="1048" y="1550"/>
                  </a:cubicBezTo>
                  <a:cubicBezTo>
                    <a:pt x="1048" y="1543"/>
                    <a:pt x="1042" y="1537"/>
                    <a:pt x="1035" y="1537"/>
                  </a:cubicBezTo>
                  <a:close/>
                  <a:moveTo>
                    <a:pt x="3480" y="1537"/>
                  </a:moveTo>
                  <a:cubicBezTo>
                    <a:pt x="3473" y="1537"/>
                    <a:pt x="3467" y="1543"/>
                    <a:pt x="3467" y="1550"/>
                  </a:cubicBezTo>
                  <a:cubicBezTo>
                    <a:pt x="3467" y="1557"/>
                    <a:pt x="3473" y="1563"/>
                    <a:pt x="3480" y="1563"/>
                  </a:cubicBezTo>
                  <a:cubicBezTo>
                    <a:pt x="3487" y="1563"/>
                    <a:pt x="3492" y="1557"/>
                    <a:pt x="3492" y="1550"/>
                  </a:cubicBezTo>
                  <a:cubicBezTo>
                    <a:pt x="3492" y="1543"/>
                    <a:pt x="3487" y="1537"/>
                    <a:pt x="3480" y="1537"/>
                  </a:cubicBezTo>
                  <a:close/>
                  <a:moveTo>
                    <a:pt x="965" y="1590"/>
                  </a:moveTo>
                  <a:cubicBezTo>
                    <a:pt x="965" y="1585"/>
                    <a:pt x="961" y="1581"/>
                    <a:pt x="956" y="1581"/>
                  </a:cubicBezTo>
                  <a:cubicBezTo>
                    <a:pt x="952" y="1581"/>
                    <a:pt x="948" y="1585"/>
                    <a:pt x="948" y="1590"/>
                  </a:cubicBezTo>
                  <a:cubicBezTo>
                    <a:pt x="948" y="1594"/>
                    <a:pt x="952" y="1598"/>
                    <a:pt x="956" y="1598"/>
                  </a:cubicBezTo>
                  <a:cubicBezTo>
                    <a:pt x="961" y="1598"/>
                    <a:pt x="965" y="1594"/>
                    <a:pt x="965" y="1590"/>
                  </a:cubicBezTo>
                  <a:close/>
                  <a:moveTo>
                    <a:pt x="996" y="1577"/>
                  </a:moveTo>
                  <a:cubicBezTo>
                    <a:pt x="989" y="1577"/>
                    <a:pt x="983" y="1583"/>
                    <a:pt x="983" y="1590"/>
                  </a:cubicBezTo>
                  <a:cubicBezTo>
                    <a:pt x="983" y="1597"/>
                    <a:pt x="989" y="1602"/>
                    <a:pt x="996" y="1602"/>
                  </a:cubicBezTo>
                  <a:cubicBezTo>
                    <a:pt x="1003" y="1602"/>
                    <a:pt x="1009" y="1597"/>
                    <a:pt x="1009" y="1590"/>
                  </a:cubicBezTo>
                  <a:cubicBezTo>
                    <a:pt x="1009" y="1583"/>
                    <a:pt x="1003" y="1577"/>
                    <a:pt x="996" y="1577"/>
                  </a:cubicBezTo>
                  <a:close/>
                  <a:moveTo>
                    <a:pt x="1035" y="1577"/>
                  </a:moveTo>
                  <a:cubicBezTo>
                    <a:pt x="1028" y="1577"/>
                    <a:pt x="1023" y="1583"/>
                    <a:pt x="1023" y="1590"/>
                  </a:cubicBezTo>
                  <a:cubicBezTo>
                    <a:pt x="1023" y="1597"/>
                    <a:pt x="1028" y="1602"/>
                    <a:pt x="1035" y="1602"/>
                  </a:cubicBezTo>
                  <a:cubicBezTo>
                    <a:pt x="1042" y="1602"/>
                    <a:pt x="1048" y="1597"/>
                    <a:pt x="1048" y="1590"/>
                  </a:cubicBezTo>
                  <a:cubicBezTo>
                    <a:pt x="1048" y="1583"/>
                    <a:pt x="1042" y="1577"/>
                    <a:pt x="1035" y="1577"/>
                  </a:cubicBezTo>
                  <a:close/>
                  <a:moveTo>
                    <a:pt x="3440" y="1577"/>
                  </a:moveTo>
                  <a:cubicBezTo>
                    <a:pt x="3433" y="1577"/>
                    <a:pt x="3427" y="1583"/>
                    <a:pt x="3427" y="1590"/>
                  </a:cubicBezTo>
                  <a:cubicBezTo>
                    <a:pt x="3427" y="1597"/>
                    <a:pt x="3433" y="1602"/>
                    <a:pt x="3440" y="1602"/>
                  </a:cubicBezTo>
                  <a:cubicBezTo>
                    <a:pt x="3447" y="1602"/>
                    <a:pt x="3453" y="1597"/>
                    <a:pt x="3453" y="1590"/>
                  </a:cubicBezTo>
                  <a:cubicBezTo>
                    <a:pt x="3453" y="1583"/>
                    <a:pt x="3447" y="1577"/>
                    <a:pt x="3440" y="1577"/>
                  </a:cubicBezTo>
                  <a:close/>
                  <a:moveTo>
                    <a:pt x="944" y="1629"/>
                  </a:moveTo>
                  <a:cubicBezTo>
                    <a:pt x="944" y="1636"/>
                    <a:pt x="949" y="1642"/>
                    <a:pt x="956" y="1642"/>
                  </a:cubicBezTo>
                  <a:cubicBezTo>
                    <a:pt x="963" y="1642"/>
                    <a:pt x="969" y="1636"/>
                    <a:pt x="969" y="1629"/>
                  </a:cubicBezTo>
                  <a:cubicBezTo>
                    <a:pt x="969" y="1622"/>
                    <a:pt x="963" y="1616"/>
                    <a:pt x="956" y="1616"/>
                  </a:cubicBezTo>
                  <a:cubicBezTo>
                    <a:pt x="949" y="1616"/>
                    <a:pt x="944" y="1622"/>
                    <a:pt x="944" y="1629"/>
                  </a:cubicBezTo>
                  <a:close/>
                  <a:moveTo>
                    <a:pt x="996" y="1616"/>
                  </a:moveTo>
                  <a:cubicBezTo>
                    <a:pt x="989" y="1616"/>
                    <a:pt x="983" y="1622"/>
                    <a:pt x="983" y="1629"/>
                  </a:cubicBezTo>
                  <a:cubicBezTo>
                    <a:pt x="983" y="1636"/>
                    <a:pt x="989" y="1642"/>
                    <a:pt x="996" y="1642"/>
                  </a:cubicBezTo>
                  <a:cubicBezTo>
                    <a:pt x="1003" y="1642"/>
                    <a:pt x="1009" y="1636"/>
                    <a:pt x="1009" y="1629"/>
                  </a:cubicBezTo>
                  <a:cubicBezTo>
                    <a:pt x="1009" y="1622"/>
                    <a:pt x="1003" y="1616"/>
                    <a:pt x="996" y="1616"/>
                  </a:cubicBezTo>
                  <a:close/>
                  <a:moveTo>
                    <a:pt x="3401" y="1616"/>
                  </a:moveTo>
                  <a:cubicBezTo>
                    <a:pt x="3394" y="1616"/>
                    <a:pt x="3388" y="1622"/>
                    <a:pt x="3388" y="1629"/>
                  </a:cubicBezTo>
                  <a:cubicBezTo>
                    <a:pt x="3388" y="1636"/>
                    <a:pt x="3394" y="1642"/>
                    <a:pt x="3401" y="1642"/>
                  </a:cubicBezTo>
                  <a:cubicBezTo>
                    <a:pt x="3408" y="1642"/>
                    <a:pt x="3413" y="1636"/>
                    <a:pt x="3413" y="1629"/>
                  </a:cubicBezTo>
                  <a:cubicBezTo>
                    <a:pt x="3413" y="1622"/>
                    <a:pt x="3408" y="1616"/>
                    <a:pt x="3401" y="1616"/>
                  </a:cubicBezTo>
                  <a:close/>
                  <a:moveTo>
                    <a:pt x="956" y="1656"/>
                  </a:moveTo>
                  <a:cubicBezTo>
                    <a:pt x="949" y="1656"/>
                    <a:pt x="944" y="1661"/>
                    <a:pt x="944" y="1668"/>
                  </a:cubicBezTo>
                  <a:cubicBezTo>
                    <a:pt x="944" y="1676"/>
                    <a:pt x="949" y="1681"/>
                    <a:pt x="956" y="1681"/>
                  </a:cubicBezTo>
                  <a:cubicBezTo>
                    <a:pt x="963" y="1681"/>
                    <a:pt x="969" y="1676"/>
                    <a:pt x="969" y="1668"/>
                  </a:cubicBezTo>
                  <a:cubicBezTo>
                    <a:pt x="969" y="1661"/>
                    <a:pt x="963" y="1656"/>
                    <a:pt x="956" y="1656"/>
                  </a:cubicBezTo>
                  <a:close/>
                  <a:moveTo>
                    <a:pt x="996" y="1656"/>
                  </a:moveTo>
                  <a:cubicBezTo>
                    <a:pt x="989" y="1656"/>
                    <a:pt x="983" y="1661"/>
                    <a:pt x="983" y="1668"/>
                  </a:cubicBezTo>
                  <a:cubicBezTo>
                    <a:pt x="983" y="1676"/>
                    <a:pt x="989" y="1681"/>
                    <a:pt x="996" y="1681"/>
                  </a:cubicBezTo>
                  <a:cubicBezTo>
                    <a:pt x="1003" y="1681"/>
                    <a:pt x="1009" y="1676"/>
                    <a:pt x="1009" y="1668"/>
                  </a:cubicBezTo>
                  <a:cubicBezTo>
                    <a:pt x="1009" y="1661"/>
                    <a:pt x="1003" y="1656"/>
                    <a:pt x="996" y="1656"/>
                  </a:cubicBezTo>
                  <a:close/>
                  <a:moveTo>
                    <a:pt x="956" y="1696"/>
                  </a:moveTo>
                  <a:cubicBezTo>
                    <a:pt x="950" y="1696"/>
                    <a:pt x="945" y="1702"/>
                    <a:pt x="945" y="1708"/>
                  </a:cubicBezTo>
                  <a:cubicBezTo>
                    <a:pt x="945" y="1714"/>
                    <a:pt x="950" y="1719"/>
                    <a:pt x="956" y="1719"/>
                  </a:cubicBezTo>
                  <a:cubicBezTo>
                    <a:pt x="963" y="1719"/>
                    <a:pt x="968" y="1714"/>
                    <a:pt x="968" y="1708"/>
                  </a:cubicBezTo>
                  <a:cubicBezTo>
                    <a:pt x="968" y="1702"/>
                    <a:pt x="963" y="1696"/>
                    <a:pt x="956" y="1696"/>
                  </a:cubicBezTo>
                  <a:close/>
                  <a:moveTo>
                    <a:pt x="996" y="1719"/>
                  </a:moveTo>
                  <a:cubicBezTo>
                    <a:pt x="1002" y="1719"/>
                    <a:pt x="1007" y="1714"/>
                    <a:pt x="1007" y="1708"/>
                  </a:cubicBezTo>
                  <a:cubicBezTo>
                    <a:pt x="1007" y="1702"/>
                    <a:pt x="1002" y="1697"/>
                    <a:pt x="996" y="1697"/>
                  </a:cubicBezTo>
                  <a:cubicBezTo>
                    <a:pt x="990" y="1697"/>
                    <a:pt x="985" y="1702"/>
                    <a:pt x="985" y="1708"/>
                  </a:cubicBezTo>
                  <a:cubicBezTo>
                    <a:pt x="985" y="1714"/>
                    <a:pt x="990" y="1719"/>
                    <a:pt x="996" y="1719"/>
                  </a:cubicBezTo>
                  <a:close/>
                  <a:moveTo>
                    <a:pt x="996" y="1735"/>
                  </a:moveTo>
                  <a:cubicBezTo>
                    <a:pt x="989" y="1735"/>
                    <a:pt x="983" y="1740"/>
                    <a:pt x="983" y="1747"/>
                  </a:cubicBezTo>
                  <a:cubicBezTo>
                    <a:pt x="983" y="1754"/>
                    <a:pt x="989" y="1760"/>
                    <a:pt x="996" y="1760"/>
                  </a:cubicBezTo>
                  <a:cubicBezTo>
                    <a:pt x="1003" y="1760"/>
                    <a:pt x="1009" y="1754"/>
                    <a:pt x="1009" y="1747"/>
                  </a:cubicBezTo>
                  <a:cubicBezTo>
                    <a:pt x="1009" y="1740"/>
                    <a:pt x="1003" y="1735"/>
                    <a:pt x="996" y="1735"/>
                  </a:cubicBezTo>
                  <a:close/>
                </a:path>
              </a:pathLst>
            </a:custGeom>
            <a:solidFill>
              <a:schemeClr val="tx1">
                <a:lumMod val="60000"/>
                <a:lumOff val="40000"/>
                <a:alpha val="25000"/>
              </a:schemeClr>
            </a:solidFill>
            <a:ln>
              <a:noFill/>
            </a:ln>
          </p:spPr>
          <p:txBody>
            <a:bodyPr wrap="square" lIns="91440" tIns="45720" rIns="91440" bIns="45720" anchor="ctr">
              <a:normAutofit/>
            </a:bodyPr>
            <a:lstStyle/>
            <a:p>
              <a:pPr algn="ctr"/>
              <a:endParaRPr/>
            </a:p>
          </p:txBody>
        </p:sp>
        <p:sp>
          <p:nvSpPr>
            <p:cNvPr id="15" name="iṧlíḑè">
              <a:extLst>
                <a:ext uri="{FF2B5EF4-FFF2-40B4-BE49-F238E27FC236}">
                  <a16:creationId xmlns:a16="http://schemas.microsoft.com/office/drawing/2014/main" id="{0DE7F182-1908-4856-B0A0-C05575E0B41B}"/>
                </a:ext>
              </a:extLst>
            </p:cNvPr>
            <p:cNvSpPr/>
            <p:nvPr/>
          </p:nvSpPr>
          <p:spPr>
            <a:xfrm>
              <a:off x="1356350" y="1130300"/>
              <a:ext cx="3185487" cy="838716"/>
            </a:xfrm>
            <a:prstGeom prst="rect">
              <a:avLst/>
            </a:prstGeom>
          </p:spPr>
          <p:txBody>
            <a:bodyPr wrap="square" lIns="91440" tIns="45720" rIns="91440" bIns="45720" anchor="ctr" anchorCtr="0">
              <a:normAutofit lnSpcReduction="10000"/>
            </a:bodyPr>
            <a:lstStyle/>
            <a:p>
              <a:pPr algn="ctr"/>
              <a:r>
                <a:rPr lang="en-US" altLang="zh-CN" sz="5400">
                  <a:solidFill>
                    <a:schemeClr val="tx1">
                      <a:lumMod val="50000"/>
                      <a:lumOff val="50000"/>
                    </a:schemeClr>
                  </a:solidFill>
                  <a:latin typeface="+mj-lt"/>
                </a:rPr>
                <a:t>Contents</a:t>
              </a:r>
              <a:endParaRPr lang="zh-CN" altLang="en-US" sz="540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endParaRPr>
            </a:p>
          </p:txBody>
        </p:sp>
        <p:cxnSp>
          <p:nvCxnSpPr>
            <p:cNvPr id="16" name="直接连接符 4">
              <a:extLst>
                <a:ext uri="{FF2B5EF4-FFF2-40B4-BE49-F238E27FC236}">
                  <a16:creationId xmlns:a16="http://schemas.microsoft.com/office/drawing/2014/main" id="{53325469-3EF3-4FD5-A240-693B04F93D1A}"/>
                </a:ext>
              </a:extLst>
            </p:cNvPr>
            <p:cNvCxnSpPr/>
            <p:nvPr/>
          </p:nvCxnSpPr>
          <p:spPr>
            <a:xfrm>
              <a:off x="1638300" y="1969016"/>
              <a:ext cx="3295650" cy="0"/>
            </a:xfrm>
            <a:prstGeom prst="line">
              <a:avLst/>
            </a:prstGeom>
            <a:ln w="3175" cap="rnd">
              <a:solidFill>
                <a:schemeClr val="bg1">
                  <a:lumMod val="75000"/>
                </a:schemeClr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直接连接符 7">
              <a:extLst>
                <a:ext uri="{FF2B5EF4-FFF2-40B4-BE49-F238E27FC236}">
                  <a16:creationId xmlns:a16="http://schemas.microsoft.com/office/drawing/2014/main" id="{5CCCED4B-C367-489B-BE37-84387CE01F88}"/>
                </a:ext>
              </a:extLst>
            </p:cNvPr>
            <p:cNvCxnSpPr/>
            <p:nvPr/>
          </p:nvCxnSpPr>
          <p:spPr>
            <a:xfrm>
              <a:off x="4541837" y="1130300"/>
              <a:ext cx="0" cy="5003800"/>
            </a:xfrm>
            <a:prstGeom prst="line">
              <a:avLst/>
            </a:prstGeom>
            <a:ln w="3175" cap="rnd">
              <a:solidFill>
                <a:schemeClr val="bg1">
                  <a:lumMod val="75000"/>
                </a:schemeClr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8" name="iSľîďe">
              <a:extLst>
                <a:ext uri="{FF2B5EF4-FFF2-40B4-BE49-F238E27FC236}">
                  <a16:creationId xmlns:a16="http://schemas.microsoft.com/office/drawing/2014/main" id="{30B65337-C9F4-474F-B70A-ECFBD4CC29F2}"/>
                </a:ext>
              </a:extLst>
            </p:cNvPr>
            <p:cNvGrpSpPr/>
            <p:nvPr/>
          </p:nvGrpSpPr>
          <p:grpSpPr>
            <a:xfrm>
              <a:off x="3871848" y="2846004"/>
              <a:ext cx="4900814" cy="2411109"/>
              <a:chOff x="3871848" y="2534552"/>
              <a:chExt cx="4900814" cy="2411109"/>
            </a:xfrm>
          </p:grpSpPr>
          <p:grpSp>
            <p:nvGrpSpPr>
              <p:cNvPr id="19" name="íšḻîḋé">
                <a:extLst>
                  <a:ext uri="{FF2B5EF4-FFF2-40B4-BE49-F238E27FC236}">
                    <a16:creationId xmlns:a16="http://schemas.microsoft.com/office/drawing/2014/main" id="{6DDCF0DF-93A8-40D5-B150-0E6F3738D80C}"/>
                  </a:ext>
                </a:extLst>
              </p:cNvPr>
              <p:cNvGrpSpPr/>
              <p:nvPr/>
            </p:nvGrpSpPr>
            <p:grpSpPr>
              <a:xfrm>
                <a:off x="3871848" y="2534552"/>
                <a:ext cx="4900814" cy="542400"/>
                <a:chOff x="3871848" y="2711156"/>
                <a:chExt cx="4900814" cy="542400"/>
              </a:xfrm>
            </p:grpSpPr>
            <p:sp>
              <p:nvSpPr>
                <p:cNvPr id="29" name="îṣľîďé">
                  <a:extLst>
                    <a:ext uri="{FF2B5EF4-FFF2-40B4-BE49-F238E27FC236}">
                      <a16:creationId xmlns:a16="http://schemas.microsoft.com/office/drawing/2014/main" id="{E4E3EAFC-D4D9-4B62-A60F-220C199D46C7}"/>
                    </a:ext>
                  </a:extLst>
                </p:cNvPr>
                <p:cNvSpPr txBox="1"/>
                <p:nvPr/>
              </p:nvSpPr>
              <p:spPr bwMode="auto">
                <a:xfrm>
                  <a:off x="3871848" y="2711156"/>
                  <a:ext cx="555754" cy="542400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square" lIns="91440" tIns="45720" rIns="91440" bIns="45720" anchor="ctr">
                  <a:norm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 algn="ctr" eaLnBrk="1" hangingPunct="1">
                    <a:lnSpc>
                      <a:spcPct val="100000"/>
                    </a:lnSpc>
                    <a:spcBef>
                      <a:spcPct val="0"/>
                    </a:spcBef>
                  </a:pPr>
                  <a:r>
                    <a:rPr lang="en-US" altLang="zh-CN" sz="2000">
                      <a:solidFill>
                        <a:schemeClr val="accent2"/>
                      </a:solidFill>
                    </a:rPr>
                    <a:t>01</a:t>
                  </a:r>
                </a:p>
              </p:txBody>
            </p:sp>
            <p:sp>
              <p:nvSpPr>
                <p:cNvPr id="30" name="îsļiḍè">
                  <a:extLst>
                    <a:ext uri="{FF2B5EF4-FFF2-40B4-BE49-F238E27FC236}">
                      <a16:creationId xmlns:a16="http://schemas.microsoft.com/office/drawing/2014/main" id="{F8E07573-A8E5-42F7-B445-E2E8E3B47ABD}"/>
                    </a:ext>
                  </a:extLst>
                </p:cNvPr>
                <p:cNvSpPr/>
                <p:nvPr/>
              </p:nvSpPr>
              <p:spPr bwMode="auto">
                <a:xfrm>
                  <a:off x="4656073" y="2754558"/>
                  <a:ext cx="4116589" cy="455597"/>
                </a:xfrm>
                <a:prstGeom prst="rect">
                  <a:avLst/>
                </a:prstGeom>
                <a:solidFill>
                  <a:srgbClr val="F3A415"/>
                </a:solidFill>
                <a:ln>
                  <a:noFill/>
                </a:ln>
              </p:spPr>
              <p:txBody>
                <a:bodyPr wrap="square" lIns="91440" tIns="45720" rIns="731520" bIns="45720" anchor="ctr" anchorCtr="0">
                  <a:normAutofit/>
                </a:bodyPr>
                <a:lstStyle/>
                <a:p>
                  <a:pPr algn="r"/>
                  <a:r>
                    <a:rPr lang="en-US" altLang="zh-CN" sz="1400">
                      <a:solidFill>
                        <a:schemeClr val="bg1"/>
                      </a:solidFill>
                    </a:rPr>
                    <a:t>ABSTRACT</a:t>
                  </a:r>
                </a:p>
              </p:txBody>
            </p:sp>
          </p:grpSp>
          <p:grpSp>
            <p:nvGrpSpPr>
              <p:cNvPr id="20" name="î$ļïḑê">
                <a:extLst>
                  <a:ext uri="{FF2B5EF4-FFF2-40B4-BE49-F238E27FC236}">
                    <a16:creationId xmlns:a16="http://schemas.microsoft.com/office/drawing/2014/main" id="{D67BA480-F4A7-4B69-B795-01C9DCCAA792}"/>
                  </a:ext>
                </a:extLst>
              </p:cNvPr>
              <p:cNvGrpSpPr/>
              <p:nvPr/>
            </p:nvGrpSpPr>
            <p:grpSpPr>
              <a:xfrm>
                <a:off x="3871848" y="3157455"/>
                <a:ext cx="4900814" cy="542400"/>
                <a:chOff x="3871848" y="2711156"/>
                <a:chExt cx="4900814" cy="542400"/>
              </a:xfrm>
            </p:grpSpPr>
            <p:sp>
              <p:nvSpPr>
                <p:cNvPr id="27" name="ï$1iḍé">
                  <a:extLst>
                    <a:ext uri="{FF2B5EF4-FFF2-40B4-BE49-F238E27FC236}">
                      <a16:creationId xmlns:a16="http://schemas.microsoft.com/office/drawing/2014/main" id="{E4E3EAFC-D4D9-4B62-A60F-220C199D46C7}"/>
                    </a:ext>
                  </a:extLst>
                </p:cNvPr>
                <p:cNvSpPr txBox="1"/>
                <p:nvPr/>
              </p:nvSpPr>
              <p:spPr bwMode="auto">
                <a:xfrm>
                  <a:off x="3871848" y="2711156"/>
                  <a:ext cx="555754" cy="542400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square" lIns="91440" tIns="45720" rIns="91440" bIns="45720" anchor="ctr">
                  <a:norm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 algn="ctr" eaLnBrk="1" hangingPunct="1">
                    <a:lnSpc>
                      <a:spcPct val="100000"/>
                    </a:lnSpc>
                    <a:spcBef>
                      <a:spcPct val="0"/>
                    </a:spcBef>
                  </a:pPr>
                  <a:r>
                    <a:rPr lang="en-US" altLang="zh-CN" sz="2000">
                      <a:solidFill>
                        <a:schemeClr val="accent1"/>
                      </a:solidFill>
                    </a:rPr>
                    <a:t>02</a:t>
                  </a:r>
                </a:p>
              </p:txBody>
            </p:sp>
            <p:sp>
              <p:nvSpPr>
                <p:cNvPr id="28" name="íṥ1ïḓé">
                  <a:extLst>
                    <a:ext uri="{FF2B5EF4-FFF2-40B4-BE49-F238E27FC236}">
                      <a16:creationId xmlns:a16="http://schemas.microsoft.com/office/drawing/2014/main" id="{F8E07573-A8E5-42F7-B445-E2E8E3B47ABD}"/>
                    </a:ext>
                  </a:extLst>
                </p:cNvPr>
                <p:cNvSpPr/>
                <p:nvPr/>
              </p:nvSpPr>
              <p:spPr bwMode="auto">
                <a:xfrm>
                  <a:off x="4656073" y="2754558"/>
                  <a:ext cx="4116589" cy="455597"/>
                </a:xfrm>
                <a:prstGeom prst="rect">
                  <a:avLst/>
                </a:prstGeom>
                <a:solidFill>
                  <a:srgbClr val="F2CF4E"/>
                </a:solidFill>
                <a:ln>
                  <a:noFill/>
                </a:ln>
              </p:spPr>
              <p:txBody>
                <a:bodyPr wrap="square" lIns="91440" tIns="45720" rIns="731520" bIns="45720" anchor="ctr" anchorCtr="0">
                  <a:norm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 algn="r"/>
                  <a:r>
                    <a:rPr lang="en-US" altLang="zh-CN" sz="1400">
                      <a:solidFill>
                        <a:schemeClr val="bg1"/>
                      </a:solidFill>
                    </a:rPr>
                    <a:t>DATA SET</a:t>
                  </a:r>
                </a:p>
              </p:txBody>
            </p:sp>
          </p:grpSp>
          <p:grpSp>
            <p:nvGrpSpPr>
              <p:cNvPr id="21" name="işḷiḑe">
                <a:extLst>
                  <a:ext uri="{FF2B5EF4-FFF2-40B4-BE49-F238E27FC236}">
                    <a16:creationId xmlns:a16="http://schemas.microsoft.com/office/drawing/2014/main" id="{B5CF54DF-CD94-4C83-A156-F23C3538331C}"/>
                  </a:ext>
                </a:extLst>
              </p:cNvPr>
              <p:cNvGrpSpPr/>
              <p:nvPr/>
            </p:nvGrpSpPr>
            <p:grpSpPr>
              <a:xfrm>
                <a:off x="3871848" y="3780358"/>
                <a:ext cx="4900814" cy="542400"/>
                <a:chOff x="3871848" y="2711156"/>
                <a:chExt cx="4900814" cy="542400"/>
              </a:xfrm>
            </p:grpSpPr>
            <p:sp>
              <p:nvSpPr>
                <p:cNvPr id="25" name="í$ḻîḑê">
                  <a:extLst>
                    <a:ext uri="{FF2B5EF4-FFF2-40B4-BE49-F238E27FC236}">
                      <a16:creationId xmlns:a16="http://schemas.microsoft.com/office/drawing/2014/main" id="{E4E3EAFC-D4D9-4B62-A60F-220C199D46C7}"/>
                    </a:ext>
                  </a:extLst>
                </p:cNvPr>
                <p:cNvSpPr txBox="1"/>
                <p:nvPr/>
              </p:nvSpPr>
              <p:spPr bwMode="auto">
                <a:xfrm>
                  <a:off x="3871848" y="2711156"/>
                  <a:ext cx="555754" cy="542400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square" lIns="91440" tIns="45720" rIns="91440" bIns="45720" anchor="ctr">
                  <a:norm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 algn="ctr" eaLnBrk="1" hangingPunct="1">
                    <a:lnSpc>
                      <a:spcPct val="100000"/>
                    </a:lnSpc>
                    <a:spcBef>
                      <a:spcPct val="0"/>
                    </a:spcBef>
                  </a:pPr>
                  <a:r>
                    <a:rPr lang="en-US" altLang="zh-CN" sz="2000">
                      <a:solidFill>
                        <a:schemeClr val="accent1"/>
                      </a:solidFill>
                    </a:rPr>
                    <a:t>03</a:t>
                  </a:r>
                </a:p>
              </p:txBody>
            </p:sp>
            <p:sp>
              <p:nvSpPr>
                <p:cNvPr id="26" name="îŝ1ïḍê">
                  <a:extLst>
                    <a:ext uri="{FF2B5EF4-FFF2-40B4-BE49-F238E27FC236}">
                      <a16:creationId xmlns:a16="http://schemas.microsoft.com/office/drawing/2014/main" id="{F8E07573-A8E5-42F7-B445-E2E8E3B47ABD}"/>
                    </a:ext>
                  </a:extLst>
                </p:cNvPr>
                <p:cNvSpPr/>
                <p:nvPr/>
              </p:nvSpPr>
              <p:spPr bwMode="auto">
                <a:xfrm>
                  <a:off x="4656073" y="2754558"/>
                  <a:ext cx="4116589" cy="455597"/>
                </a:xfrm>
                <a:prstGeom prst="rect">
                  <a:avLst/>
                </a:prstGeom>
                <a:solidFill>
                  <a:srgbClr val="F2CF4E"/>
                </a:solidFill>
                <a:ln>
                  <a:noFill/>
                </a:ln>
              </p:spPr>
              <p:txBody>
                <a:bodyPr wrap="square" lIns="91440" tIns="45720" rIns="731520" bIns="45720" anchor="ctr" anchorCtr="0">
                  <a:norm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 algn="r"/>
                  <a:r>
                    <a:rPr lang="en-US" altLang="zh-CN" sz="1400">
                      <a:solidFill>
                        <a:schemeClr val="bg1"/>
                      </a:solidFill>
                    </a:rPr>
                    <a:t>ANALYSIS METHODOLOGY</a:t>
                  </a:r>
                </a:p>
              </p:txBody>
            </p:sp>
          </p:grpSp>
          <p:grpSp>
            <p:nvGrpSpPr>
              <p:cNvPr id="22" name="ïśľiḋé">
                <a:extLst>
                  <a:ext uri="{FF2B5EF4-FFF2-40B4-BE49-F238E27FC236}">
                    <a16:creationId xmlns:a16="http://schemas.microsoft.com/office/drawing/2014/main" id="{CD62EEBC-002B-4F83-8163-78FF4C9A6EFE}"/>
                  </a:ext>
                </a:extLst>
              </p:cNvPr>
              <p:cNvGrpSpPr>
                <a:grpSpLocks/>
              </p:cNvGrpSpPr>
              <p:nvPr/>
            </p:nvGrpSpPr>
            <p:grpSpPr>
              <a:xfrm>
                <a:off x="3871848" y="4403261"/>
                <a:ext cx="4900814" cy="542400"/>
                <a:chOff x="3871848" y="2711156"/>
                <a:chExt cx="4900814" cy="542400"/>
              </a:xfrm>
            </p:grpSpPr>
            <p:sp>
              <p:nvSpPr>
                <p:cNvPr id="23" name="í$ļide">
                  <a:extLst>
                    <a:ext uri="{FF2B5EF4-FFF2-40B4-BE49-F238E27FC236}">
                      <a16:creationId xmlns:a16="http://schemas.microsoft.com/office/drawing/2014/main" id="{E4E3EAFC-D4D9-4B62-A60F-220C199D46C7}"/>
                    </a:ext>
                  </a:extLst>
                </p:cNvPr>
                <p:cNvSpPr txBox="1"/>
                <p:nvPr/>
              </p:nvSpPr>
              <p:spPr bwMode="auto">
                <a:xfrm>
                  <a:off x="3871848" y="2711156"/>
                  <a:ext cx="555754" cy="542400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square" lIns="91440" tIns="45720" rIns="91440" bIns="45720" anchor="ctr">
                  <a:norm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 algn="ctr" eaLnBrk="1" hangingPunct="1">
                    <a:lnSpc>
                      <a:spcPct val="100000"/>
                    </a:lnSpc>
                    <a:spcBef>
                      <a:spcPct val="0"/>
                    </a:spcBef>
                  </a:pPr>
                  <a:r>
                    <a:rPr lang="en-US" altLang="zh-CN" sz="2000">
                      <a:solidFill>
                        <a:schemeClr val="accent1"/>
                      </a:solidFill>
                    </a:rPr>
                    <a:t>04</a:t>
                  </a:r>
                </a:p>
              </p:txBody>
            </p:sp>
            <p:sp>
              <p:nvSpPr>
                <p:cNvPr id="24" name="îśḷîḓe">
                  <a:extLst>
                    <a:ext uri="{FF2B5EF4-FFF2-40B4-BE49-F238E27FC236}">
                      <a16:creationId xmlns:a16="http://schemas.microsoft.com/office/drawing/2014/main" id="{F8E07573-A8E5-42F7-B445-E2E8E3B47ABD}"/>
                    </a:ext>
                  </a:extLst>
                </p:cNvPr>
                <p:cNvSpPr/>
                <p:nvPr/>
              </p:nvSpPr>
              <p:spPr bwMode="auto">
                <a:xfrm>
                  <a:off x="4656073" y="2754558"/>
                  <a:ext cx="4116589" cy="455597"/>
                </a:xfrm>
                <a:prstGeom prst="rect">
                  <a:avLst/>
                </a:prstGeom>
                <a:solidFill>
                  <a:srgbClr val="F2CF4E"/>
                </a:solidFill>
                <a:ln>
                  <a:noFill/>
                </a:ln>
              </p:spPr>
              <p:txBody>
                <a:bodyPr wrap="square" lIns="91440" tIns="45720" rIns="731520" bIns="45720" anchor="ctr" anchorCtr="0">
                  <a:norm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 algn="r"/>
                  <a:r>
                    <a:rPr lang="en-US" altLang="zh-CN" sz="1400">
                      <a:solidFill>
                        <a:schemeClr val="bg1"/>
                      </a:solidFill>
                    </a:rPr>
                    <a:t>RESULT</a:t>
                  </a:r>
                </a:p>
              </p:txBody>
            </p:sp>
          </p:grpSp>
        </p:grpSp>
      </p:grpSp>
      <p:sp>
        <p:nvSpPr>
          <p:cNvPr id="31" name="í$ļide">
            <a:extLst>
              <a:ext uri="{FF2B5EF4-FFF2-40B4-BE49-F238E27FC236}">
                <a16:creationId xmlns:a16="http://schemas.microsoft.com/office/drawing/2014/main" id="{6C8FC0BF-5F04-4921-8CCE-9D2367BEAB18}"/>
              </a:ext>
            </a:extLst>
          </p:cNvPr>
          <p:cNvSpPr txBox="1"/>
          <p:nvPr/>
        </p:nvSpPr>
        <p:spPr bwMode="auto">
          <a:xfrm>
            <a:off x="4113130" y="5268818"/>
            <a:ext cx="555754" cy="542400"/>
          </a:xfrm>
          <a:prstGeom prst="rect">
            <a:avLst/>
          </a:prstGeom>
          <a:noFill/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ctr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altLang="zh-CN" sz="2000">
                <a:solidFill>
                  <a:schemeClr val="accent1"/>
                </a:solidFill>
              </a:rPr>
              <a:t>05</a:t>
            </a:r>
          </a:p>
        </p:txBody>
      </p:sp>
      <p:sp>
        <p:nvSpPr>
          <p:cNvPr id="32" name="îśḷîḓe">
            <a:extLst>
              <a:ext uri="{FF2B5EF4-FFF2-40B4-BE49-F238E27FC236}">
                <a16:creationId xmlns:a16="http://schemas.microsoft.com/office/drawing/2014/main" id="{E3EEE14B-45D3-4197-B65C-5E18AFA063A6}"/>
              </a:ext>
            </a:extLst>
          </p:cNvPr>
          <p:cNvSpPr/>
          <p:nvPr/>
        </p:nvSpPr>
        <p:spPr bwMode="auto">
          <a:xfrm>
            <a:off x="4941090" y="5315969"/>
            <a:ext cx="4472165" cy="494950"/>
          </a:xfrm>
          <a:prstGeom prst="rect">
            <a:avLst/>
          </a:prstGeom>
          <a:solidFill>
            <a:srgbClr val="F2CF4E"/>
          </a:solidFill>
          <a:ln>
            <a:noFill/>
          </a:ln>
        </p:spPr>
        <p:txBody>
          <a:bodyPr wrap="square" lIns="91440" tIns="45720" rIns="731520" bIns="45720" anchor="ctr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r"/>
            <a:r>
              <a:rPr lang="en-US" altLang="zh-CN" sz="1400">
                <a:solidFill>
                  <a:schemeClr val="bg1"/>
                </a:solidFill>
              </a:rPr>
              <a:t>CONCLUSION</a:t>
            </a:r>
          </a:p>
        </p:txBody>
      </p:sp>
    </p:spTree>
    <p:extLst>
      <p:ext uri="{BB962C8B-B14F-4D97-AF65-F5344CB8AC3E}">
        <p14:creationId xmlns:p14="http://schemas.microsoft.com/office/powerpoint/2010/main" val="91193317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altLang="zh-CN" sz="4800"/>
              <a:t>ABSTRACT</a:t>
            </a:r>
            <a:endParaRPr lang="zh-CN" altLang="en-US" sz="4800"/>
          </a:p>
        </p:txBody>
      </p:sp>
      <p:sp>
        <p:nvSpPr>
          <p:cNvPr id="6" name="文本占位符 5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>
              <a:lnSpc>
                <a:spcPct val="100000"/>
              </a:lnSpc>
            </a:pPr>
            <a:r>
              <a:rPr lang="en-US" altLang="zh-CN"/>
              <a:t>Background</a:t>
            </a:r>
          </a:p>
          <a:p>
            <a:pPr lvl="0">
              <a:lnSpc>
                <a:spcPct val="100000"/>
              </a:lnSpc>
            </a:pPr>
            <a:r>
              <a:rPr lang="en-US" altLang="zh-CN"/>
              <a:t>Business Goal</a:t>
            </a:r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04F69230-F3A6-4586-9371-A858F4763E9F}"/>
              </a:ext>
            </a:extLst>
          </p:cNvPr>
          <p:cNvSpPr txBox="1"/>
          <p:nvPr/>
        </p:nvSpPr>
        <p:spPr>
          <a:xfrm>
            <a:off x="1977887" y="3852315"/>
            <a:ext cx="1818862" cy="1581433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pc="100">
                <a:solidFill>
                  <a:schemeClr val="accent4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/01</a:t>
            </a:r>
            <a:endParaRPr lang="zh-CN" altLang="en-US" spc="100">
              <a:solidFill>
                <a:schemeClr val="accent4"/>
              </a:solidFill>
              <a:latin typeface="Impact" panose="020B080603090205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7159738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/>
              <a:t>01. ABSTRACT</a:t>
            </a:r>
            <a:endParaRPr lang="zh-CN" altLang="en-US"/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Web Analytics Group Project</a:t>
            </a:r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5</a:t>
            </a:fld>
            <a:endParaRPr lang="zh-CN" altLang="en-US"/>
          </a:p>
        </p:txBody>
      </p:sp>
      <p:pic>
        <p:nvPicPr>
          <p:cNvPr id="8" name="Picture 2">
            <a:extLst>
              <a:ext uri="{FF2B5EF4-FFF2-40B4-BE49-F238E27FC236}">
                <a16:creationId xmlns:a16="http://schemas.microsoft.com/office/drawing/2014/main" id="{AA2A5DCA-9410-4851-99CF-ED484BD6B13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ackgroundRemoval t="9756" b="89973" l="8664" r="89892">
                        <a14:foregroundMark x1="8664" y1="36314" x2="8664" y2="36314"/>
                        <a14:foregroundMark x1="85560" y1="28997" x2="85560" y2="28997"/>
                        <a14:foregroundMark x1="85921" y1="33875" x2="85921" y2="33875"/>
                        <a14:foregroundMark x1="85560" y1="28997" x2="85560" y2="28997"/>
                        <a14:foregroundMark x1="87365" y1="31165" x2="87365" y2="31165"/>
                        <a14:foregroundMark x1="83213" y1="37127" x2="83213" y2="37127"/>
                        <a14:foregroundMark x1="83213" y1="48509" x2="83213" y2="48509"/>
                        <a14:foregroundMark x1="83755" y1="23577" x2="83755" y2="23577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29402" y="3982270"/>
            <a:ext cx="3072281" cy="2046338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0C7B3860-1003-4B17-8C08-2133D2B0902E}"/>
              </a:ext>
            </a:extLst>
          </p:cNvPr>
          <p:cNvSpPr txBox="1"/>
          <p:nvPr/>
        </p:nvSpPr>
        <p:spPr>
          <a:xfrm>
            <a:off x="3361765" y="1200482"/>
            <a:ext cx="7888941" cy="256993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Background</a:t>
            </a:r>
          </a:p>
          <a:p>
            <a:endParaRPr lang="en-US" sz="200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/>
              <a:t>Nintendo Switch was released in March 2017, almost 6 years after its last product Wii U.</a:t>
            </a:r>
          </a:p>
          <a:p>
            <a:endParaRPr lang="en-US" sz="105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/>
              <a:t>Heat discussion before its release. Negative and Positive mixed together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05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/>
              <a:t>So delicious???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CFF1A2A7-94C2-4536-8C89-78A8D216A47F}"/>
              </a:ext>
            </a:extLst>
          </p:cNvPr>
          <p:cNvSpPr txBox="1"/>
          <p:nvPr/>
        </p:nvSpPr>
        <p:spPr>
          <a:xfrm>
            <a:off x="559265" y="3943020"/>
            <a:ext cx="7888941" cy="19543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Business Goal</a:t>
            </a:r>
          </a:p>
          <a:p>
            <a:endParaRPr lang="en-US" sz="200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/>
              <a:t>How do people like Nintendo Switch? </a:t>
            </a:r>
          </a:p>
          <a:p>
            <a:endParaRPr lang="en-US" sz="105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/>
              <a:t>What’s the Strategy for next generation of Nintendo Switch?</a:t>
            </a:r>
          </a:p>
          <a:p>
            <a:endParaRPr lang="en-US" sz="105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/>
              <a:t>How to carry on the Differentiation Strategy against PS &amp; XBOX?</a:t>
            </a:r>
          </a:p>
        </p:txBody>
      </p:sp>
      <p:pic>
        <p:nvPicPr>
          <p:cNvPr id="11" name="Picture 2" descr="Nintendo Switch GIF by gaming">
            <a:extLst>
              <a:ext uri="{FF2B5EF4-FFF2-40B4-BE49-F238E27FC236}">
                <a16:creationId xmlns:a16="http://schemas.microsoft.com/office/drawing/2014/main" id="{D40F2126-580E-49E7-9A86-408CB96B8469}"/>
              </a:ext>
            </a:extLst>
          </p:cNvPr>
          <p:cNvPicPr>
            <a:picLocks noChangeAspect="1" noChangeArrowheads="1" noCrop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9924" y="1331761"/>
            <a:ext cx="2312957" cy="1299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22575523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altLang="zh-CN" sz="4800"/>
              <a:t>DATA SET</a:t>
            </a:r>
            <a:endParaRPr lang="zh-CN" altLang="en-US" sz="4800"/>
          </a:p>
        </p:txBody>
      </p:sp>
      <p:sp>
        <p:nvSpPr>
          <p:cNvPr id="6" name="文本占位符 5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>
              <a:lnSpc>
                <a:spcPct val="100000"/>
              </a:lnSpc>
            </a:pPr>
            <a:r>
              <a:rPr lang="en-US" altLang="zh-CN"/>
              <a:t>Data Source</a:t>
            </a:r>
          </a:p>
          <a:p>
            <a:r>
              <a:rPr lang="en-US" altLang="zh-CN"/>
              <a:t>Data</a:t>
            </a:r>
            <a:r>
              <a:rPr lang="zh-CN" altLang="en-US"/>
              <a:t> </a:t>
            </a:r>
            <a:r>
              <a:rPr lang="en-US" altLang="zh-CN"/>
              <a:t>Description</a:t>
            </a:r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04F69230-F3A6-4586-9371-A858F4763E9F}"/>
              </a:ext>
            </a:extLst>
          </p:cNvPr>
          <p:cNvSpPr txBox="1"/>
          <p:nvPr/>
        </p:nvSpPr>
        <p:spPr>
          <a:xfrm>
            <a:off x="1977887" y="3852315"/>
            <a:ext cx="1818862" cy="1581433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pc="100">
                <a:solidFill>
                  <a:schemeClr val="accent4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/02</a:t>
            </a:r>
            <a:endParaRPr lang="zh-CN" altLang="en-US" spc="100">
              <a:solidFill>
                <a:schemeClr val="accent4"/>
              </a:solidFill>
              <a:latin typeface="Impact" panose="020B080603090205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832803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/>
              <a:t>02. DATA SET</a:t>
            </a:r>
            <a:endParaRPr lang="zh-CN" altLang="en-US"/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Web Analytics Group Project</a:t>
            </a:r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7</a:t>
            </a:fld>
            <a:endParaRPr lang="zh-CN" altLang="en-US"/>
          </a:p>
        </p:txBody>
      </p:sp>
      <p:pic>
        <p:nvPicPr>
          <p:cNvPr id="6146" name="Picture 2" descr="Image result for youtube">
            <a:extLst>
              <a:ext uri="{FF2B5EF4-FFF2-40B4-BE49-F238E27FC236}">
                <a16:creationId xmlns:a16="http://schemas.microsoft.com/office/drawing/2014/main" id="{E43C52B4-7607-412F-9A57-43AB6A83E82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3274" b="32036"/>
          <a:stretch/>
        </p:blipFill>
        <p:spPr bwMode="auto">
          <a:xfrm>
            <a:off x="669924" y="1741423"/>
            <a:ext cx="2532530" cy="878542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148" name="Picture 4" descr="Image result for twitter">
            <a:extLst>
              <a:ext uri="{FF2B5EF4-FFF2-40B4-BE49-F238E27FC236}">
                <a16:creationId xmlns:a16="http://schemas.microsoft.com/office/drawing/2014/main" id="{27E0117A-A817-4370-9FB2-49841D2532D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43466" y="3879027"/>
            <a:ext cx="1596558" cy="1596558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67EB59BB-3166-4129-8E56-312E65B40B2B}"/>
              </a:ext>
            </a:extLst>
          </p:cNvPr>
          <p:cNvSpPr txBox="1"/>
          <p:nvPr/>
        </p:nvSpPr>
        <p:spPr>
          <a:xfrm>
            <a:off x="3525625" y="1329179"/>
            <a:ext cx="7932529" cy="170303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>
              <a:lnSpc>
                <a:spcPct val="150000"/>
              </a:lnSpc>
            </a:pPr>
            <a:r>
              <a:rPr lang="en-US" b="1"/>
              <a:t>V</a:t>
            </a:r>
            <a:r>
              <a:rPr lang="en-US" altLang="zh-CN" b="1"/>
              <a:t>ideo: </a:t>
            </a:r>
            <a:r>
              <a:rPr lang="en-US" b="1" i="1"/>
              <a:t>&lt;First Look at Nintendo Switch&gt; </a:t>
            </a:r>
            <a:r>
              <a:rPr lang="en-US" b="1"/>
              <a:t>by Nintendo Official Channel</a:t>
            </a:r>
          </a:p>
          <a:p>
            <a:pPr>
              <a:lnSpc>
                <a:spcPct val="150000"/>
              </a:lnSpc>
            </a:pPr>
            <a:r>
              <a:rPr lang="en-US" b="1"/>
              <a:t>Tool: </a:t>
            </a:r>
            <a:r>
              <a:rPr lang="en-US" b="1" err="1"/>
              <a:t>Youtube</a:t>
            </a:r>
            <a:r>
              <a:rPr lang="en-US" b="1"/>
              <a:t> Data API, </a:t>
            </a:r>
            <a:r>
              <a:rPr lang="en-US" b="1" err="1"/>
              <a:t>Googleapiclient</a:t>
            </a:r>
          </a:p>
          <a:p>
            <a:pPr>
              <a:lnSpc>
                <a:spcPct val="150000"/>
              </a:lnSpc>
            </a:pPr>
            <a:r>
              <a:rPr lang="en-US" b="1"/>
              <a:t>Crawling Content: Comments under the video</a:t>
            </a:r>
            <a:endParaRPr lang="en-US" b="1">
              <a:cs typeface="Arial"/>
            </a:endParaRPr>
          </a:p>
          <a:p>
            <a:pPr>
              <a:lnSpc>
                <a:spcPct val="150000"/>
              </a:lnSpc>
            </a:pPr>
            <a:r>
              <a:rPr lang="en-US" b="1"/>
              <a:t>Volume: 73,679</a:t>
            </a:r>
            <a:endParaRPr lang="en-US" b="1">
              <a:cs typeface="Arial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154CD3B7-3D2F-4470-873A-69C2BDD155C8}"/>
              </a:ext>
            </a:extLst>
          </p:cNvPr>
          <p:cNvSpPr txBox="1"/>
          <p:nvPr/>
        </p:nvSpPr>
        <p:spPr>
          <a:xfrm>
            <a:off x="3525624" y="3825791"/>
            <a:ext cx="7932529" cy="17030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b="1"/>
              <a:t>Tweet</a:t>
            </a:r>
            <a:r>
              <a:rPr lang="en-US" altLang="zh-CN" b="1"/>
              <a:t>: Based on keywords</a:t>
            </a:r>
            <a:endParaRPr lang="en-US" b="1"/>
          </a:p>
          <a:p>
            <a:pPr>
              <a:lnSpc>
                <a:spcPct val="150000"/>
              </a:lnSpc>
            </a:pPr>
            <a:r>
              <a:rPr lang="en-US" b="1"/>
              <a:t>Tool: Cursor</a:t>
            </a:r>
          </a:p>
          <a:p>
            <a:pPr>
              <a:lnSpc>
                <a:spcPct val="150000"/>
              </a:lnSpc>
            </a:pPr>
            <a:r>
              <a:rPr lang="en-US" b="1"/>
              <a:t>Crawling Content: Tweet, Location</a:t>
            </a:r>
          </a:p>
          <a:p>
            <a:pPr>
              <a:lnSpc>
                <a:spcPct val="150000"/>
              </a:lnSpc>
            </a:pPr>
            <a:r>
              <a:rPr lang="en-US" b="1"/>
              <a:t>Volume: 30,503</a:t>
            </a:r>
          </a:p>
        </p:txBody>
      </p:sp>
    </p:spTree>
    <p:extLst>
      <p:ext uri="{BB962C8B-B14F-4D97-AF65-F5344CB8AC3E}">
        <p14:creationId xmlns:p14="http://schemas.microsoft.com/office/powerpoint/2010/main" val="123493317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 altLang="zh-CN" sz="3200"/>
              <a:t>ANALYSIS METHODOLOGY</a:t>
            </a:r>
          </a:p>
        </p:txBody>
      </p:sp>
      <p:sp>
        <p:nvSpPr>
          <p:cNvPr id="6" name="文本占位符 5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>
              <a:lnSpc>
                <a:spcPct val="100000"/>
              </a:lnSpc>
            </a:pPr>
            <a:r>
              <a:rPr lang="en-US" altLang="zh-CN"/>
              <a:t>NLTK | Word Frequency | Mapping | …</a:t>
            </a:r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04F69230-F3A6-4586-9371-A858F4763E9F}"/>
              </a:ext>
            </a:extLst>
          </p:cNvPr>
          <p:cNvSpPr txBox="1"/>
          <p:nvPr/>
        </p:nvSpPr>
        <p:spPr>
          <a:xfrm>
            <a:off x="1977887" y="3852315"/>
            <a:ext cx="1818862" cy="1581433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pc="100">
                <a:solidFill>
                  <a:schemeClr val="accent4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/03</a:t>
            </a:r>
            <a:endParaRPr lang="zh-CN" altLang="en-US" spc="100">
              <a:solidFill>
                <a:schemeClr val="accent4"/>
              </a:solidFill>
              <a:latin typeface="Impact" panose="020B080603090205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0161004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/>
              <a:t>03. ANALYSIS METHODOLOGY</a:t>
            </a:r>
            <a:endParaRPr lang="zh-CN" altLang="en-US"/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Web Analytics Group Project</a:t>
            </a:r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9</a:t>
            </a:fld>
            <a:endParaRPr lang="zh-CN" altLang="en-US"/>
          </a:p>
        </p:txBody>
      </p:sp>
      <p:sp>
        <p:nvSpPr>
          <p:cNvPr id="5" name="Rectangle: Rounded Corners 4">
            <a:extLst>
              <a:ext uri="{FF2B5EF4-FFF2-40B4-BE49-F238E27FC236}">
                <a16:creationId xmlns:a16="http://schemas.microsoft.com/office/drawing/2014/main" id="{982B2FD8-4034-4694-AD8A-28705D3D25A4}"/>
              </a:ext>
            </a:extLst>
          </p:cNvPr>
          <p:cNvSpPr/>
          <p:nvPr/>
        </p:nvSpPr>
        <p:spPr>
          <a:xfrm>
            <a:off x="4130799" y="1731226"/>
            <a:ext cx="1263014" cy="534648"/>
          </a:xfrm>
          <a:prstGeom prst="roundRect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 anchorCtr="0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400"/>
              <a:t>NLTK</a:t>
            </a:r>
          </a:p>
        </p:txBody>
      </p:sp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B605472A-A832-4B9C-BDDF-FCEF6A82057A}"/>
              </a:ext>
            </a:extLst>
          </p:cNvPr>
          <p:cNvSpPr/>
          <p:nvPr/>
        </p:nvSpPr>
        <p:spPr>
          <a:xfrm>
            <a:off x="4146037" y="3026485"/>
            <a:ext cx="1247775" cy="575785"/>
          </a:xfrm>
          <a:prstGeom prst="roundRect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 anchorCtr="0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400"/>
              <a:t>Word Frequency</a:t>
            </a:r>
          </a:p>
        </p:txBody>
      </p:sp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AEA84C25-78E9-4AD3-9AC4-1F92675A498A}"/>
              </a:ext>
            </a:extLst>
          </p:cNvPr>
          <p:cNvSpPr/>
          <p:nvPr/>
        </p:nvSpPr>
        <p:spPr>
          <a:xfrm>
            <a:off x="6399930" y="2297207"/>
            <a:ext cx="1700212" cy="577214"/>
          </a:xfrm>
          <a:prstGeom prst="roundRect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 anchorCtr="0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400"/>
              <a:t>Supervised</a:t>
            </a:r>
          </a:p>
          <a:p>
            <a:pPr algn="ctr"/>
            <a:r>
              <a:rPr lang="en-US" sz="1400"/>
              <a:t>Regression</a:t>
            </a:r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A5BE6BE1-ED53-41C8-9428-0D650122C764}"/>
              </a:ext>
            </a:extLst>
          </p:cNvPr>
          <p:cNvSpPr/>
          <p:nvPr/>
        </p:nvSpPr>
        <p:spPr>
          <a:xfrm>
            <a:off x="4122462" y="4439456"/>
            <a:ext cx="1263014" cy="581977"/>
          </a:xfrm>
          <a:prstGeom prst="roundRect">
            <a:avLst/>
          </a:prstGeom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rtlCol="0" anchor="ctr" anchorCtr="0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400"/>
              <a:t>Competitor Comparison</a:t>
            </a:r>
          </a:p>
        </p:txBody>
      </p:sp>
      <p:sp>
        <p:nvSpPr>
          <p:cNvPr id="11" name="Rectangle: Rounded Corners 10">
            <a:extLst>
              <a:ext uri="{FF2B5EF4-FFF2-40B4-BE49-F238E27FC236}">
                <a16:creationId xmlns:a16="http://schemas.microsoft.com/office/drawing/2014/main" id="{886FBC6E-AB97-4127-9960-374A1503FE0D}"/>
              </a:ext>
            </a:extLst>
          </p:cNvPr>
          <p:cNvSpPr/>
          <p:nvPr/>
        </p:nvSpPr>
        <p:spPr>
          <a:xfrm>
            <a:off x="4146037" y="5667450"/>
            <a:ext cx="1246823" cy="579119"/>
          </a:xfrm>
          <a:prstGeom prst="roundRect">
            <a:avLst/>
          </a:prstGeom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rtlCol="0" anchor="ctr" anchorCtr="0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400"/>
              <a:t>Location Filter</a:t>
            </a:r>
          </a:p>
        </p:txBody>
      </p:sp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7100054B-059C-4276-94BA-38A35C095D1B}"/>
              </a:ext>
            </a:extLst>
          </p:cNvPr>
          <p:cNvSpPr/>
          <p:nvPr/>
        </p:nvSpPr>
        <p:spPr>
          <a:xfrm>
            <a:off x="6638728" y="4442314"/>
            <a:ext cx="1231108" cy="579119"/>
          </a:xfrm>
          <a:prstGeom prst="roundRect">
            <a:avLst/>
          </a:prstGeom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rtlCol="0" anchor="ctr" anchorCtr="0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400"/>
              <a:t>Comparison</a:t>
            </a:r>
            <a:r>
              <a:rPr lang="en-US" sz="1400" baseline="0"/>
              <a:t> Table</a:t>
            </a:r>
            <a:endParaRPr lang="en-US" sz="1400"/>
          </a:p>
        </p:txBody>
      </p:sp>
      <p:sp>
        <p:nvSpPr>
          <p:cNvPr id="13" name="Rectangle: Rounded Corners 12">
            <a:extLst>
              <a:ext uri="{FF2B5EF4-FFF2-40B4-BE49-F238E27FC236}">
                <a16:creationId xmlns:a16="http://schemas.microsoft.com/office/drawing/2014/main" id="{C42F0EE5-2E90-4B63-89B6-F8E893B73318}"/>
              </a:ext>
            </a:extLst>
          </p:cNvPr>
          <p:cNvSpPr/>
          <p:nvPr/>
        </p:nvSpPr>
        <p:spPr>
          <a:xfrm>
            <a:off x="6638728" y="5670309"/>
            <a:ext cx="1231108" cy="579119"/>
          </a:xfrm>
          <a:prstGeom prst="roundRect">
            <a:avLst/>
          </a:prstGeom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rtlCol="0" anchor="ctr" anchorCtr="0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400"/>
              <a:t>Map Figure</a:t>
            </a:r>
          </a:p>
        </p:txBody>
      </p:sp>
      <p:cxnSp>
        <p:nvCxnSpPr>
          <p:cNvPr id="14" name="Straight Arrow Connector 13">
            <a:extLst>
              <a:ext uri="{FF2B5EF4-FFF2-40B4-BE49-F238E27FC236}">
                <a16:creationId xmlns:a16="http://schemas.microsoft.com/office/drawing/2014/main" id="{91AF73E0-2642-4622-A0F2-134B42D22438}"/>
              </a:ext>
            </a:extLst>
          </p:cNvPr>
          <p:cNvCxnSpPr>
            <a:cxnSpLocks/>
            <a:stCxn id="31" idx="3"/>
            <a:endCxn id="5" idx="1"/>
          </p:cNvCxnSpPr>
          <p:nvPr/>
        </p:nvCxnSpPr>
        <p:spPr>
          <a:xfrm flipV="1">
            <a:off x="3094643" y="1998550"/>
            <a:ext cx="1036156" cy="607962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cxnSp>
        <p:nvCxnSpPr>
          <p:cNvPr id="15" name="Straight Arrow Connector 14">
            <a:extLst>
              <a:ext uri="{FF2B5EF4-FFF2-40B4-BE49-F238E27FC236}">
                <a16:creationId xmlns:a16="http://schemas.microsoft.com/office/drawing/2014/main" id="{8CEFF47B-9E50-4067-89FF-369356FC3128}"/>
              </a:ext>
            </a:extLst>
          </p:cNvPr>
          <p:cNvCxnSpPr>
            <a:cxnSpLocks/>
            <a:stCxn id="31" idx="3"/>
            <a:endCxn id="8" idx="1"/>
          </p:cNvCxnSpPr>
          <p:nvPr/>
        </p:nvCxnSpPr>
        <p:spPr>
          <a:xfrm>
            <a:off x="3094643" y="2606512"/>
            <a:ext cx="1051394" cy="707866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cxnSp>
        <p:nvCxnSpPr>
          <p:cNvPr id="16" name="Straight Arrow Connector 15">
            <a:extLst>
              <a:ext uri="{FF2B5EF4-FFF2-40B4-BE49-F238E27FC236}">
                <a16:creationId xmlns:a16="http://schemas.microsoft.com/office/drawing/2014/main" id="{C556AEDF-03A5-4AEA-90E8-73C983D4C445}"/>
              </a:ext>
            </a:extLst>
          </p:cNvPr>
          <p:cNvCxnSpPr>
            <a:cxnSpLocks/>
            <a:stCxn id="5" idx="3"/>
            <a:endCxn id="9" idx="1"/>
          </p:cNvCxnSpPr>
          <p:nvPr/>
        </p:nvCxnSpPr>
        <p:spPr>
          <a:xfrm>
            <a:off x="5393813" y="1998550"/>
            <a:ext cx="1006117" cy="587264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cxnSp>
        <p:nvCxnSpPr>
          <p:cNvPr id="17" name="Straight Arrow Connector 16">
            <a:extLst>
              <a:ext uri="{FF2B5EF4-FFF2-40B4-BE49-F238E27FC236}">
                <a16:creationId xmlns:a16="http://schemas.microsoft.com/office/drawing/2014/main" id="{0558C614-B358-4EFA-926C-A42D6910AD7A}"/>
              </a:ext>
            </a:extLst>
          </p:cNvPr>
          <p:cNvCxnSpPr>
            <a:cxnSpLocks/>
            <a:stCxn id="8" idx="3"/>
            <a:endCxn id="9" idx="1"/>
          </p:cNvCxnSpPr>
          <p:nvPr/>
        </p:nvCxnSpPr>
        <p:spPr>
          <a:xfrm flipV="1">
            <a:off x="5393812" y="2585814"/>
            <a:ext cx="1006118" cy="728564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cxnSp>
        <p:nvCxnSpPr>
          <p:cNvPr id="18" name="Straight Arrow Connector 17">
            <a:extLst>
              <a:ext uri="{FF2B5EF4-FFF2-40B4-BE49-F238E27FC236}">
                <a16:creationId xmlns:a16="http://schemas.microsoft.com/office/drawing/2014/main" id="{2310634C-43AB-468B-99FA-6E8DDC636C6C}"/>
              </a:ext>
            </a:extLst>
          </p:cNvPr>
          <p:cNvCxnSpPr>
            <a:cxnSpLocks/>
            <a:stCxn id="35" idx="3"/>
            <a:endCxn id="10" idx="1"/>
          </p:cNvCxnSpPr>
          <p:nvPr/>
        </p:nvCxnSpPr>
        <p:spPr>
          <a:xfrm flipV="1">
            <a:off x="2705307" y="4730445"/>
            <a:ext cx="1417155" cy="592605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cxnSp>
        <p:nvCxnSpPr>
          <p:cNvPr id="19" name="Straight Arrow Connector 18">
            <a:extLst>
              <a:ext uri="{FF2B5EF4-FFF2-40B4-BE49-F238E27FC236}">
                <a16:creationId xmlns:a16="http://schemas.microsoft.com/office/drawing/2014/main" id="{1A7A6585-5ABC-4E4C-8AFB-90AFBF14DD0E}"/>
              </a:ext>
            </a:extLst>
          </p:cNvPr>
          <p:cNvCxnSpPr>
            <a:cxnSpLocks/>
            <a:stCxn id="35" idx="3"/>
            <a:endCxn id="11" idx="1"/>
          </p:cNvCxnSpPr>
          <p:nvPr/>
        </p:nvCxnSpPr>
        <p:spPr>
          <a:xfrm>
            <a:off x="2705307" y="5323050"/>
            <a:ext cx="1440730" cy="633960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cxnSp>
        <p:nvCxnSpPr>
          <p:cNvPr id="20" name="Straight Arrow Connector 19">
            <a:extLst>
              <a:ext uri="{FF2B5EF4-FFF2-40B4-BE49-F238E27FC236}">
                <a16:creationId xmlns:a16="http://schemas.microsoft.com/office/drawing/2014/main" id="{5B079258-8BD7-4547-8C1B-638F03CC53E9}"/>
              </a:ext>
            </a:extLst>
          </p:cNvPr>
          <p:cNvCxnSpPr>
            <a:cxnSpLocks/>
            <a:stCxn id="10" idx="3"/>
            <a:endCxn id="12" idx="1"/>
          </p:cNvCxnSpPr>
          <p:nvPr/>
        </p:nvCxnSpPr>
        <p:spPr>
          <a:xfrm>
            <a:off x="5385476" y="4730445"/>
            <a:ext cx="1253252" cy="1429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cxnSp>
        <p:nvCxnSpPr>
          <p:cNvPr id="21" name="Straight Arrow Connector 20">
            <a:extLst>
              <a:ext uri="{FF2B5EF4-FFF2-40B4-BE49-F238E27FC236}">
                <a16:creationId xmlns:a16="http://schemas.microsoft.com/office/drawing/2014/main" id="{2892F938-C49E-4B1A-9366-218D74EC3845}"/>
              </a:ext>
            </a:extLst>
          </p:cNvPr>
          <p:cNvCxnSpPr>
            <a:cxnSpLocks/>
            <a:stCxn id="11" idx="3"/>
            <a:endCxn id="13" idx="1"/>
          </p:cNvCxnSpPr>
          <p:nvPr/>
        </p:nvCxnSpPr>
        <p:spPr>
          <a:xfrm>
            <a:off x="5392860" y="5957010"/>
            <a:ext cx="1245868" cy="2859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sp>
        <p:nvSpPr>
          <p:cNvPr id="22" name="Rectangle: Rounded Corners 21">
            <a:extLst>
              <a:ext uri="{FF2B5EF4-FFF2-40B4-BE49-F238E27FC236}">
                <a16:creationId xmlns:a16="http://schemas.microsoft.com/office/drawing/2014/main" id="{35E036E3-CB5F-4654-AAFD-5680BFC179FD}"/>
              </a:ext>
            </a:extLst>
          </p:cNvPr>
          <p:cNvSpPr/>
          <p:nvPr/>
        </p:nvSpPr>
        <p:spPr>
          <a:xfrm>
            <a:off x="9975283" y="3136579"/>
            <a:ext cx="1217295" cy="1133138"/>
          </a:xfrm>
          <a:prstGeom prst="roundRect">
            <a:avLst/>
          </a:prstGeom>
          <a:solidFill>
            <a:srgbClr val="873AC0"/>
          </a:solidFill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 anchorCtr="0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2000"/>
              <a:t>Report</a:t>
            </a:r>
          </a:p>
        </p:txBody>
      </p:sp>
      <p:cxnSp>
        <p:nvCxnSpPr>
          <p:cNvPr id="23" name="Straight Arrow Connector 22">
            <a:extLst>
              <a:ext uri="{FF2B5EF4-FFF2-40B4-BE49-F238E27FC236}">
                <a16:creationId xmlns:a16="http://schemas.microsoft.com/office/drawing/2014/main" id="{29B4E5E9-3A8B-4B63-88CD-8DB288C5750C}"/>
              </a:ext>
            </a:extLst>
          </p:cNvPr>
          <p:cNvCxnSpPr>
            <a:cxnSpLocks/>
            <a:stCxn id="9" idx="3"/>
            <a:endCxn id="22" idx="1"/>
          </p:cNvCxnSpPr>
          <p:nvPr/>
        </p:nvCxnSpPr>
        <p:spPr>
          <a:xfrm>
            <a:off x="8100142" y="2585814"/>
            <a:ext cx="1875141" cy="1117334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cxnSp>
        <p:nvCxnSpPr>
          <p:cNvPr id="24" name="Straight Arrow Connector 23">
            <a:extLst>
              <a:ext uri="{FF2B5EF4-FFF2-40B4-BE49-F238E27FC236}">
                <a16:creationId xmlns:a16="http://schemas.microsoft.com/office/drawing/2014/main" id="{01BB7359-9E7B-4E87-960C-DD31562BD29A}"/>
              </a:ext>
            </a:extLst>
          </p:cNvPr>
          <p:cNvCxnSpPr>
            <a:cxnSpLocks/>
            <a:stCxn id="13" idx="3"/>
            <a:endCxn id="22" idx="1"/>
          </p:cNvCxnSpPr>
          <p:nvPr/>
        </p:nvCxnSpPr>
        <p:spPr>
          <a:xfrm flipV="1">
            <a:off x="7869836" y="3703148"/>
            <a:ext cx="2105447" cy="2256721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sp>
        <p:nvSpPr>
          <p:cNvPr id="25" name="Rectangle: Rounded Corners 24">
            <a:extLst>
              <a:ext uri="{FF2B5EF4-FFF2-40B4-BE49-F238E27FC236}">
                <a16:creationId xmlns:a16="http://schemas.microsoft.com/office/drawing/2014/main" id="{12B0A920-395A-4D5B-AACB-5EB093AA8A8C}"/>
              </a:ext>
            </a:extLst>
          </p:cNvPr>
          <p:cNvSpPr/>
          <p:nvPr/>
        </p:nvSpPr>
        <p:spPr>
          <a:xfrm>
            <a:off x="6399930" y="1212474"/>
            <a:ext cx="1700212" cy="547829"/>
          </a:xfrm>
          <a:prstGeom prst="roundRect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 anchorCtr="0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400"/>
              <a:t>Sentiment Analysis</a:t>
            </a:r>
          </a:p>
        </p:txBody>
      </p:sp>
      <p:cxnSp>
        <p:nvCxnSpPr>
          <p:cNvPr id="26" name="Straight Arrow Connector 25">
            <a:extLst>
              <a:ext uri="{FF2B5EF4-FFF2-40B4-BE49-F238E27FC236}">
                <a16:creationId xmlns:a16="http://schemas.microsoft.com/office/drawing/2014/main" id="{6B57AC25-4AEB-4484-BA2A-F341113F5D62}"/>
              </a:ext>
            </a:extLst>
          </p:cNvPr>
          <p:cNvCxnSpPr>
            <a:cxnSpLocks/>
            <a:stCxn id="25" idx="3"/>
            <a:endCxn id="22" idx="1"/>
          </p:cNvCxnSpPr>
          <p:nvPr/>
        </p:nvCxnSpPr>
        <p:spPr>
          <a:xfrm>
            <a:off x="8100142" y="1486389"/>
            <a:ext cx="1875141" cy="2216759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sp>
        <p:nvSpPr>
          <p:cNvPr id="27" name="Rectangle: Rounded Corners 26">
            <a:extLst>
              <a:ext uri="{FF2B5EF4-FFF2-40B4-BE49-F238E27FC236}">
                <a16:creationId xmlns:a16="http://schemas.microsoft.com/office/drawing/2014/main" id="{91F8DA4B-3389-4B16-B41C-E5C7D50542BC}"/>
              </a:ext>
            </a:extLst>
          </p:cNvPr>
          <p:cNvSpPr/>
          <p:nvPr/>
        </p:nvSpPr>
        <p:spPr>
          <a:xfrm>
            <a:off x="6399930" y="3414541"/>
            <a:ext cx="1700212" cy="577214"/>
          </a:xfrm>
          <a:prstGeom prst="roundRect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 anchorCtr="0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400"/>
              <a:t>Unsupervised</a:t>
            </a:r>
          </a:p>
          <a:p>
            <a:pPr algn="ctr"/>
            <a:r>
              <a:rPr lang="en-US" sz="1400" baseline="0"/>
              <a:t>Cluster</a:t>
            </a:r>
            <a:endParaRPr lang="en-US" sz="1400"/>
          </a:p>
        </p:txBody>
      </p:sp>
      <p:cxnSp>
        <p:nvCxnSpPr>
          <p:cNvPr id="28" name="Straight Arrow Connector 27">
            <a:extLst>
              <a:ext uri="{FF2B5EF4-FFF2-40B4-BE49-F238E27FC236}">
                <a16:creationId xmlns:a16="http://schemas.microsoft.com/office/drawing/2014/main" id="{846AE68B-961F-4FF1-8A7C-95DDCF49F3FF}"/>
              </a:ext>
            </a:extLst>
          </p:cNvPr>
          <p:cNvCxnSpPr>
            <a:cxnSpLocks/>
            <a:stCxn id="8" idx="3"/>
            <a:endCxn id="27" idx="1"/>
          </p:cNvCxnSpPr>
          <p:nvPr/>
        </p:nvCxnSpPr>
        <p:spPr>
          <a:xfrm>
            <a:off x="5393812" y="3314378"/>
            <a:ext cx="1006118" cy="388770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pic>
        <p:nvPicPr>
          <p:cNvPr id="31" name="Picture 2" descr="Image result for youtube">
            <a:extLst>
              <a:ext uri="{FF2B5EF4-FFF2-40B4-BE49-F238E27FC236}">
                <a16:creationId xmlns:a16="http://schemas.microsoft.com/office/drawing/2014/main" id="{C79A771D-4B6F-472F-9A1D-C66EF8623528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3274" b="32036"/>
          <a:stretch/>
        </p:blipFill>
        <p:spPr bwMode="auto">
          <a:xfrm>
            <a:off x="1130762" y="2265874"/>
            <a:ext cx="1963881" cy="681276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5" name="Picture 4" descr="Image result for twitter">
            <a:extLst>
              <a:ext uri="{FF2B5EF4-FFF2-40B4-BE49-F238E27FC236}">
                <a16:creationId xmlns:a16="http://schemas.microsoft.com/office/drawing/2014/main" id="{5D2FA8D1-44F3-4878-9F76-9FBA98BFD6C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20096" y="4730444"/>
            <a:ext cx="1185211" cy="1185211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50" name="Straight Arrow Connector 49">
            <a:extLst>
              <a:ext uri="{FF2B5EF4-FFF2-40B4-BE49-F238E27FC236}">
                <a16:creationId xmlns:a16="http://schemas.microsoft.com/office/drawing/2014/main" id="{01BB7359-9E7B-4E87-960C-DD31562BD29A}"/>
              </a:ext>
            </a:extLst>
          </p:cNvPr>
          <p:cNvCxnSpPr>
            <a:cxnSpLocks/>
            <a:stCxn id="27" idx="3"/>
            <a:endCxn id="22" idx="1"/>
          </p:cNvCxnSpPr>
          <p:nvPr/>
        </p:nvCxnSpPr>
        <p:spPr>
          <a:xfrm>
            <a:off x="8100142" y="3703148"/>
            <a:ext cx="1875141" cy="0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cxnSp>
        <p:nvCxnSpPr>
          <p:cNvPr id="51" name="Straight Arrow Connector 50">
            <a:extLst>
              <a:ext uri="{FF2B5EF4-FFF2-40B4-BE49-F238E27FC236}">
                <a16:creationId xmlns:a16="http://schemas.microsoft.com/office/drawing/2014/main" id="{7DF288B6-3E9C-4694-815B-42069949C07B}"/>
              </a:ext>
            </a:extLst>
          </p:cNvPr>
          <p:cNvCxnSpPr>
            <a:cxnSpLocks/>
            <a:stCxn id="12" idx="3"/>
            <a:endCxn id="22" idx="1"/>
          </p:cNvCxnSpPr>
          <p:nvPr/>
        </p:nvCxnSpPr>
        <p:spPr>
          <a:xfrm flipV="1">
            <a:off x="7869836" y="3703148"/>
            <a:ext cx="2105447" cy="1028726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cxnSp>
        <p:nvCxnSpPr>
          <p:cNvPr id="112" name="Straight Arrow Connector 111">
            <a:extLst>
              <a:ext uri="{FF2B5EF4-FFF2-40B4-BE49-F238E27FC236}">
                <a16:creationId xmlns:a16="http://schemas.microsoft.com/office/drawing/2014/main" id="{39174494-3206-40F2-8FB3-5B51D48CE786}"/>
              </a:ext>
            </a:extLst>
          </p:cNvPr>
          <p:cNvCxnSpPr>
            <a:cxnSpLocks/>
            <a:stCxn id="5" idx="3"/>
            <a:endCxn id="25" idx="1"/>
          </p:cNvCxnSpPr>
          <p:nvPr/>
        </p:nvCxnSpPr>
        <p:spPr>
          <a:xfrm flipV="1">
            <a:off x="5393813" y="1486389"/>
            <a:ext cx="1006117" cy="512161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0547244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 TOOLS.GUIDESSETTING" val="{&quot;Id&quot;:&quot;2d4375ee-8516-45e0-8956-45702a61a9b6&quot;,&quot;Name&quot;:&quot;iSlide&quot;,&quot;HeaderHeight&quot;:15.0,&quot;FooterHeight&quot;:9.0000000000000036,&quot;SideMargin&quot;:5.4999999999999982,&quot;TopMargin&quot;:0.0,&quot;BottomMargin&quot;:0.0,&quot;IntervalMargin&quot;:1.3999999999999997}"/>
  <p:tag name="ISLIDE.GUIDESSETTING" val="{&quot;Id&quot;:&quot;GuidesStyle_Normal&quot;,&quot;Name&quot;:&quot;正常&quot;,&quot;HeaderHeight&quot;:15.0,&quot;FooterHeight&quot;:9.0,&quot;SideMargin&quot;:5.5,&quot;TopMargin&quot;:0.0,&quot;BottomMargin&quot;:0.0,&quot;IntervalMargin&quot;:1.5}"/>
  <p:tag name="THINKCELLUNDODONOTDELETE" val="0"/>
  <p:tag name="ISLIDE.THEME" val="1db49909-592b-4d36-a5cb-4695a6f9507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6S0wzOvQ8a50SA42PUNR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DIAGRAM" val="293147"/>
</p:tagLst>
</file>

<file path=ppt/theme/theme1.xml><?xml version="1.0" encoding="utf-8"?>
<a:theme xmlns:a="http://schemas.openxmlformats.org/drawingml/2006/main" name="主题5">
  <a:themeElements>
    <a:clrScheme name="房利美">
      <a:dk1>
        <a:srgbClr val="000000"/>
      </a:dk1>
      <a:lt1>
        <a:srgbClr val="FFFFFF"/>
      </a:lt1>
      <a:dk2>
        <a:srgbClr val="768394"/>
      </a:dk2>
      <a:lt2>
        <a:srgbClr val="F0F0F0"/>
      </a:lt2>
      <a:accent1>
        <a:srgbClr val="F2CF4E"/>
      </a:accent1>
      <a:accent2>
        <a:srgbClr val="FB5E46"/>
      </a:accent2>
      <a:accent3>
        <a:srgbClr val="FF7320"/>
      </a:accent3>
      <a:accent4>
        <a:srgbClr val="F5B74A"/>
      </a:accent4>
      <a:accent5>
        <a:srgbClr val="1A9FE0"/>
      </a:accent5>
      <a:accent6>
        <a:srgbClr val="63798C"/>
      </a:accent6>
      <a:hlink>
        <a:srgbClr val="4472C4"/>
      </a:hlink>
      <a:folHlink>
        <a:srgbClr val="BFBFBF"/>
      </a:folHlink>
    </a:clrScheme>
    <a:fontScheme name="Temp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主题5" id="{B8EDB911-D765-4A7B-BBC7-40DBB672FBA6}" vid="{AECAB1C0-5DF6-436C-85E8-20094DBE11C0}"/>
    </a:ext>
  </a:extLst>
</a:theme>
</file>

<file path=ppt/theme/theme2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65</TotalTime>
  <Words>597</Words>
  <Application>Microsoft Macintosh PowerPoint</Application>
  <PresentationFormat>Widescreen</PresentationFormat>
  <Paragraphs>229</Paragraphs>
  <Slides>20</Slides>
  <Notes>1</Notes>
  <HiddenSlides>0</HiddenSlides>
  <MMClips>1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0</vt:i4>
      </vt:variant>
    </vt:vector>
  </HeadingPairs>
  <TitlesOfParts>
    <vt:vector size="27" baseType="lpstr">
      <vt:lpstr>等线</vt:lpstr>
      <vt:lpstr>Arial</vt:lpstr>
      <vt:lpstr>Arial Black</vt:lpstr>
      <vt:lpstr>Calibri</vt:lpstr>
      <vt:lpstr>Impact</vt:lpstr>
      <vt:lpstr>主题5</vt:lpstr>
      <vt:lpstr>think-cell Slide</vt:lpstr>
      <vt:lpstr>PowerPoint Presentation</vt:lpstr>
      <vt:lpstr>NINTENDO SWITCH Product &amp; Strategy Analysis</vt:lpstr>
      <vt:lpstr>PowerPoint Presentation</vt:lpstr>
      <vt:lpstr>ABSTRACT</vt:lpstr>
      <vt:lpstr>01. ABSTRACT</vt:lpstr>
      <vt:lpstr>DATA SET</vt:lpstr>
      <vt:lpstr>02. DATA SET</vt:lpstr>
      <vt:lpstr>ANALYSIS METHODOLOGY</vt:lpstr>
      <vt:lpstr>03. ANALYSIS METHODOLOGY</vt:lpstr>
      <vt:lpstr>RESULT</vt:lpstr>
      <vt:lpstr>04. RESULT – SENTIMENT ANALYSIS</vt:lpstr>
      <vt:lpstr>04. Unsupervised &amp; Supervised Data Mining Models</vt:lpstr>
      <vt:lpstr>04. Unsupervised &amp; Supervised Data Mining Models</vt:lpstr>
      <vt:lpstr>04. Word Clouds of Three Products</vt:lpstr>
      <vt:lpstr>04. RESULT – NS vs PS vs XBOX</vt:lpstr>
      <vt:lpstr>04. Twitter Location Heat Map in US</vt:lpstr>
      <vt:lpstr>04. Twitter Location Heat Map Worldwide</vt:lpstr>
      <vt:lpstr>CONCLUSION</vt:lpstr>
      <vt:lpstr>05. CONCLUSION</vt:lpstr>
      <vt:lpstr>PowerPoint Presentation</vt:lpstr>
    </vt:vector>
  </TitlesOfParts>
  <Manager>iSlide</Manager>
  <Company>iSlide</Company>
  <LinksUpToDate>false</LinksUpToDate>
  <SharedDoc>false</SharedDoc>
  <HyperlinkBase>https://www.islide.cc</HyperlinkBase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iSlide</dc:creator>
  <cp:lastModifiedBy>Chang Liu</cp:lastModifiedBy>
  <cp:revision>5</cp:revision>
  <cp:lastPrinted>2018-09-28T16:00:00Z</cp:lastPrinted>
  <dcterms:created xsi:type="dcterms:W3CDTF">2018-09-28T16:00:00Z</dcterms:created>
  <dcterms:modified xsi:type="dcterms:W3CDTF">2019-12-08T22:32:2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iSlide.Theme">
    <vt:lpwstr>48706f29-9ca0-418e-876d-de7b156ca083</vt:lpwstr>
  </property>
</Properties>
</file>